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4.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theme/theme5.xml" ContentType="application/vnd.openxmlformats-officedocument.theme+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theme/theme6.xml" ContentType="application/vnd.openxmlformats-officedocument.theme+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theme/theme7.xml" ContentType="application/vnd.openxmlformats-officedocument.theme+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theme/theme8.xml" ContentType="application/vnd.openxmlformats-officedocument.theme+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theme/theme9.xml" ContentType="application/vnd.openxmlformats-officedocument.theme+xml"/>
  <Override PartName="/ppt/tags/tag2.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7.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1.xml" ContentType="application/vnd.openxmlformats-officedocument.themeOverride+xml"/>
  <Override PartName="/ppt/notesSlides/notesSlide8.xml" ContentType="application/vnd.openxmlformats-officedocument.presentationml.notesSlide+xml"/>
  <Override PartName="/ppt/charts/chart5.xml" ContentType="application/vnd.openxmlformats-officedocument.drawingml.chart+xml"/>
  <Override PartName="/ppt/theme/themeOverride2.xml" ContentType="application/vnd.openxmlformats-officedocument.themeOverr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charts/chart7.xml" ContentType="application/vnd.openxmlformats-officedocument.drawingml.chart+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3.xml" ContentType="application/vnd.openxmlformats-officedocument.themeOverride+xml"/>
  <Override PartName="/ppt/notesSlides/notesSlide9.xml" ContentType="application/vnd.openxmlformats-officedocument.presentationml.notesSlide+xml"/>
  <Override PartName="/ppt/charts/chart9.xml" ContentType="application/vnd.openxmlformats-officedocument.drawingml.chart+xml"/>
  <Override PartName="/ppt/theme/themeOverride4.xml" ContentType="application/vnd.openxmlformats-officedocument.themeOverride+xml"/>
  <Override PartName="/ppt/notesSlides/notesSlide10.xml" ContentType="application/vnd.openxmlformats-officedocument.presentationml.notesSlide+xml"/>
  <Override PartName="/ppt/charts/chart10.xml" ContentType="application/vnd.openxmlformats-officedocument.drawingml.chart+xml"/>
  <Override PartName="/ppt/charts/style7.xml" ContentType="application/vnd.ms-office.chartstyle+xml"/>
  <Override PartName="/ppt/charts/colors7.xml" ContentType="application/vnd.ms-office.chartcolorstyle+xml"/>
  <Override PartName="/ppt/charts/chart11.xml" ContentType="application/vnd.openxmlformats-officedocument.drawingml.chart+xml"/>
  <Override PartName="/ppt/charts/style8.xml" ContentType="application/vnd.ms-office.chartstyle+xml"/>
  <Override PartName="/ppt/charts/colors8.xml" ContentType="application/vnd.ms-office.chartcolorstyle+xml"/>
  <Override PartName="/ppt/charts/chart12.xml" ContentType="application/vnd.openxmlformats-officedocument.drawingml.chart+xml"/>
  <Override PartName="/ppt/charts/style9.xml" ContentType="application/vnd.ms-office.chartstyle+xml"/>
  <Override PartName="/ppt/charts/colors9.xml" ContentType="application/vnd.ms-office.chartcolorstyle+xml"/>
  <Override PartName="/ppt/charts/chart13.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4.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5.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1.xml" ContentType="application/vnd.openxmlformats-officedocument.presentationml.notesSlide+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20.xml" ContentType="application/vnd.openxmlformats-officedocument.drawingml.chart+xml"/>
  <Override PartName="/ppt/notesSlides/notesSlide14.xml" ContentType="application/vnd.openxmlformats-officedocument.presentationml.notesSlide+xml"/>
  <Override PartName="/ppt/charts/chart21.xml" ContentType="application/vnd.openxmlformats-officedocument.drawingml.chart+xml"/>
  <Override PartName="/ppt/theme/themeOverride5.xml" ContentType="application/vnd.openxmlformats-officedocument.themeOverr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79" r:id="rId4"/>
    <p:sldMasterId id="2147484263" r:id="rId5"/>
    <p:sldMasterId id="2147484279" r:id="rId6"/>
    <p:sldMasterId id="2147484302" r:id="rId7"/>
    <p:sldMasterId id="2147484392" r:id="rId8"/>
    <p:sldMasterId id="2147484483" r:id="rId9"/>
    <p:sldMasterId id="2147484497" r:id="rId10"/>
    <p:sldMasterId id="2147484513" r:id="rId11"/>
    <p:sldMasterId id="2147484537" r:id="rId12"/>
  </p:sldMasterIdLst>
  <p:notesMasterIdLst>
    <p:notesMasterId r:id="rId33"/>
  </p:notesMasterIdLst>
  <p:handoutMasterIdLst>
    <p:handoutMasterId r:id="rId34"/>
  </p:handoutMasterIdLst>
  <p:sldIdLst>
    <p:sldId id="745" r:id="rId13"/>
    <p:sldId id="746" r:id="rId14"/>
    <p:sldId id="754" r:id="rId15"/>
    <p:sldId id="2859" r:id="rId16"/>
    <p:sldId id="2854" r:id="rId17"/>
    <p:sldId id="8875" r:id="rId18"/>
    <p:sldId id="2753" r:id="rId19"/>
    <p:sldId id="8874" r:id="rId20"/>
    <p:sldId id="8872" r:id="rId21"/>
    <p:sldId id="8873" r:id="rId22"/>
    <p:sldId id="328" r:id="rId23"/>
    <p:sldId id="2785" r:id="rId24"/>
    <p:sldId id="2786" r:id="rId25"/>
    <p:sldId id="2787" r:id="rId26"/>
    <p:sldId id="2788" r:id="rId27"/>
    <p:sldId id="2650" r:id="rId28"/>
    <p:sldId id="2761" r:id="rId29"/>
    <p:sldId id="2777" r:id="rId30"/>
    <p:sldId id="601" r:id="rId31"/>
    <p:sldId id="705" r:id="rId32"/>
  </p:sldIdLst>
  <p:sldSz cx="9144000" cy="6858000" type="screen4x3"/>
  <p:notesSz cx="7102475" cy="9388475"/>
  <p:custDataLst>
    <p:tags r:id="rId35"/>
  </p:custDataLst>
  <p:defaultTextStyle>
    <a:defPPr>
      <a:defRPr lang="en-US"/>
    </a:defPPr>
    <a:lvl1pPr algn="l" rtl="0" fontAlgn="base">
      <a:spcBef>
        <a:spcPct val="0"/>
      </a:spcBef>
      <a:spcAft>
        <a:spcPct val="0"/>
      </a:spcAft>
      <a:defRPr sz="1200" kern="1200">
        <a:solidFill>
          <a:schemeClr val="tx1"/>
        </a:solidFill>
        <a:latin typeface="Arial" pitchFamily="34" charset="0"/>
        <a:ea typeface="ＭＳ Ｐゴシック"/>
        <a:cs typeface="ＭＳ Ｐゴシック"/>
      </a:defRPr>
    </a:lvl1pPr>
    <a:lvl2pPr marL="457200" algn="l" rtl="0" fontAlgn="base">
      <a:spcBef>
        <a:spcPct val="0"/>
      </a:spcBef>
      <a:spcAft>
        <a:spcPct val="0"/>
      </a:spcAft>
      <a:defRPr sz="1200" kern="1200">
        <a:solidFill>
          <a:schemeClr val="tx1"/>
        </a:solidFill>
        <a:latin typeface="Arial" pitchFamily="34" charset="0"/>
        <a:ea typeface="ＭＳ Ｐゴシック"/>
        <a:cs typeface="ＭＳ Ｐゴシック"/>
      </a:defRPr>
    </a:lvl2pPr>
    <a:lvl3pPr marL="914400" algn="l" rtl="0" fontAlgn="base">
      <a:spcBef>
        <a:spcPct val="0"/>
      </a:spcBef>
      <a:spcAft>
        <a:spcPct val="0"/>
      </a:spcAft>
      <a:defRPr sz="1200" kern="1200">
        <a:solidFill>
          <a:schemeClr val="tx1"/>
        </a:solidFill>
        <a:latin typeface="Arial" pitchFamily="34" charset="0"/>
        <a:ea typeface="ＭＳ Ｐゴシック"/>
        <a:cs typeface="ＭＳ Ｐゴシック"/>
      </a:defRPr>
    </a:lvl3pPr>
    <a:lvl4pPr marL="1371600" algn="l" rtl="0" fontAlgn="base">
      <a:spcBef>
        <a:spcPct val="0"/>
      </a:spcBef>
      <a:spcAft>
        <a:spcPct val="0"/>
      </a:spcAft>
      <a:defRPr sz="1200" kern="1200">
        <a:solidFill>
          <a:schemeClr val="tx1"/>
        </a:solidFill>
        <a:latin typeface="Arial" pitchFamily="34" charset="0"/>
        <a:ea typeface="ＭＳ Ｐゴシック"/>
        <a:cs typeface="ＭＳ Ｐゴシック"/>
      </a:defRPr>
    </a:lvl4pPr>
    <a:lvl5pPr marL="1828800" algn="l" rtl="0" fontAlgn="base">
      <a:spcBef>
        <a:spcPct val="0"/>
      </a:spcBef>
      <a:spcAft>
        <a:spcPct val="0"/>
      </a:spcAft>
      <a:defRPr sz="1200" kern="1200">
        <a:solidFill>
          <a:schemeClr val="tx1"/>
        </a:solidFill>
        <a:latin typeface="Arial" pitchFamily="34" charset="0"/>
        <a:ea typeface="ＭＳ Ｐゴシック"/>
        <a:cs typeface="ＭＳ Ｐゴシック"/>
      </a:defRPr>
    </a:lvl5pPr>
    <a:lvl6pPr marL="2286000" algn="l" defTabSz="914400" rtl="0" eaLnBrk="1" latinLnBrk="0" hangingPunct="1">
      <a:defRPr sz="1200" kern="1200">
        <a:solidFill>
          <a:schemeClr val="tx1"/>
        </a:solidFill>
        <a:latin typeface="Arial" pitchFamily="34" charset="0"/>
        <a:ea typeface="ＭＳ Ｐゴシック"/>
        <a:cs typeface="ＭＳ Ｐゴシック"/>
      </a:defRPr>
    </a:lvl6pPr>
    <a:lvl7pPr marL="2743200" algn="l" defTabSz="914400" rtl="0" eaLnBrk="1" latinLnBrk="0" hangingPunct="1">
      <a:defRPr sz="1200" kern="1200">
        <a:solidFill>
          <a:schemeClr val="tx1"/>
        </a:solidFill>
        <a:latin typeface="Arial" pitchFamily="34" charset="0"/>
        <a:ea typeface="ＭＳ Ｐゴシック"/>
        <a:cs typeface="ＭＳ Ｐゴシック"/>
      </a:defRPr>
    </a:lvl7pPr>
    <a:lvl8pPr marL="3200400" algn="l" defTabSz="914400" rtl="0" eaLnBrk="1" latinLnBrk="0" hangingPunct="1">
      <a:defRPr sz="1200" kern="1200">
        <a:solidFill>
          <a:schemeClr val="tx1"/>
        </a:solidFill>
        <a:latin typeface="Arial" pitchFamily="34" charset="0"/>
        <a:ea typeface="ＭＳ Ｐゴシック"/>
        <a:cs typeface="ＭＳ Ｐゴシック"/>
      </a:defRPr>
    </a:lvl8pPr>
    <a:lvl9pPr marL="3657600" algn="l" defTabSz="914400" rtl="0" eaLnBrk="1" latinLnBrk="0" hangingPunct="1">
      <a:defRPr sz="1200" kern="1200">
        <a:solidFill>
          <a:schemeClr val="tx1"/>
        </a:solidFill>
        <a:latin typeface="Arial" pitchFamily="34" charset="0"/>
        <a:ea typeface="ＭＳ Ｐゴシック"/>
        <a:cs typeface="ＭＳ Ｐゴシック"/>
      </a:defRPr>
    </a:lvl9pPr>
  </p:defaultTextStyle>
  <p:extLst>
    <p:ext uri="{EFAFB233-063F-42B5-8137-9DF3F51BA10A}">
      <p15:sldGuideLst xmlns:p15="http://schemas.microsoft.com/office/powerpoint/2012/main">
        <p15:guide id="1" orient="horz" pos="4181">
          <p15:clr>
            <a:srgbClr val="A4A3A4"/>
          </p15:clr>
        </p15:guide>
        <p15:guide id="2" orient="horz" pos="364">
          <p15:clr>
            <a:srgbClr val="A4A3A4"/>
          </p15:clr>
        </p15:guide>
        <p15:guide id="3" orient="horz" pos="2420">
          <p15:clr>
            <a:srgbClr val="A4A3A4"/>
          </p15:clr>
        </p15:guide>
        <p15:guide id="4" orient="horz" pos="678">
          <p15:clr>
            <a:srgbClr val="A4A3A4"/>
          </p15:clr>
        </p15:guide>
        <p15:guide id="5" orient="horz" pos="4261">
          <p15:clr>
            <a:srgbClr val="A4A3A4"/>
          </p15:clr>
        </p15:guide>
        <p15:guide id="6" orient="horz" pos="531">
          <p15:clr>
            <a:srgbClr val="A4A3A4"/>
          </p15:clr>
        </p15:guide>
        <p15:guide id="7" orient="horz" pos="2221">
          <p15:clr>
            <a:srgbClr val="A4A3A4"/>
          </p15:clr>
        </p15:guide>
        <p15:guide id="8" orient="horz" pos="3929">
          <p15:clr>
            <a:srgbClr val="A4A3A4"/>
          </p15:clr>
        </p15:guide>
        <p15:guide id="9" orient="horz" pos="3974">
          <p15:clr>
            <a:srgbClr val="A4A3A4"/>
          </p15:clr>
        </p15:guide>
        <p15:guide id="10" orient="horz" pos="3605">
          <p15:clr>
            <a:srgbClr val="A4A3A4"/>
          </p15:clr>
        </p15:guide>
        <p15:guide id="11" orient="horz" pos="4220">
          <p15:clr>
            <a:srgbClr val="A4A3A4"/>
          </p15:clr>
        </p15:guide>
        <p15:guide id="12" orient="horz" pos="4093">
          <p15:clr>
            <a:srgbClr val="A4A3A4"/>
          </p15:clr>
        </p15:guide>
        <p15:guide id="13" pos="5505">
          <p15:clr>
            <a:srgbClr val="A4A3A4"/>
          </p15:clr>
        </p15:guide>
        <p15:guide id="14" pos="5358">
          <p15:clr>
            <a:srgbClr val="A4A3A4"/>
          </p15:clr>
        </p15:guide>
        <p15:guide id="15" pos="260">
          <p15:clr>
            <a:srgbClr val="A4A3A4"/>
          </p15:clr>
        </p15:guide>
        <p15:guide id="16" pos="224">
          <p15:clr>
            <a:srgbClr val="A4A3A4"/>
          </p15:clr>
        </p15:guide>
        <p15:guide id="17" pos="201">
          <p15:clr>
            <a:srgbClr val="A4A3A4"/>
          </p15:clr>
        </p15:guide>
        <p15:guide id="18" pos="3019">
          <p15:clr>
            <a:srgbClr val="A4A3A4"/>
          </p15:clr>
        </p15:guide>
        <p15:guide id="19" pos="3266">
          <p15:clr>
            <a:srgbClr val="A4A3A4"/>
          </p15:clr>
        </p15:guide>
        <p15:guide id="20" pos="5556">
          <p15:clr>
            <a:srgbClr val="A4A3A4"/>
          </p15:clr>
        </p15:guide>
      </p15:sldGuideLst>
    </p:ext>
    <p:ext uri="{2D200454-40CA-4A62-9FC3-DE9A4176ACB9}">
      <p15:notesGuideLst xmlns:p15="http://schemas.microsoft.com/office/powerpoint/2012/main">
        <p15:guide id="1" orient="horz" pos="2957" userDrawn="1">
          <p15:clr>
            <a:srgbClr val="A4A3A4"/>
          </p15:clr>
        </p15:guide>
        <p15:guide id="2" pos="2237"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9B00"/>
    <a:srgbClr val="999999"/>
    <a:srgbClr val="EAEAEA"/>
    <a:srgbClr val="CBD799"/>
    <a:srgbClr val="768692"/>
    <a:srgbClr val="BF3B34"/>
    <a:srgbClr val="F2D8D5"/>
    <a:srgbClr val="CB615D"/>
    <a:srgbClr val="E4EACC"/>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681" autoAdjust="0"/>
    <p:restoredTop sz="92832" autoAdjust="0"/>
  </p:normalViewPr>
  <p:slideViewPr>
    <p:cSldViewPr snapToGrid="0" showGuides="1">
      <p:cViewPr varScale="1">
        <p:scale>
          <a:sx n="62" d="100"/>
          <a:sy n="62" d="100"/>
        </p:scale>
        <p:origin x="1436" y="40"/>
      </p:cViewPr>
      <p:guideLst>
        <p:guide orient="horz" pos="4181"/>
        <p:guide orient="horz" pos="364"/>
        <p:guide orient="horz" pos="2420"/>
        <p:guide orient="horz" pos="678"/>
        <p:guide orient="horz" pos="4261"/>
        <p:guide orient="horz" pos="531"/>
        <p:guide orient="horz" pos="2221"/>
        <p:guide orient="horz" pos="3929"/>
        <p:guide orient="horz" pos="3974"/>
        <p:guide orient="horz" pos="3605"/>
        <p:guide orient="horz" pos="4220"/>
        <p:guide orient="horz" pos="4093"/>
        <p:guide pos="5505"/>
        <p:guide pos="5358"/>
        <p:guide pos="260"/>
        <p:guide pos="224"/>
        <p:guide pos="201"/>
        <p:guide pos="3019"/>
        <p:guide pos="3266"/>
        <p:guide pos="5556"/>
      </p:guideLst>
    </p:cSldViewPr>
  </p:slideViewPr>
  <p:outlineViewPr>
    <p:cViewPr>
      <p:scale>
        <a:sx n="33" d="100"/>
        <a:sy n="33" d="100"/>
      </p:scale>
      <p:origin x="48" y="5118"/>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87" d="100"/>
          <a:sy n="87" d="100"/>
        </p:scale>
        <p:origin x="-1908" y="-84"/>
      </p:cViewPr>
      <p:guideLst>
        <p:guide orient="horz" pos="2957"/>
        <p:guide pos="223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tableStyles" Target="tableStyles.xml"/><Relationship Id="rId21" Type="http://schemas.openxmlformats.org/officeDocument/2006/relationships/slide" Target="slides/slide9.xml"/><Relationship Id="rId34"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tags" Target="tags/tag1.xml"/><Relationship Id="rId8" Type="http://schemas.openxmlformats.org/officeDocument/2006/relationships/slideMaster" Target="slideMasters/slideMaster5.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oleObject" Target="file:///\\im.fmrco.com\DFSRoot-US\FargShared\Thought%20Leadership\Thought%20Leadership%20Content\Active\Q3%202022%20QMU\data\LaborMarket_RealIncome.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7.xml"/><Relationship Id="rId1" Type="http://schemas.microsoft.com/office/2011/relationships/chartStyle" Target="style7.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8.xml"/><Relationship Id="rId1" Type="http://schemas.microsoft.com/office/2011/relationships/chartStyle" Target="style8.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9.xml"/><Relationship Id="rId1" Type="http://schemas.microsoft.com/office/2011/relationships/chartStyle" Target="style9.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0.xml"/><Relationship Id="rId1" Type="http://schemas.microsoft.com/office/2011/relationships/chartStyle" Target="style10.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1.xml"/><Relationship Id="rId1" Type="http://schemas.microsoft.com/office/2011/relationships/chartStyle" Target="style11.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2.xml"/><Relationship Id="rId1" Type="http://schemas.microsoft.com/office/2011/relationships/chartStyle" Target="style12.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5.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2.xlsx"/></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2.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6.xlsx"/></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_Worksheet7.xlsx"/><Relationship Id="rId1" Type="http://schemas.openxmlformats.org/officeDocument/2006/relationships/themeOverride" Target="../theme/themeOverrid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08630317820732E-2"/>
          <c:y val="0.21673515403599117"/>
          <c:w val="0.88735023124661105"/>
          <c:h val="0.67055862126025112"/>
        </c:manualLayout>
      </c:layout>
      <c:lineChart>
        <c:grouping val="standard"/>
        <c:varyColors val="0"/>
        <c:ser>
          <c:idx val="0"/>
          <c:order val="0"/>
          <c:tx>
            <c:v>Jobs Plentiful vs. Hard To Get</c:v>
          </c:tx>
          <c:spPr>
            <a:ln w="28575" cap="rnd">
              <a:solidFill>
                <a:srgbClr val="298FC2"/>
              </a:solidFill>
              <a:round/>
            </a:ln>
            <a:effectLst/>
          </c:spPr>
          <c:marker>
            <c:symbol val="none"/>
          </c:marker>
          <c:cat>
            <c:numRef>
              <c:f>Sheet1!$B$12:$B$543</c:f>
              <c:numCache>
                <c:formatCode>mmm\-yy</c:formatCode>
                <c:ptCount val="532"/>
                <c:pt idx="0">
                  <c:v>28580</c:v>
                </c:pt>
                <c:pt idx="1">
                  <c:v>28610</c:v>
                </c:pt>
                <c:pt idx="2">
                  <c:v>28641</c:v>
                </c:pt>
                <c:pt idx="3">
                  <c:v>28671</c:v>
                </c:pt>
                <c:pt idx="4">
                  <c:v>28702</c:v>
                </c:pt>
                <c:pt idx="5">
                  <c:v>28733</c:v>
                </c:pt>
                <c:pt idx="6">
                  <c:v>28763</c:v>
                </c:pt>
                <c:pt idx="7">
                  <c:v>28794</c:v>
                </c:pt>
                <c:pt idx="8">
                  <c:v>28824</c:v>
                </c:pt>
                <c:pt idx="9">
                  <c:v>28855</c:v>
                </c:pt>
                <c:pt idx="10">
                  <c:v>28886</c:v>
                </c:pt>
                <c:pt idx="11">
                  <c:v>28914</c:v>
                </c:pt>
                <c:pt idx="12">
                  <c:v>28945</c:v>
                </c:pt>
                <c:pt idx="13">
                  <c:v>28975</c:v>
                </c:pt>
                <c:pt idx="14">
                  <c:v>29006</c:v>
                </c:pt>
                <c:pt idx="15">
                  <c:v>29036</c:v>
                </c:pt>
                <c:pt idx="16">
                  <c:v>29067</c:v>
                </c:pt>
                <c:pt idx="17">
                  <c:v>29098</c:v>
                </c:pt>
                <c:pt idx="18">
                  <c:v>29128</c:v>
                </c:pt>
                <c:pt idx="19">
                  <c:v>29159</c:v>
                </c:pt>
                <c:pt idx="20">
                  <c:v>29189</c:v>
                </c:pt>
                <c:pt idx="21">
                  <c:v>29220</c:v>
                </c:pt>
                <c:pt idx="22">
                  <c:v>29251</c:v>
                </c:pt>
                <c:pt idx="23">
                  <c:v>29280</c:v>
                </c:pt>
                <c:pt idx="24">
                  <c:v>29311</c:v>
                </c:pt>
                <c:pt idx="25">
                  <c:v>29341</c:v>
                </c:pt>
                <c:pt idx="26">
                  <c:v>29372</c:v>
                </c:pt>
                <c:pt idx="27">
                  <c:v>29402</c:v>
                </c:pt>
                <c:pt idx="28">
                  <c:v>29433</c:v>
                </c:pt>
                <c:pt idx="29">
                  <c:v>29464</c:v>
                </c:pt>
                <c:pt idx="30">
                  <c:v>29494</c:v>
                </c:pt>
                <c:pt idx="31">
                  <c:v>29525</c:v>
                </c:pt>
                <c:pt idx="32">
                  <c:v>29555</c:v>
                </c:pt>
                <c:pt idx="33">
                  <c:v>29586</c:v>
                </c:pt>
                <c:pt idx="34">
                  <c:v>29617</c:v>
                </c:pt>
                <c:pt idx="35">
                  <c:v>29645</c:v>
                </c:pt>
                <c:pt idx="36">
                  <c:v>29676</c:v>
                </c:pt>
                <c:pt idx="37">
                  <c:v>29706</c:v>
                </c:pt>
                <c:pt idx="38">
                  <c:v>29737</c:v>
                </c:pt>
                <c:pt idx="39">
                  <c:v>29767</c:v>
                </c:pt>
                <c:pt idx="40">
                  <c:v>29798</c:v>
                </c:pt>
                <c:pt idx="41">
                  <c:v>29829</c:v>
                </c:pt>
                <c:pt idx="42">
                  <c:v>29859</c:v>
                </c:pt>
                <c:pt idx="43">
                  <c:v>29890</c:v>
                </c:pt>
                <c:pt idx="44">
                  <c:v>29920</c:v>
                </c:pt>
                <c:pt idx="45">
                  <c:v>29951</c:v>
                </c:pt>
                <c:pt idx="46">
                  <c:v>29982</c:v>
                </c:pt>
                <c:pt idx="47">
                  <c:v>30010</c:v>
                </c:pt>
                <c:pt idx="48">
                  <c:v>30041</c:v>
                </c:pt>
                <c:pt idx="49">
                  <c:v>30071</c:v>
                </c:pt>
                <c:pt idx="50">
                  <c:v>30102</c:v>
                </c:pt>
                <c:pt idx="51">
                  <c:v>30132</c:v>
                </c:pt>
                <c:pt idx="52">
                  <c:v>30163</c:v>
                </c:pt>
                <c:pt idx="53">
                  <c:v>30194</c:v>
                </c:pt>
                <c:pt idx="54">
                  <c:v>30224</c:v>
                </c:pt>
                <c:pt idx="55">
                  <c:v>30255</c:v>
                </c:pt>
                <c:pt idx="56">
                  <c:v>30285</c:v>
                </c:pt>
                <c:pt idx="57">
                  <c:v>30316</c:v>
                </c:pt>
                <c:pt idx="58">
                  <c:v>30347</c:v>
                </c:pt>
                <c:pt idx="59">
                  <c:v>30375</c:v>
                </c:pt>
                <c:pt idx="60">
                  <c:v>30406</c:v>
                </c:pt>
                <c:pt idx="61">
                  <c:v>30436</c:v>
                </c:pt>
                <c:pt idx="62">
                  <c:v>30467</c:v>
                </c:pt>
                <c:pt idx="63">
                  <c:v>30497</c:v>
                </c:pt>
                <c:pt idx="64">
                  <c:v>30528</c:v>
                </c:pt>
                <c:pt idx="65">
                  <c:v>30559</c:v>
                </c:pt>
                <c:pt idx="66">
                  <c:v>30589</c:v>
                </c:pt>
                <c:pt idx="67">
                  <c:v>30620</c:v>
                </c:pt>
                <c:pt idx="68">
                  <c:v>30650</c:v>
                </c:pt>
                <c:pt idx="69">
                  <c:v>30681</c:v>
                </c:pt>
                <c:pt idx="70">
                  <c:v>30712</c:v>
                </c:pt>
                <c:pt idx="71">
                  <c:v>30741</c:v>
                </c:pt>
                <c:pt idx="72">
                  <c:v>30772</c:v>
                </c:pt>
                <c:pt idx="73">
                  <c:v>30802</c:v>
                </c:pt>
                <c:pt idx="74">
                  <c:v>30833</c:v>
                </c:pt>
                <c:pt idx="75">
                  <c:v>30863</c:v>
                </c:pt>
                <c:pt idx="76">
                  <c:v>30894</c:v>
                </c:pt>
                <c:pt idx="77">
                  <c:v>30925</c:v>
                </c:pt>
                <c:pt idx="78">
                  <c:v>30955</c:v>
                </c:pt>
                <c:pt idx="79">
                  <c:v>30986</c:v>
                </c:pt>
                <c:pt idx="80">
                  <c:v>31016</c:v>
                </c:pt>
                <c:pt idx="81">
                  <c:v>31047</c:v>
                </c:pt>
                <c:pt idx="82">
                  <c:v>31078</c:v>
                </c:pt>
                <c:pt idx="83">
                  <c:v>31106</c:v>
                </c:pt>
                <c:pt idx="84">
                  <c:v>31137</c:v>
                </c:pt>
                <c:pt idx="85">
                  <c:v>31167</c:v>
                </c:pt>
                <c:pt idx="86">
                  <c:v>31198</c:v>
                </c:pt>
                <c:pt idx="87">
                  <c:v>31228</c:v>
                </c:pt>
                <c:pt idx="88">
                  <c:v>31259</c:v>
                </c:pt>
                <c:pt idx="89">
                  <c:v>31290</c:v>
                </c:pt>
                <c:pt idx="90">
                  <c:v>31320</c:v>
                </c:pt>
                <c:pt idx="91">
                  <c:v>31351</c:v>
                </c:pt>
                <c:pt idx="92">
                  <c:v>31381</c:v>
                </c:pt>
                <c:pt idx="93">
                  <c:v>31412</c:v>
                </c:pt>
                <c:pt idx="94">
                  <c:v>31443</c:v>
                </c:pt>
                <c:pt idx="95">
                  <c:v>31471</c:v>
                </c:pt>
                <c:pt idx="96">
                  <c:v>31502</c:v>
                </c:pt>
                <c:pt idx="97">
                  <c:v>31532</c:v>
                </c:pt>
                <c:pt idx="98">
                  <c:v>31563</c:v>
                </c:pt>
                <c:pt idx="99">
                  <c:v>31593</c:v>
                </c:pt>
                <c:pt idx="100">
                  <c:v>31624</c:v>
                </c:pt>
                <c:pt idx="101">
                  <c:v>31655</c:v>
                </c:pt>
                <c:pt idx="102">
                  <c:v>31685</c:v>
                </c:pt>
                <c:pt idx="103">
                  <c:v>31716</c:v>
                </c:pt>
                <c:pt idx="104">
                  <c:v>31746</c:v>
                </c:pt>
                <c:pt idx="105">
                  <c:v>31777</c:v>
                </c:pt>
                <c:pt idx="106">
                  <c:v>31808</c:v>
                </c:pt>
                <c:pt idx="107">
                  <c:v>31836</c:v>
                </c:pt>
                <c:pt idx="108">
                  <c:v>31867</c:v>
                </c:pt>
                <c:pt idx="109">
                  <c:v>31897</c:v>
                </c:pt>
                <c:pt idx="110">
                  <c:v>31928</c:v>
                </c:pt>
                <c:pt idx="111">
                  <c:v>31958</c:v>
                </c:pt>
                <c:pt idx="112">
                  <c:v>31989</c:v>
                </c:pt>
                <c:pt idx="113">
                  <c:v>32020</c:v>
                </c:pt>
                <c:pt idx="114">
                  <c:v>32050</c:v>
                </c:pt>
                <c:pt idx="115">
                  <c:v>32081</c:v>
                </c:pt>
                <c:pt idx="116">
                  <c:v>32111</c:v>
                </c:pt>
                <c:pt idx="117">
                  <c:v>32142</c:v>
                </c:pt>
                <c:pt idx="118">
                  <c:v>32173</c:v>
                </c:pt>
                <c:pt idx="119">
                  <c:v>32202</c:v>
                </c:pt>
                <c:pt idx="120">
                  <c:v>32233</c:v>
                </c:pt>
                <c:pt idx="121">
                  <c:v>32263</c:v>
                </c:pt>
                <c:pt idx="122">
                  <c:v>32294</c:v>
                </c:pt>
                <c:pt idx="123">
                  <c:v>32324</c:v>
                </c:pt>
                <c:pt idx="124">
                  <c:v>32355</c:v>
                </c:pt>
                <c:pt idx="125">
                  <c:v>32386</c:v>
                </c:pt>
                <c:pt idx="126">
                  <c:v>32416</c:v>
                </c:pt>
                <c:pt idx="127">
                  <c:v>32447</c:v>
                </c:pt>
                <c:pt idx="128">
                  <c:v>32477</c:v>
                </c:pt>
                <c:pt idx="129">
                  <c:v>32508</c:v>
                </c:pt>
                <c:pt idx="130">
                  <c:v>32539</c:v>
                </c:pt>
                <c:pt idx="131">
                  <c:v>32567</c:v>
                </c:pt>
                <c:pt idx="132">
                  <c:v>32598</c:v>
                </c:pt>
                <c:pt idx="133">
                  <c:v>32628</c:v>
                </c:pt>
                <c:pt idx="134">
                  <c:v>32659</c:v>
                </c:pt>
                <c:pt idx="135">
                  <c:v>32689</c:v>
                </c:pt>
                <c:pt idx="136">
                  <c:v>32720</c:v>
                </c:pt>
                <c:pt idx="137">
                  <c:v>32751</c:v>
                </c:pt>
                <c:pt idx="138">
                  <c:v>32781</c:v>
                </c:pt>
                <c:pt idx="139">
                  <c:v>32812</c:v>
                </c:pt>
                <c:pt idx="140">
                  <c:v>32842</c:v>
                </c:pt>
                <c:pt idx="141">
                  <c:v>32873</c:v>
                </c:pt>
                <c:pt idx="142">
                  <c:v>32904</c:v>
                </c:pt>
                <c:pt idx="143">
                  <c:v>32932</c:v>
                </c:pt>
                <c:pt idx="144">
                  <c:v>32963</c:v>
                </c:pt>
                <c:pt idx="145">
                  <c:v>32993</c:v>
                </c:pt>
                <c:pt idx="146">
                  <c:v>33024</c:v>
                </c:pt>
                <c:pt idx="147">
                  <c:v>33054</c:v>
                </c:pt>
                <c:pt idx="148">
                  <c:v>33085</c:v>
                </c:pt>
                <c:pt idx="149">
                  <c:v>33116</c:v>
                </c:pt>
                <c:pt idx="150">
                  <c:v>33146</c:v>
                </c:pt>
                <c:pt idx="151">
                  <c:v>33177</c:v>
                </c:pt>
                <c:pt idx="152">
                  <c:v>33207</c:v>
                </c:pt>
                <c:pt idx="153">
                  <c:v>33238</c:v>
                </c:pt>
                <c:pt idx="154">
                  <c:v>33269</c:v>
                </c:pt>
                <c:pt idx="155">
                  <c:v>33297</c:v>
                </c:pt>
                <c:pt idx="156">
                  <c:v>33328</c:v>
                </c:pt>
                <c:pt idx="157">
                  <c:v>33358</c:v>
                </c:pt>
                <c:pt idx="158">
                  <c:v>33389</c:v>
                </c:pt>
                <c:pt idx="159">
                  <c:v>33419</c:v>
                </c:pt>
                <c:pt idx="160">
                  <c:v>33450</c:v>
                </c:pt>
                <c:pt idx="161">
                  <c:v>33481</c:v>
                </c:pt>
                <c:pt idx="162">
                  <c:v>33511</c:v>
                </c:pt>
                <c:pt idx="163">
                  <c:v>33542</c:v>
                </c:pt>
                <c:pt idx="164">
                  <c:v>33572</c:v>
                </c:pt>
                <c:pt idx="165">
                  <c:v>33603</c:v>
                </c:pt>
                <c:pt idx="166">
                  <c:v>33634</c:v>
                </c:pt>
                <c:pt idx="167">
                  <c:v>33663</c:v>
                </c:pt>
                <c:pt idx="168">
                  <c:v>33694</c:v>
                </c:pt>
                <c:pt idx="169">
                  <c:v>33724</c:v>
                </c:pt>
                <c:pt idx="170">
                  <c:v>33755</c:v>
                </c:pt>
                <c:pt idx="171">
                  <c:v>33785</c:v>
                </c:pt>
                <c:pt idx="172">
                  <c:v>33816</c:v>
                </c:pt>
                <c:pt idx="173">
                  <c:v>33847</c:v>
                </c:pt>
                <c:pt idx="174">
                  <c:v>33877</c:v>
                </c:pt>
                <c:pt idx="175">
                  <c:v>33908</c:v>
                </c:pt>
                <c:pt idx="176">
                  <c:v>33938</c:v>
                </c:pt>
                <c:pt idx="177">
                  <c:v>33969</c:v>
                </c:pt>
                <c:pt idx="178">
                  <c:v>34000</c:v>
                </c:pt>
                <c:pt idx="179">
                  <c:v>34028</c:v>
                </c:pt>
                <c:pt idx="180">
                  <c:v>34059</c:v>
                </c:pt>
                <c:pt idx="181">
                  <c:v>34089</c:v>
                </c:pt>
                <c:pt idx="182">
                  <c:v>34120</c:v>
                </c:pt>
                <c:pt idx="183">
                  <c:v>34150</c:v>
                </c:pt>
                <c:pt idx="184">
                  <c:v>34181</c:v>
                </c:pt>
                <c:pt idx="185">
                  <c:v>34212</c:v>
                </c:pt>
                <c:pt idx="186">
                  <c:v>34242</c:v>
                </c:pt>
                <c:pt idx="187">
                  <c:v>34273</c:v>
                </c:pt>
                <c:pt idx="188">
                  <c:v>34303</c:v>
                </c:pt>
                <c:pt idx="189">
                  <c:v>34334</c:v>
                </c:pt>
                <c:pt idx="190">
                  <c:v>34365</c:v>
                </c:pt>
                <c:pt idx="191">
                  <c:v>34393</c:v>
                </c:pt>
                <c:pt idx="192">
                  <c:v>34424</c:v>
                </c:pt>
                <c:pt idx="193">
                  <c:v>34454</c:v>
                </c:pt>
                <c:pt idx="194">
                  <c:v>34485</c:v>
                </c:pt>
                <c:pt idx="195">
                  <c:v>34515</c:v>
                </c:pt>
                <c:pt idx="196">
                  <c:v>34546</c:v>
                </c:pt>
                <c:pt idx="197">
                  <c:v>34577</c:v>
                </c:pt>
                <c:pt idx="198">
                  <c:v>34607</c:v>
                </c:pt>
                <c:pt idx="199">
                  <c:v>34638</c:v>
                </c:pt>
                <c:pt idx="200">
                  <c:v>34668</c:v>
                </c:pt>
                <c:pt idx="201">
                  <c:v>34699</c:v>
                </c:pt>
                <c:pt idx="202">
                  <c:v>34730</c:v>
                </c:pt>
                <c:pt idx="203">
                  <c:v>34758</c:v>
                </c:pt>
                <c:pt idx="204">
                  <c:v>34789</c:v>
                </c:pt>
                <c:pt idx="205">
                  <c:v>34819</c:v>
                </c:pt>
                <c:pt idx="206">
                  <c:v>34850</c:v>
                </c:pt>
                <c:pt idx="207">
                  <c:v>34880</c:v>
                </c:pt>
                <c:pt idx="208">
                  <c:v>34911</c:v>
                </c:pt>
                <c:pt idx="209">
                  <c:v>34942</c:v>
                </c:pt>
                <c:pt idx="210">
                  <c:v>34972</c:v>
                </c:pt>
                <c:pt idx="211">
                  <c:v>35003</c:v>
                </c:pt>
                <c:pt idx="212">
                  <c:v>35033</c:v>
                </c:pt>
                <c:pt idx="213">
                  <c:v>35064</c:v>
                </c:pt>
                <c:pt idx="214">
                  <c:v>35095</c:v>
                </c:pt>
                <c:pt idx="215">
                  <c:v>35124</c:v>
                </c:pt>
                <c:pt idx="216">
                  <c:v>35155</c:v>
                </c:pt>
                <c:pt idx="217">
                  <c:v>35185</c:v>
                </c:pt>
                <c:pt idx="218">
                  <c:v>35216</c:v>
                </c:pt>
                <c:pt idx="219">
                  <c:v>35246</c:v>
                </c:pt>
                <c:pt idx="220">
                  <c:v>35277</c:v>
                </c:pt>
                <c:pt idx="221">
                  <c:v>35308</c:v>
                </c:pt>
                <c:pt idx="222">
                  <c:v>35338</c:v>
                </c:pt>
                <c:pt idx="223">
                  <c:v>35369</c:v>
                </c:pt>
                <c:pt idx="224">
                  <c:v>35399</c:v>
                </c:pt>
                <c:pt idx="225">
                  <c:v>35430</c:v>
                </c:pt>
                <c:pt idx="226">
                  <c:v>35461</c:v>
                </c:pt>
                <c:pt idx="227">
                  <c:v>35489</c:v>
                </c:pt>
                <c:pt idx="228">
                  <c:v>35520</c:v>
                </c:pt>
                <c:pt idx="229">
                  <c:v>35550</c:v>
                </c:pt>
                <c:pt idx="230">
                  <c:v>35581</c:v>
                </c:pt>
                <c:pt idx="231">
                  <c:v>35611</c:v>
                </c:pt>
                <c:pt idx="232">
                  <c:v>35642</c:v>
                </c:pt>
                <c:pt idx="233">
                  <c:v>35673</c:v>
                </c:pt>
                <c:pt idx="234">
                  <c:v>35703</c:v>
                </c:pt>
                <c:pt idx="235">
                  <c:v>35734</c:v>
                </c:pt>
                <c:pt idx="236">
                  <c:v>35764</c:v>
                </c:pt>
                <c:pt idx="237">
                  <c:v>35795</c:v>
                </c:pt>
                <c:pt idx="238">
                  <c:v>35826</c:v>
                </c:pt>
                <c:pt idx="239">
                  <c:v>35854</c:v>
                </c:pt>
                <c:pt idx="240">
                  <c:v>35885</c:v>
                </c:pt>
                <c:pt idx="241">
                  <c:v>35915</c:v>
                </c:pt>
                <c:pt idx="242">
                  <c:v>35946</c:v>
                </c:pt>
                <c:pt idx="243">
                  <c:v>35976</c:v>
                </c:pt>
                <c:pt idx="244">
                  <c:v>36007</c:v>
                </c:pt>
                <c:pt idx="245">
                  <c:v>36038</c:v>
                </c:pt>
                <c:pt idx="246">
                  <c:v>36068</c:v>
                </c:pt>
                <c:pt idx="247">
                  <c:v>36099</c:v>
                </c:pt>
                <c:pt idx="248">
                  <c:v>36129</c:v>
                </c:pt>
                <c:pt idx="249">
                  <c:v>36160</c:v>
                </c:pt>
                <c:pt idx="250">
                  <c:v>36191</c:v>
                </c:pt>
                <c:pt idx="251">
                  <c:v>36219</c:v>
                </c:pt>
                <c:pt idx="252">
                  <c:v>36250</c:v>
                </c:pt>
                <c:pt idx="253">
                  <c:v>36280</c:v>
                </c:pt>
                <c:pt idx="254">
                  <c:v>36311</c:v>
                </c:pt>
                <c:pt idx="255">
                  <c:v>36341</c:v>
                </c:pt>
                <c:pt idx="256">
                  <c:v>36372</c:v>
                </c:pt>
                <c:pt idx="257">
                  <c:v>36403</c:v>
                </c:pt>
                <c:pt idx="258">
                  <c:v>36433</c:v>
                </c:pt>
                <c:pt idx="259">
                  <c:v>36464</c:v>
                </c:pt>
                <c:pt idx="260">
                  <c:v>36494</c:v>
                </c:pt>
                <c:pt idx="261">
                  <c:v>36525</c:v>
                </c:pt>
                <c:pt idx="262">
                  <c:v>36556</c:v>
                </c:pt>
                <c:pt idx="263">
                  <c:v>36585</c:v>
                </c:pt>
                <c:pt idx="264">
                  <c:v>36616</c:v>
                </c:pt>
                <c:pt idx="265">
                  <c:v>36646</c:v>
                </c:pt>
                <c:pt idx="266">
                  <c:v>36677</c:v>
                </c:pt>
                <c:pt idx="267">
                  <c:v>36707</c:v>
                </c:pt>
                <c:pt idx="268">
                  <c:v>36738</c:v>
                </c:pt>
                <c:pt idx="269">
                  <c:v>36769</c:v>
                </c:pt>
                <c:pt idx="270">
                  <c:v>36799</c:v>
                </c:pt>
                <c:pt idx="271">
                  <c:v>36830</c:v>
                </c:pt>
                <c:pt idx="272">
                  <c:v>36860</c:v>
                </c:pt>
                <c:pt idx="273">
                  <c:v>36891</c:v>
                </c:pt>
                <c:pt idx="274">
                  <c:v>36922</c:v>
                </c:pt>
                <c:pt idx="275">
                  <c:v>36950</c:v>
                </c:pt>
                <c:pt idx="276">
                  <c:v>36981</c:v>
                </c:pt>
                <c:pt idx="277">
                  <c:v>37011</c:v>
                </c:pt>
                <c:pt idx="278">
                  <c:v>37042</c:v>
                </c:pt>
                <c:pt idx="279">
                  <c:v>37072</c:v>
                </c:pt>
                <c:pt idx="280">
                  <c:v>37103</c:v>
                </c:pt>
                <c:pt idx="281">
                  <c:v>37134</c:v>
                </c:pt>
                <c:pt idx="282">
                  <c:v>37164</c:v>
                </c:pt>
                <c:pt idx="283">
                  <c:v>37195</c:v>
                </c:pt>
                <c:pt idx="284">
                  <c:v>37225</c:v>
                </c:pt>
                <c:pt idx="285">
                  <c:v>37256</c:v>
                </c:pt>
                <c:pt idx="286">
                  <c:v>37287</c:v>
                </c:pt>
                <c:pt idx="287">
                  <c:v>37315</c:v>
                </c:pt>
                <c:pt idx="288">
                  <c:v>37346</c:v>
                </c:pt>
                <c:pt idx="289">
                  <c:v>37376</c:v>
                </c:pt>
                <c:pt idx="290">
                  <c:v>37407</c:v>
                </c:pt>
                <c:pt idx="291">
                  <c:v>37437</c:v>
                </c:pt>
                <c:pt idx="292">
                  <c:v>37468</c:v>
                </c:pt>
                <c:pt idx="293">
                  <c:v>37499</c:v>
                </c:pt>
                <c:pt idx="294">
                  <c:v>37529</c:v>
                </c:pt>
                <c:pt idx="295">
                  <c:v>37560</c:v>
                </c:pt>
                <c:pt idx="296">
                  <c:v>37590</c:v>
                </c:pt>
                <c:pt idx="297">
                  <c:v>37621</c:v>
                </c:pt>
                <c:pt idx="298">
                  <c:v>37652</c:v>
                </c:pt>
                <c:pt idx="299">
                  <c:v>37680</c:v>
                </c:pt>
                <c:pt idx="300">
                  <c:v>37711</c:v>
                </c:pt>
                <c:pt idx="301">
                  <c:v>37741</c:v>
                </c:pt>
                <c:pt idx="302">
                  <c:v>37772</c:v>
                </c:pt>
                <c:pt idx="303">
                  <c:v>37802</c:v>
                </c:pt>
                <c:pt idx="304">
                  <c:v>37833</c:v>
                </c:pt>
                <c:pt idx="305">
                  <c:v>37864</c:v>
                </c:pt>
                <c:pt idx="306">
                  <c:v>37894</c:v>
                </c:pt>
                <c:pt idx="307">
                  <c:v>37925</c:v>
                </c:pt>
                <c:pt idx="308">
                  <c:v>37955</c:v>
                </c:pt>
                <c:pt idx="309">
                  <c:v>37986</c:v>
                </c:pt>
                <c:pt idx="310">
                  <c:v>38017</c:v>
                </c:pt>
                <c:pt idx="311">
                  <c:v>38046</c:v>
                </c:pt>
                <c:pt idx="312">
                  <c:v>38077</c:v>
                </c:pt>
                <c:pt idx="313">
                  <c:v>38107</c:v>
                </c:pt>
                <c:pt idx="314">
                  <c:v>38138</c:v>
                </c:pt>
                <c:pt idx="315">
                  <c:v>38168</c:v>
                </c:pt>
                <c:pt idx="316">
                  <c:v>38199</c:v>
                </c:pt>
                <c:pt idx="317">
                  <c:v>38230</c:v>
                </c:pt>
                <c:pt idx="318">
                  <c:v>38260</c:v>
                </c:pt>
                <c:pt idx="319">
                  <c:v>38291</c:v>
                </c:pt>
                <c:pt idx="320">
                  <c:v>38321</c:v>
                </c:pt>
                <c:pt idx="321">
                  <c:v>38352</c:v>
                </c:pt>
                <c:pt idx="322">
                  <c:v>38383</c:v>
                </c:pt>
                <c:pt idx="323">
                  <c:v>38411</c:v>
                </c:pt>
                <c:pt idx="324">
                  <c:v>38442</c:v>
                </c:pt>
                <c:pt idx="325">
                  <c:v>38472</c:v>
                </c:pt>
                <c:pt idx="326">
                  <c:v>38503</c:v>
                </c:pt>
                <c:pt idx="327">
                  <c:v>38533</c:v>
                </c:pt>
                <c:pt idx="328">
                  <c:v>38564</c:v>
                </c:pt>
                <c:pt idx="329">
                  <c:v>38595</c:v>
                </c:pt>
                <c:pt idx="330">
                  <c:v>38625</c:v>
                </c:pt>
                <c:pt idx="331">
                  <c:v>38656</c:v>
                </c:pt>
                <c:pt idx="332">
                  <c:v>38686</c:v>
                </c:pt>
                <c:pt idx="333">
                  <c:v>38717</c:v>
                </c:pt>
                <c:pt idx="334">
                  <c:v>38748</c:v>
                </c:pt>
                <c:pt idx="335">
                  <c:v>38776</c:v>
                </c:pt>
                <c:pt idx="336">
                  <c:v>38807</c:v>
                </c:pt>
                <c:pt idx="337">
                  <c:v>38837</c:v>
                </c:pt>
                <c:pt idx="338">
                  <c:v>38868</c:v>
                </c:pt>
                <c:pt idx="339">
                  <c:v>38898</c:v>
                </c:pt>
                <c:pt idx="340">
                  <c:v>38929</c:v>
                </c:pt>
                <c:pt idx="341">
                  <c:v>38960</c:v>
                </c:pt>
                <c:pt idx="342">
                  <c:v>38990</c:v>
                </c:pt>
                <c:pt idx="343">
                  <c:v>39021</c:v>
                </c:pt>
                <c:pt idx="344">
                  <c:v>39051</c:v>
                </c:pt>
                <c:pt idx="345">
                  <c:v>39082</c:v>
                </c:pt>
                <c:pt idx="346">
                  <c:v>39113</c:v>
                </c:pt>
                <c:pt idx="347">
                  <c:v>39141</c:v>
                </c:pt>
                <c:pt idx="348">
                  <c:v>39172</c:v>
                </c:pt>
                <c:pt idx="349">
                  <c:v>39202</c:v>
                </c:pt>
                <c:pt idx="350">
                  <c:v>39233</c:v>
                </c:pt>
                <c:pt idx="351">
                  <c:v>39263</c:v>
                </c:pt>
                <c:pt idx="352">
                  <c:v>39294</c:v>
                </c:pt>
                <c:pt idx="353">
                  <c:v>39325</c:v>
                </c:pt>
                <c:pt idx="354">
                  <c:v>39355</c:v>
                </c:pt>
                <c:pt idx="355">
                  <c:v>39386</c:v>
                </c:pt>
                <c:pt idx="356">
                  <c:v>39416</c:v>
                </c:pt>
                <c:pt idx="357">
                  <c:v>39447</c:v>
                </c:pt>
                <c:pt idx="358">
                  <c:v>39478</c:v>
                </c:pt>
                <c:pt idx="359">
                  <c:v>39507</c:v>
                </c:pt>
                <c:pt idx="360">
                  <c:v>39538</c:v>
                </c:pt>
                <c:pt idx="361">
                  <c:v>39568</c:v>
                </c:pt>
                <c:pt idx="362">
                  <c:v>39599</c:v>
                </c:pt>
                <c:pt idx="363">
                  <c:v>39629</c:v>
                </c:pt>
                <c:pt idx="364">
                  <c:v>39660</c:v>
                </c:pt>
                <c:pt idx="365">
                  <c:v>39691</c:v>
                </c:pt>
                <c:pt idx="366">
                  <c:v>39721</c:v>
                </c:pt>
                <c:pt idx="367">
                  <c:v>39752</c:v>
                </c:pt>
                <c:pt idx="368">
                  <c:v>39782</c:v>
                </c:pt>
                <c:pt idx="369">
                  <c:v>39813</c:v>
                </c:pt>
                <c:pt idx="370">
                  <c:v>39844</c:v>
                </c:pt>
                <c:pt idx="371">
                  <c:v>39872</c:v>
                </c:pt>
                <c:pt idx="372">
                  <c:v>39903</c:v>
                </c:pt>
                <c:pt idx="373">
                  <c:v>39933</c:v>
                </c:pt>
                <c:pt idx="374">
                  <c:v>39964</c:v>
                </c:pt>
                <c:pt idx="375">
                  <c:v>39994</c:v>
                </c:pt>
                <c:pt idx="376">
                  <c:v>40025</c:v>
                </c:pt>
                <c:pt idx="377">
                  <c:v>40056</c:v>
                </c:pt>
                <c:pt idx="378">
                  <c:v>40086</c:v>
                </c:pt>
                <c:pt idx="379">
                  <c:v>40117</c:v>
                </c:pt>
                <c:pt idx="380">
                  <c:v>40147</c:v>
                </c:pt>
                <c:pt idx="381">
                  <c:v>40178</c:v>
                </c:pt>
                <c:pt idx="382">
                  <c:v>40209</c:v>
                </c:pt>
                <c:pt idx="383">
                  <c:v>40237</c:v>
                </c:pt>
                <c:pt idx="384">
                  <c:v>40268</c:v>
                </c:pt>
                <c:pt idx="385">
                  <c:v>40298</c:v>
                </c:pt>
                <c:pt idx="386">
                  <c:v>40329</c:v>
                </c:pt>
                <c:pt idx="387">
                  <c:v>40359</c:v>
                </c:pt>
                <c:pt idx="388">
                  <c:v>40390</c:v>
                </c:pt>
                <c:pt idx="389">
                  <c:v>40421</c:v>
                </c:pt>
                <c:pt idx="390">
                  <c:v>40451</c:v>
                </c:pt>
                <c:pt idx="391">
                  <c:v>40482</c:v>
                </c:pt>
                <c:pt idx="392">
                  <c:v>40512</c:v>
                </c:pt>
                <c:pt idx="393">
                  <c:v>40543</c:v>
                </c:pt>
                <c:pt idx="394">
                  <c:v>40574</c:v>
                </c:pt>
                <c:pt idx="395">
                  <c:v>40602</c:v>
                </c:pt>
                <c:pt idx="396">
                  <c:v>40633</c:v>
                </c:pt>
                <c:pt idx="397">
                  <c:v>40663</c:v>
                </c:pt>
                <c:pt idx="398">
                  <c:v>40694</c:v>
                </c:pt>
                <c:pt idx="399">
                  <c:v>40724</c:v>
                </c:pt>
                <c:pt idx="400">
                  <c:v>40755</c:v>
                </c:pt>
                <c:pt idx="401">
                  <c:v>40786</c:v>
                </c:pt>
                <c:pt idx="402">
                  <c:v>40816</c:v>
                </c:pt>
                <c:pt idx="403">
                  <c:v>40847</c:v>
                </c:pt>
                <c:pt idx="404">
                  <c:v>40877</c:v>
                </c:pt>
                <c:pt idx="405">
                  <c:v>40908</c:v>
                </c:pt>
                <c:pt idx="406">
                  <c:v>40939</c:v>
                </c:pt>
                <c:pt idx="407">
                  <c:v>40968</c:v>
                </c:pt>
                <c:pt idx="408">
                  <c:v>40999</c:v>
                </c:pt>
                <c:pt idx="409">
                  <c:v>41029</c:v>
                </c:pt>
                <c:pt idx="410">
                  <c:v>41060</c:v>
                </c:pt>
                <c:pt idx="411">
                  <c:v>41090</c:v>
                </c:pt>
                <c:pt idx="412">
                  <c:v>41121</c:v>
                </c:pt>
                <c:pt idx="413">
                  <c:v>41152</c:v>
                </c:pt>
                <c:pt idx="414">
                  <c:v>41182</c:v>
                </c:pt>
                <c:pt idx="415">
                  <c:v>41213</c:v>
                </c:pt>
                <c:pt idx="416">
                  <c:v>41243</c:v>
                </c:pt>
                <c:pt idx="417">
                  <c:v>41274</c:v>
                </c:pt>
                <c:pt idx="418">
                  <c:v>41305</c:v>
                </c:pt>
                <c:pt idx="419">
                  <c:v>41333</c:v>
                </c:pt>
                <c:pt idx="420">
                  <c:v>41364</c:v>
                </c:pt>
                <c:pt idx="421">
                  <c:v>41394</c:v>
                </c:pt>
                <c:pt idx="422">
                  <c:v>41425</c:v>
                </c:pt>
                <c:pt idx="423">
                  <c:v>41455</c:v>
                </c:pt>
                <c:pt idx="424">
                  <c:v>41486</c:v>
                </c:pt>
                <c:pt idx="425">
                  <c:v>41517</c:v>
                </c:pt>
                <c:pt idx="426">
                  <c:v>41547</c:v>
                </c:pt>
                <c:pt idx="427">
                  <c:v>41578</c:v>
                </c:pt>
                <c:pt idx="428">
                  <c:v>41608</c:v>
                </c:pt>
                <c:pt idx="429">
                  <c:v>41639</c:v>
                </c:pt>
                <c:pt idx="430">
                  <c:v>41670</c:v>
                </c:pt>
                <c:pt idx="431">
                  <c:v>41698</c:v>
                </c:pt>
                <c:pt idx="432">
                  <c:v>41729</c:v>
                </c:pt>
                <c:pt idx="433">
                  <c:v>41759</c:v>
                </c:pt>
                <c:pt idx="434">
                  <c:v>41790</c:v>
                </c:pt>
                <c:pt idx="435">
                  <c:v>41820</c:v>
                </c:pt>
                <c:pt idx="436">
                  <c:v>41851</c:v>
                </c:pt>
                <c:pt idx="437">
                  <c:v>41882</c:v>
                </c:pt>
                <c:pt idx="438">
                  <c:v>41912</c:v>
                </c:pt>
                <c:pt idx="439">
                  <c:v>41943</c:v>
                </c:pt>
                <c:pt idx="440">
                  <c:v>41973</c:v>
                </c:pt>
                <c:pt idx="441">
                  <c:v>42004</c:v>
                </c:pt>
                <c:pt idx="442">
                  <c:v>42035</c:v>
                </c:pt>
                <c:pt idx="443">
                  <c:v>42063</c:v>
                </c:pt>
                <c:pt idx="444">
                  <c:v>42094</c:v>
                </c:pt>
                <c:pt idx="445">
                  <c:v>42124</c:v>
                </c:pt>
                <c:pt idx="446">
                  <c:v>42155</c:v>
                </c:pt>
                <c:pt idx="447">
                  <c:v>42185</c:v>
                </c:pt>
                <c:pt idx="448">
                  <c:v>42216</c:v>
                </c:pt>
                <c:pt idx="449">
                  <c:v>42247</c:v>
                </c:pt>
                <c:pt idx="450">
                  <c:v>42277</c:v>
                </c:pt>
                <c:pt idx="451">
                  <c:v>42308</c:v>
                </c:pt>
                <c:pt idx="452">
                  <c:v>42338</c:v>
                </c:pt>
                <c:pt idx="453">
                  <c:v>42369</c:v>
                </c:pt>
                <c:pt idx="454">
                  <c:v>42400</c:v>
                </c:pt>
                <c:pt idx="455">
                  <c:v>42429</c:v>
                </c:pt>
                <c:pt idx="456">
                  <c:v>42460</c:v>
                </c:pt>
                <c:pt idx="457">
                  <c:v>42490</c:v>
                </c:pt>
                <c:pt idx="458">
                  <c:v>42521</c:v>
                </c:pt>
                <c:pt idx="459">
                  <c:v>42551</c:v>
                </c:pt>
                <c:pt idx="460">
                  <c:v>42582</c:v>
                </c:pt>
                <c:pt idx="461">
                  <c:v>42613</c:v>
                </c:pt>
                <c:pt idx="462">
                  <c:v>42643</c:v>
                </c:pt>
                <c:pt idx="463">
                  <c:v>42674</c:v>
                </c:pt>
                <c:pt idx="464">
                  <c:v>42704</c:v>
                </c:pt>
                <c:pt idx="465">
                  <c:v>42735</c:v>
                </c:pt>
                <c:pt idx="466">
                  <c:v>42766</c:v>
                </c:pt>
                <c:pt idx="467">
                  <c:v>42794</c:v>
                </c:pt>
                <c:pt idx="468">
                  <c:v>42825</c:v>
                </c:pt>
                <c:pt idx="469">
                  <c:v>42855</c:v>
                </c:pt>
                <c:pt idx="470">
                  <c:v>42886</c:v>
                </c:pt>
                <c:pt idx="471">
                  <c:v>42916</c:v>
                </c:pt>
                <c:pt idx="472">
                  <c:v>42947</c:v>
                </c:pt>
                <c:pt idx="473">
                  <c:v>42978</c:v>
                </c:pt>
                <c:pt idx="474">
                  <c:v>43008</c:v>
                </c:pt>
                <c:pt idx="475">
                  <c:v>43039</c:v>
                </c:pt>
                <c:pt idx="476">
                  <c:v>43069</c:v>
                </c:pt>
                <c:pt idx="477">
                  <c:v>43100</c:v>
                </c:pt>
                <c:pt idx="478">
                  <c:v>43131</c:v>
                </c:pt>
                <c:pt idx="479">
                  <c:v>43159</c:v>
                </c:pt>
                <c:pt idx="480">
                  <c:v>43190</c:v>
                </c:pt>
                <c:pt idx="481">
                  <c:v>43220</c:v>
                </c:pt>
                <c:pt idx="482">
                  <c:v>43251</c:v>
                </c:pt>
                <c:pt idx="483">
                  <c:v>43281</c:v>
                </c:pt>
                <c:pt idx="484">
                  <c:v>43312</c:v>
                </c:pt>
                <c:pt idx="485">
                  <c:v>43343</c:v>
                </c:pt>
                <c:pt idx="486">
                  <c:v>43373</c:v>
                </c:pt>
                <c:pt idx="487">
                  <c:v>43404</c:v>
                </c:pt>
                <c:pt idx="488">
                  <c:v>43434</c:v>
                </c:pt>
                <c:pt idx="489">
                  <c:v>43465</c:v>
                </c:pt>
                <c:pt idx="490">
                  <c:v>43496</c:v>
                </c:pt>
                <c:pt idx="491">
                  <c:v>43524</c:v>
                </c:pt>
                <c:pt idx="492">
                  <c:v>43555</c:v>
                </c:pt>
                <c:pt idx="493">
                  <c:v>43585</c:v>
                </c:pt>
                <c:pt idx="494">
                  <c:v>43616</c:v>
                </c:pt>
                <c:pt idx="495">
                  <c:v>43646</c:v>
                </c:pt>
                <c:pt idx="496">
                  <c:v>43677</c:v>
                </c:pt>
                <c:pt idx="497">
                  <c:v>43708</c:v>
                </c:pt>
                <c:pt idx="498">
                  <c:v>43738</c:v>
                </c:pt>
                <c:pt idx="499">
                  <c:v>43769</c:v>
                </c:pt>
                <c:pt idx="500">
                  <c:v>43799</c:v>
                </c:pt>
                <c:pt idx="501">
                  <c:v>43830</c:v>
                </c:pt>
                <c:pt idx="502">
                  <c:v>43861</c:v>
                </c:pt>
                <c:pt idx="503">
                  <c:v>43890</c:v>
                </c:pt>
                <c:pt idx="504">
                  <c:v>43921</c:v>
                </c:pt>
                <c:pt idx="505">
                  <c:v>43951</c:v>
                </c:pt>
                <c:pt idx="506">
                  <c:v>43982</c:v>
                </c:pt>
                <c:pt idx="507">
                  <c:v>44012</c:v>
                </c:pt>
                <c:pt idx="508">
                  <c:v>44043</c:v>
                </c:pt>
                <c:pt idx="509">
                  <c:v>44074</c:v>
                </c:pt>
                <c:pt idx="510">
                  <c:v>44104</c:v>
                </c:pt>
                <c:pt idx="511">
                  <c:v>44135</c:v>
                </c:pt>
                <c:pt idx="512">
                  <c:v>44165</c:v>
                </c:pt>
                <c:pt idx="513">
                  <c:v>44196</c:v>
                </c:pt>
                <c:pt idx="514">
                  <c:v>44227</c:v>
                </c:pt>
                <c:pt idx="515">
                  <c:v>44255</c:v>
                </c:pt>
                <c:pt idx="516">
                  <c:v>44286</c:v>
                </c:pt>
                <c:pt idx="517">
                  <c:v>44316</c:v>
                </c:pt>
                <c:pt idx="518">
                  <c:v>44347</c:v>
                </c:pt>
                <c:pt idx="519">
                  <c:v>44377</c:v>
                </c:pt>
                <c:pt idx="520">
                  <c:v>44408</c:v>
                </c:pt>
                <c:pt idx="521">
                  <c:v>44439</c:v>
                </c:pt>
                <c:pt idx="522">
                  <c:v>44469</c:v>
                </c:pt>
                <c:pt idx="523">
                  <c:v>44500</c:v>
                </c:pt>
                <c:pt idx="524">
                  <c:v>44530</c:v>
                </c:pt>
                <c:pt idx="525">
                  <c:v>44561</c:v>
                </c:pt>
                <c:pt idx="526">
                  <c:v>44592</c:v>
                </c:pt>
                <c:pt idx="527">
                  <c:v>44620</c:v>
                </c:pt>
                <c:pt idx="528">
                  <c:v>44651</c:v>
                </c:pt>
                <c:pt idx="529">
                  <c:v>44681</c:v>
                </c:pt>
                <c:pt idx="530">
                  <c:v>44712</c:v>
                </c:pt>
                <c:pt idx="531">
                  <c:v>44742</c:v>
                </c:pt>
              </c:numCache>
            </c:numRef>
          </c:cat>
          <c:val>
            <c:numRef>
              <c:f>Sheet1!$D$12:$D$543</c:f>
              <c:numCache>
                <c:formatCode>0.0</c:formatCode>
                <c:ptCount val="532"/>
                <c:pt idx="0">
                  <c:v>-11.5</c:v>
                </c:pt>
                <c:pt idx="1">
                  <c:v>-9.6999999999999993</c:v>
                </c:pt>
                <c:pt idx="2">
                  <c:v>-6.7</c:v>
                </c:pt>
                <c:pt idx="3">
                  <c:v>-4.8</c:v>
                </c:pt>
                <c:pt idx="4">
                  <c:v>-4.3</c:v>
                </c:pt>
                <c:pt idx="5">
                  <c:v>-3.1</c:v>
                </c:pt>
                <c:pt idx="6">
                  <c:v>-4.0999999999999996</c:v>
                </c:pt>
                <c:pt idx="7">
                  <c:v>-1.2</c:v>
                </c:pt>
                <c:pt idx="8">
                  <c:v>-3.7</c:v>
                </c:pt>
                <c:pt idx="9">
                  <c:v>-0.9</c:v>
                </c:pt>
                <c:pt idx="10">
                  <c:v>-1.8</c:v>
                </c:pt>
                <c:pt idx="11">
                  <c:v>-3.8</c:v>
                </c:pt>
                <c:pt idx="12">
                  <c:v>-1</c:v>
                </c:pt>
                <c:pt idx="13">
                  <c:v>-3.2</c:v>
                </c:pt>
                <c:pt idx="14">
                  <c:v>0.4</c:v>
                </c:pt>
                <c:pt idx="15">
                  <c:v>-1.6</c:v>
                </c:pt>
                <c:pt idx="16">
                  <c:v>-5.3</c:v>
                </c:pt>
                <c:pt idx="17">
                  <c:v>-4.3</c:v>
                </c:pt>
                <c:pt idx="18">
                  <c:v>0</c:v>
                </c:pt>
                <c:pt idx="19">
                  <c:v>-1.2</c:v>
                </c:pt>
                <c:pt idx="20">
                  <c:v>-3.3</c:v>
                </c:pt>
                <c:pt idx="21">
                  <c:v>-4.3</c:v>
                </c:pt>
                <c:pt idx="22">
                  <c:v>-7.5</c:v>
                </c:pt>
                <c:pt idx="23">
                  <c:v>-9.1</c:v>
                </c:pt>
                <c:pt idx="24">
                  <c:v>-10.9</c:v>
                </c:pt>
                <c:pt idx="25">
                  <c:v>-17.3</c:v>
                </c:pt>
                <c:pt idx="26">
                  <c:v>-28.5</c:v>
                </c:pt>
                <c:pt idx="27">
                  <c:v>-33.4</c:v>
                </c:pt>
                <c:pt idx="28">
                  <c:v>-31.4</c:v>
                </c:pt>
                <c:pt idx="29">
                  <c:v>-32.200000000000003</c:v>
                </c:pt>
                <c:pt idx="30">
                  <c:v>-28</c:v>
                </c:pt>
                <c:pt idx="31">
                  <c:v>-26.9</c:v>
                </c:pt>
                <c:pt idx="32">
                  <c:v>-24.9</c:v>
                </c:pt>
                <c:pt idx="33">
                  <c:v>-27.2</c:v>
                </c:pt>
                <c:pt idx="34">
                  <c:v>-26.5</c:v>
                </c:pt>
                <c:pt idx="35">
                  <c:v>-29.9</c:v>
                </c:pt>
                <c:pt idx="36">
                  <c:v>-26.1</c:v>
                </c:pt>
                <c:pt idx="37">
                  <c:v>-24</c:v>
                </c:pt>
                <c:pt idx="38">
                  <c:v>-23.8</c:v>
                </c:pt>
                <c:pt idx="39">
                  <c:v>-25.1</c:v>
                </c:pt>
                <c:pt idx="40">
                  <c:v>-25.3</c:v>
                </c:pt>
                <c:pt idx="41">
                  <c:v>-25.6</c:v>
                </c:pt>
                <c:pt idx="42">
                  <c:v>-26.1</c:v>
                </c:pt>
                <c:pt idx="43">
                  <c:v>-27.7</c:v>
                </c:pt>
                <c:pt idx="44">
                  <c:v>-32.5</c:v>
                </c:pt>
                <c:pt idx="45">
                  <c:v>-37.5</c:v>
                </c:pt>
                <c:pt idx="46">
                  <c:v>-40.200000000000003</c:v>
                </c:pt>
                <c:pt idx="47">
                  <c:v>-41.8</c:v>
                </c:pt>
                <c:pt idx="48">
                  <c:v>-44</c:v>
                </c:pt>
                <c:pt idx="49">
                  <c:v>-50.4</c:v>
                </c:pt>
                <c:pt idx="50">
                  <c:v>-47.5</c:v>
                </c:pt>
                <c:pt idx="51">
                  <c:v>-52.3</c:v>
                </c:pt>
                <c:pt idx="52">
                  <c:v>-52.6</c:v>
                </c:pt>
                <c:pt idx="53">
                  <c:v>-54.1</c:v>
                </c:pt>
                <c:pt idx="54">
                  <c:v>-56.9</c:v>
                </c:pt>
                <c:pt idx="55">
                  <c:v>-55.8</c:v>
                </c:pt>
                <c:pt idx="56">
                  <c:v>-58.3</c:v>
                </c:pt>
                <c:pt idx="57">
                  <c:v>-58.7</c:v>
                </c:pt>
                <c:pt idx="58">
                  <c:v>-57.6</c:v>
                </c:pt>
                <c:pt idx="59">
                  <c:v>-55.5</c:v>
                </c:pt>
                <c:pt idx="60">
                  <c:v>-50.9</c:v>
                </c:pt>
                <c:pt idx="61">
                  <c:v>-48.6</c:v>
                </c:pt>
                <c:pt idx="62">
                  <c:v>-47.3</c:v>
                </c:pt>
                <c:pt idx="63">
                  <c:v>-43.2</c:v>
                </c:pt>
                <c:pt idx="64">
                  <c:v>-40.9</c:v>
                </c:pt>
                <c:pt idx="65">
                  <c:v>-36.799999999999997</c:v>
                </c:pt>
                <c:pt idx="66">
                  <c:v>-36</c:v>
                </c:pt>
                <c:pt idx="67">
                  <c:v>-35.299999999999997</c:v>
                </c:pt>
                <c:pt idx="68">
                  <c:v>-30.4</c:v>
                </c:pt>
                <c:pt idx="69">
                  <c:v>-27.3</c:v>
                </c:pt>
                <c:pt idx="70">
                  <c:v>-26.2</c:v>
                </c:pt>
                <c:pt idx="71">
                  <c:v>-23.1</c:v>
                </c:pt>
                <c:pt idx="72">
                  <c:v>-22.3</c:v>
                </c:pt>
                <c:pt idx="73">
                  <c:v>-21.2</c:v>
                </c:pt>
                <c:pt idx="74">
                  <c:v>-18.600000000000001</c:v>
                </c:pt>
                <c:pt idx="75">
                  <c:v>-13</c:v>
                </c:pt>
                <c:pt idx="76">
                  <c:v>-15.8</c:v>
                </c:pt>
                <c:pt idx="77">
                  <c:v>-14.6</c:v>
                </c:pt>
                <c:pt idx="78">
                  <c:v>-15.5</c:v>
                </c:pt>
                <c:pt idx="79">
                  <c:v>-16.2</c:v>
                </c:pt>
                <c:pt idx="80">
                  <c:v>-13</c:v>
                </c:pt>
                <c:pt idx="81">
                  <c:v>-15.7</c:v>
                </c:pt>
                <c:pt idx="82">
                  <c:v>-11.2</c:v>
                </c:pt>
                <c:pt idx="83">
                  <c:v>-11.4</c:v>
                </c:pt>
                <c:pt idx="84">
                  <c:v>-15.5</c:v>
                </c:pt>
                <c:pt idx="85">
                  <c:v>-11</c:v>
                </c:pt>
                <c:pt idx="86">
                  <c:v>-13.1</c:v>
                </c:pt>
                <c:pt idx="87">
                  <c:v>-11.2</c:v>
                </c:pt>
                <c:pt idx="88">
                  <c:v>-9.6</c:v>
                </c:pt>
                <c:pt idx="89">
                  <c:v>-11.1</c:v>
                </c:pt>
                <c:pt idx="90">
                  <c:v>-13.8</c:v>
                </c:pt>
                <c:pt idx="91">
                  <c:v>-11.9</c:v>
                </c:pt>
                <c:pt idx="92">
                  <c:v>-11.9</c:v>
                </c:pt>
                <c:pt idx="93">
                  <c:v>-12.6</c:v>
                </c:pt>
                <c:pt idx="94">
                  <c:v>-10.9</c:v>
                </c:pt>
                <c:pt idx="95">
                  <c:v>-10.7</c:v>
                </c:pt>
                <c:pt idx="96">
                  <c:v>-13.9</c:v>
                </c:pt>
                <c:pt idx="97">
                  <c:v>-10.6</c:v>
                </c:pt>
                <c:pt idx="98">
                  <c:v>-10.8</c:v>
                </c:pt>
                <c:pt idx="99">
                  <c:v>-10.8</c:v>
                </c:pt>
                <c:pt idx="100">
                  <c:v>-10.4</c:v>
                </c:pt>
                <c:pt idx="101">
                  <c:v>-13.7</c:v>
                </c:pt>
                <c:pt idx="102">
                  <c:v>-14</c:v>
                </c:pt>
                <c:pt idx="103">
                  <c:v>-17.399999999999999</c:v>
                </c:pt>
                <c:pt idx="104">
                  <c:v>-16.5</c:v>
                </c:pt>
                <c:pt idx="105">
                  <c:v>-11.4</c:v>
                </c:pt>
                <c:pt idx="106">
                  <c:v>-14.6</c:v>
                </c:pt>
                <c:pt idx="107">
                  <c:v>-13.3</c:v>
                </c:pt>
                <c:pt idx="108">
                  <c:v>-10.6</c:v>
                </c:pt>
                <c:pt idx="109">
                  <c:v>-12.3</c:v>
                </c:pt>
                <c:pt idx="110">
                  <c:v>-8.3000000000000007</c:v>
                </c:pt>
                <c:pt idx="111">
                  <c:v>-5.5</c:v>
                </c:pt>
                <c:pt idx="112">
                  <c:v>-4.7</c:v>
                </c:pt>
                <c:pt idx="113">
                  <c:v>-0.7</c:v>
                </c:pt>
                <c:pt idx="114">
                  <c:v>1.7</c:v>
                </c:pt>
                <c:pt idx="115">
                  <c:v>4.4000000000000004</c:v>
                </c:pt>
                <c:pt idx="116">
                  <c:v>0.6</c:v>
                </c:pt>
                <c:pt idx="117">
                  <c:v>3.4</c:v>
                </c:pt>
                <c:pt idx="118">
                  <c:v>3.8</c:v>
                </c:pt>
                <c:pt idx="119">
                  <c:v>8.6999999999999993</c:v>
                </c:pt>
                <c:pt idx="120">
                  <c:v>4.8</c:v>
                </c:pt>
                <c:pt idx="121">
                  <c:v>3.7</c:v>
                </c:pt>
                <c:pt idx="122">
                  <c:v>7</c:v>
                </c:pt>
                <c:pt idx="123">
                  <c:v>8.3000000000000007</c:v>
                </c:pt>
                <c:pt idx="124">
                  <c:v>8.8000000000000007</c:v>
                </c:pt>
                <c:pt idx="125">
                  <c:v>10.6</c:v>
                </c:pt>
                <c:pt idx="126">
                  <c:v>7.5</c:v>
                </c:pt>
                <c:pt idx="127">
                  <c:v>6.8</c:v>
                </c:pt>
                <c:pt idx="128">
                  <c:v>6.9</c:v>
                </c:pt>
                <c:pt idx="129">
                  <c:v>12.9</c:v>
                </c:pt>
                <c:pt idx="130">
                  <c:v>11.8</c:v>
                </c:pt>
                <c:pt idx="131">
                  <c:v>14.4</c:v>
                </c:pt>
                <c:pt idx="132">
                  <c:v>12.3</c:v>
                </c:pt>
                <c:pt idx="133">
                  <c:v>14.7</c:v>
                </c:pt>
                <c:pt idx="134">
                  <c:v>13</c:v>
                </c:pt>
                <c:pt idx="135">
                  <c:v>12.8</c:v>
                </c:pt>
                <c:pt idx="136">
                  <c:v>13.8</c:v>
                </c:pt>
                <c:pt idx="137">
                  <c:v>11.3</c:v>
                </c:pt>
                <c:pt idx="138">
                  <c:v>9.6999999999999993</c:v>
                </c:pt>
                <c:pt idx="139">
                  <c:v>10.199999999999999</c:v>
                </c:pt>
                <c:pt idx="140">
                  <c:v>8.9</c:v>
                </c:pt>
                <c:pt idx="141">
                  <c:v>6.4</c:v>
                </c:pt>
                <c:pt idx="142">
                  <c:v>5.6</c:v>
                </c:pt>
                <c:pt idx="143">
                  <c:v>7.6</c:v>
                </c:pt>
                <c:pt idx="144">
                  <c:v>7.4</c:v>
                </c:pt>
                <c:pt idx="145">
                  <c:v>4.3</c:v>
                </c:pt>
                <c:pt idx="146">
                  <c:v>4</c:v>
                </c:pt>
                <c:pt idx="147">
                  <c:v>-0.3</c:v>
                </c:pt>
                <c:pt idx="148">
                  <c:v>3.5</c:v>
                </c:pt>
                <c:pt idx="149">
                  <c:v>-4.4000000000000004</c:v>
                </c:pt>
                <c:pt idx="150">
                  <c:v>-4.5</c:v>
                </c:pt>
                <c:pt idx="151">
                  <c:v>-14.5</c:v>
                </c:pt>
                <c:pt idx="152">
                  <c:v>-15.7</c:v>
                </c:pt>
                <c:pt idx="153">
                  <c:v>-19.3</c:v>
                </c:pt>
                <c:pt idx="154">
                  <c:v>-21.7</c:v>
                </c:pt>
                <c:pt idx="155">
                  <c:v>-23.2</c:v>
                </c:pt>
                <c:pt idx="156">
                  <c:v>-25.3</c:v>
                </c:pt>
                <c:pt idx="157">
                  <c:v>-26.1</c:v>
                </c:pt>
                <c:pt idx="158">
                  <c:v>-28</c:v>
                </c:pt>
                <c:pt idx="159">
                  <c:v>-28.8</c:v>
                </c:pt>
                <c:pt idx="160">
                  <c:v>-29.8</c:v>
                </c:pt>
                <c:pt idx="161">
                  <c:v>-30</c:v>
                </c:pt>
                <c:pt idx="162">
                  <c:v>-32.799999999999997</c:v>
                </c:pt>
                <c:pt idx="163">
                  <c:v>-38</c:v>
                </c:pt>
                <c:pt idx="164">
                  <c:v>-42</c:v>
                </c:pt>
                <c:pt idx="165">
                  <c:v>-43.5</c:v>
                </c:pt>
                <c:pt idx="166">
                  <c:v>-42.1</c:v>
                </c:pt>
                <c:pt idx="167">
                  <c:v>-44.5</c:v>
                </c:pt>
                <c:pt idx="168">
                  <c:v>-42.1</c:v>
                </c:pt>
                <c:pt idx="169">
                  <c:v>-40.200000000000003</c:v>
                </c:pt>
                <c:pt idx="170">
                  <c:v>-34.4</c:v>
                </c:pt>
                <c:pt idx="171">
                  <c:v>-34.299999999999997</c:v>
                </c:pt>
                <c:pt idx="172">
                  <c:v>-37.200000000000003</c:v>
                </c:pt>
                <c:pt idx="173">
                  <c:v>-41.2</c:v>
                </c:pt>
                <c:pt idx="174">
                  <c:v>-39.700000000000003</c:v>
                </c:pt>
                <c:pt idx="175">
                  <c:v>-40.299999999999997</c:v>
                </c:pt>
                <c:pt idx="176">
                  <c:v>-38.700000000000003</c:v>
                </c:pt>
                <c:pt idx="177">
                  <c:v>-35.799999999999997</c:v>
                </c:pt>
                <c:pt idx="178">
                  <c:v>-30.6</c:v>
                </c:pt>
                <c:pt idx="179">
                  <c:v>-33.200000000000003</c:v>
                </c:pt>
                <c:pt idx="180">
                  <c:v>-33.4</c:v>
                </c:pt>
                <c:pt idx="181">
                  <c:v>-33.799999999999997</c:v>
                </c:pt>
                <c:pt idx="182">
                  <c:v>-32.4</c:v>
                </c:pt>
                <c:pt idx="183">
                  <c:v>-33.5</c:v>
                </c:pt>
                <c:pt idx="184">
                  <c:v>-31.8</c:v>
                </c:pt>
                <c:pt idx="185">
                  <c:v>-32</c:v>
                </c:pt>
                <c:pt idx="186">
                  <c:v>-30</c:v>
                </c:pt>
                <c:pt idx="187">
                  <c:v>-29.7</c:v>
                </c:pt>
                <c:pt idx="188">
                  <c:v>-26.6</c:v>
                </c:pt>
                <c:pt idx="189">
                  <c:v>-26.8</c:v>
                </c:pt>
                <c:pt idx="190">
                  <c:v>-23.1</c:v>
                </c:pt>
                <c:pt idx="191">
                  <c:v>-19.5</c:v>
                </c:pt>
                <c:pt idx="192">
                  <c:v>-19.399999999999999</c:v>
                </c:pt>
                <c:pt idx="193">
                  <c:v>-14.4</c:v>
                </c:pt>
                <c:pt idx="194">
                  <c:v>-17.8</c:v>
                </c:pt>
                <c:pt idx="195">
                  <c:v>-13.6</c:v>
                </c:pt>
                <c:pt idx="196">
                  <c:v>-13.4</c:v>
                </c:pt>
                <c:pt idx="197">
                  <c:v>-12.6</c:v>
                </c:pt>
                <c:pt idx="198">
                  <c:v>-12.7</c:v>
                </c:pt>
                <c:pt idx="199">
                  <c:v>-13.6</c:v>
                </c:pt>
                <c:pt idx="200">
                  <c:v>-7.7</c:v>
                </c:pt>
                <c:pt idx="201">
                  <c:v>-3.1</c:v>
                </c:pt>
                <c:pt idx="202">
                  <c:v>-2.9</c:v>
                </c:pt>
                <c:pt idx="203">
                  <c:v>-2.7</c:v>
                </c:pt>
                <c:pt idx="204">
                  <c:v>-1.3</c:v>
                </c:pt>
                <c:pt idx="205">
                  <c:v>-0.7</c:v>
                </c:pt>
                <c:pt idx="206">
                  <c:v>-1.3</c:v>
                </c:pt>
                <c:pt idx="207">
                  <c:v>-3.6</c:v>
                </c:pt>
                <c:pt idx="208">
                  <c:v>0.9</c:v>
                </c:pt>
                <c:pt idx="209">
                  <c:v>-1</c:v>
                </c:pt>
                <c:pt idx="210">
                  <c:v>-2.4</c:v>
                </c:pt>
                <c:pt idx="211">
                  <c:v>-6.4</c:v>
                </c:pt>
                <c:pt idx="212">
                  <c:v>-2.9</c:v>
                </c:pt>
                <c:pt idx="213">
                  <c:v>-3.2</c:v>
                </c:pt>
                <c:pt idx="214">
                  <c:v>-5</c:v>
                </c:pt>
                <c:pt idx="215">
                  <c:v>-1.6</c:v>
                </c:pt>
                <c:pt idx="216">
                  <c:v>-3.7</c:v>
                </c:pt>
                <c:pt idx="217">
                  <c:v>1.6</c:v>
                </c:pt>
                <c:pt idx="218">
                  <c:v>2</c:v>
                </c:pt>
                <c:pt idx="219">
                  <c:v>1</c:v>
                </c:pt>
                <c:pt idx="220">
                  <c:v>4.0999999999999996</c:v>
                </c:pt>
                <c:pt idx="221">
                  <c:v>5.0999999999999996</c:v>
                </c:pt>
                <c:pt idx="222">
                  <c:v>6</c:v>
                </c:pt>
                <c:pt idx="223">
                  <c:v>3</c:v>
                </c:pt>
                <c:pt idx="224">
                  <c:v>5.0999999999999996</c:v>
                </c:pt>
                <c:pt idx="225">
                  <c:v>8.1</c:v>
                </c:pt>
                <c:pt idx="226">
                  <c:v>12.3</c:v>
                </c:pt>
                <c:pt idx="227">
                  <c:v>14</c:v>
                </c:pt>
                <c:pt idx="228">
                  <c:v>14.6</c:v>
                </c:pt>
                <c:pt idx="229">
                  <c:v>11.6</c:v>
                </c:pt>
                <c:pt idx="230">
                  <c:v>17.5</c:v>
                </c:pt>
                <c:pt idx="231">
                  <c:v>19.5</c:v>
                </c:pt>
                <c:pt idx="232">
                  <c:v>19.3</c:v>
                </c:pt>
                <c:pt idx="233">
                  <c:v>20.2</c:v>
                </c:pt>
                <c:pt idx="234">
                  <c:v>20.3</c:v>
                </c:pt>
                <c:pt idx="235">
                  <c:v>14.7</c:v>
                </c:pt>
                <c:pt idx="236">
                  <c:v>19</c:v>
                </c:pt>
                <c:pt idx="237">
                  <c:v>24.1</c:v>
                </c:pt>
                <c:pt idx="238">
                  <c:v>23.7</c:v>
                </c:pt>
                <c:pt idx="239">
                  <c:v>29.6</c:v>
                </c:pt>
                <c:pt idx="240">
                  <c:v>31.2</c:v>
                </c:pt>
                <c:pt idx="241">
                  <c:v>30</c:v>
                </c:pt>
                <c:pt idx="242">
                  <c:v>30.2</c:v>
                </c:pt>
                <c:pt idx="243">
                  <c:v>31.2</c:v>
                </c:pt>
                <c:pt idx="244">
                  <c:v>32.1</c:v>
                </c:pt>
                <c:pt idx="245">
                  <c:v>31</c:v>
                </c:pt>
                <c:pt idx="246">
                  <c:v>30.9</c:v>
                </c:pt>
                <c:pt idx="247">
                  <c:v>26.6</c:v>
                </c:pt>
                <c:pt idx="248">
                  <c:v>26.3</c:v>
                </c:pt>
                <c:pt idx="249">
                  <c:v>27.9</c:v>
                </c:pt>
                <c:pt idx="250">
                  <c:v>33.6</c:v>
                </c:pt>
                <c:pt idx="251">
                  <c:v>35.9</c:v>
                </c:pt>
                <c:pt idx="252">
                  <c:v>35.1</c:v>
                </c:pt>
                <c:pt idx="253">
                  <c:v>35.1</c:v>
                </c:pt>
                <c:pt idx="254">
                  <c:v>35.1</c:v>
                </c:pt>
                <c:pt idx="255">
                  <c:v>35</c:v>
                </c:pt>
                <c:pt idx="256">
                  <c:v>37.9</c:v>
                </c:pt>
                <c:pt idx="257">
                  <c:v>36.700000000000003</c:v>
                </c:pt>
                <c:pt idx="258">
                  <c:v>34.799999999999997</c:v>
                </c:pt>
                <c:pt idx="259">
                  <c:v>34.299999999999997</c:v>
                </c:pt>
                <c:pt idx="260">
                  <c:v>36.299999999999997</c:v>
                </c:pt>
                <c:pt idx="261">
                  <c:v>40</c:v>
                </c:pt>
                <c:pt idx="262">
                  <c:v>44</c:v>
                </c:pt>
                <c:pt idx="263">
                  <c:v>39.799999999999997</c:v>
                </c:pt>
                <c:pt idx="264">
                  <c:v>42.7</c:v>
                </c:pt>
                <c:pt idx="265">
                  <c:v>40.299999999999997</c:v>
                </c:pt>
                <c:pt idx="266">
                  <c:v>42</c:v>
                </c:pt>
                <c:pt idx="267">
                  <c:v>42.5</c:v>
                </c:pt>
                <c:pt idx="268">
                  <c:v>46.2</c:v>
                </c:pt>
                <c:pt idx="269">
                  <c:v>42</c:v>
                </c:pt>
                <c:pt idx="270">
                  <c:v>41.9</c:v>
                </c:pt>
                <c:pt idx="271">
                  <c:v>38</c:v>
                </c:pt>
                <c:pt idx="272">
                  <c:v>39.5</c:v>
                </c:pt>
                <c:pt idx="273">
                  <c:v>38.4</c:v>
                </c:pt>
                <c:pt idx="274">
                  <c:v>36.200000000000003</c:v>
                </c:pt>
                <c:pt idx="275">
                  <c:v>30.9</c:v>
                </c:pt>
                <c:pt idx="276">
                  <c:v>31.2</c:v>
                </c:pt>
                <c:pt idx="277">
                  <c:v>25.9</c:v>
                </c:pt>
                <c:pt idx="278">
                  <c:v>25</c:v>
                </c:pt>
                <c:pt idx="279">
                  <c:v>24.4</c:v>
                </c:pt>
                <c:pt idx="280">
                  <c:v>21.5</c:v>
                </c:pt>
                <c:pt idx="281">
                  <c:v>17.600000000000001</c:v>
                </c:pt>
                <c:pt idx="282">
                  <c:v>8.3000000000000007</c:v>
                </c:pt>
                <c:pt idx="283">
                  <c:v>0.3</c:v>
                </c:pt>
                <c:pt idx="284">
                  <c:v>-5.2</c:v>
                </c:pt>
                <c:pt idx="285">
                  <c:v>-4</c:v>
                </c:pt>
                <c:pt idx="286">
                  <c:v>-4.0999999999999996</c:v>
                </c:pt>
                <c:pt idx="287">
                  <c:v>-4.4000000000000004</c:v>
                </c:pt>
                <c:pt idx="288">
                  <c:v>-0.5</c:v>
                </c:pt>
                <c:pt idx="289">
                  <c:v>-1.8</c:v>
                </c:pt>
                <c:pt idx="290">
                  <c:v>-0.6</c:v>
                </c:pt>
                <c:pt idx="291">
                  <c:v>-3.1</c:v>
                </c:pt>
                <c:pt idx="292">
                  <c:v>-5.0999999999999996</c:v>
                </c:pt>
                <c:pt idx="293">
                  <c:v>-6.4</c:v>
                </c:pt>
                <c:pt idx="294">
                  <c:v>-9.5</c:v>
                </c:pt>
                <c:pt idx="295">
                  <c:v>-12.6</c:v>
                </c:pt>
                <c:pt idx="296">
                  <c:v>-13.1</c:v>
                </c:pt>
                <c:pt idx="297">
                  <c:v>-17.399999999999999</c:v>
                </c:pt>
                <c:pt idx="298">
                  <c:v>-14.4</c:v>
                </c:pt>
                <c:pt idx="299">
                  <c:v>-18.600000000000001</c:v>
                </c:pt>
                <c:pt idx="300">
                  <c:v>-20.9</c:v>
                </c:pt>
                <c:pt idx="301">
                  <c:v>-16.399999999999999</c:v>
                </c:pt>
                <c:pt idx="302">
                  <c:v>-20.6</c:v>
                </c:pt>
                <c:pt idx="303">
                  <c:v>-20.7</c:v>
                </c:pt>
                <c:pt idx="304">
                  <c:v>-22</c:v>
                </c:pt>
                <c:pt idx="305">
                  <c:v>-22.8</c:v>
                </c:pt>
                <c:pt idx="306">
                  <c:v>-25.2</c:v>
                </c:pt>
                <c:pt idx="307">
                  <c:v>-21.9</c:v>
                </c:pt>
                <c:pt idx="308">
                  <c:v>-16.100000000000001</c:v>
                </c:pt>
                <c:pt idx="309">
                  <c:v>-18.399999999999999</c:v>
                </c:pt>
                <c:pt idx="310">
                  <c:v>-14.8</c:v>
                </c:pt>
                <c:pt idx="311">
                  <c:v>-14.4</c:v>
                </c:pt>
                <c:pt idx="312">
                  <c:v>-15.2</c:v>
                </c:pt>
                <c:pt idx="313">
                  <c:v>-12.4</c:v>
                </c:pt>
                <c:pt idx="314">
                  <c:v>-13.7</c:v>
                </c:pt>
                <c:pt idx="315">
                  <c:v>-7.9</c:v>
                </c:pt>
                <c:pt idx="316">
                  <c:v>-6</c:v>
                </c:pt>
                <c:pt idx="317">
                  <c:v>-7.6</c:v>
                </c:pt>
                <c:pt idx="318">
                  <c:v>-11.4</c:v>
                </c:pt>
                <c:pt idx="319">
                  <c:v>-10.5</c:v>
                </c:pt>
                <c:pt idx="320">
                  <c:v>-10.9</c:v>
                </c:pt>
                <c:pt idx="321">
                  <c:v>-7</c:v>
                </c:pt>
                <c:pt idx="322">
                  <c:v>-3.3</c:v>
                </c:pt>
                <c:pt idx="323">
                  <c:v>-1.3</c:v>
                </c:pt>
                <c:pt idx="324">
                  <c:v>-2</c:v>
                </c:pt>
                <c:pt idx="325">
                  <c:v>-2.5</c:v>
                </c:pt>
                <c:pt idx="326">
                  <c:v>-1.2</c:v>
                </c:pt>
                <c:pt idx="327">
                  <c:v>0</c:v>
                </c:pt>
                <c:pt idx="328">
                  <c:v>-0.9</c:v>
                </c:pt>
                <c:pt idx="329">
                  <c:v>0.5</c:v>
                </c:pt>
                <c:pt idx="330">
                  <c:v>-4.3</c:v>
                </c:pt>
                <c:pt idx="331">
                  <c:v>-4.5999999999999996</c:v>
                </c:pt>
                <c:pt idx="332">
                  <c:v>-2.5</c:v>
                </c:pt>
                <c:pt idx="333">
                  <c:v>0.8</c:v>
                </c:pt>
                <c:pt idx="334">
                  <c:v>6.7</c:v>
                </c:pt>
                <c:pt idx="335">
                  <c:v>7.2</c:v>
                </c:pt>
                <c:pt idx="336">
                  <c:v>7.9</c:v>
                </c:pt>
                <c:pt idx="337">
                  <c:v>9.6999999999999993</c:v>
                </c:pt>
                <c:pt idx="338">
                  <c:v>8.9</c:v>
                </c:pt>
                <c:pt idx="339">
                  <c:v>8</c:v>
                </c:pt>
                <c:pt idx="340">
                  <c:v>9</c:v>
                </c:pt>
                <c:pt idx="341">
                  <c:v>3.4</c:v>
                </c:pt>
                <c:pt idx="342">
                  <c:v>5.3</c:v>
                </c:pt>
                <c:pt idx="343">
                  <c:v>3.8</c:v>
                </c:pt>
                <c:pt idx="344">
                  <c:v>3.6</c:v>
                </c:pt>
                <c:pt idx="345">
                  <c:v>6.3</c:v>
                </c:pt>
                <c:pt idx="346">
                  <c:v>9.9</c:v>
                </c:pt>
                <c:pt idx="347">
                  <c:v>9.9</c:v>
                </c:pt>
                <c:pt idx="348">
                  <c:v>11.4</c:v>
                </c:pt>
                <c:pt idx="349">
                  <c:v>8.6999999999999993</c:v>
                </c:pt>
                <c:pt idx="350">
                  <c:v>9.4</c:v>
                </c:pt>
                <c:pt idx="351">
                  <c:v>7.1</c:v>
                </c:pt>
                <c:pt idx="352">
                  <c:v>11.3</c:v>
                </c:pt>
                <c:pt idx="353">
                  <c:v>7.8</c:v>
                </c:pt>
                <c:pt idx="354">
                  <c:v>3.2</c:v>
                </c:pt>
                <c:pt idx="355">
                  <c:v>1.3</c:v>
                </c:pt>
                <c:pt idx="356">
                  <c:v>1.9</c:v>
                </c:pt>
                <c:pt idx="357">
                  <c:v>0.9</c:v>
                </c:pt>
                <c:pt idx="358">
                  <c:v>3.2</c:v>
                </c:pt>
                <c:pt idx="359">
                  <c:v>-1.9</c:v>
                </c:pt>
                <c:pt idx="360">
                  <c:v>-5.3</c:v>
                </c:pt>
                <c:pt idx="361">
                  <c:v>-10.8</c:v>
                </c:pt>
                <c:pt idx="362">
                  <c:v>-12.2</c:v>
                </c:pt>
                <c:pt idx="363">
                  <c:v>-15.6</c:v>
                </c:pt>
                <c:pt idx="364">
                  <c:v>-16.600000000000001</c:v>
                </c:pt>
                <c:pt idx="365">
                  <c:v>-18.2</c:v>
                </c:pt>
                <c:pt idx="366">
                  <c:v>-19.600000000000001</c:v>
                </c:pt>
                <c:pt idx="367">
                  <c:v>-27.6</c:v>
                </c:pt>
                <c:pt idx="368">
                  <c:v>-28.4</c:v>
                </c:pt>
                <c:pt idx="369">
                  <c:v>-35</c:v>
                </c:pt>
                <c:pt idx="370">
                  <c:v>-34</c:v>
                </c:pt>
                <c:pt idx="371">
                  <c:v>-42.3</c:v>
                </c:pt>
                <c:pt idx="372">
                  <c:v>-44.1</c:v>
                </c:pt>
                <c:pt idx="373">
                  <c:v>-41.7</c:v>
                </c:pt>
                <c:pt idx="374">
                  <c:v>-38.1</c:v>
                </c:pt>
                <c:pt idx="375">
                  <c:v>-40.299999999999997</c:v>
                </c:pt>
                <c:pt idx="376">
                  <c:v>-44.8</c:v>
                </c:pt>
                <c:pt idx="377">
                  <c:v>-40</c:v>
                </c:pt>
                <c:pt idx="378">
                  <c:v>-43.4</c:v>
                </c:pt>
                <c:pt idx="379">
                  <c:v>-45.9</c:v>
                </c:pt>
                <c:pt idx="380">
                  <c:v>-46.1</c:v>
                </c:pt>
                <c:pt idx="381">
                  <c:v>-45</c:v>
                </c:pt>
                <c:pt idx="382">
                  <c:v>-42.1</c:v>
                </c:pt>
                <c:pt idx="383">
                  <c:v>-43.3</c:v>
                </c:pt>
                <c:pt idx="384">
                  <c:v>-42.3</c:v>
                </c:pt>
                <c:pt idx="385">
                  <c:v>-40.1</c:v>
                </c:pt>
                <c:pt idx="386">
                  <c:v>-39.299999999999997</c:v>
                </c:pt>
                <c:pt idx="387">
                  <c:v>-39.200000000000003</c:v>
                </c:pt>
                <c:pt idx="388">
                  <c:v>-40.700000000000003</c:v>
                </c:pt>
                <c:pt idx="389">
                  <c:v>-41.5</c:v>
                </c:pt>
                <c:pt idx="390">
                  <c:v>-42</c:v>
                </c:pt>
                <c:pt idx="391">
                  <c:v>-42.8</c:v>
                </c:pt>
                <c:pt idx="392">
                  <c:v>-44.8</c:v>
                </c:pt>
                <c:pt idx="393">
                  <c:v>-42.8</c:v>
                </c:pt>
                <c:pt idx="394">
                  <c:v>-42.4</c:v>
                </c:pt>
                <c:pt idx="395">
                  <c:v>-39.5</c:v>
                </c:pt>
                <c:pt idx="396">
                  <c:v>-39.799999999999997</c:v>
                </c:pt>
                <c:pt idx="397">
                  <c:v>-37.299999999999997</c:v>
                </c:pt>
                <c:pt idx="398">
                  <c:v>-37.799999999999997</c:v>
                </c:pt>
                <c:pt idx="399">
                  <c:v>-38.1</c:v>
                </c:pt>
                <c:pt idx="400">
                  <c:v>-39.700000000000003</c:v>
                </c:pt>
                <c:pt idx="401">
                  <c:v>-43.7</c:v>
                </c:pt>
                <c:pt idx="402">
                  <c:v>-43.8</c:v>
                </c:pt>
                <c:pt idx="403">
                  <c:v>-43.3</c:v>
                </c:pt>
                <c:pt idx="404">
                  <c:v>-37.4</c:v>
                </c:pt>
                <c:pt idx="405">
                  <c:v>-35</c:v>
                </c:pt>
                <c:pt idx="406">
                  <c:v>-37.1</c:v>
                </c:pt>
                <c:pt idx="407">
                  <c:v>-31.6</c:v>
                </c:pt>
                <c:pt idx="408">
                  <c:v>-31.7</c:v>
                </c:pt>
                <c:pt idx="409">
                  <c:v>-29.7</c:v>
                </c:pt>
                <c:pt idx="410">
                  <c:v>-33.4</c:v>
                </c:pt>
                <c:pt idx="411">
                  <c:v>-32.9</c:v>
                </c:pt>
                <c:pt idx="412">
                  <c:v>-33.200000000000003</c:v>
                </c:pt>
                <c:pt idx="413">
                  <c:v>-33.4</c:v>
                </c:pt>
                <c:pt idx="414">
                  <c:v>-32.6</c:v>
                </c:pt>
                <c:pt idx="415">
                  <c:v>-28.4</c:v>
                </c:pt>
                <c:pt idx="416">
                  <c:v>-26.4</c:v>
                </c:pt>
                <c:pt idx="417">
                  <c:v>-25.3</c:v>
                </c:pt>
                <c:pt idx="418">
                  <c:v>-28.1</c:v>
                </c:pt>
                <c:pt idx="419">
                  <c:v>-26.8</c:v>
                </c:pt>
                <c:pt idx="420">
                  <c:v>-25.9</c:v>
                </c:pt>
                <c:pt idx="421">
                  <c:v>-27.2</c:v>
                </c:pt>
                <c:pt idx="422">
                  <c:v>-26.5</c:v>
                </c:pt>
                <c:pt idx="423">
                  <c:v>-25.8</c:v>
                </c:pt>
                <c:pt idx="424">
                  <c:v>-22.9</c:v>
                </c:pt>
                <c:pt idx="425">
                  <c:v>-22</c:v>
                </c:pt>
                <c:pt idx="426">
                  <c:v>-22.2</c:v>
                </c:pt>
                <c:pt idx="427">
                  <c:v>-23.3</c:v>
                </c:pt>
                <c:pt idx="428">
                  <c:v>-22.1</c:v>
                </c:pt>
                <c:pt idx="429">
                  <c:v>-21</c:v>
                </c:pt>
                <c:pt idx="430">
                  <c:v>-20.2</c:v>
                </c:pt>
                <c:pt idx="431">
                  <c:v>-19</c:v>
                </c:pt>
                <c:pt idx="432">
                  <c:v>-17.600000000000001</c:v>
                </c:pt>
                <c:pt idx="433">
                  <c:v>-19.8</c:v>
                </c:pt>
                <c:pt idx="434">
                  <c:v>-18</c:v>
                </c:pt>
                <c:pt idx="435">
                  <c:v>-16.100000000000001</c:v>
                </c:pt>
                <c:pt idx="436">
                  <c:v>-15.3</c:v>
                </c:pt>
                <c:pt idx="437">
                  <c:v>-12.4</c:v>
                </c:pt>
                <c:pt idx="438">
                  <c:v>-13.1</c:v>
                </c:pt>
                <c:pt idx="439">
                  <c:v>-12.5</c:v>
                </c:pt>
                <c:pt idx="440">
                  <c:v>-12.5</c:v>
                </c:pt>
                <c:pt idx="441">
                  <c:v>-10.1</c:v>
                </c:pt>
                <c:pt idx="442">
                  <c:v>-3.9</c:v>
                </c:pt>
                <c:pt idx="443">
                  <c:v>-4.8</c:v>
                </c:pt>
                <c:pt idx="444">
                  <c:v>-4.5</c:v>
                </c:pt>
                <c:pt idx="445">
                  <c:v>-6.9</c:v>
                </c:pt>
                <c:pt idx="446">
                  <c:v>-6.6</c:v>
                </c:pt>
                <c:pt idx="447">
                  <c:v>-4.8</c:v>
                </c:pt>
                <c:pt idx="448">
                  <c:v>-7.5</c:v>
                </c:pt>
                <c:pt idx="449">
                  <c:v>0.4</c:v>
                </c:pt>
                <c:pt idx="450">
                  <c:v>-0.1</c:v>
                </c:pt>
                <c:pt idx="451">
                  <c:v>-1.9</c:v>
                </c:pt>
                <c:pt idx="452">
                  <c:v>-4.8</c:v>
                </c:pt>
                <c:pt idx="453">
                  <c:v>-0.3</c:v>
                </c:pt>
                <c:pt idx="454">
                  <c:v>-0.6</c:v>
                </c:pt>
                <c:pt idx="455">
                  <c:v>-0.8</c:v>
                </c:pt>
                <c:pt idx="456">
                  <c:v>0.2</c:v>
                </c:pt>
                <c:pt idx="457">
                  <c:v>1.4</c:v>
                </c:pt>
                <c:pt idx="458">
                  <c:v>0</c:v>
                </c:pt>
                <c:pt idx="459">
                  <c:v>-0.5</c:v>
                </c:pt>
                <c:pt idx="460">
                  <c:v>0.9</c:v>
                </c:pt>
                <c:pt idx="461">
                  <c:v>4</c:v>
                </c:pt>
                <c:pt idx="462">
                  <c:v>5.3</c:v>
                </c:pt>
                <c:pt idx="463">
                  <c:v>3.6</c:v>
                </c:pt>
                <c:pt idx="464">
                  <c:v>6.6</c:v>
                </c:pt>
                <c:pt idx="465">
                  <c:v>3.3</c:v>
                </c:pt>
                <c:pt idx="466">
                  <c:v>6</c:v>
                </c:pt>
                <c:pt idx="467">
                  <c:v>7</c:v>
                </c:pt>
                <c:pt idx="468">
                  <c:v>12.8</c:v>
                </c:pt>
                <c:pt idx="469">
                  <c:v>10.9</c:v>
                </c:pt>
                <c:pt idx="470">
                  <c:v>11.7</c:v>
                </c:pt>
                <c:pt idx="471">
                  <c:v>13.6</c:v>
                </c:pt>
                <c:pt idx="472">
                  <c:v>14.5</c:v>
                </c:pt>
                <c:pt idx="473">
                  <c:v>16</c:v>
                </c:pt>
                <c:pt idx="474">
                  <c:v>14.7</c:v>
                </c:pt>
                <c:pt idx="475">
                  <c:v>19.600000000000001</c:v>
                </c:pt>
                <c:pt idx="476">
                  <c:v>20.7</c:v>
                </c:pt>
                <c:pt idx="477">
                  <c:v>20.3</c:v>
                </c:pt>
                <c:pt idx="478">
                  <c:v>20.9</c:v>
                </c:pt>
                <c:pt idx="479">
                  <c:v>24</c:v>
                </c:pt>
                <c:pt idx="480">
                  <c:v>23.8</c:v>
                </c:pt>
                <c:pt idx="481">
                  <c:v>22.7</c:v>
                </c:pt>
                <c:pt idx="482">
                  <c:v>26.5</c:v>
                </c:pt>
                <c:pt idx="483">
                  <c:v>25.3</c:v>
                </c:pt>
                <c:pt idx="484">
                  <c:v>28</c:v>
                </c:pt>
                <c:pt idx="485">
                  <c:v>30.2</c:v>
                </c:pt>
                <c:pt idx="486">
                  <c:v>30</c:v>
                </c:pt>
                <c:pt idx="487">
                  <c:v>32</c:v>
                </c:pt>
                <c:pt idx="488">
                  <c:v>34.200000000000003</c:v>
                </c:pt>
                <c:pt idx="489">
                  <c:v>33.299999999999997</c:v>
                </c:pt>
                <c:pt idx="490">
                  <c:v>34.1</c:v>
                </c:pt>
                <c:pt idx="491">
                  <c:v>34</c:v>
                </c:pt>
                <c:pt idx="492">
                  <c:v>28.7</c:v>
                </c:pt>
                <c:pt idx="493">
                  <c:v>33.200000000000003</c:v>
                </c:pt>
                <c:pt idx="494">
                  <c:v>33.5</c:v>
                </c:pt>
                <c:pt idx="495">
                  <c:v>28.2</c:v>
                </c:pt>
                <c:pt idx="496">
                  <c:v>33.1</c:v>
                </c:pt>
                <c:pt idx="497">
                  <c:v>38.299999999999997</c:v>
                </c:pt>
                <c:pt idx="498">
                  <c:v>33.5</c:v>
                </c:pt>
                <c:pt idx="499">
                  <c:v>36.1</c:v>
                </c:pt>
                <c:pt idx="500">
                  <c:v>31.6</c:v>
                </c:pt>
                <c:pt idx="501">
                  <c:v>33.5</c:v>
                </c:pt>
                <c:pt idx="502">
                  <c:v>35.299999999999997</c:v>
                </c:pt>
                <c:pt idx="503">
                  <c:v>32.6</c:v>
                </c:pt>
                <c:pt idx="504">
                  <c:v>29.5</c:v>
                </c:pt>
                <c:pt idx="505">
                  <c:v>-15.7</c:v>
                </c:pt>
                <c:pt idx="506">
                  <c:v>-12.7</c:v>
                </c:pt>
                <c:pt idx="507">
                  <c:v>-2.8</c:v>
                </c:pt>
                <c:pt idx="508">
                  <c:v>2.2000000000000002</c:v>
                </c:pt>
                <c:pt idx="509">
                  <c:v>-2.2000000000000002</c:v>
                </c:pt>
                <c:pt idx="510">
                  <c:v>3.3</c:v>
                </c:pt>
                <c:pt idx="511">
                  <c:v>7.1</c:v>
                </c:pt>
                <c:pt idx="512">
                  <c:v>6.9</c:v>
                </c:pt>
                <c:pt idx="513">
                  <c:v>-1.9</c:v>
                </c:pt>
                <c:pt idx="514">
                  <c:v>-1.8</c:v>
                </c:pt>
                <c:pt idx="515">
                  <c:v>1.4</c:v>
                </c:pt>
                <c:pt idx="516">
                  <c:v>10.199999999999999</c:v>
                </c:pt>
                <c:pt idx="517">
                  <c:v>21.6</c:v>
                </c:pt>
                <c:pt idx="518">
                  <c:v>36.9</c:v>
                </c:pt>
                <c:pt idx="519">
                  <c:v>44.2</c:v>
                </c:pt>
                <c:pt idx="520">
                  <c:v>44.1</c:v>
                </c:pt>
                <c:pt idx="521">
                  <c:v>44.4</c:v>
                </c:pt>
                <c:pt idx="522">
                  <c:v>43.5</c:v>
                </c:pt>
                <c:pt idx="523">
                  <c:v>43.8</c:v>
                </c:pt>
                <c:pt idx="524">
                  <c:v>44.7</c:v>
                </c:pt>
                <c:pt idx="525">
                  <c:v>44.2</c:v>
                </c:pt>
                <c:pt idx="526">
                  <c:v>43</c:v>
                </c:pt>
                <c:pt idx="527">
                  <c:v>41.5</c:v>
                </c:pt>
                <c:pt idx="528">
                  <c:v>47.1</c:v>
                </c:pt>
                <c:pt idx="529">
                  <c:v>44.7</c:v>
                </c:pt>
                <c:pt idx="530">
                  <c:v>39.5</c:v>
                </c:pt>
                <c:pt idx="531">
                  <c:v>39.700000000000003</c:v>
                </c:pt>
              </c:numCache>
            </c:numRef>
          </c:val>
          <c:smooth val="0"/>
          <c:extLst>
            <c:ext xmlns:c16="http://schemas.microsoft.com/office/drawing/2014/chart" uri="{C3380CC4-5D6E-409C-BE32-E72D297353CC}">
              <c16:uniqueId val="{00000000-166F-4170-8FCF-F9AADE005621}"/>
            </c:ext>
          </c:extLst>
        </c:ser>
        <c:dLbls>
          <c:showLegendKey val="0"/>
          <c:showVal val="0"/>
          <c:showCatName val="0"/>
          <c:showSerName val="0"/>
          <c:showPercent val="0"/>
          <c:showBubbleSize val="0"/>
        </c:dLbls>
        <c:marker val="1"/>
        <c:smooth val="0"/>
        <c:axId val="1561920056"/>
        <c:axId val="1561918088"/>
      </c:lineChart>
      <c:lineChart>
        <c:grouping val="standard"/>
        <c:varyColors val="0"/>
        <c:ser>
          <c:idx val="1"/>
          <c:order val="1"/>
          <c:tx>
            <c:v>Real Income Expectations</c:v>
          </c:tx>
          <c:spPr>
            <a:ln w="28575" cap="rnd">
              <a:solidFill>
                <a:srgbClr val="7A9A3D"/>
              </a:solidFill>
              <a:round/>
            </a:ln>
            <a:effectLst/>
          </c:spPr>
          <c:marker>
            <c:symbol val="none"/>
          </c:marker>
          <c:cat>
            <c:numRef>
              <c:f>Sheet1!$B$12:$B$543</c:f>
              <c:numCache>
                <c:formatCode>mmm\-yy</c:formatCode>
                <c:ptCount val="532"/>
                <c:pt idx="0">
                  <c:v>28580</c:v>
                </c:pt>
                <c:pt idx="1">
                  <c:v>28610</c:v>
                </c:pt>
                <c:pt idx="2">
                  <c:v>28641</c:v>
                </c:pt>
                <c:pt idx="3">
                  <c:v>28671</c:v>
                </c:pt>
                <c:pt idx="4">
                  <c:v>28702</c:v>
                </c:pt>
                <c:pt idx="5">
                  <c:v>28733</c:v>
                </c:pt>
                <c:pt idx="6">
                  <c:v>28763</c:v>
                </c:pt>
                <c:pt idx="7">
                  <c:v>28794</c:v>
                </c:pt>
                <c:pt idx="8">
                  <c:v>28824</c:v>
                </c:pt>
                <c:pt idx="9">
                  <c:v>28855</c:v>
                </c:pt>
                <c:pt idx="10">
                  <c:v>28886</c:v>
                </c:pt>
                <c:pt idx="11">
                  <c:v>28914</c:v>
                </c:pt>
                <c:pt idx="12">
                  <c:v>28945</c:v>
                </c:pt>
                <c:pt idx="13">
                  <c:v>28975</c:v>
                </c:pt>
                <c:pt idx="14">
                  <c:v>29006</c:v>
                </c:pt>
                <c:pt idx="15">
                  <c:v>29036</c:v>
                </c:pt>
                <c:pt idx="16">
                  <c:v>29067</c:v>
                </c:pt>
                <c:pt idx="17">
                  <c:v>29098</c:v>
                </c:pt>
                <c:pt idx="18">
                  <c:v>29128</c:v>
                </c:pt>
                <c:pt idx="19">
                  <c:v>29159</c:v>
                </c:pt>
                <c:pt idx="20">
                  <c:v>29189</c:v>
                </c:pt>
                <c:pt idx="21">
                  <c:v>29220</c:v>
                </c:pt>
                <c:pt idx="22">
                  <c:v>29251</c:v>
                </c:pt>
                <c:pt idx="23">
                  <c:v>29280</c:v>
                </c:pt>
                <c:pt idx="24">
                  <c:v>29311</c:v>
                </c:pt>
                <c:pt idx="25">
                  <c:v>29341</c:v>
                </c:pt>
                <c:pt idx="26">
                  <c:v>29372</c:v>
                </c:pt>
                <c:pt idx="27">
                  <c:v>29402</c:v>
                </c:pt>
                <c:pt idx="28">
                  <c:v>29433</c:v>
                </c:pt>
                <c:pt idx="29">
                  <c:v>29464</c:v>
                </c:pt>
                <c:pt idx="30">
                  <c:v>29494</c:v>
                </c:pt>
                <c:pt idx="31">
                  <c:v>29525</c:v>
                </c:pt>
                <c:pt idx="32">
                  <c:v>29555</c:v>
                </c:pt>
                <c:pt idx="33">
                  <c:v>29586</c:v>
                </c:pt>
                <c:pt idx="34">
                  <c:v>29617</c:v>
                </c:pt>
                <c:pt idx="35">
                  <c:v>29645</c:v>
                </c:pt>
                <c:pt idx="36">
                  <c:v>29676</c:v>
                </c:pt>
                <c:pt idx="37">
                  <c:v>29706</c:v>
                </c:pt>
                <c:pt idx="38">
                  <c:v>29737</c:v>
                </c:pt>
                <c:pt idx="39">
                  <c:v>29767</c:v>
                </c:pt>
                <c:pt idx="40">
                  <c:v>29798</c:v>
                </c:pt>
                <c:pt idx="41">
                  <c:v>29829</c:v>
                </c:pt>
                <c:pt idx="42">
                  <c:v>29859</c:v>
                </c:pt>
                <c:pt idx="43">
                  <c:v>29890</c:v>
                </c:pt>
                <c:pt idx="44">
                  <c:v>29920</c:v>
                </c:pt>
                <c:pt idx="45">
                  <c:v>29951</c:v>
                </c:pt>
                <c:pt idx="46">
                  <c:v>29982</c:v>
                </c:pt>
                <c:pt idx="47">
                  <c:v>30010</c:v>
                </c:pt>
                <c:pt idx="48">
                  <c:v>30041</c:v>
                </c:pt>
                <c:pt idx="49">
                  <c:v>30071</c:v>
                </c:pt>
                <c:pt idx="50">
                  <c:v>30102</c:v>
                </c:pt>
                <c:pt idx="51">
                  <c:v>30132</c:v>
                </c:pt>
                <c:pt idx="52">
                  <c:v>30163</c:v>
                </c:pt>
                <c:pt idx="53">
                  <c:v>30194</c:v>
                </c:pt>
                <c:pt idx="54">
                  <c:v>30224</c:v>
                </c:pt>
                <c:pt idx="55">
                  <c:v>30255</c:v>
                </c:pt>
                <c:pt idx="56">
                  <c:v>30285</c:v>
                </c:pt>
                <c:pt idx="57">
                  <c:v>30316</c:v>
                </c:pt>
                <c:pt idx="58">
                  <c:v>30347</c:v>
                </c:pt>
                <c:pt idx="59">
                  <c:v>30375</c:v>
                </c:pt>
                <c:pt idx="60">
                  <c:v>30406</c:v>
                </c:pt>
                <c:pt idx="61">
                  <c:v>30436</c:v>
                </c:pt>
                <c:pt idx="62">
                  <c:v>30467</c:v>
                </c:pt>
                <c:pt idx="63">
                  <c:v>30497</c:v>
                </c:pt>
                <c:pt idx="64">
                  <c:v>30528</c:v>
                </c:pt>
                <c:pt idx="65">
                  <c:v>30559</c:v>
                </c:pt>
                <c:pt idx="66">
                  <c:v>30589</c:v>
                </c:pt>
                <c:pt idx="67">
                  <c:v>30620</c:v>
                </c:pt>
                <c:pt idx="68">
                  <c:v>30650</c:v>
                </c:pt>
                <c:pt idx="69">
                  <c:v>30681</c:v>
                </c:pt>
                <c:pt idx="70">
                  <c:v>30712</c:v>
                </c:pt>
                <c:pt idx="71">
                  <c:v>30741</c:v>
                </c:pt>
                <c:pt idx="72">
                  <c:v>30772</c:v>
                </c:pt>
                <c:pt idx="73">
                  <c:v>30802</c:v>
                </c:pt>
                <c:pt idx="74">
                  <c:v>30833</c:v>
                </c:pt>
                <c:pt idx="75">
                  <c:v>30863</c:v>
                </c:pt>
                <c:pt idx="76">
                  <c:v>30894</c:v>
                </c:pt>
                <c:pt idx="77">
                  <c:v>30925</c:v>
                </c:pt>
                <c:pt idx="78">
                  <c:v>30955</c:v>
                </c:pt>
                <c:pt idx="79">
                  <c:v>30986</c:v>
                </c:pt>
                <c:pt idx="80">
                  <c:v>31016</c:v>
                </c:pt>
                <c:pt idx="81">
                  <c:v>31047</c:v>
                </c:pt>
                <c:pt idx="82">
                  <c:v>31078</c:v>
                </c:pt>
                <c:pt idx="83">
                  <c:v>31106</c:v>
                </c:pt>
                <c:pt idx="84">
                  <c:v>31137</c:v>
                </c:pt>
                <c:pt idx="85">
                  <c:v>31167</c:v>
                </c:pt>
                <c:pt idx="86">
                  <c:v>31198</c:v>
                </c:pt>
                <c:pt idx="87">
                  <c:v>31228</c:v>
                </c:pt>
                <c:pt idx="88">
                  <c:v>31259</c:v>
                </c:pt>
                <c:pt idx="89">
                  <c:v>31290</c:v>
                </c:pt>
                <c:pt idx="90">
                  <c:v>31320</c:v>
                </c:pt>
                <c:pt idx="91">
                  <c:v>31351</c:v>
                </c:pt>
                <c:pt idx="92">
                  <c:v>31381</c:v>
                </c:pt>
                <c:pt idx="93">
                  <c:v>31412</c:v>
                </c:pt>
                <c:pt idx="94">
                  <c:v>31443</c:v>
                </c:pt>
                <c:pt idx="95">
                  <c:v>31471</c:v>
                </c:pt>
                <c:pt idx="96">
                  <c:v>31502</c:v>
                </c:pt>
                <c:pt idx="97">
                  <c:v>31532</c:v>
                </c:pt>
                <c:pt idx="98">
                  <c:v>31563</c:v>
                </c:pt>
                <c:pt idx="99">
                  <c:v>31593</c:v>
                </c:pt>
                <c:pt idx="100">
                  <c:v>31624</c:v>
                </c:pt>
                <c:pt idx="101">
                  <c:v>31655</c:v>
                </c:pt>
                <c:pt idx="102">
                  <c:v>31685</c:v>
                </c:pt>
                <c:pt idx="103">
                  <c:v>31716</c:v>
                </c:pt>
                <c:pt idx="104">
                  <c:v>31746</c:v>
                </c:pt>
                <c:pt idx="105">
                  <c:v>31777</c:v>
                </c:pt>
                <c:pt idx="106">
                  <c:v>31808</c:v>
                </c:pt>
                <c:pt idx="107">
                  <c:v>31836</c:v>
                </c:pt>
                <c:pt idx="108">
                  <c:v>31867</c:v>
                </c:pt>
                <c:pt idx="109">
                  <c:v>31897</c:v>
                </c:pt>
                <c:pt idx="110">
                  <c:v>31928</c:v>
                </c:pt>
                <c:pt idx="111">
                  <c:v>31958</c:v>
                </c:pt>
                <c:pt idx="112">
                  <c:v>31989</c:v>
                </c:pt>
                <c:pt idx="113">
                  <c:v>32020</c:v>
                </c:pt>
                <c:pt idx="114">
                  <c:v>32050</c:v>
                </c:pt>
                <c:pt idx="115">
                  <c:v>32081</c:v>
                </c:pt>
                <c:pt idx="116">
                  <c:v>32111</c:v>
                </c:pt>
                <c:pt idx="117">
                  <c:v>32142</c:v>
                </c:pt>
                <c:pt idx="118">
                  <c:v>32173</c:v>
                </c:pt>
                <c:pt idx="119">
                  <c:v>32202</c:v>
                </c:pt>
                <c:pt idx="120">
                  <c:v>32233</c:v>
                </c:pt>
                <c:pt idx="121">
                  <c:v>32263</c:v>
                </c:pt>
                <c:pt idx="122">
                  <c:v>32294</c:v>
                </c:pt>
                <c:pt idx="123">
                  <c:v>32324</c:v>
                </c:pt>
                <c:pt idx="124">
                  <c:v>32355</c:v>
                </c:pt>
                <c:pt idx="125">
                  <c:v>32386</c:v>
                </c:pt>
                <c:pt idx="126">
                  <c:v>32416</c:v>
                </c:pt>
                <c:pt idx="127">
                  <c:v>32447</c:v>
                </c:pt>
                <c:pt idx="128">
                  <c:v>32477</c:v>
                </c:pt>
                <c:pt idx="129">
                  <c:v>32508</c:v>
                </c:pt>
                <c:pt idx="130">
                  <c:v>32539</c:v>
                </c:pt>
                <c:pt idx="131">
                  <c:v>32567</c:v>
                </c:pt>
                <c:pt idx="132">
                  <c:v>32598</c:v>
                </c:pt>
                <c:pt idx="133">
                  <c:v>32628</c:v>
                </c:pt>
                <c:pt idx="134">
                  <c:v>32659</c:v>
                </c:pt>
                <c:pt idx="135">
                  <c:v>32689</c:v>
                </c:pt>
                <c:pt idx="136">
                  <c:v>32720</c:v>
                </c:pt>
                <c:pt idx="137">
                  <c:v>32751</c:v>
                </c:pt>
                <c:pt idx="138">
                  <c:v>32781</c:v>
                </c:pt>
                <c:pt idx="139">
                  <c:v>32812</c:v>
                </c:pt>
                <c:pt idx="140">
                  <c:v>32842</c:v>
                </c:pt>
                <c:pt idx="141">
                  <c:v>32873</c:v>
                </c:pt>
                <c:pt idx="142">
                  <c:v>32904</c:v>
                </c:pt>
                <c:pt idx="143">
                  <c:v>32932</c:v>
                </c:pt>
                <c:pt idx="144">
                  <c:v>32963</c:v>
                </c:pt>
                <c:pt idx="145">
                  <c:v>32993</c:v>
                </c:pt>
                <c:pt idx="146">
                  <c:v>33024</c:v>
                </c:pt>
                <c:pt idx="147">
                  <c:v>33054</c:v>
                </c:pt>
                <c:pt idx="148">
                  <c:v>33085</c:v>
                </c:pt>
                <c:pt idx="149">
                  <c:v>33116</c:v>
                </c:pt>
                <c:pt idx="150">
                  <c:v>33146</c:v>
                </c:pt>
                <c:pt idx="151">
                  <c:v>33177</c:v>
                </c:pt>
                <c:pt idx="152">
                  <c:v>33207</c:v>
                </c:pt>
                <c:pt idx="153">
                  <c:v>33238</c:v>
                </c:pt>
                <c:pt idx="154">
                  <c:v>33269</c:v>
                </c:pt>
                <c:pt idx="155">
                  <c:v>33297</c:v>
                </c:pt>
                <c:pt idx="156">
                  <c:v>33328</c:v>
                </c:pt>
                <c:pt idx="157">
                  <c:v>33358</c:v>
                </c:pt>
                <c:pt idx="158">
                  <c:v>33389</c:v>
                </c:pt>
                <c:pt idx="159">
                  <c:v>33419</c:v>
                </c:pt>
                <c:pt idx="160">
                  <c:v>33450</c:v>
                </c:pt>
                <c:pt idx="161">
                  <c:v>33481</c:v>
                </c:pt>
                <c:pt idx="162">
                  <c:v>33511</c:v>
                </c:pt>
                <c:pt idx="163">
                  <c:v>33542</c:v>
                </c:pt>
                <c:pt idx="164">
                  <c:v>33572</c:v>
                </c:pt>
                <c:pt idx="165">
                  <c:v>33603</c:v>
                </c:pt>
                <c:pt idx="166">
                  <c:v>33634</c:v>
                </c:pt>
                <c:pt idx="167">
                  <c:v>33663</c:v>
                </c:pt>
                <c:pt idx="168">
                  <c:v>33694</c:v>
                </c:pt>
                <c:pt idx="169">
                  <c:v>33724</c:v>
                </c:pt>
                <c:pt idx="170">
                  <c:v>33755</c:v>
                </c:pt>
                <c:pt idx="171">
                  <c:v>33785</c:v>
                </c:pt>
                <c:pt idx="172">
                  <c:v>33816</c:v>
                </c:pt>
                <c:pt idx="173">
                  <c:v>33847</c:v>
                </c:pt>
                <c:pt idx="174">
                  <c:v>33877</c:v>
                </c:pt>
                <c:pt idx="175">
                  <c:v>33908</c:v>
                </c:pt>
                <c:pt idx="176">
                  <c:v>33938</c:v>
                </c:pt>
                <c:pt idx="177">
                  <c:v>33969</c:v>
                </c:pt>
                <c:pt idx="178">
                  <c:v>34000</c:v>
                </c:pt>
                <c:pt idx="179">
                  <c:v>34028</c:v>
                </c:pt>
                <c:pt idx="180">
                  <c:v>34059</c:v>
                </c:pt>
                <c:pt idx="181">
                  <c:v>34089</c:v>
                </c:pt>
                <c:pt idx="182">
                  <c:v>34120</c:v>
                </c:pt>
                <c:pt idx="183">
                  <c:v>34150</c:v>
                </c:pt>
                <c:pt idx="184">
                  <c:v>34181</c:v>
                </c:pt>
                <c:pt idx="185">
                  <c:v>34212</c:v>
                </c:pt>
                <c:pt idx="186">
                  <c:v>34242</c:v>
                </c:pt>
                <c:pt idx="187">
                  <c:v>34273</c:v>
                </c:pt>
                <c:pt idx="188">
                  <c:v>34303</c:v>
                </c:pt>
                <c:pt idx="189">
                  <c:v>34334</c:v>
                </c:pt>
                <c:pt idx="190">
                  <c:v>34365</c:v>
                </c:pt>
                <c:pt idx="191">
                  <c:v>34393</c:v>
                </c:pt>
                <c:pt idx="192">
                  <c:v>34424</c:v>
                </c:pt>
                <c:pt idx="193">
                  <c:v>34454</c:v>
                </c:pt>
                <c:pt idx="194">
                  <c:v>34485</c:v>
                </c:pt>
                <c:pt idx="195">
                  <c:v>34515</c:v>
                </c:pt>
                <c:pt idx="196">
                  <c:v>34546</c:v>
                </c:pt>
                <c:pt idx="197">
                  <c:v>34577</c:v>
                </c:pt>
                <c:pt idx="198">
                  <c:v>34607</c:v>
                </c:pt>
                <c:pt idx="199">
                  <c:v>34638</c:v>
                </c:pt>
                <c:pt idx="200">
                  <c:v>34668</c:v>
                </c:pt>
                <c:pt idx="201">
                  <c:v>34699</c:v>
                </c:pt>
                <c:pt idx="202">
                  <c:v>34730</c:v>
                </c:pt>
                <c:pt idx="203">
                  <c:v>34758</c:v>
                </c:pt>
                <c:pt idx="204">
                  <c:v>34789</c:v>
                </c:pt>
                <c:pt idx="205">
                  <c:v>34819</c:v>
                </c:pt>
                <c:pt idx="206">
                  <c:v>34850</c:v>
                </c:pt>
                <c:pt idx="207">
                  <c:v>34880</c:v>
                </c:pt>
                <c:pt idx="208">
                  <c:v>34911</c:v>
                </c:pt>
                <c:pt idx="209">
                  <c:v>34942</c:v>
                </c:pt>
                <c:pt idx="210">
                  <c:v>34972</c:v>
                </c:pt>
                <c:pt idx="211">
                  <c:v>35003</c:v>
                </c:pt>
                <c:pt idx="212">
                  <c:v>35033</c:v>
                </c:pt>
                <c:pt idx="213">
                  <c:v>35064</c:v>
                </c:pt>
                <c:pt idx="214">
                  <c:v>35095</c:v>
                </c:pt>
                <c:pt idx="215">
                  <c:v>35124</c:v>
                </c:pt>
                <c:pt idx="216">
                  <c:v>35155</c:v>
                </c:pt>
                <c:pt idx="217">
                  <c:v>35185</c:v>
                </c:pt>
                <c:pt idx="218">
                  <c:v>35216</c:v>
                </c:pt>
                <c:pt idx="219">
                  <c:v>35246</c:v>
                </c:pt>
                <c:pt idx="220">
                  <c:v>35277</c:v>
                </c:pt>
                <c:pt idx="221">
                  <c:v>35308</c:v>
                </c:pt>
                <c:pt idx="222">
                  <c:v>35338</c:v>
                </c:pt>
                <c:pt idx="223">
                  <c:v>35369</c:v>
                </c:pt>
                <c:pt idx="224">
                  <c:v>35399</c:v>
                </c:pt>
                <c:pt idx="225">
                  <c:v>35430</c:v>
                </c:pt>
                <c:pt idx="226">
                  <c:v>35461</c:v>
                </c:pt>
                <c:pt idx="227">
                  <c:v>35489</c:v>
                </c:pt>
                <c:pt idx="228">
                  <c:v>35520</c:v>
                </c:pt>
                <c:pt idx="229">
                  <c:v>35550</c:v>
                </c:pt>
                <c:pt idx="230">
                  <c:v>35581</c:v>
                </c:pt>
                <c:pt idx="231">
                  <c:v>35611</c:v>
                </c:pt>
                <c:pt idx="232">
                  <c:v>35642</c:v>
                </c:pt>
                <c:pt idx="233">
                  <c:v>35673</c:v>
                </c:pt>
                <c:pt idx="234">
                  <c:v>35703</c:v>
                </c:pt>
                <c:pt idx="235">
                  <c:v>35734</c:v>
                </c:pt>
                <c:pt idx="236">
                  <c:v>35764</c:v>
                </c:pt>
                <c:pt idx="237">
                  <c:v>35795</c:v>
                </c:pt>
                <c:pt idx="238">
                  <c:v>35826</c:v>
                </c:pt>
                <c:pt idx="239">
                  <c:v>35854</c:v>
                </c:pt>
                <c:pt idx="240">
                  <c:v>35885</c:v>
                </c:pt>
                <c:pt idx="241">
                  <c:v>35915</c:v>
                </c:pt>
                <c:pt idx="242">
                  <c:v>35946</c:v>
                </c:pt>
                <c:pt idx="243">
                  <c:v>35976</c:v>
                </c:pt>
                <c:pt idx="244">
                  <c:v>36007</c:v>
                </c:pt>
                <c:pt idx="245">
                  <c:v>36038</c:v>
                </c:pt>
                <c:pt idx="246">
                  <c:v>36068</c:v>
                </c:pt>
                <c:pt idx="247">
                  <c:v>36099</c:v>
                </c:pt>
                <c:pt idx="248">
                  <c:v>36129</c:v>
                </c:pt>
                <c:pt idx="249">
                  <c:v>36160</c:v>
                </c:pt>
                <c:pt idx="250">
                  <c:v>36191</c:v>
                </c:pt>
                <c:pt idx="251">
                  <c:v>36219</c:v>
                </c:pt>
                <c:pt idx="252">
                  <c:v>36250</c:v>
                </c:pt>
                <c:pt idx="253">
                  <c:v>36280</c:v>
                </c:pt>
                <c:pt idx="254">
                  <c:v>36311</c:v>
                </c:pt>
                <c:pt idx="255">
                  <c:v>36341</c:v>
                </c:pt>
                <c:pt idx="256">
                  <c:v>36372</c:v>
                </c:pt>
                <c:pt idx="257">
                  <c:v>36403</c:v>
                </c:pt>
                <c:pt idx="258">
                  <c:v>36433</c:v>
                </c:pt>
                <c:pt idx="259">
                  <c:v>36464</c:v>
                </c:pt>
                <c:pt idx="260">
                  <c:v>36494</c:v>
                </c:pt>
                <c:pt idx="261">
                  <c:v>36525</c:v>
                </c:pt>
                <c:pt idx="262">
                  <c:v>36556</c:v>
                </c:pt>
                <c:pt idx="263">
                  <c:v>36585</c:v>
                </c:pt>
                <c:pt idx="264">
                  <c:v>36616</c:v>
                </c:pt>
                <c:pt idx="265">
                  <c:v>36646</c:v>
                </c:pt>
                <c:pt idx="266">
                  <c:v>36677</c:v>
                </c:pt>
                <c:pt idx="267">
                  <c:v>36707</c:v>
                </c:pt>
                <c:pt idx="268">
                  <c:v>36738</c:v>
                </c:pt>
                <c:pt idx="269">
                  <c:v>36769</c:v>
                </c:pt>
                <c:pt idx="270">
                  <c:v>36799</c:v>
                </c:pt>
                <c:pt idx="271">
                  <c:v>36830</c:v>
                </c:pt>
                <c:pt idx="272">
                  <c:v>36860</c:v>
                </c:pt>
                <c:pt idx="273">
                  <c:v>36891</c:v>
                </c:pt>
                <c:pt idx="274">
                  <c:v>36922</c:v>
                </c:pt>
                <c:pt idx="275">
                  <c:v>36950</c:v>
                </c:pt>
                <c:pt idx="276">
                  <c:v>36981</c:v>
                </c:pt>
                <c:pt idx="277">
                  <c:v>37011</c:v>
                </c:pt>
                <c:pt idx="278">
                  <c:v>37042</c:v>
                </c:pt>
                <c:pt idx="279">
                  <c:v>37072</c:v>
                </c:pt>
                <c:pt idx="280">
                  <c:v>37103</c:v>
                </c:pt>
                <c:pt idx="281">
                  <c:v>37134</c:v>
                </c:pt>
                <c:pt idx="282">
                  <c:v>37164</c:v>
                </c:pt>
                <c:pt idx="283">
                  <c:v>37195</c:v>
                </c:pt>
                <c:pt idx="284">
                  <c:v>37225</c:v>
                </c:pt>
                <c:pt idx="285">
                  <c:v>37256</c:v>
                </c:pt>
                <c:pt idx="286">
                  <c:v>37287</c:v>
                </c:pt>
                <c:pt idx="287">
                  <c:v>37315</c:v>
                </c:pt>
                <c:pt idx="288">
                  <c:v>37346</c:v>
                </c:pt>
                <c:pt idx="289">
                  <c:v>37376</c:v>
                </c:pt>
                <c:pt idx="290">
                  <c:v>37407</c:v>
                </c:pt>
                <c:pt idx="291">
                  <c:v>37437</c:v>
                </c:pt>
                <c:pt idx="292">
                  <c:v>37468</c:v>
                </c:pt>
                <c:pt idx="293">
                  <c:v>37499</c:v>
                </c:pt>
                <c:pt idx="294">
                  <c:v>37529</c:v>
                </c:pt>
                <c:pt idx="295">
                  <c:v>37560</c:v>
                </c:pt>
                <c:pt idx="296">
                  <c:v>37590</c:v>
                </c:pt>
                <c:pt idx="297">
                  <c:v>37621</c:v>
                </c:pt>
                <c:pt idx="298">
                  <c:v>37652</c:v>
                </c:pt>
                <c:pt idx="299">
                  <c:v>37680</c:v>
                </c:pt>
                <c:pt idx="300">
                  <c:v>37711</c:v>
                </c:pt>
                <c:pt idx="301">
                  <c:v>37741</c:v>
                </c:pt>
                <c:pt idx="302">
                  <c:v>37772</c:v>
                </c:pt>
                <c:pt idx="303">
                  <c:v>37802</c:v>
                </c:pt>
                <c:pt idx="304">
                  <c:v>37833</c:v>
                </c:pt>
                <c:pt idx="305">
                  <c:v>37864</c:v>
                </c:pt>
                <c:pt idx="306">
                  <c:v>37894</c:v>
                </c:pt>
                <c:pt idx="307">
                  <c:v>37925</c:v>
                </c:pt>
                <c:pt idx="308">
                  <c:v>37955</c:v>
                </c:pt>
                <c:pt idx="309">
                  <c:v>37986</c:v>
                </c:pt>
                <c:pt idx="310">
                  <c:v>38017</c:v>
                </c:pt>
                <c:pt idx="311">
                  <c:v>38046</c:v>
                </c:pt>
                <c:pt idx="312">
                  <c:v>38077</c:v>
                </c:pt>
                <c:pt idx="313">
                  <c:v>38107</c:v>
                </c:pt>
                <c:pt idx="314">
                  <c:v>38138</c:v>
                </c:pt>
                <c:pt idx="315">
                  <c:v>38168</c:v>
                </c:pt>
                <c:pt idx="316">
                  <c:v>38199</c:v>
                </c:pt>
                <c:pt idx="317">
                  <c:v>38230</c:v>
                </c:pt>
                <c:pt idx="318">
                  <c:v>38260</c:v>
                </c:pt>
                <c:pt idx="319">
                  <c:v>38291</c:v>
                </c:pt>
                <c:pt idx="320">
                  <c:v>38321</c:v>
                </c:pt>
                <c:pt idx="321">
                  <c:v>38352</c:v>
                </c:pt>
                <c:pt idx="322">
                  <c:v>38383</c:v>
                </c:pt>
                <c:pt idx="323">
                  <c:v>38411</c:v>
                </c:pt>
                <c:pt idx="324">
                  <c:v>38442</c:v>
                </c:pt>
                <c:pt idx="325">
                  <c:v>38472</c:v>
                </c:pt>
                <c:pt idx="326">
                  <c:v>38503</c:v>
                </c:pt>
                <c:pt idx="327">
                  <c:v>38533</c:v>
                </c:pt>
                <c:pt idx="328">
                  <c:v>38564</c:v>
                </c:pt>
                <c:pt idx="329">
                  <c:v>38595</c:v>
                </c:pt>
                <c:pt idx="330">
                  <c:v>38625</c:v>
                </c:pt>
                <c:pt idx="331">
                  <c:v>38656</c:v>
                </c:pt>
                <c:pt idx="332">
                  <c:v>38686</c:v>
                </c:pt>
                <c:pt idx="333">
                  <c:v>38717</c:v>
                </c:pt>
                <c:pt idx="334">
                  <c:v>38748</c:v>
                </c:pt>
                <c:pt idx="335">
                  <c:v>38776</c:v>
                </c:pt>
                <c:pt idx="336">
                  <c:v>38807</c:v>
                </c:pt>
                <c:pt idx="337">
                  <c:v>38837</c:v>
                </c:pt>
                <c:pt idx="338">
                  <c:v>38868</c:v>
                </c:pt>
                <c:pt idx="339">
                  <c:v>38898</c:v>
                </c:pt>
                <c:pt idx="340">
                  <c:v>38929</c:v>
                </c:pt>
                <c:pt idx="341">
                  <c:v>38960</c:v>
                </c:pt>
                <c:pt idx="342">
                  <c:v>38990</c:v>
                </c:pt>
                <c:pt idx="343">
                  <c:v>39021</c:v>
                </c:pt>
                <c:pt idx="344">
                  <c:v>39051</c:v>
                </c:pt>
                <c:pt idx="345">
                  <c:v>39082</c:v>
                </c:pt>
                <c:pt idx="346">
                  <c:v>39113</c:v>
                </c:pt>
                <c:pt idx="347">
                  <c:v>39141</c:v>
                </c:pt>
                <c:pt idx="348">
                  <c:v>39172</c:v>
                </c:pt>
                <c:pt idx="349">
                  <c:v>39202</c:v>
                </c:pt>
                <c:pt idx="350">
                  <c:v>39233</c:v>
                </c:pt>
                <c:pt idx="351">
                  <c:v>39263</c:v>
                </c:pt>
                <c:pt idx="352">
                  <c:v>39294</c:v>
                </c:pt>
                <c:pt idx="353">
                  <c:v>39325</c:v>
                </c:pt>
                <c:pt idx="354">
                  <c:v>39355</c:v>
                </c:pt>
                <c:pt idx="355">
                  <c:v>39386</c:v>
                </c:pt>
                <c:pt idx="356">
                  <c:v>39416</c:v>
                </c:pt>
                <c:pt idx="357">
                  <c:v>39447</c:v>
                </c:pt>
                <c:pt idx="358">
                  <c:v>39478</c:v>
                </c:pt>
                <c:pt idx="359">
                  <c:v>39507</c:v>
                </c:pt>
                <c:pt idx="360">
                  <c:v>39538</c:v>
                </c:pt>
                <c:pt idx="361">
                  <c:v>39568</c:v>
                </c:pt>
                <c:pt idx="362">
                  <c:v>39599</c:v>
                </c:pt>
                <c:pt idx="363">
                  <c:v>39629</c:v>
                </c:pt>
                <c:pt idx="364">
                  <c:v>39660</c:v>
                </c:pt>
                <c:pt idx="365">
                  <c:v>39691</c:v>
                </c:pt>
                <c:pt idx="366">
                  <c:v>39721</c:v>
                </c:pt>
                <c:pt idx="367">
                  <c:v>39752</c:v>
                </c:pt>
                <c:pt idx="368">
                  <c:v>39782</c:v>
                </c:pt>
                <c:pt idx="369">
                  <c:v>39813</c:v>
                </c:pt>
                <c:pt idx="370">
                  <c:v>39844</c:v>
                </c:pt>
                <c:pt idx="371">
                  <c:v>39872</c:v>
                </c:pt>
                <c:pt idx="372">
                  <c:v>39903</c:v>
                </c:pt>
                <c:pt idx="373">
                  <c:v>39933</c:v>
                </c:pt>
                <c:pt idx="374">
                  <c:v>39964</c:v>
                </c:pt>
                <c:pt idx="375">
                  <c:v>39994</c:v>
                </c:pt>
                <c:pt idx="376">
                  <c:v>40025</c:v>
                </c:pt>
                <c:pt idx="377">
                  <c:v>40056</c:v>
                </c:pt>
                <c:pt idx="378">
                  <c:v>40086</c:v>
                </c:pt>
                <c:pt idx="379">
                  <c:v>40117</c:v>
                </c:pt>
                <c:pt idx="380">
                  <c:v>40147</c:v>
                </c:pt>
                <c:pt idx="381">
                  <c:v>40178</c:v>
                </c:pt>
                <c:pt idx="382">
                  <c:v>40209</c:v>
                </c:pt>
                <c:pt idx="383">
                  <c:v>40237</c:v>
                </c:pt>
                <c:pt idx="384">
                  <c:v>40268</c:v>
                </c:pt>
                <c:pt idx="385">
                  <c:v>40298</c:v>
                </c:pt>
                <c:pt idx="386">
                  <c:v>40329</c:v>
                </c:pt>
                <c:pt idx="387">
                  <c:v>40359</c:v>
                </c:pt>
                <c:pt idx="388">
                  <c:v>40390</c:v>
                </c:pt>
                <c:pt idx="389">
                  <c:v>40421</c:v>
                </c:pt>
                <c:pt idx="390">
                  <c:v>40451</c:v>
                </c:pt>
                <c:pt idx="391">
                  <c:v>40482</c:v>
                </c:pt>
                <c:pt idx="392">
                  <c:v>40512</c:v>
                </c:pt>
                <c:pt idx="393">
                  <c:v>40543</c:v>
                </c:pt>
                <c:pt idx="394">
                  <c:v>40574</c:v>
                </c:pt>
                <c:pt idx="395">
                  <c:v>40602</c:v>
                </c:pt>
                <c:pt idx="396">
                  <c:v>40633</c:v>
                </c:pt>
                <c:pt idx="397">
                  <c:v>40663</c:v>
                </c:pt>
                <c:pt idx="398">
                  <c:v>40694</c:v>
                </c:pt>
                <c:pt idx="399">
                  <c:v>40724</c:v>
                </c:pt>
                <c:pt idx="400">
                  <c:v>40755</c:v>
                </c:pt>
                <c:pt idx="401">
                  <c:v>40786</c:v>
                </c:pt>
                <c:pt idx="402">
                  <c:v>40816</c:v>
                </c:pt>
                <c:pt idx="403">
                  <c:v>40847</c:v>
                </c:pt>
                <c:pt idx="404">
                  <c:v>40877</c:v>
                </c:pt>
                <c:pt idx="405">
                  <c:v>40908</c:v>
                </c:pt>
                <c:pt idx="406">
                  <c:v>40939</c:v>
                </c:pt>
                <c:pt idx="407">
                  <c:v>40968</c:v>
                </c:pt>
                <c:pt idx="408">
                  <c:v>40999</c:v>
                </c:pt>
                <c:pt idx="409">
                  <c:v>41029</c:v>
                </c:pt>
                <c:pt idx="410">
                  <c:v>41060</c:v>
                </c:pt>
                <c:pt idx="411">
                  <c:v>41090</c:v>
                </c:pt>
                <c:pt idx="412">
                  <c:v>41121</c:v>
                </c:pt>
                <c:pt idx="413">
                  <c:v>41152</c:v>
                </c:pt>
                <c:pt idx="414">
                  <c:v>41182</c:v>
                </c:pt>
                <c:pt idx="415">
                  <c:v>41213</c:v>
                </c:pt>
                <c:pt idx="416">
                  <c:v>41243</c:v>
                </c:pt>
                <c:pt idx="417">
                  <c:v>41274</c:v>
                </c:pt>
                <c:pt idx="418">
                  <c:v>41305</c:v>
                </c:pt>
                <c:pt idx="419">
                  <c:v>41333</c:v>
                </c:pt>
                <c:pt idx="420">
                  <c:v>41364</c:v>
                </c:pt>
                <c:pt idx="421">
                  <c:v>41394</c:v>
                </c:pt>
                <c:pt idx="422">
                  <c:v>41425</c:v>
                </c:pt>
                <c:pt idx="423">
                  <c:v>41455</c:v>
                </c:pt>
                <c:pt idx="424">
                  <c:v>41486</c:v>
                </c:pt>
                <c:pt idx="425">
                  <c:v>41517</c:v>
                </c:pt>
                <c:pt idx="426">
                  <c:v>41547</c:v>
                </c:pt>
                <c:pt idx="427">
                  <c:v>41578</c:v>
                </c:pt>
                <c:pt idx="428">
                  <c:v>41608</c:v>
                </c:pt>
                <c:pt idx="429">
                  <c:v>41639</c:v>
                </c:pt>
                <c:pt idx="430">
                  <c:v>41670</c:v>
                </c:pt>
                <c:pt idx="431">
                  <c:v>41698</c:v>
                </c:pt>
                <c:pt idx="432">
                  <c:v>41729</c:v>
                </c:pt>
                <c:pt idx="433">
                  <c:v>41759</c:v>
                </c:pt>
                <c:pt idx="434">
                  <c:v>41790</c:v>
                </c:pt>
                <c:pt idx="435">
                  <c:v>41820</c:v>
                </c:pt>
                <c:pt idx="436">
                  <c:v>41851</c:v>
                </c:pt>
                <c:pt idx="437">
                  <c:v>41882</c:v>
                </c:pt>
                <c:pt idx="438">
                  <c:v>41912</c:v>
                </c:pt>
                <c:pt idx="439">
                  <c:v>41943</c:v>
                </c:pt>
                <c:pt idx="440">
                  <c:v>41973</c:v>
                </c:pt>
                <c:pt idx="441">
                  <c:v>42004</c:v>
                </c:pt>
                <c:pt idx="442">
                  <c:v>42035</c:v>
                </c:pt>
                <c:pt idx="443">
                  <c:v>42063</c:v>
                </c:pt>
                <c:pt idx="444">
                  <c:v>42094</c:v>
                </c:pt>
                <c:pt idx="445">
                  <c:v>42124</c:v>
                </c:pt>
                <c:pt idx="446">
                  <c:v>42155</c:v>
                </c:pt>
                <c:pt idx="447">
                  <c:v>42185</c:v>
                </c:pt>
                <c:pt idx="448">
                  <c:v>42216</c:v>
                </c:pt>
                <c:pt idx="449">
                  <c:v>42247</c:v>
                </c:pt>
                <c:pt idx="450">
                  <c:v>42277</c:v>
                </c:pt>
                <c:pt idx="451">
                  <c:v>42308</c:v>
                </c:pt>
                <c:pt idx="452">
                  <c:v>42338</c:v>
                </c:pt>
                <c:pt idx="453">
                  <c:v>42369</c:v>
                </c:pt>
                <c:pt idx="454">
                  <c:v>42400</c:v>
                </c:pt>
                <c:pt idx="455">
                  <c:v>42429</c:v>
                </c:pt>
                <c:pt idx="456">
                  <c:v>42460</c:v>
                </c:pt>
                <c:pt idx="457">
                  <c:v>42490</c:v>
                </c:pt>
                <c:pt idx="458">
                  <c:v>42521</c:v>
                </c:pt>
                <c:pt idx="459">
                  <c:v>42551</c:v>
                </c:pt>
                <c:pt idx="460">
                  <c:v>42582</c:v>
                </c:pt>
                <c:pt idx="461">
                  <c:v>42613</c:v>
                </c:pt>
                <c:pt idx="462">
                  <c:v>42643</c:v>
                </c:pt>
                <c:pt idx="463">
                  <c:v>42674</c:v>
                </c:pt>
                <c:pt idx="464">
                  <c:v>42704</c:v>
                </c:pt>
                <c:pt idx="465">
                  <c:v>42735</c:v>
                </c:pt>
                <c:pt idx="466">
                  <c:v>42766</c:v>
                </c:pt>
                <c:pt idx="467">
                  <c:v>42794</c:v>
                </c:pt>
                <c:pt idx="468">
                  <c:v>42825</c:v>
                </c:pt>
                <c:pt idx="469">
                  <c:v>42855</c:v>
                </c:pt>
                <c:pt idx="470">
                  <c:v>42886</c:v>
                </c:pt>
                <c:pt idx="471">
                  <c:v>42916</c:v>
                </c:pt>
                <c:pt idx="472">
                  <c:v>42947</c:v>
                </c:pt>
                <c:pt idx="473">
                  <c:v>42978</c:v>
                </c:pt>
                <c:pt idx="474">
                  <c:v>43008</c:v>
                </c:pt>
                <c:pt idx="475">
                  <c:v>43039</c:v>
                </c:pt>
                <c:pt idx="476">
                  <c:v>43069</c:v>
                </c:pt>
                <c:pt idx="477">
                  <c:v>43100</c:v>
                </c:pt>
                <c:pt idx="478">
                  <c:v>43131</c:v>
                </c:pt>
                <c:pt idx="479">
                  <c:v>43159</c:v>
                </c:pt>
                <c:pt idx="480">
                  <c:v>43190</c:v>
                </c:pt>
                <c:pt idx="481">
                  <c:v>43220</c:v>
                </c:pt>
                <c:pt idx="482">
                  <c:v>43251</c:v>
                </c:pt>
                <c:pt idx="483">
                  <c:v>43281</c:v>
                </c:pt>
                <c:pt idx="484">
                  <c:v>43312</c:v>
                </c:pt>
                <c:pt idx="485">
                  <c:v>43343</c:v>
                </c:pt>
                <c:pt idx="486">
                  <c:v>43373</c:v>
                </c:pt>
                <c:pt idx="487">
                  <c:v>43404</c:v>
                </c:pt>
                <c:pt idx="488">
                  <c:v>43434</c:v>
                </c:pt>
                <c:pt idx="489">
                  <c:v>43465</c:v>
                </c:pt>
                <c:pt idx="490">
                  <c:v>43496</c:v>
                </c:pt>
                <c:pt idx="491">
                  <c:v>43524</c:v>
                </c:pt>
                <c:pt idx="492">
                  <c:v>43555</c:v>
                </c:pt>
                <c:pt idx="493">
                  <c:v>43585</c:v>
                </c:pt>
                <c:pt idx="494">
                  <c:v>43616</c:v>
                </c:pt>
                <c:pt idx="495">
                  <c:v>43646</c:v>
                </c:pt>
                <c:pt idx="496">
                  <c:v>43677</c:v>
                </c:pt>
                <c:pt idx="497">
                  <c:v>43708</c:v>
                </c:pt>
                <c:pt idx="498">
                  <c:v>43738</c:v>
                </c:pt>
                <c:pt idx="499">
                  <c:v>43769</c:v>
                </c:pt>
                <c:pt idx="500">
                  <c:v>43799</c:v>
                </c:pt>
                <c:pt idx="501">
                  <c:v>43830</c:v>
                </c:pt>
                <c:pt idx="502">
                  <c:v>43861</c:v>
                </c:pt>
                <c:pt idx="503">
                  <c:v>43890</c:v>
                </c:pt>
                <c:pt idx="504">
                  <c:v>43921</c:v>
                </c:pt>
                <c:pt idx="505">
                  <c:v>43951</c:v>
                </c:pt>
                <c:pt idx="506">
                  <c:v>43982</c:v>
                </c:pt>
                <c:pt idx="507">
                  <c:v>44012</c:v>
                </c:pt>
                <c:pt idx="508">
                  <c:v>44043</c:v>
                </c:pt>
                <c:pt idx="509">
                  <c:v>44074</c:v>
                </c:pt>
                <c:pt idx="510">
                  <c:v>44104</c:v>
                </c:pt>
                <c:pt idx="511">
                  <c:v>44135</c:v>
                </c:pt>
                <c:pt idx="512">
                  <c:v>44165</c:v>
                </c:pt>
                <c:pt idx="513">
                  <c:v>44196</c:v>
                </c:pt>
                <c:pt idx="514">
                  <c:v>44227</c:v>
                </c:pt>
                <c:pt idx="515">
                  <c:v>44255</c:v>
                </c:pt>
                <c:pt idx="516">
                  <c:v>44286</c:v>
                </c:pt>
                <c:pt idx="517">
                  <c:v>44316</c:v>
                </c:pt>
                <c:pt idx="518">
                  <c:v>44347</c:v>
                </c:pt>
                <c:pt idx="519">
                  <c:v>44377</c:v>
                </c:pt>
                <c:pt idx="520">
                  <c:v>44408</c:v>
                </c:pt>
                <c:pt idx="521">
                  <c:v>44439</c:v>
                </c:pt>
                <c:pt idx="522">
                  <c:v>44469</c:v>
                </c:pt>
                <c:pt idx="523">
                  <c:v>44500</c:v>
                </c:pt>
                <c:pt idx="524">
                  <c:v>44530</c:v>
                </c:pt>
                <c:pt idx="525">
                  <c:v>44561</c:v>
                </c:pt>
                <c:pt idx="526">
                  <c:v>44592</c:v>
                </c:pt>
                <c:pt idx="527">
                  <c:v>44620</c:v>
                </c:pt>
                <c:pt idx="528">
                  <c:v>44651</c:v>
                </c:pt>
                <c:pt idx="529">
                  <c:v>44681</c:v>
                </c:pt>
                <c:pt idx="530">
                  <c:v>44712</c:v>
                </c:pt>
                <c:pt idx="531">
                  <c:v>44742</c:v>
                </c:pt>
              </c:numCache>
            </c:numRef>
          </c:cat>
          <c:val>
            <c:numRef>
              <c:f>Sheet1!$E$12:$E$543</c:f>
              <c:numCache>
                <c:formatCode>0</c:formatCode>
                <c:ptCount val="532"/>
                <c:pt idx="0">
                  <c:v>69.333333333333329</c:v>
                </c:pt>
                <c:pt idx="1">
                  <c:v>69</c:v>
                </c:pt>
                <c:pt idx="2">
                  <c:v>66.666666666666671</c:v>
                </c:pt>
                <c:pt idx="3">
                  <c:v>68</c:v>
                </c:pt>
                <c:pt idx="4">
                  <c:v>66.333333333333329</c:v>
                </c:pt>
                <c:pt idx="5">
                  <c:v>66.333333333333329</c:v>
                </c:pt>
                <c:pt idx="6">
                  <c:v>64.666666666666671</c:v>
                </c:pt>
                <c:pt idx="7">
                  <c:v>64</c:v>
                </c:pt>
                <c:pt idx="8">
                  <c:v>63</c:v>
                </c:pt>
                <c:pt idx="9">
                  <c:v>63.666666666666664</c:v>
                </c:pt>
                <c:pt idx="10">
                  <c:v>63.333333333333336</c:v>
                </c:pt>
                <c:pt idx="11">
                  <c:v>61.666666666666664</c:v>
                </c:pt>
                <c:pt idx="12">
                  <c:v>59.333333333333336</c:v>
                </c:pt>
                <c:pt idx="13">
                  <c:v>57.666666666666664</c:v>
                </c:pt>
                <c:pt idx="14">
                  <c:v>58</c:v>
                </c:pt>
                <c:pt idx="15">
                  <c:v>57.666666666666664</c:v>
                </c:pt>
                <c:pt idx="16">
                  <c:v>58.666666666666664</c:v>
                </c:pt>
                <c:pt idx="17">
                  <c:v>58.333333333333336</c:v>
                </c:pt>
                <c:pt idx="18">
                  <c:v>58.666666666666664</c:v>
                </c:pt>
                <c:pt idx="19">
                  <c:v>58.666666666666664</c:v>
                </c:pt>
                <c:pt idx="20">
                  <c:v>58.333333333333336</c:v>
                </c:pt>
                <c:pt idx="21">
                  <c:v>59.333333333333336</c:v>
                </c:pt>
                <c:pt idx="22">
                  <c:v>59</c:v>
                </c:pt>
                <c:pt idx="23">
                  <c:v>59.666666666666664</c:v>
                </c:pt>
                <c:pt idx="24">
                  <c:v>57</c:v>
                </c:pt>
                <c:pt idx="25">
                  <c:v>59.333333333333336</c:v>
                </c:pt>
                <c:pt idx="26">
                  <c:v>58.333333333333336</c:v>
                </c:pt>
                <c:pt idx="27">
                  <c:v>65.333333333333329</c:v>
                </c:pt>
                <c:pt idx="28">
                  <c:v>67</c:v>
                </c:pt>
                <c:pt idx="29">
                  <c:v>68.666666666666671</c:v>
                </c:pt>
                <c:pt idx="30">
                  <c:v>67.333333333333329</c:v>
                </c:pt>
                <c:pt idx="31">
                  <c:v>67.666666666666671</c:v>
                </c:pt>
                <c:pt idx="32">
                  <c:v>71.333333333333329</c:v>
                </c:pt>
                <c:pt idx="33">
                  <c:v>70</c:v>
                </c:pt>
                <c:pt idx="34">
                  <c:v>71.333333333333329</c:v>
                </c:pt>
                <c:pt idx="35">
                  <c:v>69</c:v>
                </c:pt>
                <c:pt idx="36">
                  <c:v>70.666666666666671</c:v>
                </c:pt>
                <c:pt idx="37">
                  <c:v>69</c:v>
                </c:pt>
                <c:pt idx="38">
                  <c:v>73</c:v>
                </c:pt>
                <c:pt idx="39">
                  <c:v>75.666666666666671</c:v>
                </c:pt>
                <c:pt idx="40">
                  <c:v>79.333333333333329</c:v>
                </c:pt>
                <c:pt idx="41">
                  <c:v>77.666666666666671</c:v>
                </c:pt>
                <c:pt idx="42">
                  <c:v>75.333333333333329</c:v>
                </c:pt>
                <c:pt idx="43">
                  <c:v>72.333333333333329</c:v>
                </c:pt>
                <c:pt idx="44">
                  <c:v>70.333333333333329</c:v>
                </c:pt>
                <c:pt idx="45">
                  <c:v>72.333333333333329</c:v>
                </c:pt>
                <c:pt idx="46">
                  <c:v>76.333333333333329</c:v>
                </c:pt>
                <c:pt idx="47">
                  <c:v>80.333333333333329</c:v>
                </c:pt>
                <c:pt idx="48">
                  <c:v>80.333333333333329</c:v>
                </c:pt>
                <c:pt idx="49">
                  <c:v>79</c:v>
                </c:pt>
                <c:pt idx="50">
                  <c:v>79.666666666666671</c:v>
                </c:pt>
                <c:pt idx="51">
                  <c:v>81.333333333333329</c:v>
                </c:pt>
                <c:pt idx="52">
                  <c:v>80.666666666666671</c:v>
                </c:pt>
                <c:pt idx="53">
                  <c:v>78.333333333333329</c:v>
                </c:pt>
                <c:pt idx="54">
                  <c:v>77.333333333333329</c:v>
                </c:pt>
                <c:pt idx="55">
                  <c:v>79</c:v>
                </c:pt>
                <c:pt idx="56">
                  <c:v>81.333333333333329</c:v>
                </c:pt>
                <c:pt idx="57">
                  <c:v>84.333333333333329</c:v>
                </c:pt>
                <c:pt idx="58">
                  <c:v>84.333333333333329</c:v>
                </c:pt>
                <c:pt idx="59">
                  <c:v>83</c:v>
                </c:pt>
                <c:pt idx="60">
                  <c:v>82.333333333333329</c:v>
                </c:pt>
                <c:pt idx="61">
                  <c:v>85</c:v>
                </c:pt>
                <c:pt idx="62">
                  <c:v>89</c:v>
                </c:pt>
                <c:pt idx="63">
                  <c:v>89.666666666666671</c:v>
                </c:pt>
                <c:pt idx="64">
                  <c:v>89.333333333333329</c:v>
                </c:pt>
                <c:pt idx="65">
                  <c:v>87</c:v>
                </c:pt>
                <c:pt idx="66">
                  <c:v>85.666666666666671</c:v>
                </c:pt>
                <c:pt idx="67">
                  <c:v>83</c:v>
                </c:pt>
                <c:pt idx="68">
                  <c:v>85.333333333333329</c:v>
                </c:pt>
                <c:pt idx="69">
                  <c:v>86.666666666666671</c:v>
                </c:pt>
                <c:pt idx="70">
                  <c:v>91</c:v>
                </c:pt>
                <c:pt idx="71">
                  <c:v>92</c:v>
                </c:pt>
                <c:pt idx="72">
                  <c:v>93.333333333333329</c:v>
                </c:pt>
                <c:pt idx="73">
                  <c:v>92</c:v>
                </c:pt>
                <c:pt idx="74">
                  <c:v>89.666666666666671</c:v>
                </c:pt>
                <c:pt idx="75">
                  <c:v>90</c:v>
                </c:pt>
                <c:pt idx="76">
                  <c:v>90</c:v>
                </c:pt>
                <c:pt idx="77">
                  <c:v>93.666666666666671</c:v>
                </c:pt>
                <c:pt idx="78">
                  <c:v>93.666666666666671</c:v>
                </c:pt>
                <c:pt idx="79">
                  <c:v>95.666666666666671</c:v>
                </c:pt>
                <c:pt idx="80">
                  <c:v>93.333333333333329</c:v>
                </c:pt>
                <c:pt idx="81">
                  <c:v>92.666666666666671</c:v>
                </c:pt>
                <c:pt idx="82">
                  <c:v>90</c:v>
                </c:pt>
                <c:pt idx="83">
                  <c:v>86.666666666666671</c:v>
                </c:pt>
                <c:pt idx="84">
                  <c:v>85</c:v>
                </c:pt>
                <c:pt idx="85">
                  <c:v>86.333333333333329</c:v>
                </c:pt>
                <c:pt idx="86">
                  <c:v>87.333333333333329</c:v>
                </c:pt>
                <c:pt idx="87">
                  <c:v>88.333333333333329</c:v>
                </c:pt>
                <c:pt idx="88">
                  <c:v>87</c:v>
                </c:pt>
                <c:pt idx="89">
                  <c:v>87.666666666666671</c:v>
                </c:pt>
                <c:pt idx="90">
                  <c:v>87.333333333333329</c:v>
                </c:pt>
                <c:pt idx="91">
                  <c:v>86.666666666666671</c:v>
                </c:pt>
                <c:pt idx="92">
                  <c:v>86.666666666666671</c:v>
                </c:pt>
                <c:pt idx="93">
                  <c:v>87.333333333333329</c:v>
                </c:pt>
                <c:pt idx="94">
                  <c:v>89</c:v>
                </c:pt>
                <c:pt idx="95">
                  <c:v>88</c:v>
                </c:pt>
                <c:pt idx="96">
                  <c:v>87.666666666666671</c:v>
                </c:pt>
                <c:pt idx="97">
                  <c:v>87.666666666666671</c:v>
                </c:pt>
                <c:pt idx="98">
                  <c:v>89.333333333333329</c:v>
                </c:pt>
                <c:pt idx="99">
                  <c:v>90</c:v>
                </c:pt>
                <c:pt idx="100">
                  <c:v>92</c:v>
                </c:pt>
                <c:pt idx="101">
                  <c:v>92.333333333333329</c:v>
                </c:pt>
                <c:pt idx="102">
                  <c:v>91.333333333333329</c:v>
                </c:pt>
                <c:pt idx="103">
                  <c:v>89.333333333333329</c:v>
                </c:pt>
                <c:pt idx="104">
                  <c:v>89.666666666666671</c:v>
                </c:pt>
                <c:pt idx="105">
                  <c:v>88.666666666666671</c:v>
                </c:pt>
                <c:pt idx="106">
                  <c:v>87.666666666666671</c:v>
                </c:pt>
                <c:pt idx="107">
                  <c:v>85.333333333333329</c:v>
                </c:pt>
                <c:pt idx="108">
                  <c:v>84.333333333333329</c:v>
                </c:pt>
                <c:pt idx="109">
                  <c:v>84.666666666666671</c:v>
                </c:pt>
                <c:pt idx="110">
                  <c:v>84.333333333333329</c:v>
                </c:pt>
                <c:pt idx="111">
                  <c:v>83.333333333333329</c:v>
                </c:pt>
                <c:pt idx="112">
                  <c:v>81.666666666666671</c:v>
                </c:pt>
                <c:pt idx="113">
                  <c:v>82.666666666666671</c:v>
                </c:pt>
                <c:pt idx="114">
                  <c:v>83</c:v>
                </c:pt>
                <c:pt idx="115">
                  <c:v>84.666666666666671</c:v>
                </c:pt>
                <c:pt idx="116">
                  <c:v>85</c:v>
                </c:pt>
                <c:pt idx="117">
                  <c:v>85.333333333333329</c:v>
                </c:pt>
                <c:pt idx="118">
                  <c:v>84</c:v>
                </c:pt>
                <c:pt idx="119">
                  <c:v>84.333333333333329</c:v>
                </c:pt>
                <c:pt idx="120">
                  <c:v>87.666666666666671</c:v>
                </c:pt>
                <c:pt idx="121">
                  <c:v>88.333333333333329</c:v>
                </c:pt>
                <c:pt idx="122">
                  <c:v>87.333333333333329</c:v>
                </c:pt>
                <c:pt idx="123">
                  <c:v>85.333333333333329</c:v>
                </c:pt>
                <c:pt idx="124">
                  <c:v>85</c:v>
                </c:pt>
                <c:pt idx="125">
                  <c:v>86</c:v>
                </c:pt>
                <c:pt idx="126">
                  <c:v>89</c:v>
                </c:pt>
                <c:pt idx="127">
                  <c:v>88.666666666666671</c:v>
                </c:pt>
                <c:pt idx="128">
                  <c:v>88.666666666666671</c:v>
                </c:pt>
                <c:pt idx="129">
                  <c:v>83</c:v>
                </c:pt>
                <c:pt idx="130">
                  <c:v>82.333333333333329</c:v>
                </c:pt>
                <c:pt idx="131">
                  <c:v>80.333333333333329</c:v>
                </c:pt>
                <c:pt idx="132">
                  <c:v>81.333333333333329</c:v>
                </c:pt>
                <c:pt idx="133">
                  <c:v>81</c:v>
                </c:pt>
                <c:pt idx="134">
                  <c:v>81.666666666666671</c:v>
                </c:pt>
                <c:pt idx="135">
                  <c:v>79.666666666666671</c:v>
                </c:pt>
                <c:pt idx="136">
                  <c:v>79.333333333333329</c:v>
                </c:pt>
                <c:pt idx="137">
                  <c:v>79.666666666666671</c:v>
                </c:pt>
                <c:pt idx="138">
                  <c:v>81.333333333333329</c:v>
                </c:pt>
                <c:pt idx="139">
                  <c:v>82.333333333333329</c:v>
                </c:pt>
                <c:pt idx="140">
                  <c:v>83</c:v>
                </c:pt>
                <c:pt idx="141">
                  <c:v>83.666666666666671</c:v>
                </c:pt>
                <c:pt idx="142">
                  <c:v>82.333333333333329</c:v>
                </c:pt>
                <c:pt idx="143">
                  <c:v>80.333333333333329</c:v>
                </c:pt>
                <c:pt idx="144">
                  <c:v>81.333333333333329</c:v>
                </c:pt>
                <c:pt idx="145">
                  <c:v>83.666666666666671</c:v>
                </c:pt>
                <c:pt idx="146">
                  <c:v>85.666666666666671</c:v>
                </c:pt>
                <c:pt idx="147">
                  <c:v>84.666666666666671</c:v>
                </c:pt>
                <c:pt idx="148">
                  <c:v>84.666666666666671</c:v>
                </c:pt>
                <c:pt idx="149">
                  <c:v>80</c:v>
                </c:pt>
                <c:pt idx="150">
                  <c:v>76.666666666666671</c:v>
                </c:pt>
                <c:pt idx="151">
                  <c:v>68.333333333333329</c:v>
                </c:pt>
                <c:pt idx="152">
                  <c:v>69</c:v>
                </c:pt>
                <c:pt idx="153">
                  <c:v>68.666666666666671</c:v>
                </c:pt>
                <c:pt idx="154">
                  <c:v>75.333333333333329</c:v>
                </c:pt>
                <c:pt idx="155">
                  <c:v>74.333333333333329</c:v>
                </c:pt>
                <c:pt idx="156">
                  <c:v>78</c:v>
                </c:pt>
                <c:pt idx="157">
                  <c:v>76</c:v>
                </c:pt>
                <c:pt idx="158">
                  <c:v>76</c:v>
                </c:pt>
                <c:pt idx="159">
                  <c:v>75.333333333333329</c:v>
                </c:pt>
                <c:pt idx="160">
                  <c:v>76.333333333333329</c:v>
                </c:pt>
                <c:pt idx="161">
                  <c:v>77.666666666666671</c:v>
                </c:pt>
                <c:pt idx="162">
                  <c:v>78.333333333333329</c:v>
                </c:pt>
                <c:pt idx="163">
                  <c:v>76.666666666666671</c:v>
                </c:pt>
                <c:pt idx="164">
                  <c:v>77</c:v>
                </c:pt>
                <c:pt idx="165">
                  <c:v>76</c:v>
                </c:pt>
                <c:pt idx="166">
                  <c:v>77</c:v>
                </c:pt>
                <c:pt idx="167">
                  <c:v>77</c:v>
                </c:pt>
                <c:pt idx="168">
                  <c:v>77.333333333333329</c:v>
                </c:pt>
                <c:pt idx="169">
                  <c:v>81</c:v>
                </c:pt>
                <c:pt idx="170">
                  <c:v>82.666666666666671</c:v>
                </c:pt>
                <c:pt idx="171">
                  <c:v>85.333333333333329</c:v>
                </c:pt>
                <c:pt idx="172">
                  <c:v>82</c:v>
                </c:pt>
                <c:pt idx="173">
                  <c:v>79.333333333333329</c:v>
                </c:pt>
                <c:pt idx="174">
                  <c:v>77.333333333333329</c:v>
                </c:pt>
                <c:pt idx="175">
                  <c:v>79.333333333333329</c:v>
                </c:pt>
                <c:pt idx="176">
                  <c:v>83.666666666666671</c:v>
                </c:pt>
                <c:pt idx="177">
                  <c:v>85.333333333333329</c:v>
                </c:pt>
                <c:pt idx="178">
                  <c:v>86</c:v>
                </c:pt>
                <c:pt idx="179">
                  <c:v>84.333333333333329</c:v>
                </c:pt>
                <c:pt idx="180">
                  <c:v>82.333333333333329</c:v>
                </c:pt>
                <c:pt idx="181">
                  <c:v>79</c:v>
                </c:pt>
                <c:pt idx="182">
                  <c:v>79</c:v>
                </c:pt>
                <c:pt idx="183">
                  <c:v>77.333333333333329</c:v>
                </c:pt>
                <c:pt idx="184">
                  <c:v>78.666666666666671</c:v>
                </c:pt>
                <c:pt idx="185">
                  <c:v>77.666666666666671</c:v>
                </c:pt>
                <c:pt idx="186">
                  <c:v>80</c:v>
                </c:pt>
                <c:pt idx="187">
                  <c:v>79</c:v>
                </c:pt>
                <c:pt idx="188">
                  <c:v>78.333333333333329</c:v>
                </c:pt>
                <c:pt idx="189">
                  <c:v>78</c:v>
                </c:pt>
                <c:pt idx="190">
                  <c:v>80.666666666666671</c:v>
                </c:pt>
                <c:pt idx="191">
                  <c:v>84.333333333333329</c:v>
                </c:pt>
                <c:pt idx="192">
                  <c:v>84.333333333333329</c:v>
                </c:pt>
                <c:pt idx="193">
                  <c:v>83.333333333333329</c:v>
                </c:pt>
                <c:pt idx="194">
                  <c:v>82</c:v>
                </c:pt>
                <c:pt idx="195">
                  <c:v>82.333333333333329</c:v>
                </c:pt>
                <c:pt idx="196">
                  <c:v>81.333333333333329</c:v>
                </c:pt>
                <c:pt idx="197">
                  <c:v>79.666666666666671</c:v>
                </c:pt>
                <c:pt idx="198">
                  <c:v>77.333333333333329</c:v>
                </c:pt>
                <c:pt idx="199">
                  <c:v>77</c:v>
                </c:pt>
                <c:pt idx="200">
                  <c:v>78.333333333333329</c:v>
                </c:pt>
                <c:pt idx="201">
                  <c:v>80</c:v>
                </c:pt>
                <c:pt idx="202">
                  <c:v>82.666666666666671</c:v>
                </c:pt>
                <c:pt idx="203">
                  <c:v>82.666666666666671</c:v>
                </c:pt>
                <c:pt idx="204">
                  <c:v>81.666666666666671</c:v>
                </c:pt>
                <c:pt idx="205">
                  <c:v>81.666666666666671</c:v>
                </c:pt>
                <c:pt idx="206">
                  <c:v>81.666666666666671</c:v>
                </c:pt>
                <c:pt idx="207">
                  <c:v>83</c:v>
                </c:pt>
                <c:pt idx="208">
                  <c:v>83.333333333333329</c:v>
                </c:pt>
                <c:pt idx="209">
                  <c:v>84</c:v>
                </c:pt>
                <c:pt idx="210">
                  <c:v>84</c:v>
                </c:pt>
                <c:pt idx="211">
                  <c:v>82.333333333333329</c:v>
                </c:pt>
                <c:pt idx="212">
                  <c:v>79.666666666666671</c:v>
                </c:pt>
                <c:pt idx="213">
                  <c:v>80</c:v>
                </c:pt>
                <c:pt idx="214">
                  <c:v>80</c:v>
                </c:pt>
                <c:pt idx="215">
                  <c:v>81.666666666666671</c:v>
                </c:pt>
                <c:pt idx="216">
                  <c:v>83</c:v>
                </c:pt>
                <c:pt idx="217">
                  <c:v>82.666666666666671</c:v>
                </c:pt>
                <c:pt idx="218">
                  <c:v>82.333333333333329</c:v>
                </c:pt>
                <c:pt idx="219">
                  <c:v>79.333333333333329</c:v>
                </c:pt>
                <c:pt idx="220">
                  <c:v>81.333333333333329</c:v>
                </c:pt>
                <c:pt idx="221">
                  <c:v>83.333333333333329</c:v>
                </c:pt>
                <c:pt idx="222">
                  <c:v>85</c:v>
                </c:pt>
                <c:pt idx="223">
                  <c:v>84.333333333333329</c:v>
                </c:pt>
                <c:pt idx="224">
                  <c:v>85</c:v>
                </c:pt>
                <c:pt idx="225">
                  <c:v>85.333333333333329</c:v>
                </c:pt>
                <c:pt idx="226">
                  <c:v>86</c:v>
                </c:pt>
                <c:pt idx="227">
                  <c:v>84.666666666666671</c:v>
                </c:pt>
                <c:pt idx="228">
                  <c:v>84.666666666666671</c:v>
                </c:pt>
                <c:pt idx="229">
                  <c:v>84.666666666666671</c:v>
                </c:pt>
                <c:pt idx="230">
                  <c:v>85</c:v>
                </c:pt>
                <c:pt idx="231">
                  <c:v>85.333333333333329</c:v>
                </c:pt>
                <c:pt idx="232">
                  <c:v>84.333333333333329</c:v>
                </c:pt>
                <c:pt idx="233">
                  <c:v>84.333333333333329</c:v>
                </c:pt>
                <c:pt idx="234">
                  <c:v>85</c:v>
                </c:pt>
                <c:pt idx="235">
                  <c:v>87.333333333333329</c:v>
                </c:pt>
                <c:pt idx="236">
                  <c:v>88.333333333333329</c:v>
                </c:pt>
                <c:pt idx="237">
                  <c:v>90.333333333333329</c:v>
                </c:pt>
                <c:pt idx="238">
                  <c:v>91.666666666666671</c:v>
                </c:pt>
                <c:pt idx="239">
                  <c:v>94.333333333333329</c:v>
                </c:pt>
                <c:pt idx="240">
                  <c:v>93.333333333333329</c:v>
                </c:pt>
                <c:pt idx="241">
                  <c:v>93.666666666666671</c:v>
                </c:pt>
                <c:pt idx="242">
                  <c:v>91</c:v>
                </c:pt>
                <c:pt idx="243">
                  <c:v>92.333333333333329</c:v>
                </c:pt>
                <c:pt idx="244">
                  <c:v>91.333333333333329</c:v>
                </c:pt>
                <c:pt idx="245">
                  <c:v>95</c:v>
                </c:pt>
                <c:pt idx="246">
                  <c:v>97.666666666666671</c:v>
                </c:pt>
                <c:pt idx="247">
                  <c:v>97.333333333333329</c:v>
                </c:pt>
                <c:pt idx="248">
                  <c:v>93.666666666666671</c:v>
                </c:pt>
                <c:pt idx="249">
                  <c:v>89</c:v>
                </c:pt>
                <c:pt idx="250">
                  <c:v>89</c:v>
                </c:pt>
                <c:pt idx="251">
                  <c:v>91.333333333333329</c:v>
                </c:pt>
                <c:pt idx="252">
                  <c:v>94.666666666666671</c:v>
                </c:pt>
                <c:pt idx="253">
                  <c:v>92.666666666666671</c:v>
                </c:pt>
                <c:pt idx="254">
                  <c:v>91.333333333333329</c:v>
                </c:pt>
                <c:pt idx="255">
                  <c:v>89.333333333333329</c:v>
                </c:pt>
                <c:pt idx="256">
                  <c:v>93.333333333333329</c:v>
                </c:pt>
                <c:pt idx="257">
                  <c:v>91.666666666666671</c:v>
                </c:pt>
                <c:pt idx="258">
                  <c:v>92.333333333333329</c:v>
                </c:pt>
                <c:pt idx="259">
                  <c:v>90.666666666666671</c:v>
                </c:pt>
                <c:pt idx="260">
                  <c:v>93.666666666666671</c:v>
                </c:pt>
                <c:pt idx="261">
                  <c:v>93.666666666666671</c:v>
                </c:pt>
                <c:pt idx="262">
                  <c:v>96</c:v>
                </c:pt>
                <c:pt idx="263">
                  <c:v>96</c:v>
                </c:pt>
                <c:pt idx="264">
                  <c:v>95.333333333333329</c:v>
                </c:pt>
                <c:pt idx="265">
                  <c:v>94</c:v>
                </c:pt>
                <c:pt idx="266">
                  <c:v>93.666666666666671</c:v>
                </c:pt>
                <c:pt idx="267">
                  <c:v>93.333333333333329</c:v>
                </c:pt>
                <c:pt idx="268">
                  <c:v>92.333333333333329</c:v>
                </c:pt>
                <c:pt idx="269">
                  <c:v>93</c:v>
                </c:pt>
                <c:pt idx="270">
                  <c:v>93</c:v>
                </c:pt>
                <c:pt idx="271">
                  <c:v>92</c:v>
                </c:pt>
                <c:pt idx="272">
                  <c:v>90.333333333333329</c:v>
                </c:pt>
                <c:pt idx="273">
                  <c:v>92</c:v>
                </c:pt>
                <c:pt idx="274">
                  <c:v>92.666666666666671</c:v>
                </c:pt>
                <c:pt idx="275">
                  <c:v>93.666666666666671</c:v>
                </c:pt>
                <c:pt idx="276">
                  <c:v>91.333333333333329</c:v>
                </c:pt>
                <c:pt idx="277">
                  <c:v>90</c:v>
                </c:pt>
                <c:pt idx="278">
                  <c:v>87</c:v>
                </c:pt>
                <c:pt idx="279">
                  <c:v>86.666666666666671</c:v>
                </c:pt>
                <c:pt idx="280">
                  <c:v>88.333333333333329</c:v>
                </c:pt>
                <c:pt idx="281">
                  <c:v>91.333333333333329</c:v>
                </c:pt>
                <c:pt idx="282">
                  <c:v>91.333333333333329</c:v>
                </c:pt>
                <c:pt idx="283">
                  <c:v>90.666666666666671</c:v>
                </c:pt>
                <c:pt idx="284">
                  <c:v>89.333333333333329</c:v>
                </c:pt>
                <c:pt idx="285">
                  <c:v>92.333333333333329</c:v>
                </c:pt>
                <c:pt idx="286">
                  <c:v>94.666666666666671</c:v>
                </c:pt>
                <c:pt idx="287">
                  <c:v>95.666666666666671</c:v>
                </c:pt>
                <c:pt idx="288">
                  <c:v>94.333333333333329</c:v>
                </c:pt>
                <c:pt idx="289">
                  <c:v>93</c:v>
                </c:pt>
                <c:pt idx="290">
                  <c:v>91.666666666666671</c:v>
                </c:pt>
                <c:pt idx="291">
                  <c:v>89.333333333333329</c:v>
                </c:pt>
                <c:pt idx="292">
                  <c:v>87.333333333333329</c:v>
                </c:pt>
                <c:pt idx="293">
                  <c:v>88.666666666666671</c:v>
                </c:pt>
                <c:pt idx="294">
                  <c:v>90</c:v>
                </c:pt>
                <c:pt idx="295">
                  <c:v>90.333333333333329</c:v>
                </c:pt>
                <c:pt idx="296">
                  <c:v>89.666666666666671</c:v>
                </c:pt>
                <c:pt idx="297">
                  <c:v>90.666666666666671</c:v>
                </c:pt>
                <c:pt idx="298">
                  <c:v>91</c:v>
                </c:pt>
                <c:pt idx="299">
                  <c:v>87.333333333333329</c:v>
                </c:pt>
                <c:pt idx="300">
                  <c:v>85.666666666666671</c:v>
                </c:pt>
                <c:pt idx="301">
                  <c:v>86</c:v>
                </c:pt>
                <c:pt idx="302">
                  <c:v>89</c:v>
                </c:pt>
                <c:pt idx="303">
                  <c:v>89.333333333333329</c:v>
                </c:pt>
                <c:pt idx="304">
                  <c:v>89.333333333333329</c:v>
                </c:pt>
                <c:pt idx="305">
                  <c:v>88.333333333333329</c:v>
                </c:pt>
                <c:pt idx="306">
                  <c:v>88.666666666666671</c:v>
                </c:pt>
                <c:pt idx="307">
                  <c:v>88.333333333333329</c:v>
                </c:pt>
                <c:pt idx="308">
                  <c:v>90.333333333333329</c:v>
                </c:pt>
                <c:pt idx="309">
                  <c:v>89</c:v>
                </c:pt>
                <c:pt idx="310">
                  <c:v>90.666666666666671</c:v>
                </c:pt>
                <c:pt idx="311">
                  <c:v>88</c:v>
                </c:pt>
                <c:pt idx="312">
                  <c:v>89</c:v>
                </c:pt>
                <c:pt idx="313">
                  <c:v>85</c:v>
                </c:pt>
                <c:pt idx="314">
                  <c:v>83.333333333333329</c:v>
                </c:pt>
                <c:pt idx="315">
                  <c:v>81.666666666666671</c:v>
                </c:pt>
                <c:pt idx="316">
                  <c:v>82.666666666666671</c:v>
                </c:pt>
                <c:pt idx="317">
                  <c:v>83.666666666666671</c:v>
                </c:pt>
                <c:pt idx="318">
                  <c:v>83.333333333333329</c:v>
                </c:pt>
                <c:pt idx="319">
                  <c:v>81.333333333333329</c:v>
                </c:pt>
                <c:pt idx="320">
                  <c:v>81</c:v>
                </c:pt>
                <c:pt idx="321">
                  <c:v>83.333333333333329</c:v>
                </c:pt>
                <c:pt idx="322">
                  <c:v>84.666666666666671</c:v>
                </c:pt>
                <c:pt idx="323">
                  <c:v>85.666666666666671</c:v>
                </c:pt>
                <c:pt idx="324">
                  <c:v>83.333333333333329</c:v>
                </c:pt>
                <c:pt idx="325">
                  <c:v>80.666666666666671</c:v>
                </c:pt>
                <c:pt idx="326">
                  <c:v>78.333333333333329</c:v>
                </c:pt>
                <c:pt idx="327">
                  <c:v>77.666666666666671</c:v>
                </c:pt>
                <c:pt idx="328">
                  <c:v>80.333333333333329</c:v>
                </c:pt>
                <c:pt idx="329">
                  <c:v>80</c:v>
                </c:pt>
                <c:pt idx="330">
                  <c:v>78.666666666666671</c:v>
                </c:pt>
                <c:pt idx="331">
                  <c:v>75</c:v>
                </c:pt>
                <c:pt idx="332">
                  <c:v>74.333333333333329</c:v>
                </c:pt>
                <c:pt idx="333">
                  <c:v>77.333333333333329</c:v>
                </c:pt>
                <c:pt idx="334">
                  <c:v>78.666666666666671</c:v>
                </c:pt>
                <c:pt idx="335">
                  <c:v>79</c:v>
                </c:pt>
                <c:pt idx="336">
                  <c:v>76.333333333333329</c:v>
                </c:pt>
                <c:pt idx="337">
                  <c:v>78.666666666666671</c:v>
                </c:pt>
                <c:pt idx="338">
                  <c:v>77.666666666666671</c:v>
                </c:pt>
                <c:pt idx="339">
                  <c:v>76.333333333333329</c:v>
                </c:pt>
                <c:pt idx="340">
                  <c:v>75.666666666666671</c:v>
                </c:pt>
                <c:pt idx="341">
                  <c:v>78.333333333333329</c:v>
                </c:pt>
                <c:pt idx="342">
                  <c:v>81</c:v>
                </c:pt>
                <c:pt idx="343">
                  <c:v>84.333333333333329</c:v>
                </c:pt>
                <c:pt idx="344">
                  <c:v>85</c:v>
                </c:pt>
                <c:pt idx="345">
                  <c:v>86.333333333333329</c:v>
                </c:pt>
                <c:pt idx="346">
                  <c:v>84</c:v>
                </c:pt>
                <c:pt idx="347">
                  <c:v>83.666666666666671</c:v>
                </c:pt>
                <c:pt idx="348">
                  <c:v>82</c:v>
                </c:pt>
                <c:pt idx="349">
                  <c:v>80.333333333333329</c:v>
                </c:pt>
                <c:pt idx="350">
                  <c:v>78.333333333333329</c:v>
                </c:pt>
                <c:pt idx="351">
                  <c:v>76</c:v>
                </c:pt>
                <c:pt idx="352">
                  <c:v>75</c:v>
                </c:pt>
                <c:pt idx="353">
                  <c:v>74</c:v>
                </c:pt>
                <c:pt idx="354">
                  <c:v>73.333333333333329</c:v>
                </c:pt>
                <c:pt idx="355">
                  <c:v>73</c:v>
                </c:pt>
                <c:pt idx="356">
                  <c:v>76</c:v>
                </c:pt>
                <c:pt idx="357">
                  <c:v>77</c:v>
                </c:pt>
                <c:pt idx="358">
                  <c:v>78</c:v>
                </c:pt>
                <c:pt idx="359">
                  <c:v>73.666666666666671</c:v>
                </c:pt>
                <c:pt idx="360">
                  <c:v>72.666666666666671</c:v>
                </c:pt>
                <c:pt idx="361">
                  <c:v>67</c:v>
                </c:pt>
                <c:pt idx="362">
                  <c:v>66</c:v>
                </c:pt>
                <c:pt idx="363">
                  <c:v>60.333333333333336</c:v>
                </c:pt>
                <c:pt idx="364">
                  <c:v>62.333333333333336</c:v>
                </c:pt>
                <c:pt idx="365">
                  <c:v>61.333333333333336</c:v>
                </c:pt>
                <c:pt idx="366">
                  <c:v>67.333333333333329</c:v>
                </c:pt>
                <c:pt idx="367">
                  <c:v>67</c:v>
                </c:pt>
                <c:pt idx="368">
                  <c:v>69</c:v>
                </c:pt>
                <c:pt idx="369">
                  <c:v>65.666666666666671</c:v>
                </c:pt>
                <c:pt idx="370">
                  <c:v>67</c:v>
                </c:pt>
                <c:pt idx="371">
                  <c:v>67.333333333333329</c:v>
                </c:pt>
                <c:pt idx="372">
                  <c:v>68.666666666666671</c:v>
                </c:pt>
                <c:pt idx="373">
                  <c:v>68</c:v>
                </c:pt>
                <c:pt idx="374">
                  <c:v>66</c:v>
                </c:pt>
                <c:pt idx="375">
                  <c:v>65.666666666666671</c:v>
                </c:pt>
                <c:pt idx="376">
                  <c:v>65</c:v>
                </c:pt>
                <c:pt idx="377">
                  <c:v>66</c:v>
                </c:pt>
                <c:pt idx="378">
                  <c:v>67.666666666666671</c:v>
                </c:pt>
                <c:pt idx="379">
                  <c:v>66.666666666666671</c:v>
                </c:pt>
                <c:pt idx="380">
                  <c:v>66.333333333333329</c:v>
                </c:pt>
                <c:pt idx="381">
                  <c:v>66.333333333333329</c:v>
                </c:pt>
                <c:pt idx="382">
                  <c:v>67.666666666666671</c:v>
                </c:pt>
                <c:pt idx="383">
                  <c:v>67</c:v>
                </c:pt>
                <c:pt idx="384">
                  <c:v>66.333333333333329</c:v>
                </c:pt>
                <c:pt idx="385">
                  <c:v>65.666666666666671</c:v>
                </c:pt>
                <c:pt idx="386">
                  <c:v>66</c:v>
                </c:pt>
                <c:pt idx="387">
                  <c:v>65.666666666666671</c:v>
                </c:pt>
                <c:pt idx="388">
                  <c:v>64.333333333333329</c:v>
                </c:pt>
                <c:pt idx="389">
                  <c:v>64</c:v>
                </c:pt>
                <c:pt idx="390">
                  <c:v>64.333333333333329</c:v>
                </c:pt>
                <c:pt idx="391">
                  <c:v>66</c:v>
                </c:pt>
                <c:pt idx="392">
                  <c:v>67.666666666666671</c:v>
                </c:pt>
                <c:pt idx="393">
                  <c:v>66.333333333333329</c:v>
                </c:pt>
                <c:pt idx="394">
                  <c:v>64.333333333333329</c:v>
                </c:pt>
                <c:pt idx="395">
                  <c:v>61.333333333333336</c:v>
                </c:pt>
                <c:pt idx="396">
                  <c:v>59.333333333333336</c:v>
                </c:pt>
                <c:pt idx="397">
                  <c:v>58.666666666666664</c:v>
                </c:pt>
                <c:pt idx="398">
                  <c:v>57</c:v>
                </c:pt>
                <c:pt idx="399">
                  <c:v>56</c:v>
                </c:pt>
                <c:pt idx="400">
                  <c:v>58.333333333333336</c:v>
                </c:pt>
                <c:pt idx="401">
                  <c:v>59.666666666666664</c:v>
                </c:pt>
                <c:pt idx="402">
                  <c:v>59.333333333333336</c:v>
                </c:pt>
                <c:pt idx="403">
                  <c:v>57.666666666666664</c:v>
                </c:pt>
                <c:pt idx="404">
                  <c:v>57.333333333333336</c:v>
                </c:pt>
                <c:pt idx="405">
                  <c:v>58.666666666666664</c:v>
                </c:pt>
                <c:pt idx="406">
                  <c:v>58.666666666666664</c:v>
                </c:pt>
                <c:pt idx="407">
                  <c:v>60</c:v>
                </c:pt>
                <c:pt idx="408">
                  <c:v>61.333333333333336</c:v>
                </c:pt>
                <c:pt idx="409">
                  <c:v>61</c:v>
                </c:pt>
                <c:pt idx="410">
                  <c:v>62.333333333333336</c:v>
                </c:pt>
                <c:pt idx="411">
                  <c:v>59.666666666666664</c:v>
                </c:pt>
                <c:pt idx="412">
                  <c:v>60.666666666666664</c:v>
                </c:pt>
                <c:pt idx="413">
                  <c:v>58.333333333333336</c:v>
                </c:pt>
                <c:pt idx="414">
                  <c:v>60.333333333333336</c:v>
                </c:pt>
                <c:pt idx="415">
                  <c:v>60.333333333333336</c:v>
                </c:pt>
                <c:pt idx="416">
                  <c:v>63</c:v>
                </c:pt>
                <c:pt idx="417">
                  <c:v>62.333333333333336</c:v>
                </c:pt>
                <c:pt idx="418">
                  <c:v>63</c:v>
                </c:pt>
                <c:pt idx="419">
                  <c:v>60.333333333333336</c:v>
                </c:pt>
                <c:pt idx="420">
                  <c:v>63.333333333333336</c:v>
                </c:pt>
                <c:pt idx="421">
                  <c:v>64.333333333333329</c:v>
                </c:pt>
                <c:pt idx="422">
                  <c:v>67</c:v>
                </c:pt>
                <c:pt idx="423">
                  <c:v>67.333333333333329</c:v>
                </c:pt>
                <c:pt idx="424">
                  <c:v>68</c:v>
                </c:pt>
                <c:pt idx="425">
                  <c:v>68.666666666666671</c:v>
                </c:pt>
                <c:pt idx="426">
                  <c:v>66.333333333333329</c:v>
                </c:pt>
                <c:pt idx="427">
                  <c:v>66.333333333333329</c:v>
                </c:pt>
                <c:pt idx="428">
                  <c:v>64.666666666666671</c:v>
                </c:pt>
                <c:pt idx="429">
                  <c:v>66</c:v>
                </c:pt>
                <c:pt idx="430">
                  <c:v>67</c:v>
                </c:pt>
                <c:pt idx="431">
                  <c:v>68.666666666666671</c:v>
                </c:pt>
                <c:pt idx="432">
                  <c:v>69</c:v>
                </c:pt>
                <c:pt idx="433">
                  <c:v>66.666666666666671</c:v>
                </c:pt>
                <c:pt idx="434">
                  <c:v>65.333333333333329</c:v>
                </c:pt>
                <c:pt idx="435">
                  <c:v>67</c:v>
                </c:pt>
                <c:pt idx="436">
                  <c:v>68.333333333333329</c:v>
                </c:pt>
                <c:pt idx="437">
                  <c:v>69.333333333333329</c:v>
                </c:pt>
                <c:pt idx="438">
                  <c:v>69.666666666666671</c:v>
                </c:pt>
                <c:pt idx="439">
                  <c:v>69.666666666666671</c:v>
                </c:pt>
                <c:pt idx="440">
                  <c:v>70.333333333333329</c:v>
                </c:pt>
                <c:pt idx="441">
                  <c:v>72.666666666666671</c:v>
                </c:pt>
                <c:pt idx="442">
                  <c:v>77</c:v>
                </c:pt>
                <c:pt idx="443">
                  <c:v>78.333333333333329</c:v>
                </c:pt>
                <c:pt idx="444">
                  <c:v>76.666666666666671</c:v>
                </c:pt>
                <c:pt idx="445">
                  <c:v>76.333333333333329</c:v>
                </c:pt>
                <c:pt idx="446">
                  <c:v>77.333333333333329</c:v>
                </c:pt>
                <c:pt idx="447">
                  <c:v>78</c:v>
                </c:pt>
                <c:pt idx="448">
                  <c:v>77.333333333333329</c:v>
                </c:pt>
                <c:pt idx="449">
                  <c:v>78</c:v>
                </c:pt>
                <c:pt idx="450">
                  <c:v>77</c:v>
                </c:pt>
                <c:pt idx="451">
                  <c:v>76.333333333333329</c:v>
                </c:pt>
                <c:pt idx="452">
                  <c:v>76.333333333333329</c:v>
                </c:pt>
                <c:pt idx="453">
                  <c:v>79.333333333333329</c:v>
                </c:pt>
                <c:pt idx="454">
                  <c:v>81</c:v>
                </c:pt>
                <c:pt idx="455">
                  <c:v>81.666666666666671</c:v>
                </c:pt>
                <c:pt idx="456">
                  <c:v>81.666666666666671</c:v>
                </c:pt>
                <c:pt idx="457">
                  <c:v>79.333333333333329</c:v>
                </c:pt>
                <c:pt idx="458">
                  <c:v>79.666666666666671</c:v>
                </c:pt>
                <c:pt idx="459">
                  <c:v>80.333333333333329</c:v>
                </c:pt>
                <c:pt idx="460">
                  <c:v>81</c:v>
                </c:pt>
                <c:pt idx="461">
                  <c:v>80.666666666666671</c:v>
                </c:pt>
                <c:pt idx="462">
                  <c:v>81.333333333333329</c:v>
                </c:pt>
                <c:pt idx="463">
                  <c:v>82</c:v>
                </c:pt>
                <c:pt idx="464">
                  <c:v>84.666666666666671</c:v>
                </c:pt>
                <c:pt idx="465">
                  <c:v>84.666666666666671</c:v>
                </c:pt>
                <c:pt idx="466">
                  <c:v>85</c:v>
                </c:pt>
                <c:pt idx="467">
                  <c:v>84</c:v>
                </c:pt>
                <c:pt idx="468">
                  <c:v>85.333333333333329</c:v>
                </c:pt>
                <c:pt idx="469">
                  <c:v>86.333333333333329</c:v>
                </c:pt>
                <c:pt idx="470">
                  <c:v>88.666666666666671</c:v>
                </c:pt>
                <c:pt idx="471">
                  <c:v>87.666666666666671</c:v>
                </c:pt>
                <c:pt idx="472">
                  <c:v>88</c:v>
                </c:pt>
                <c:pt idx="473">
                  <c:v>86</c:v>
                </c:pt>
                <c:pt idx="474">
                  <c:v>85.666666666666671</c:v>
                </c:pt>
                <c:pt idx="475">
                  <c:v>87.333333333333329</c:v>
                </c:pt>
                <c:pt idx="476">
                  <c:v>89</c:v>
                </c:pt>
                <c:pt idx="477">
                  <c:v>89</c:v>
                </c:pt>
                <c:pt idx="478">
                  <c:v>87.333333333333329</c:v>
                </c:pt>
                <c:pt idx="479">
                  <c:v>87</c:v>
                </c:pt>
                <c:pt idx="480">
                  <c:v>86.666666666666671</c:v>
                </c:pt>
                <c:pt idx="481">
                  <c:v>87.666666666666671</c:v>
                </c:pt>
                <c:pt idx="482">
                  <c:v>86</c:v>
                </c:pt>
                <c:pt idx="483">
                  <c:v>86</c:v>
                </c:pt>
                <c:pt idx="484">
                  <c:v>86.666666666666671</c:v>
                </c:pt>
                <c:pt idx="485">
                  <c:v>86.666666666666671</c:v>
                </c:pt>
                <c:pt idx="486">
                  <c:v>88.666666666666671</c:v>
                </c:pt>
                <c:pt idx="487">
                  <c:v>87.666666666666671</c:v>
                </c:pt>
                <c:pt idx="488">
                  <c:v>88.333333333333329</c:v>
                </c:pt>
                <c:pt idx="489">
                  <c:v>88</c:v>
                </c:pt>
                <c:pt idx="490">
                  <c:v>90.333333333333329</c:v>
                </c:pt>
                <c:pt idx="491">
                  <c:v>92</c:v>
                </c:pt>
                <c:pt idx="492">
                  <c:v>94.333333333333329</c:v>
                </c:pt>
                <c:pt idx="493">
                  <c:v>93.333333333333329</c:v>
                </c:pt>
                <c:pt idx="494">
                  <c:v>92</c:v>
                </c:pt>
                <c:pt idx="495">
                  <c:v>88.666666666666671</c:v>
                </c:pt>
                <c:pt idx="496">
                  <c:v>89.333333333333329</c:v>
                </c:pt>
                <c:pt idx="497">
                  <c:v>88.333333333333329</c:v>
                </c:pt>
                <c:pt idx="498">
                  <c:v>89.333333333333329</c:v>
                </c:pt>
                <c:pt idx="499">
                  <c:v>91.333333333333329</c:v>
                </c:pt>
                <c:pt idx="500">
                  <c:v>93.333333333333329</c:v>
                </c:pt>
                <c:pt idx="501">
                  <c:v>93.666666666666671</c:v>
                </c:pt>
                <c:pt idx="502">
                  <c:v>90.666666666666671</c:v>
                </c:pt>
                <c:pt idx="503">
                  <c:v>91.333333333333329</c:v>
                </c:pt>
                <c:pt idx="504">
                  <c:v>91.666666666666671</c:v>
                </c:pt>
                <c:pt idx="505">
                  <c:v>92.333333333333329</c:v>
                </c:pt>
                <c:pt idx="506">
                  <c:v>89.333333333333329</c:v>
                </c:pt>
                <c:pt idx="507">
                  <c:v>87.333333333333329</c:v>
                </c:pt>
                <c:pt idx="508">
                  <c:v>86.666666666666671</c:v>
                </c:pt>
                <c:pt idx="509">
                  <c:v>87.666666666666671</c:v>
                </c:pt>
                <c:pt idx="510">
                  <c:v>87</c:v>
                </c:pt>
                <c:pt idx="511">
                  <c:v>87</c:v>
                </c:pt>
                <c:pt idx="512">
                  <c:v>87.333333333333329</c:v>
                </c:pt>
                <c:pt idx="513">
                  <c:v>86.666666666666671</c:v>
                </c:pt>
                <c:pt idx="514">
                  <c:v>85.333333333333329</c:v>
                </c:pt>
                <c:pt idx="515">
                  <c:v>83.333333333333329</c:v>
                </c:pt>
                <c:pt idx="516">
                  <c:v>83</c:v>
                </c:pt>
                <c:pt idx="517">
                  <c:v>83</c:v>
                </c:pt>
                <c:pt idx="518">
                  <c:v>81</c:v>
                </c:pt>
                <c:pt idx="519">
                  <c:v>82.333333333333329</c:v>
                </c:pt>
                <c:pt idx="520">
                  <c:v>81</c:v>
                </c:pt>
                <c:pt idx="521">
                  <c:v>79.666666666666671</c:v>
                </c:pt>
                <c:pt idx="522">
                  <c:v>76.333333333333329</c:v>
                </c:pt>
                <c:pt idx="523">
                  <c:v>75.666666666666671</c:v>
                </c:pt>
                <c:pt idx="524">
                  <c:v>73.666666666666671</c:v>
                </c:pt>
                <c:pt idx="525">
                  <c:v>72</c:v>
                </c:pt>
                <c:pt idx="526">
                  <c:v>69.333333333333329</c:v>
                </c:pt>
                <c:pt idx="527">
                  <c:v>69.666666666666671</c:v>
                </c:pt>
                <c:pt idx="528">
                  <c:v>67</c:v>
                </c:pt>
                <c:pt idx="529">
                  <c:v>67.333333333333329</c:v>
                </c:pt>
                <c:pt idx="530">
                  <c:v>66.666666666666671</c:v>
                </c:pt>
                <c:pt idx="531">
                  <c:v>66</c:v>
                </c:pt>
              </c:numCache>
            </c:numRef>
          </c:val>
          <c:smooth val="0"/>
          <c:extLst>
            <c:ext xmlns:c16="http://schemas.microsoft.com/office/drawing/2014/chart" uri="{C3380CC4-5D6E-409C-BE32-E72D297353CC}">
              <c16:uniqueId val="{00000001-166F-4170-8FCF-F9AADE005621}"/>
            </c:ext>
          </c:extLst>
        </c:ser>
        <c:dLbls>
          <c:showLegendKey val="0"/>
          <c:showVal val="0"/>
          <c:showCatName val="0"/>
          <c:showSerName val="0"/>
          <c:showPercent val="0"/>
          <c:showBubbleSize val="0"/>
        </c:dLbls>
        <c:marker val="1"/>
        <c:smooth val="0"/>
        <c:axId val="2123230352"/>
        <c:axId val="958212184"/>
      </c:lineChart>
      <c:dateAx>
        <c:axId val="1561920056"/>
        <c:scaling>
          <c:orientation val="minMax"/>
        </c:scaling>
        <c:delete val="0"/>
        <c:axPos val="b"/>
        <c:numFmt formatCode="yyyy" sourceLinked="0"/>
        <c:majorTickMark val="out"/>
        <c:minorTickMark val="none"/>
        <c:tickLblPos val="low"/>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en-US"/>
          </a:p>
        </c:txPr>
        <c:crossAx val="1561918088"/>
        <c:crosses val="autoZero"/>
        <c:auto val="1"/>
        <c:lblOffset val="100"/>
        <c:baseTimeUnit val="months"/>
        <c:majorUnit val="48"/>
        <c:majorTimeUnit val="months"/>
      </c:dateAx>
      <c:valAx>
        <c:axId val="1561918088"/>
        <c:scaling>
          <c:orientation val="minMax"/>
          <c:max val="50"/>
          <c:min val="-60"/>
        </c:scaling>
        <c:delete val="0"/>
        <c:axPos val="l"/>
        <c:numFmt formatCode="0" sourceLinked="0"/>
        <c:majorTickMark val="out"/>
        <c:minorTickMark val="none"/>
        <c:tickLblPos val="nextTo"/>
        <c:spPr>
          <a:noFill/>
          <a:ln>
            <a:solidFill>
              <a:srgbClr val="298FC2"/>
            </a:solidFill>
          </a:ln>
          <a:effectLst/>
        </c:spPr>
        <c:txPr>
          <a:bodyPr rot="-60000000" spcFirstLastPara="1" vertOverflow="ellipsis" vert="horz" wrap="square" anchor="ctr" anchorCtr="1"/>
          <a:lstStyle/>
          <a:p>
            <a:pPr>
              <a:defRPr sz="1000" b="0" i="0" u="none" strike="noStrike" kern="1200" baseline="0">
                <a:solidFill>
                  <a:srgbClr val="298FC2"/>
                </a:solidFill>
                <a:latin typeface="+mn-lt"/>
                <a:ea typeface="+mn-ea"/>
                <a:cs typeface="+mn-cs"/>
              </a:defRPr>
            </a:pPr>
            <a:endParaRPr lang="en-US"/>
          </a:p>
        </c:txPr>
        <c:crossAx val="1561920056"/>
        <c:crosses val="autoZero"/>
        <c:crossBetween val="between"/>
        <c:majorUnit val="10"/>
      </c:valAx>
      <c:valAx>
        <c:axId val="958212184"/>
        <c:scaling>
          <c:orientation val="minMax"/>
          <c:min val="50"/>
        </c:scaling>
        <c:delete val="0"/>
        <c:axPos val="r"/>
        <c:numFmt formatCode="0" sourceLinked="1"/>
        <c:majorTickMark val="out"/>
        <c:minorTickMark val="none"/>
        <c:tickLblPos val="nextTo"/>
        <c:spPr>
          <a:noFill/>
          <a:ln>
            <a:solidFill>
              <a:srgbClr val="7A9A3D"/>
            </a:solidFill>
          </a:ln>
          <a:effectLst/>
        </c:spPr>
        <c:txPr>
          <a:bodyPr rot="-60000000" spcFirstLastPara="1" vertOverflow="ellipsis" vert="horz" wrap="square" anchor="ctr" anchorCtr="1"/>
          <a:lstStyle/>
          <a:p>
            <a:pPr>
              <a:defRPr sz="1000" b="0" i="0" u="none" strike="noStrike" kern="1200" baseline="0">
                <a:solidFill>
                  <a:srgbClr val="7A9A3D"/>
                </a:solidFill>
                <a:latin typeface="+mn-lt"/>
                <a:ea typeface="+mn-ea"/>
                <a:cs typeface="+mn-cs"/>
              </a:defRPr>
            </a:pPr>
            <a:endParaRPr lang="en-US"/>
          </a:p>
        </c:txPr>
        <c:crossAx val="2123230352"/>
        <c:crosses val="max"/>
        <c:crossBetween val="between"/>
      </c:valAx>
      <c:dateAx>
        <c:axId val="2123230352"/>
        <c:scaling>
          <c:orientation val="minMax"/>
        </c:scaling>
        <c:delete val="1"/>
        <c:axPos val="b"/>
        <c:numFmt formatCode="mmm\-yy" sourceLinked="1"/>
        <c:majorTickMark val="out"/>
        <c:minorTickMark val="none"/>
        <c:tickLblPos val="nextTo"/>
        <c:crossAx val="958212184"/>
        <c:crosses val="autoZero"/>
        <c:auto val="1"/>
        <c:lblOffset val="100"/>
        <c:baseTimeUnit val="months"/>
      </c:dateAx>
      <c:spPr>
        <a:noFill/>
        <a:ln>
          <a:noFill/>
        </a:ln>
        <a:effectLst/>
      </c:spPr>
    </c:plotArea>
    <c:legend>
      <c:legendPos val="t"/>
      <c:layout>
        <c:manualLayout>
          <c:xMode val="edge"/>
          <c:yMode val="edge"/>
          <c:x val="0"/>
          <c:y val="8.0010713948441003E-2"/>
          <c:w val="0.51868796473618717"/>
          <c:h val="6.953828899413407E-2"/>
        </c:manualLayout>
      </c:layout>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ysClr val="windowText" lastClr="000000"/>
          </a:solidFill>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692775179594872"/>
          <c:y val="6.9444444444444448E-2"/>
          <c:w val="0.689462173861769"/>
          <c:h val="0.78984962817147852"/>
        </c:manualLayout>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7A9A3D"/>
              </a:solidFill>
              <a:ln>
                <a:noFill/>
              </a:ln>
              <a:effectLst/>
            </c:spPr>
            <c:extLst>
              <c:ext xmlns:c16="http://schemas.microsoft.com/office/drawing/2014/chart" uri="{C3380CC4-5D6E-409C-BE32-E72D297353CC}">
                <c16:uniqueId val="{00000001-51A9-495E-BFC1-9D8D346CA634}"/>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1</c:f>
              <c:numCache>
                <c:formatCode>m/d/yyyy</c:formatCode>
                <c:ptCount val="1"/>
                <c:pt idx="0">
                  <c:v>44712</c:v>
                </c:pt>
              </c:numCache>
            </c:numRef>
          </c:cat>
          <c:val>
            <c:numRef>
              <c:f>Sheet1!$B$2</c:f>
              <c:numCache>
                <c:formatCode>General</c:formatCode>
                <c:ptCount val="1"/>
                <c:pt idx="0">
                  <c:v>4.7</c:v>
                </c:pt>
              </c:numCache>
            </c:numRef>
          </c:val>
          <c:extLst>
            <c:ext xmlns:c16="http://schemas.microsoft.com/office/drawing/2014/chart" uri="{C3380CC4-5D6E-409C-BE32-E72D297353CC}">
              <c16:uniqueId val="{00000000-51A9-495E-BFC1-9D8D346CA634}"/>
            </c:ext>
          </c:extLst>
        </c:ser>
        <c:dLbls>
          <c:showLegendKey val="0"/>
          <c:showVal val="0"/>
          <c:showCatName val="0"/>
          <c:showSerName val="0"/>
          <c:showPercent val="0"/>
          <c:showBubbleSize val="0"/>
        </c:dLbls>
        <c:gapWidth val="219"/>
        <c:overlap val="-27"/>
        <c:axId val="896504072"/>
        <c:axId val="896510304"/>
      </c:barChart>
      <c:dateAx>
        <c:axId val="896504072"/>
        <c:scaling>
          <c:orientation val="minMax"/>
        </c:scaling>
        <c:delete val="0"/>
        <c:axPos val="b"/>
        <c:numFmt formatCode="m/d/yyyy" sourceLinked="1"/>
        <c:majorTickMark val="none"/>
        <c:minorTickMark val="none"/>
        <c:tickLblPos val="nextTo"/>
        <c:spPr>
          <a:noFill/>
          <a:ln w="9525" cap="flat" cmpd="sng" algn="ctr">
            <a:solidFill>
              <a:srgbClr val="999999"/>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896510304"/>
        <c:crosses val="autoZero"/>
        <c:auto val="1"/>
        <c:lblOffset val="100"/>
        <c:baseTimeUnit val="days"/>
      </c:dateAx>
      <c:valAx>
        <c:axId val="896510304"/>
        <c:scaling>
          <c:orientation val="minMax"/>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en-US" sz="800" b="1" dirty="0">
                    <a:solidFill>
                      <a:schemeClr val="tx1"/>
                    </a:solidFill>
                  </a:rPr>
                  <a:t>PCE YoY</a:t>
                </a:r>
                <a:r>
                  <a:rPr lang="en-US" sz="800" b="1" baseline="0" dirty="0">
                    <a:solidFill>
                      <a:schemeClr val="tx1"/>
                    </a:solidFill>
                  </a:rPr>
                  <a:t> (%)</a:t>
                </a:r>
                <a:endParaRPr lang="en-US" sz="800" b="1" dirty="0">
                  <a:solidFill>
                    <a:schemeClr val="tx1"/>
                  </a:solidFill>
                </a:endParaRPr>
              </a:p>
            </c:rich>
          </c:tx>
          <c:layout>
            <c:manualLayout>
              <c:xMode val="edge"/>
              <c:yMode val="edge"/>
              <c:x val="5.782734031116573E-2"/>
              <c:y val="0.28074675697665086"/>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 sourceLinked="0"/>
        <c:majorTickMark val="out"/>
        <c:minorTickMark val="none"/>
        <c:tickLblPos val="nextTo"/>
        <c:spPr>
          <a:noFill/>
          <a:ln>
            <a:solidFill>
              <a:srgbClr val="999999"/>
            </a:solid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8965040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98083105406225E-2"/>
          <c:y val="6.8372156605424325E-2"/>
          <c:w val="0.91744202162358313"/>
          <c:h val="0.79092191601049866"/>
        </c:manualLayout>
      </c:layout>
      <c:barChart>
        <c:barDir val="col"/>
        <c:grouping val="clustered"/>
        <c:varyColors val="0"/>
        <c:ser>
          <c:idx val="2"/>
          <c:order val="0"/>
          <c:tx>
            <c:strRef>
              <c:f>Sheet1!$E$2</c:f>
              <c:strCache>
                <c:ptCount val="1"/>
                <c:pt idx="0">
                  <c:v>9/22/2021</c:v>
                </c:pt>
              </c:strCache>
            </c:strRef>
          </c:tx>
          <c:spPr>
            <a:solidFill>
              <a:srgbClr val="004F6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F$1:$H$1</c:f>
              <c:numCache>
                <c:formatCode>General</c:formatCode>
                <c:ptCount val="3"/>
                <c:pt idx="0">
                  <c:v>2022</c:v>
                </c:pt>
                <c:pt idx="1">
                  <c:v>2023</c:v>
                </c:pt>
                <c:pt idx="2">
                  <c:v>2024</c:v>
                </c:pt>
              </c:numCache>
            </c:numRef>
          </c:cat>
          <c:val>
            <c:numRef>
              <c:f>Sheet1!$F$2:$H$2</c:f>
              <c:numCache>
                <c:formatCode>0.0</c:formatCode>
                <c:ptCount val="3"/>
                <c:pt idx="0">
                  <c:v>2.2000000000000002</c:v>
                </c:pt>
                <c:pt idx="1">
                  <c:v>2.2000000000000002</c:v>
                </c:pt>
                <c:pt idx="2">
                  <c:v>2.1</c:v>
                </c:pt>
              </c:numCache>
            </c:numRef>
          </c:val>
          <c:extLst>
            <c:ext xmlns:c16="http://schemas.microsoft.com/office/drawing/2014/chart" uri="{C3380CC4-5D6E-409C-BE32-E72D297353CC}">
              <c16:uniqueId val="{00000000-87F0-43FD-9A1F-76AC5B7A79BF}"/>
            </c:ext>
          </c:extLst>
        </c:ser>
        <c:ser>
          <c:idx val="3"/>
          <c:order val="1"/>
          <c:tx>
            <c:strRef>
              <c:f>Sheet1!$E$3</c:f>
              <c:strCache>
                <c:ptCount val="1"/>
                <c:pt idx="0">
                  <c:v>12/15/2021</c:v>
                </c:pt>
              </c:strCache>
            </c:strRef>
          </c:tx>
          <c:spPr>
            <a:solidFill>
              <a:srgbClr val="8FB6B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F$1:$H$1</c:f>
              <c:numCache>
                <c:formatCode>General</c:formatCode>
                <c:ptCount val="3"/>
                <c:pt idx="0">
                  <c:v>2022</c:v>
                </c:pt>
                <c:pt idx="1">
                  <c:v>2023</c:v>
                </c:pt>
                <c:pt idx="2">
                  <c:v>2024</c:v>
                </c:pt>
              </c:numCache>
            </c:numRef>
          </c:cat>
          <c:val>
            <c:numRef>
              <c:f>Sheet1!$F$3:$H$3</c:f>
              <c:numCache>
                <c:formatCode>0.0</c:formatCode>
                <c:ptCount val="3"/>
                <c:pt idx="0">
                  <c:v>2.6</c:v>
                </c:pt>
                <c:pt idx="1">
                  <c:v>2.2999999999999998</c:v>
                </c:pt>
                <c:pt idx="2">
                  <c:v>2.1</c:v>
                </c:pt>
              </c:numCache>
            </c:numRef>
          </c:val>
          <c:extLst>
            <c:ext xmlns:c16="http://schemas.microsoft.com/office/drawing/2014/chart" uri="{C3380CC4-5D6E-409C-BE32-E72D297353CC}">
              <c16:uniqueId val="{00000001-87F0-43FD-9A1F-76AC5B7A79BF}"/>
            </c:ext>
          </c:extLst>
        </c:ser>
        <c:ser>
          <c:idx val="0"/>
          <c:order val="2"/>
          <c:tx>
            <c:strRef>
              <c:f>Sheet1!$E$4</c:f>
              <c:strCache>
                <c:ptCount val="1"/>
                <c:pt idx="0">
                  <c:v>3/16/202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F$1:$H$1</c:f>
              <c:numCache>
                <c:formatCode>General</c:formatCode>
                <c:ptCount val="3"/>
                <c:pt idx="0">
                  <c:v>2022</c:v>
                </c:pt>
                <c:pt idx="1">
                  <c:v>2023</c:v>
                </c:pt>
                <c:pt idx="2">
                  <c:v>2024</c:v>
                </c:pt>
              </c:numCache>
            </c:numRef>
          </c:cat>
          <c:val>
            <c:numRef>
              <c:f>Sheet1!$F$4:$H$4</c:f>
              <c:numCache>
                <c:formatCode>0.0</c:formatCode>
                <c:ptCount val="3"/>
                <c:pt idx="0">
                  <c:v>4.3</c:v>
                </c:pt>
                <c:pt idx="1">
                  <c:v>2.7</c:v>
                </c:pt>
                <c:pt idx="2">
                  <c:v>2.2999999999999998</c:v>
                </c:pt>
              </c:numCache>
            </c:numRef>
          </c:val>
          <c:extLst>
            <c:ext xmlns:c16="http://schemas.microsoft.com/office/drawing/2014/chart" uri="{C3380CC4-5D6E-409C-BE32-E72D297353CC}">
              <c16:uniqueId val="{00000000-1B1F-40F3-854A-EF0360C765D2}"/>
            </c:ext>
          </c:extLst>
        </c:ser>
        <c:ser>
          <c:idx val="4"/>
          <c:order val="3"/>
          <c:tx>
            <c:strRef>
              <c:f>Sheet1!$E$5</c:f>
              <c:strCache>
                <c:ptCount val="1"/>
                <c:pt idx="0">
                  <c:v>6/15/2022</c:v>
                </c:pt>
              </c:strCache>
            </c:strRef>
          </c:tx>
          <c:spPr>
            <a:solidFill>
              <a:srgbClr val="76869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F$1:$H$1</c:f>
              <c:numCache>
                <c:formatCode>General</c:formatCode>
                <c:ptCount val="3"/>
                <c:pt idx="0">
                  <c:v>2022</c:v>
                </c:pt>
                <c:pt idx="1">
                  <c:v>2023</c:v>
                </c:pt>
                <c:pt idx="2">
                  <c:v>2024</c:v>
                </c:pt>
              </c:numCache>
            </c:numRef>
          </c:cat>
          <c:val>
            <c:numRef>
              <c:f>Sheet1!$F$5:$H$5</c:f>
              <c:numCache>
                <c:formatCode>0.0</c:formatCode>
                <c:ptCount val="3"/>
                <c:pt idx="0">
                  <c:v>5.2</c:v>
                </c:pt>
                <c:pt idx="1">
                  <c:v>2.6</c:v>
                </c:pt>
                <c:pt idx="2">
                  <c:v>2.2000000000000002</c:v>
                </c:pt>
              </c:numCache>
            </c:numRef>
          </c:val>
          <c:extLst>
            <c:ext xmlns:c16="http://schemas.microsoft.com/office/drawing/2014/chart" uri="{C3380CC4-5D6E-409C-BE32-E72D297353CC}">
              <c16:uniqueId val="{00000001-1B1F-40F3-854A-EF0360C765D2}"/>
            </c:ext>
          </c:extLst>
        </c:ser>
        <c:dLbls>
          <c:showLegendKey val="0"/>
          <c:showVal val="0"/>
          <c:showCatName val="0"/>
          <c:showSerName val="0"/>
          <c:showPercent val="0"/>
          <c:showBubbleSize val="0"/>
        </c:dLbls>
        <c:gapWidth val="219"/>
        <c:overlap val="-27"/>
        <c:axId val="1022010584"/>
        <c:axId val="1022008288"/>
      </c:barChart>
      <c:catAx>
        <c:axId val="1022010584"/>
        <c:scaling>
          <c:orientation val="minMax"/>
        </c:scaling>
        <c:delete val="0"/>
        <c:axPos val="b"/>
        <c:numFmt formatCode="General" sourceLinked="1"/>
        <c:majorTickMark val="none"/>
        <c:minorTickMark val="none"/>
        <c:tickLblPos val="nextTo"/>
        <c:spPr>
          <a:noFill/>
          <a:ln w="9525" cap="flat" cmpd="sng" algn="ctr">
            <a:solidFill>
              <a:srgbClr val="999999"/>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1022008288"/>
        <c:crosses val="autoZero"/>
        <c:auto val="1"/>
        <c:lblAlgn val="ctr"/>
        <c:lblOffset val="100"/>
        <c:noMultiLvlLbl val="0"/>
      </c:catAx>
      <c:valAx>
        <c:axId val="1022008288"/>
        <c:scaling>
          <c:orientation val="minMax"/>
          <c:max val="7"/>
          <c:min val="0"/>
        </c:scaling>
        <c:delete val="0"/>
        <c:axPos val="l"/>
        <c:numFmt formatCode="0.0" sourceLinked="1"/>
        <c:majorTickMark val="out"/>
        <c:minorTickMark val="none"/>
        <c:tickLblPos val="nextTo"/>
        <c:spPr>
          <a:noFill/>
          <a:ln>
            <a:solidFill>
              <a:srgbClr val="999999"/>
            </a:solid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1022010584"/>
        <c:crosses val="autoZero"/>
        <c:crossBetween val="between"/>
        <c:majorUnit val="1"/>
      </c:valAx>
      <c:spPr>
        <a:noFill/>
        <a:ln>
          <a:noFill/>
        </a:ln>
        <a:effectLst/>
      </c:spPr>
    </c:plotArea>
    <c:legend>
      <c:legendPos val="t"/>
      <c:layout>
        <c:manualLayout>
          <c:xMode val="edge"/>
          <c:yMode val="edge"/>
          <c:x val="0.30373072994468781"/>
          <c:y val="8.1699346405228763E-3"/>
          <c:w val="0.49949733673605207"/>
          <c:h val="0.1212875045031135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692775179594872"/>
          <c:y val="6.9444444444444448E-2"/>
          <c:w val="0.689462173861769"/>
          <c:h val="0.78984962817147852"/>
        </c:manualLayout>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7A9A3D"/>
              </a:solidFill>
              <a:ln>
                <a:noFill/>
              </a:ln>
              <a:effectLst/>
            </c:spPr>
            <c:extLst>
              <c:ext xmlns:c16="http://schemas.microsoft.com/office/drawing/2014/chart" uri="{C3380CC4-5D6E-409C-BE32-E72D297353CC}">
                <c16:uniqueId val="{00000001-B472-434B-B5F0-5ACF2F8A5964}"/>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5</c:f>
              <c:numCache>
                <c:formatCode>m/d/yyyy</c:formatCode>
                <c:ptCount val="1"/>
                <c:pt idx="0">
                  <c:v>44712</c:v>
                </c:pt>
              </c:numCache>
            </c:numRef>
          </c:cat>
          <c:val>
            <c:numRef>
              <c:f>Sheet1!$B$6</c:f>
              <c:numCache>
                <c:formatCode>0.0</c:formatCode>
                <c:ptCount val="1"/>
                <c:pt idx="0">
                  <c:v>3.6</c:v>
                </c:pt>
              </c:numCache>
            </c:numRef>
          </c:val>
          <c:extLst>
            <c:ext xmlns:c16="http://schemas.microsoft.com/office/drawing/2014/chart" uri="{C3380CC4-5D6E-409C-BE32-E72D297353CC}">
              <c16:uniqueId val="{00000002-B472-434B-B5F0-5ACF2F8A5964}"/>
            </c:ext>
          </c:extLst>
        </c:ser>
        <c:dLbls>
          <c:showLegendKey val="0"/>
          <c:showVal val="0"/>
          <c:showCatName val="0"/>
          <c:showSerName val="0"/>
          <c:showPercent val="0"/>
          <c:showBubbleSize val="0"/>
        </c:dLbls>
        <c:gapWidth val="219"/>
        <c:overlap val="-27"/>
        <c:axId val="896504072"/>
        <c:axId val="896510304"/>
      </c:barChart>
      <c:dateAx>
        <c:axId val="896504072"/>
        <c:scaling>
          <c:orientation val="minMax"/>
        </c:scaling>
        <c:delete val="0"/>
        <c:axPos val="b"/>
        <c:numFmt formatCode="m/d/yyyy" sourceLinked="1"/>
        <c:majorTickMark val="none"/>
        <c:minorTickMark val="none"/>
        <c:tickLblPos val="nextTo"/>
        <c:spPr>
          <a:noFill/>
          <a:ln w="9525" cap="flat" cmpd="sng" algn="ctr">
            <a:solidFill>
              <a:srgbClr val="999999"/>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896510304"/>
        <c:crosses val="autoZero"/>
        <c:auto val="1"/>
        <c:lblOffset val="100"/>
        <c:baseTimeUnit val="days"/>
      </c:dateAx>
      <c:valAx>
        <c:axId val="896510304"/>
        <c:scaling>
          <c:orientation val="minMax"/>
          <c:max val="5"/>
          <c:min val="0"/>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en-US" sz="800" b="1" baseline="0" dirty="0">
                    <a:solidFill>
                      <a:schemeClr val="tx1"/>
                    </a:solidFill>
                  </a:rPr>
                  <a:t>(%)</a:t>
                </a:r>
                <a:endParaRPr lang="en-US" sz="800" b="1" dirty="0">
                  <a:solidFill>
                    <a:schemeClr val="tx1"/>
                  </a:solidFill>
                </a:endParaRPr>
              </a:p>
            </c:rich>
          </c:tx>
          <c:layout>
            <c:manualLayout>
              <c:xMode val="edge"/>
              <c:yMode val="edge"/>
              <c:x val="6.9392808373398882E-2"/>
              <c:y val="0.37061589727754618"/>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 sourceLinked="0"/>
        <c:majorTickMark val="out"/>
        <c:minorTickMark val="none"/>
        <c:tickLblPos val="nextTo"/>
        <c:spPr>
          <a:noFill/>
          <a:ln>
            <a:solidFill>
              <a:srgbClr val="999999"/>
            </a:solid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896504072"/>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98083105406225E-2"/>
          <c:y val="6.8372156605424325E-2"/>
          <c:w val="0.91744202162358313"/>
          <c:h val="0.79092191601049866"/>
        </c:manualLayout>
      </c:layout>
      <c:barChart>
        <c:barDir val="col"/>
        <c:grouping val="clustered"/>
        <c:varyColors val="0"/>
        <c:ser>
          <c:idx val="2"/>
          <c:order val="0"/>
          <c:tx>
            <c:strRef>
              <c:f>Sheet1!$E$7</c:f>
              <c:strCache>
                <c:ptCount val="1"/>
                <c:pt idx="0">
                  <c:v>9/22/2021</c:v>
                </c:pt>
              </c:strCache>
            </c:strRef>
          </c:tx>
          <c:spPr>
            <a:solidFill>
              <a:srgbClr val="004F6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F$6:$H$6</c:f>
              <c:numCache>
                <c:formatCode>General</c:formatCode>
                <c:ptCount val="3"/>
                <c:pt idx="0">
                  <c:v>2022</c:v>
                </c:pt>
                <c:pt idx="1">
                  <c:v>2023</c:v>
                </c:pt>
                <c:pt idx="2">
                  <c:v>2024</c:v>
                </c:pt>
              </c:numCache>
            </c:numRef>
          </c:cat>
          <c:val>
            <c:numRef>
              <c:f>Sheet1!$F$7:$H$7</c:f>
              <c:numCache>
                <c:formatCode>General</c:formatCode>
                <c:ptCount val="3"/>
                <c:pt idx="0">
                  <c:v>3.8</c:v>
                </c:pt>
                <c:pt idx="1">
                  <c:v>3.5</c:v>
                </c:pt>
                <c:pt idx="2">
                  <c:v>3.5</c:v>
                </c:pt>
              </c:numCache>
            </c:numRef>
          </c:val>
          <c:extLst>
            <c:ext xmlns:c16="http://schemas.microsoft.com/office/drawing/2014/chart" uri="{C3380CC4-5D6E-409C-BE32-E72D297353CC}">
              <c16:uniqueId val="{00000000-A5C4-45F4-93C5-92D14EC862E7}"/>
            </c:ext>
          </c:extLst>
        </c:ser>
        <c:ser>
          <c:idx val="3"/>
          <c:order val="1"/>
          <c:tx>
            <c:strRef>
              <c:f>Sheet1!$E$8</c:f>
              <c:strCache>
                <c:ptCount val="1"/>
                <c:pt idx="0">
                  <c:v>12/15/2021</c:v>
                </c:pt>
              </c:strCache>
            </c:strRef>
          </c:tx>
          <c:spPr>
            <a:solidFill>
              <a:srgbClr val="8FB6B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F$6:$H$6</c:f>
              <c:numCache>
                <c:formatCode>General</c:formatCode>
                <c:ptCount val="3"/>
                <c:pt idx="0">
                  <c:v>2022</c:v>
                </c:pt>
                <c:pt idx="1">
                  <c:v>2023</c:v>
                </c:pt>
                <c:pt idx="2">
                  <c:v>2024</c:v>
                </c:pt>
              </c:numCache>
            </c:numRef>
          </c:cat>
          <c:val>
            <c:numRef>
              <c:f>Sheet1!$F$8:$H$8</c:f>
              <c:numCache>
                <c:formatCode>General</c:formatCode>
                <c:ptCount val="3"/>
                <c:pt idx="0">
                  <c:v>3.5</c:v>
                </c:pt>
                <c:pt idx="1">
                  <c:v>3.5</c:v>
                </c:pt>
                <c:pt idx="2">
                  <c:v>3.5</c:v>
                </c:pt>
              </c:numCache>
            </c:numRef>
          </c:val>
          <c:extLst>
            <c:ext xmlns:c16="http://schemas.microsoft.com/office/drawing/2014/chart" uri="{C3380CC4-5D6E-409C-BE32-E72D297353CC}">
              <c16:uniqueId val="{00000001-A5C4-45F4-93C5-92D14EC862E7}"/>
            </c:ext>
          </c:extLst>
        </c:ser>
        <c:ser>
          <c:idx val="0"/>
          <c:order val="2"/>
          <c:tx>
            <c:strRef>
              <c:f>Sheet1!$E$9</c:f>
              <c:strCache>
                <c:ptCount val="1"/>
                <c:pt idx="0">
                  <c:v>3/16/202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F$6:$H$6</c:f>
              <c:numCache>
                <c:formatCode>General</c:formatCode>
                <c:ptCount val="3"/>
                <c:pt idx="0">
                  <c:v>2022</c:v>
                </c:pt>
                <c:pt idx="1">
                  <c:v>2023</c:v>
                </c:pt>
                <c:pt idx="2">
                  <c:v>2024</c:v>
                </c:pt>
              </c:numCache>
            </c:numRef>
          </c:cat>
          <c:val>
            <c:numRef>
              <c:f>Sheet1!$F$9:$H$9</c:f>
              <c:numCache>
                <c:formatCode>General</c:formatCode>
                <c:ptCount val="3"/>
                <c:pt idx="0">
                  <c:v>3.5</c:v>
                </c:pt>
                <c:pt idx="1">
                  <c:v>3.5</c:v>
                </c:pt>
                <c:pt idx="2">
                  <c:v>3.6</c:v>
                </c:pt>
              </c:numCache>
            </c:numRef>
          </c:val>
          <c:extLst>
            <c:ext xmlns:c16="http://schemas.microsoft.com/office/drawing/2014/chart" uri="{C3380CC4-5D6E-409C-BE32-E72D297353CC}">
              <c16:uniqueId val="{00000000-75D3-4E7A-A81B-A1F09EDFBA67}"/>
            </c:ext>
          </c:extLst>
        </c:ser>
        <c:ser>
          <c:idx val="4"/>
          <c:order val="3"/>
          <c:tx>
            <c:strRef>
              <c:f>Sheet1!$E$10</c:f>
              <c:strCache>
                <c:ptCount val="1"/>
                <c:pt idx="0">
                  <c:v>6/15/2022</c:v>
                </c:pt>
              </c:strCache>
            </c:strRef>
          </c:tx>
          <c:spPr>
            <a:solidFill>
              <a:srgbClr val="76869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F$6:$H$6</c:f>
              <c:numCache>
                <c:formatCode>General</c:formatCode>
                <c:ptCount val="3"/>
                <c:pt idx="0">
                  <c:v>2022</c:v>
                </c:pt>
                <c:pt idx="1">
                  <c:v>2023</c:v>
                </c:pt>
                <c:pt idx="2">
                  <c:v>2024</c:v>
                </c:pt>
              </c:numCache>
            </c:numRef>
          </c:cat>
          <c:val>
            <c:numRef>
              <c:f>Sheet1!$F$10:$H$10</c:f>
              <c:numCache>
                <c:formatCode>General</c:formatCode>
                <c:ptCount val="3"/>
                <c:pt idx="0">
                  <c:v>3.7</c:v>
                </c:pt>
                <c:pt idx="1">
                  <c:v>3.9</c:v>
                </c:pt>
                <c:pt idx="2">
                  <c:v>4.0999999999999996</c:v>
                </c:pt>
              </c:numCache>
            </c:numRef>
          </c:val>
          <c:extLst>
            <c:ext xmlns:c16="http://schemas.microsoft.com/office/drawing/2014/chart" uri="{C3380CC4-5D6E-409C-BE32-E72D297353CC}">
              <c16:uniqueId val="{00000001-75D3-4E7A-A81B-A1F09EDFBA67}"/>
            </c:ext>
          </c:extLst>
        </c:ser>
        <c:dLbls>
          <c:showLegendKey val="0"/>
          <c:showVal val="0"/>
          <c:showCatName val="0"/>
          <c:showSerName val="0"/>
          <c:showPercent val="0"/>
          <c:showBubbleSize val="0"/>
        </c:dLbls>
        <c:gapWidth val="219"/>
        <c:overlap val="-27"/>
        <c:axId val="1022010584"/>
        <c:axId val="1022008288"/>
      </c:barChart>
      <c:catAx>
        <c:axId val="1022010584"/>
        <c:scaling>
          <c:orientation val="minMax"/>
        </c:scaling>
        <c:delete val="0"/>
        <c:axPos val="b"/>
        <c:numFmt formatCode="General" sourceLinked="1"/>
        <c:majorTickMark val="none"/>
        <c:minorTickMark val="none"/>
        <c:tickLblPos val="nextTo"/>
        <c:spPr>
          <a:noFill/>
          <a:ln w="9525" cap="flat" cmpd="sng" algn="ctr">
            <a:solidFill>
              <a:srgbClr val="999999"/>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1022008288"/>
        <c:crosses val="autoZero"/>
        <c:auto val="1"/>
        <c:lblAlgn val="ctr"/>
        <c:lblOffset val="100"/>
        <c:noMultiLvlLbl val="0"/>
      </c:catAx>
      <c:valAx>
        <c:axId val="1022008288"/>
        <c:scaling>
          <c:orientation val="minMax"/>
          <c:max val="7"/>
          <c:min val="0"/>
        </c:scaling>
        <c:delete val="0"/>
        <c:axPos val="l"/>
        <c:numFmt formatCode="#,##0.0" sourceLinked="0"/>
        <c:majorTickMark val="out"/>
        <c:minorTickMark val="none"/>
        <c:tickLblPos val="nextTo"/>
        <c:spPr>
          <a:noFill/>
          <a:ln>
            <a:solidFill>
              <a:srgbClr val="999999"/>
            </a:solid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1022010584"/>
        <c:crosses val="autoZero"/>
        <c:crossBetween val="between"/>
        <c:majorUnit val="1"/>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692775179594872"/>
          <c:y val="6.9444444444444448E-2"/>
          <c:w val="0.689462173861769"/>
          <c:h val="0.78984962817147852"/>
        </c:manualLayout>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7A9A3D"/>
              </a:solidFill>
              <a:ln>
                <a:noFill/>
              </a:ln>
              <a:effectLst/>
            </c:spPr>
            <c:extLst>
              <c:ext xmlns:c16="http://schemas.microsoft.com/office/drawing/2014/chart" uri="{C3380CC4-5D6E-409C-BE32-E72D297353CC}">
                <c16:uniqueId val="{00000001-51D4-4000-AE32-B766FD167969}"/>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9</c:f>
              <c:numCache>
                <c:formatCode>m/d/yyyy</c:formatCode>
                <c:ptCount val="1"/>
                <c:pt idx="0">
                  <c:v>44651</c:v>
                </c:pt>
              </c:numCache>
            </c:numRef>
          </c:cat>
          <c:val>
            <c:numRef>
              <c:f>Sheet1!$B$10</c:f>
              <c:numCache>
                <c:formatCode>General</c:formatCode>
                <c:ptCount val="1"/>
                <c:pt idx="0">
                  <c:v>3.5</c:v>
                </c:pt>
              </c:numCache>
            </c:numRef>
          </c:val>
          <c:extLst>
            <c:ext xmlns:c16="http://schemas.microsoft.com/office/drawing/2014/chart" uri="{C3380CC4-5D6E-409C-BE32-E72D297353CC}">
              <c16:uniqueId val="{00000002-51D4-4000-AE32-B766FD167969}"/>
            </c:ext>
          </c:extLst>
        </c:ser>
        <c:dLbls>
          <c:showLegendKey val="0"/>
          <c:showVal val="0"/>
          <c:showCatName val="0"/>
          <c:showSerName val="0"/>
          <c:showPercent val="0"/>
          <c:showBubbleSize val="0"/>
        </c:dLbls>
        <c:gapWidth val="219"/>
        <c:overlap val="-27"/>
        <c:axId val="896504072"/>
        <c:axId val="896510304"/>
      </c:barChart>
      <c:dateAx>
        <c:axId val="896504072"/>
        <c:scaling>
          <c:orientation val="minMax"/>
        </c:scaling>
        <c:delete val="0"/>
        <c:axPos val="b"/>
        <c:numFmt formatCode="m/d/yyyy" sourceLinked="1"/>
        <c:majorTickMark val="none"/>
        <c:minorTickMark val="none"/>
        <c:tickLblPos val="nextTo"/>
        <c:spPr>
          <a:noFill/>
          <a:ln w="9525" cap="flat" cmpd="sng" algn="ctr">
            <a:solidFill>
              <a:srgbClr val="999999"/>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896510304"/>
        <c:crosses val="autoZero"/>
        <c:auto val="1"/>
        <c:lblOffset val="100"/>
        <c:baseTimeUnit val="days"/>
      </c:dateAx>
      <c:valAx>
        <c:axId val="896510304"/>
        <c:scaling>
          <c:orientation val="minMax"/>
          <c:max val="5"/>
          <c:min val="0"/>
        </c:scaling>
        <c:delete val="0"/>
        <c:axPos val="l"/>
        <c:title>
          <c:tx>
            <c:rich>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r>
                  <a:rPr lang="en-US" sz="800" b="1" i="0" baseline="0" dirty="0">
                    <a:effectLst/>
                  </a:rPr>
                  <a:t>Real GDP YoY (%)</a:t>
                </a:r>
                <a:endParaRPr lang="en-US" sz="800" dirty="0">
                  <a:effectLst/>
                </a:endParaRPr>
              </a:p>
            </c:rich>
          </c:tx>
          <c:layout>
            <c:manualLayout>
              <c:xMode val="edge"/>
              <c:yMode val="edge"/>
              <c:x val="4.6261872248932585E-2"/>
              <c:y val="0.14185772734290569"/>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title>
        <c:numFmt formatCode="#,##0.0" sourceLinked="0"/>
        <c:majorTickMark val="out"/>
        <c:minorTickMark val="none"/>
        <c:tickLblPos val="nextTo"/>
        <c:spPr>
          <a:noFill/>
          <a:ln>
            <a:solidFill>
              <a:srgbClr val="999999"/>
            </a:solid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896504072"/>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98083105406225E-2"/>
          <c:y val="6.8372156605424325E-2"/>
          <c:w val="0.91744202162358313"/>
          <c:h val="0.79092191601049866"/>
        </c:manualLayout>
      </c:layout>
      <c:barChart>
        <c:barDir val="col"/>
        <c:grouping val="clustered"/>
        <c:varyColors val="0"/>
        <c:ser>
          <c:idx val="2"/>
          <c:order val="0"/>
          <c:tx>
            <c:strRef>
              <c:f>Sheet1!$E$12</c:f>
              <c:strCache>
                <c:ptCount val="1"/>
                <c:pt idx="0">
                  <c:v>9/22/2021</c:v>
                </c:pt>
              </c:strCache>
            </c:strRef>
          </c:tx>
          <c:spPr>
            <a:solidFill>
              <a:srgbClr val="004F6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F$11:$H$11</c:f>
              <c:numCache>
                <c:formatCode>General</c:formatCode>
                <c:ptCount val="3"/>
                <c:pt idx="0">
                  <c:v>2022</c:v>
                </c:pt>
                <c:pt idx="1">
                  <c:v>2023</c:v>
                </c:pt>
                <c:pt idx="2">
                  <c:v>2024</c:v>
                </c:pt>
              </c:numCache>
            </c:numRef>
          </c:cat>
          <c:val>
            <c:numRef>
              <c:f>Sheet1!$F$12:$H$12</c:f>
              <c:numCache>
                <c:formatCode>General</c:formatCode>
                <c:ptCount val="3"/>
                <c:pt idx="0">
                  <c:v>3.8</c:v>
                </c:pt>
                <c:pt idx="1">
                  <c:v>2.5</c:v>
                </c:pt>
                <c:pt idx="2" formatCode="0.0">
                  <c:v>2</c:v>
                </c:pt>
              </c:numCache>
            </c:numRef>
          </c:val>
          <c:extLst>
            <c:ext xmlns:c16="http://schemas.microsoft.com/office/drawing/2014/chart" uri="{C3380CC4-5D6E-409C-BE32-E72D297353CC}">
              <c16:uniqueId val="{00000003-E743-4825-8BF4-726930337DEB}"/>
            </c:ext>
          </c:extLst>
        </c:ser>
        <c:ser>
          <c:idx val="3"/>
          <c:order val="1"/>
          <c:tx>
            <c:strRef>
              <c:f>Sheet1!$E$13</c:f>
              <c:strCache>
                <c:ptCount val="1"/>
                <c:pt idx="0">
                  <c:v>12/15/2021</c:v>
                </c:pt>
              </c:strCache>
            </c:strRef>
          </c:tx>
          <c:spPr>
            <a:solidFill>
              <a:srgbClr val="8FB6B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F$11:$H$11</c:f>
              <c:numCache>
                <c:formatCode>General</c:formatCode>
                <c:ptCount val="3"/>
                <c:pt idx="0">
                  <c:v>2022</c:v>
                </c:pt>
                <c:pt idx="1">
                  <c:v>2023</c:v>
                </c:pt>
                <c:pt idx="2">
                  <c:v>2024</c:v>
                </c:pt>
              </c:numCache>
            </c:numRef>
          </c:cat>
          <c:val>
            <c:numRef>
              <c:f>Sheet1!$F$13:$H$13</c:f>
              <c:numCache>
                <c:formatCode>0.0</c:formatCode>
                <c:ptCount val="3"/>
                <c:pt idx="0">
                  <c:v>4</c:v>
                </c:pt>
                <c:pt idx="1">
                  <c:v>2.2000000000000002</c:v>
                </c:pt>
                <c:pt idx="2">
                  <c:v>2</c:v>
                </c:pt>
              </c:numCache>
            </c:numRef>
          </c:val>
          <c:extLst>
            <c:ext xmlns:c16="http://schemas.microsoft.com/office/drawing/2014/chart" uri="{C3380CC4-5D6E-409C-BE32-E72D297353CC}">
              <c16:uniqueId val="{00000004-E743-4825-8BF4-726930337DEB}"/>
            </c:ext>
          </c:extLst>
        </c:ser>
        <c:ser>
          <c:idx val="0"/>
          <c:order val="2"/>
          <c:tx>
            <c:strRef>
              <c:f>Sheet1!$E$14</c:f>
              <c:strCache>
                <c:ptCount val="1"/>
                <c:pt idx="0">
                  <c:v>3/16/202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F$11:$H$11</c:f>
              <c:numCache>
                <c:formatCode>General</c:formatCode>
                <c:ptCount val="3"/>
                <c:pt idx="0">
                  <c:v>2022</c:v>
                </c:pt>
                <c:pt idx="1">
                  <c:v>2023</c:v>
                </c:pt>
                <c:pt idx="2">
                  <c:v>2024</c:v>
                </c:pt>
              </c:numCache>
            </c:numRef>
          </c:cat>
          <c:val>
            <c:numRef>
              <c:f>Sheet1!$F$14:$H$14</c:f>
              <c:numCache>
                <c:formatCode>0.0</c:formatCode>
                <c:ptCount val="3"/>
                <c:pt idx="0">
                  <c:v>2.8</c:v>
                </c:pt>
                <c:pt idx="1">
                  <c:v>2.2000000000000002</c:v>
                </c:pt>
                <c:pt idx="2">
                  <c:v>2</c:v>
                </c:pt>
              </c:numCache>
            </c:numRef>
          </c:val>
          <c:extLst>
            <c:ext xmlns:c16="http://schemas.microsoft.com/office/drawing/2014/chart" uri="{C3380CC4-5D6E-409C-BE32-E72D297353CC}">
              <c16:uniqueId val="{00000000-0BE7-472F-9141-D62A78ED0977}"/>
            </c:ext>
          </c:extLst>
        </c:ser>
        <c:ser>
          <c:idx val="4"/>
          <c:order val="3"/>
          <c:tx>
            <c:strRef>
              <c:f>Sheet1!$E$15</c:f>
              <c:strCache>
                <c:ptCount val="1"/>
                <c:pt idx="0">
                  <c:v>6/15/2022</c:v>
                </c:pt>
              </c:strCache>
            </c:strRef>
          </c:tx>
          <c:spPr>
            <a:solidFill>
              <a:srgbClr val="76869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F$11:$H$11</c:f>
              <c:numCache>
                <c:formatCode>General</c:formatCode>
                <c:ptCount val="3"/>
                <c:pt idx="0">
                  <c:v>2022</c:v>
                </c:pt>
                <c:pt idx="1">
                  <c:v>2023</c:v>
                </c:pt>
                <c:pt idx="2">
                  <c:v>2024</c:v>
                </c:pt>
              </c:numCache>
            </c:numRef>
          </c:cat>
          <c:val>
            <c:numRef>
              <c:f>Sheet1!$F$15:$H$15</c:f>
              <c:numCache>
                <c:formatCode>0.0</c:formatCode>
                <c:ptCount val="3"/>
                <c:pt idx="0">
                  <c:v>1.7</c:v>
                </c:pt>
                <c:pt idx="1">
                  <c:v>1.7</c:v>
                </c:pt>
                <c:pt idx="2">
                  <c:v>1.9</c:v>
                </c:pt>
              </c:numCache>
            </c:numRef>
          </c:val>
          <c:extLst>
            <c:ext xmlns:c16="http://schemas.microsoft.com/office/drawing/2014/chart" uri="{C3380CC4-5D6E-409C-BE32-E72D297353CC}">
              <c16:uniqueId val="{00000001-0BE7-472F-9141-D62A78ED0977}"/>
            </c:ext>
          </c:extLst>
        </c:ser>
        <c:dLbls>
          <c:showLegendKey val="0"/>
          <c:showVal val="0"/>
          <c:showCatName val="0"/>
          <c:showSerName val="0"/>
          <c:showPercent val="0"/>
          <c:showBubbleSize val="0"/>
        </c:dLbls>
        <c:gapWidth val="219"/>
        <c:overlap val="-27"/>
        <c:axId val="1022010584"/>
        <c:axId val="1022008288"/>
      </c:barChart>
      <c:catAx>
        <c:axId val="1022010584"/>
        <c:scaling>
          <c:orientation val="minMax"/>
        </c:scaling>
        <c:delete val="0"/>
        <c:axPos val="b"/>
        <c:numFmt formatCode="General" sourceLinked="1"/>
        <c:majorTickMark val="none"/>
        <c:minorTickMark val="none"/>
        <c:tickLblPos val="nextTo"/>
        <c:spPr>
          <a:noFill/>
          <a:ln w="9525" cap="flat" cmpd="sng" algn="ctr">
            <a:solidFill>
              <a:srgbClr val="999999"/>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1022008288"/>
        <c:crosses val="autoZero"/>
        <c:auto val="1"/>
        <c:lblAlgn val="ctr"/>
        <c:lblOffset val="100"/>
        <c:noMultiLvlLbl val="0"/>
      </c:catAx>
      <c:valAx>
        <c:axId val="1022008288"/>
        <c:scaling>
          <c:orientation val="minMax"/>
          <c:max val="7"/>
          <c:min val="0"/>
        </c:scaling>
        <c:delete val="0"/>
        <c:axPos val="l"/>
        <c:numFmt formatCode="General" sourceLinked="1"/>
        <c:majorTickMark val="out"/>
        <c:minorTickMark val="none"/>
        <c:tickLblPos val="nextTo"/>
        <c:spPr>
          <a:noFill/>
          <a:ln>
            <a:solidFill>
              <a:srgbClr val="999999"/>
            </a:solid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1022010584"/>
        <c:crosses val="autoZero"/>
        <c:crossBetween val="between"/>
        <c:majorUnit val="1"/>
      </c:valAx>
      <c:spPr>
        <a:noFill/>
        <a:ln>
          <a:noFill/>
        </a:ln>
        <a:effectLst/>
      </c:spPr>
    </c:plotArea>
    <c:legend>
      <c:legendPos val="t"/>
      <c:layout>
        <c:manualLayout>
          <c:xMode val="edge"/>
          <c:yMode val="edge"/>
          <c:x val="0.25025124008885541"/>
          <c:y val="0"/>
          <c:w val="0.49949733673605207"/>
          <c:h val="0.1212875045031135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494832196385772E-2"/>
          <c:y val="9.5963568701985275E-2"/>
          <c:w val="0.8477486438169437"/>
          <c:h val="0.81219298555612218"/>
        </c:manualLayout>
      </c:layout>
      <c:lineChart>
        <c:grouping val="standard"/>
        <c:varyColors val="0"/>
        <c:ser>
          <c:idx val="0"/>
          <c:order val="0"/>
          <c:tx>
            <c:strRef>
              <c:f>Sheet1!$F$6</c:f>
              <c:strCache>
                <c:ptCount val="1"/>
                <c:pt idx="0">
                  <c:v>Bills Outstanding (Left Axis)</c:v>
                </c:pt>
              </c:strCache>
            </c:strRef>
          </c:tx>
          <c:spPr>
            <a:ln>
              <a:solidFill>
                <a:srgbClr val="7A9A3D"/>
              </a:solidFill>
            </a:ln>
          </c:spPr>
          <c:marker>
            <c:symbol val="none"/>
          </c:marker>
          <c:cat>
            <c:numRef>
              <c:f>Sheet1!$E$7:$E$152</c:f>
              <c:numCache>
                <c:formatCode>m/d/yyyy</c:formatCode>
                <c:ptCount val="146"/>
                <c:pt idx="0">
                  <c:v>40329</c:v>
                </c:pt>
                <c:pt idx="1">
                  <c:v>40359</c:v>
                </c:pt>
                <c:pt idx="2">
                  <c:v>40390</c:v>
                </c:pt>
                <c:pt idx="3">
                  <c:v>40421</c:v>
                </c:pt>
                <c:pt idx="4">
                  <c:v>40451</c:v>
                </c:pt>
                <c:pt idx="5">
                  <c:v>40482</c:v>
                </c:pt>
                <c:pt idx="6">
                  <c:v>40512</c:v>
                </c:pt>
                <c:pt idx="7">
                  <c:v>40543</c:v>
                </c:pt>
                <c:pt idx="8">
                  <c:v>40574</c:v>
                </c:pt>
                <c:pt idx="9">
                  <c:v>40602</c:v>
                </c:pt>
                <c:pt idx="10">
                  <c:v>40633</c:v>
                </c:pt>
                <c:pt idx="11">
                  <c:v>40663</c:v>
                </c:pt>
                <c:pt idx="12">
                  <c:v>40694</c:v>
                </c:pt>
                <c:pt idx="13">
                  <c:v>40724</c:v>
                </c:pt>
                <c:pt idx="14">
                  <c:v>40755</c:v>
                </c:pt>
                <c:pt idx="15">
                  <c:v>40786</c:v>
                </c:pt>
                <c:pt idx="16">
                  <c:v>40816</c:v>
                </c:pt>
                <c:pt idx="17">
                  <c:v>40847</c:v>
                </c:pt>
                <c:pt idx="18">
                  <c:v>40877</c:v>
                </c:pt>
                <c:pt idx="19">
                  <c:v>40908</c:v>
                </c:pt>
                <c:pt idx="20">
                  <c:v>40939</c:v>
                </c:pt>
                <c:pt idx="21">
                  <c:v>40968</c:v>
                </c:pt>
                <c:pt idx="22">
                  <c:v>40999</c:v>
                </c:pt>
                <c:pt idx="23">
                  <c:v>41029</c:v>
                </c:pt>
                <c:pt idx="24">
                  <c:v>41060</c:v>
                </c:pt>
                <c:pt idx="25">
                  <c:v>41090</c:v>
                </c:pt>
                <c:pt idx="26">
                  <c:v>41121</c:v>
                </c:pt>
                <c:pt idx="27">
                  <c:v>41152</c:v>
                </c:pt>
                <c:pt idx="28">
                  <c:v>41182</c:v>
                </c:pt>
                <c:pt idx="29">
                  <c:v>41213</c:v>
                </c:pt>
                <c:pt idx="30">
                  <c:v>41243</c:v>
                </c:pt>
                <c:pt idx="31">
                  <c:v>41274</c:v>
                </c:pt>
                <c:pt idx="32">
                  <c:v>41305</c:v>
                </c:pt>
                <c:pt idx="33">
                  <c:v>41333</c:v>
                </c:pt>
                <c:pt idx="34">
                  <c:v>41364</c:v>
                </c:pt>
                <c:pt idx="35">
                  <c:v>41394</c:v>
                </c:pt>
                <c:pt idx="36">
                  <c:v>41425</c:v>
                </c:pt>
                <c:pt idx="37">
                  <c:v>41455</c:v>
                </c:pt>
                <c:pt idx="38">
                  <c:v>41486</c:v>
                </c:pt>
                <c:pt idx="39">
                  <c:v>41517</c:v>
                </c:pt>
                <c:pt idx="40">
                  <c:v>41547</c:v>
                </c:pt>
                <c:pt idx="41">
                  <c:v>41578</c:v>
                </c:pt>
                <c:pt idx="42">
                  <c:v>41608</c:v>
                </c:pt>
                <c:pt idx="43">
                  <c:v>41639</c:v>
                </c:pt>
                <c:pt idx="44">
                  <c:v>41670</c:v>
                </c:pt>
                <c:pt idx="45">
                  <c:v>41698</c:v>
                </c:pt>
                <c:pt idx="46">
                  <c:v>41729</c:v>
                </c:pt>
                <c:pt idx="47">
                  <c:v>41759</c:v>
                </c:pt>
                <c:pt idx="48">
                  <c:v>41790</c:v>
                </c:pt>
                <c:pt idx="49">
                  <c:v>41820</c:v>
                </c:pt>
                <c:pt idx="50">
                  <c:v>41851</c:v>
                </c:pt>
                <c:pt idx="51">
                  <c:v>41882</c:v>
                </c:pt>
                <c:pt idx="52">
                  <c:v>41912</c:v>
                </c:pt>
                <c:pt idx="53">
                  <c:v>41943</c:v>
                </c:pt>
                <c:pt idx="54">
                  <c:v>41973</c:v>
                </c:pt>
                <c:pt idx="55">
                  <c:v>42004</c:v>
                </c:pt>
                <c:pt idx="56">
                  <c:v>42035</c:v>
                </c:pt>
                <c:pt idx="57">
                  <c:v>42063</c:v>
                </c:pt>
                <c:pt idx="58">
                  <c:v>42094</c:v>
                </c:pt>
                <c:pt idx="59">
                  <c:v>42124</c:v>
                </c:pt>
                <c:pt idx="60">
                  <c:v>42155</c:v>
                </c:pt>
                <c:pt idx="61">
                  <c:v>42185</c:v>
                </c:pt>
                <c:pt idx="62">
                  <c:v>42216</c:v>
                </c:pt>
                <c:pt idx="63">
                  <c:v>42247</c:v>
                </c:pt>
                <c:pt idx="64">
                  <c:v>42277</c:v>
                </c:pt>
                <c:pt idx="65">
                  <c:v>42308</c:v>
                </c:pt>
                <c:pt idx="66">
                  <c:v>42338</c:v>
                </c:pt>
                <c:pt idx="67">
                  <c:v>42369</c:v>
                </c:pt>
                <c:pt idx="68">
                  <c:v>42400</c:v>
                </c:pt>
                <c:pt idx="69">
                  <c:v>42429</c:v>
                </c:pt>
                <c:pt idx="70">
                  <c:v>42460</c:v>
                </c:pt>
                <c:pt idx="71">
                  <c:v>42490</c:v>
                </c:pt>
                <c:pt idx="72">
                  <c:v>42521</c:v>
                </c:pt>
                <c:pt idx="73">
                  <c:v>42551</c:v>
                </c:pt>
                <c:pt idx="74">
                  <c:v>42582</c:v>
                </c:pt>
                <c:pt idx="75">
                  <c:v>42613</c:v>
                </c:pt>
                <c:pt idx="76">
                  <c:v>42643</c:v>
                </c:pt>
                <c:pt idx="77">
                  <c:v>42674</c:v>
                </c:pt>
                <c:pt idx="78">
                  <c:v>42704</c:v>
                </c:pt>
                <c:pt idx="79">
                  <c:v>42735</c:v>
                </c:pt>
                <c:pt idx="80">
                  <c:v>42766</c:v>
                </c:pt>
                <c:pt idx="81">
                  <c:v>42794</c:v>
                </c:pt>
                <c:pt idx="82">
                  <c:v>42825</c:v>
                </c:pt>
                <c:pt idx="83">
                  <c:v>42855</c:v>
                </c:pt>
                <c:pt idx="84">
                  <c:v>42886</c:v>
                </c:pt>
                <c:pt idx="85">
                  <c:v>42916</c:v>
                </c:pt>
                <c:pt idx="86">
                  <c:v>42947</c:v>
                </c:pt>
                <c:pt idx="87">
                  <c:v>42978</c:v>
                </c:pt>
                <c:pt idx="88">
                  <c:v>43008</c:v>
                </c:pt>
                <c:pt idx="89">
                  <c:v>43039</c:v>
                </c:pt>
                <c:pt idx="90">
                  <c:v>43069</c:v>
                </c:pt>
                <c:pt idx="91">
                  <c:v>43100</c:v>
                </c:pt>
                <c:pt idx="92">
                  <c:v>43131</c:v>
                </c:pt>
                <c:pt idx="93">
                  <c:v>43159</c:v>
                </c:pt>
                <c:pt idx="94">
                  <c:v>43190</c:v>
                </c:pt>
                <c:pt idx="95">
                  <c:v>43220</c:v>
                </c:pt>
                <c:pt idx="96">
                  <c:v>43251</c:v>
                </c:pt>
                <c:pt idx="97">
                  <c:v>43281</c:v>
                </c:pt>
                <c:pt idx="98">
                  <c:v>43312</c:v>
                </c:pt>
                <c:pt idx="99">
                  <c:v>43343</c:v>
                </c:pt>
                <c:pt idx="100">
                  <c:v>43373</c:v>
                </c:pt>
                <c:pt idx="101">
                  <c:v>43404</c:v>
                </c:pt>
                <c:pt idx="102">
                  <c:v>43434</c:v>
                </c:pt>
                <c:pt idx="103">
                  <c:v>43465</c:v>
                </c:pt>
                <c:pt idx="104">
                  <c:v>43496</c:v>
                </c:pt>
                <c:pt idx="105">
                  <c:v>43524</c:v>
                </c:pt>
                <c:pt idx="106">
                  <c:v>43555</c:v>
                </c:pt>
                <c:pt idx="107">
                  <c:v>43585</c:v>
                </c:pt>
                <c:pt idx="108">
                  <c:v>43616</c:v>
                </c:pt>
                <c:pt idx="109">
                  <c:v>43646</c:v>
                </c:pt>
                <c:pt idx="110">
                  <c:v>43677</c:v>
                </c:pt>
                <c:pt idx="111">
                  <c:v>43708</c:v>
                </c:pt>
                <c:pt idx="112">
                  <c:v>43738</c:v>
                </c:pt>
                <c:pt idx="113">
                  <c:v>43769</c:v>
                </c:pt>
                <c:pt idx="114">
                  <c:v>43799</c:v>
                </c:pt>
                <c:pt idx="115">
                  <c:v>43830</c:v>
                </c:pt>
                <c:pt idx="116">
                  <c:v>43861</c:v>
                </c:pt>
                <c:pt idx="117">
                  <c:v>43890</c:v>
                </c:pt>
                <c:pt idx="118">
                  <c:v>43921</c:v>
                </c:pt>
                <c:pt idx="119">
                  <c:v>43951</c:v>
                </c:pt>
                <c:pt idx="120">
                  <c:v>43982</c:v>
                </c:pt>
                <c:pt idx="121">
                  <c:v>44012</c:v>
                </c:pt>
                <c:pt idx="122">
                  <c:v>44043</c:v>
                </c:pt>
                <c:pt idx="123">
                  <c:v>44074</c:v>
                </c:pt>
                <c:pt idx="124">
                  <c:v>44104</c:v>
                </c:pt>
                <c:pt idx="125">
                  <c:v>44135</c:v>
                </c:pt>
                <c:pt idx="126">
                  <c:v>44165</c:v>
                </c:pt>
                <c:pt idx="127">
                  <c:v>44196</c:v>
                </c:pt>
                <c:pt idx="128">
                  <c:v>44227</c:v>
                </c:pt>
                <c:pt idx="129">
                  <c:v>44255</c:v>
                </c:pt>
                <c:pt idx="130">
                  <c:v>44286</c:v>
                </c:pt>
                <c:pt idx="131">
                  <c:v>44316</c:v>
                </c:pt>
                <c:pt idx="132">
                  <c:v>44347</c:v>
                </c:pt>
                <c:pt idx="133">
                  <c:v>44377</c:v>
                </c:pt>
                <c:pt idx="134">
                  <c:v>44408</c:v>
                </c:pt>
                <c:pt idx="135">
                  <c:v>44439</c:v>
                </c:pt>
                <c:pt idx="136">
                  <c:v>44469</c:v>
                </c:pt>
                <c:pt idx="137">
                  <c:v>44500</c:v>
                </c:pt>
                <c:pt idx="138">
                  <c:v>44530</c:v>
                </c:pt>
                <c:pt idx="139">
                  <c:v>44561</c:v>
                </c:pt>
                <c:pt idx="140">
                  <c:v>44592</c:v>
                </c:pt>
                <c:pt idx="141">
                  <c:v>44620</c:v>
                </c:pt>
                <c:pt idx="142">
                  <c:v>44651</c:v>
                </c:pt>
                <c:pt idx="143">
                  <c:v>44681</c:v>
                </c:pt>
                <c:pt idx="144">
                  <c:v>44712</c:v>
                </c:pt>
                <c:pt idx="145">
                  <c:v>44742</c:v>
                </c:pt>
              </c:numCache>
            </c:numRef>
          </c:cat>
          <c:val>
            <c:numRef>
              <c:f>Sheet1!$F$7:$F$152</c:f>
              <c:numCache>
                <c:formatCode>"$"#,##0.0</c:formatCode>
                <c:ptCount val="146"/>
                <c:pt idx="0">
                  <c:v>1850.3106565000001</c:v>
                </c:pt>
                <c:pt idx="1">
                  <c:v>1777.0315301000001</c:v>
                </c:pt>
                <c:pt idx="2">
                  <c:v>1785.1292431000002</c:v>
                </c:pt>
                <c:pt idx="3">
                  <c:v>1820.1040608999999</c:v>
                </c:pt>
                <c:pt idx="4">
                  <c:v>1783.6749198</c:v>
                </c:pt>
                <c:pt idx="5">
                  <c:v>1764.0883948999999</c:v>
                </c:pt>
                <c:pt idx="6">
                  <c:v>1771.2384195</c:v>
                </c:pt>
                <c:pt idx="7">
                  <c:v>1768.9311611999999</c:v>
                </c:pt>
                <c:pt idx="8">
                  <c:v>1756.6200584000001</c:v>
                </c:pt>
                <c:pt idx="9">
                  <c:v>1734.5037597</c:v>
                </c:pt>
                <c:pt idx="10">
                  <c:v>1694.6920335</c:v>
                </c:pt>
                <c:pt idx="11">
                  <c:v>1635.4057634000001</c:v>
                </c:pt>
                <c:pt idx="12">
                  <c:v>1576.5361412</c:v>
                </c:pt>
                <c:pt idx="13">
                  <c:v>1529.4167709999999</c:v>
                </c:pt>
                <c:pt idx="14">
                  <c:v>1490.4485238999998</c:v>
                </c:pt>
                <c:pt idx="15">
                  <c:v>1491.2388243</c:v>
                </c:pt>
                <c:pt idx="16">
                  <c:v>1475.5571672000001</c:v>
                </c:pt>
                <c:pt idx="17">
                  <c:v>1480.6617114999999</c:v>
                </c:pt>
                <c:pt idx="18">
                  <c:v>1511.0283366000001</c:v>
                </c:pt>
                <c:pt idx="19">
                  <c:v>1519.4617091999999</c:v>
                </c:pt>
                <c:pt idx="20">
                  <c:v>1524.1487066</c:v>
                </c:pt>
                <c:pt idx="21">
                  <c:v>1608.7376035</c:v>
                </c:pt>
                <c:pt idx="22">
                  <c:v>1672.6066736</c:v>
                </c:pt>
                <c:pt idx="23">
                  <c:v>1611.3533160000002</c:v>
                </c:pt>
                <c:pt idx="24">
                  <c:v>1603.2574895</c:v>
                </c:pt>
                <c:pt idx="25">
                  <c:v>1594.4265699</c:v>
                </c:pt>
                <c:pt idx="26">
                  <c:v>1578.6927301000001</c:v>
                </c:pt>
                <c:pt idx="27">
                  <c:v>1659.9840237000001</c:v>
                </c:pt>
                <c:pt idx="28">
                  <c:v>1613.0257898</c:v>
                </c:pt>
                <c:pt idx="29">
                  <c:v>1619.6483051</c:v>
                </c:pt>
                <c:pt idx="30">
                  <c:v>1692.7400053000001</c:v>
                </c:pt>
                <c:pt idx="31">
                  <c:v>1626.479959</c:v>
                </c:pt>
                <c:pt idx="32">
                  <c:v>1604.9814968999999</c:v>
                </c:pt>
                <c:pt idx="33">
                  <c:v>1738.4036137999999</c:v>
                </c:pt>
                <c:pt idx="34">
                  <c:v>1788.1580176</c:v>
                </c:pt>
                <c:pt idx="35">
                  <c:v>1692.5396677000001</c:v>
                </c:pt>
                <c:pt idx="36">
                  <c:v>1605.0425061999999</c:v>
                </c:pt>
                <c:pt idx="37">
                  <c:v>1568.0755752</c:v>
                </c:pt>
                <c:pt idx="38">
                  <c:v>1553.7842494000001</c:v>
                </c:pt>
                <c:pt idx="39">
                  <c:v>1635.7484550000001</c:v>
                </c:pt>
                <c:pt idx="40">
                  <c:v>1527.9086018</c:v>
                </c:pt>
                <c:pt idx="41">
                  <c:v>1543.4710636</c:v>
                </c:pt>
                <c:pt idx="42">
                  <c:v>1619.345315</c:v>
                </c:pt>
                <c:pt idx="43">
                  <c:v>1590.5626907999999</c:v>
                </c:pt>
                <c:pt idx="44">
                  <c:v>1484.4377774</c:v>
                </c:pt>
                <c:pt idx="45">
                  <c:v>1612.3209417</c:v>
                </c:pt>
                <c:pt idx="46">
                  <c:v>1650.2327216000001</c:v>
                </c:pt>
                <c:pt idx="47">
                  <c:v>1457.1359998999999</c:v>
                </c:pt>
                <c:pt idx="48">
                  <c:v>1447.0250358999999</c:v>
                </c:pt>
                <c:pt idx="49">
                  <c:v>1386.4023725</c:v>
                </c:pt>
                <c:pt idx="50">
                  <c:v>1408.2324613999999</c:v>
                </c:pt>
                <c:pt idx="51">
                  <c:v>1450.2933504999999</c:v>
                </c:pt>
                <c:pt idx="52">
                  <c:v>1409.6275995000001</c:v>
                </c:pt>
                <c:pt idx="53">
                  <c:v>1412.388199</c:v>
                </c:pt>
                <c:pt idx="54">
                  <c:v>1438.3213777000001</c:v>
                </c:pt>
                <c:pt idx="55">
                  <c:v>1456.6923873999999</c:v>
                </c:pt>
                <c:pt idx="56">
                  <c:v>1411.5054997</c:v>
                </c:pt>
                <c:pt idx="57">
                  <c:v>1471.5530329000001</c:v>
                </c:pt>
                <c:pt idx="58">
                  <c:v>1476.5401536000002</c:v>
                </c:pt>
                <c:pt idx="59">
                  <c:v>1431.2447834999998</c:v>
                </c:pt>
                <c:pt idx="60">
                  <c:v>1445.2359463</c:v>
                </c:pt>
                <c:pt idx="61">
                  <c:v>1393.1623078999999</c:v>
                </c:pt>
                <c:pt idx="62">
                  <c:v>1438.153922</c:v>
                </c:pt>
                <c:pt idx="63">
                  <c:v>1421.7046213000001</c:v>
                </c:pt>
                <c:pt idx="64">
                  <c:v>1355.2314484000001</c:v>
                </c:pt>
                <c:pt idx="65">
                  <c:v>1269.9058427</c:v>
                </c:pt>
                <c:pt idx="66">
                  <c:v>1503.0100170000001</c:v>
                </c:pt>
                <c:pt idx="67">
                  <c:v>1511.0295976</c:v>
                </c:pt>
                <c:pt idx="68">
                  <c:v>1475.2912954999999</c:v>
                </c:pt>
                <c:pt idx="69">
                  <c:v>1548.3633947999999</c:v>
                </c:pt>
                <c:pt idx="70">
                  <c:v>1614.3780693000001</c:v>
                </c:pt>
                <c:pt idx="71">
                  <c:v>1522.7803509</c:v>
                </c:pt>
                <c:pt idx="72">
                  <c:v>1520.2129109</c:v>
                </c:pt>
                <c:pt idx="73">
                  <c:v>1504.9871900000001</c:v>
                </c:pt>
                <c:pt idx="74">
                  <c:v>1547.1241981999999</c:v>
                </c:pt>
                <c:pt idx="75">
                  <c:v>1630.6847713</c:v>
                </c:pt>
                <c:pt idx="76">
                  <c:v>1644.7589852000001</c:v>
                </c:pt>
                <c:pt idx="77">
                  <c:v>1750.5967931999999</c:v>
                </c:pt>
                <c:pt idx="78">
                  <c:v>1870.6166948</c:v>
                </c:pt>
                <c:pt idx="79">
                  <c:v>1815.6673799999999</c:v>
                </c:pt>
                <c:pt idx="80">
                  <c:v>1759.618909</c:v>
                </c:pt>
                <c:pt idx="81">
                  <c:v>1750.6975442999999</c:v>
                </c:pt>
                <c:pt idx="82">
                  <c:v>1754.8183962000001</c:v>
                </c:pt>
                <c:pt idx="83">
                  <c:v>1739.8749498</c:v>
                </c:pt>
                <c:pt idx="84">
                  <c:v>1745.7889890000001</c:v>
                </c:pt>
                <c:pt idx="85">
                  <c:v>1715.8289643000001</c:v>
                </c:pt>
                <c:pt idx="86">
                  <c:v>1756.0054040999999</c:v>
                </c:pt>
                <c:pt idx="87">
                  <c:v>1745.5086270000002</c:v>
                </c:pt>
                <c:pt idx="88">
                  <c:v>1799.5695752000001</c:v>
                </c:pt>
                <c:pt idx="89">
                  <c:v>1853.1647564999998</c:v>
                </c:pt>
                <c:pt idx="90">
                  <c:v>1967.5766673000001</c:v>
                </c:pt>
                <c:pt idx="91">
                  <c:v>1952.5210083000002</c:v>
                </c:pt>
                <c:pt idx="92">
                  <c:v>1963.1089010999999</c:v>
                </c:pt>
                <c:pt idx="93">
                  <c:v>2074.2182805000002</c:v>
                </c:pt>
                <c:pt idx="94">
                  <c:v>2284.4174103</c:v>
                </c:pt>
                <c:pt idx="95">
                  <c:v>2166.3461634</c:v>
                </c:pt>
                <c:pt idx="96">
                  <c:v>2183.4050355000004</c:v>
                </c:pt>
                <c:pt idx="97">
                  <c:v>2157.4115523999999</c:v>
                </c:pt>
                <c:pt idx="98">
                  <c:v>2205.3549326999996</c:v>
                </c:pt>
                <c:pt idx="99">
                  <c:v>2340.4139684000002</c:v>
                </c:pt>
                <c:pt idx="100">
                  <c:v>2239.4733990999998</c:v>
                </c:pt>
                <c:pt idx="101">
                  <c:v>2257.3905096999997</c:v>
                </c:pt>
                <c:pt idx="102">
                  <c:v>2388.4563158000001</c:v>
                </c:pt>
                <c:pt idx="103">
                  <c:v>2339.3743036999999</c:v>
                </c:pt>
                <c:pt idx="104">
                  <c:v>2298.3603134</c:v>
                </c:pt>
                <c:pt idx="105">
                  <c:v>2395.3820138999999</c:v>
                </c:pt>
                <c:pt idx="106">
                  <c:v>2479.4067598000001</c:v>
                </c:pt>
                <c:pt idx="107">
                  <c:v>2383.3301560999998</c:v>
                </c:pt>
                <c:pt idx="108">
                  <c:v>2353.2920709</c:v>
                </c:pt>
                <c:pt idx="109">
                  <c:v>2250.3538580999998</c:v>
                </c:pt>
                <c:pt idx="110">
                  <c:v>2205.3065610000003</c:v>
                </c:pt>
                <c:pt idx="111">
                  <c:v>2331.3002911999997</c:v>
                </c:pt>
                <c:pt idx="112">
                  <c:v>2376.3696168000001</c:v>
                </c:pt>
                <c:pt idx="113">
                  <c:v>2455.3124854000002</c:v>
                </c:pt>
                <c:pt idx="114">
                  <c:v>2514.6874876000002</c:v>
                </c:pt>
                <c:pt idx="115">
                  <c:v>2416.4167540000003</c:v>
                </c:pt>
                <c:pt idx="116">
                  <c:v>2403.8620378999999</c:v>
                </c:pt>
                <c:pt idx="117">
                  <c:v>2564.2200222000001</c:v>
                </c:pt>
                <c:pt idx="118">
                  <c:v>2657.0891576999998</c:v>
                </c:pt>
                <c:pt idx="119">
                  <c:v>4000.8974149999999</c:v>
                </c:pt>
                <c:pt idx="120">
                  <c:v>4629.0461999999998</c:v>
                </c:pt>
                <c:pt idx="121">
                  <c:v>5078.8326926</c:v>
                </c:pt>
                <c:pt idx="122">
                  <c:v>5078.1328027</c:v>
                </c:pt>
                <c:pt idx="123">
                  <c:v>5075.8747223999999</c:v>
                </c:pt>
                <c:pt idx="124">
                  <c:v>5028.1266458</c:v>
                </c:pt>
                <c:pt idx="125">
                  <c:v>4984.4410921999997</c:v>
                </c:pt>
                <c:pt idx="126">
                  <c:v>4942.6640774999996</c:v>
                </c:pt>
                <c:pt idx="127">
                  <c:v>4963.0561084999999</c:v>
                </c:pt>
                <c:pt idx="128">
                  <c:v>4953.8488375000006</c:v>
                </c:pt>
                <c:pt idx="129">
                  <c:v>4857.8681856000003</c:v>
                </c:pt>
                <c:pt idx="130">
                  <c:v>4667.8459471000006</c:v>
                </c:pt>
                <c:pt idx="131">
                  <c:v>4538.6834242000004</c:v>
                </c:pt>
                <c:pt idx="132">
                  <c:v>4375.7812648999998</c:v>
                </c:pt>
                <c:pt idx="133">
                  <c:v>4273.6695376000007</c:v>
                </c:pt>
                <c:pt idx="134">
                  <c:v>4140.7924999000006</c:v>
                </c:pt>
                <c:pt idx="135">
                  <c:v>4036.8349327999999</c:v>
                </c:pt>
                <c:pt idx="136">
                  <c:v>3712.9515196000002</c:v>
                </c:pt>
                <c:pt idx="137">
                  <c:v>3850.7180666999998</c:v>
                </c:pt>
                <c:pt idx="138">
                  <c:v>3784.6767607000002</c:v>
                </c:pt>
                <c:pt idx="139">
                  <c:v>3767.9640300999999</c:v>
                </c:pt>
                <c:pt idx="140">
                  <c:v>3958.7033922999999</c:v>
                </c:pt>
                <c:pt idx="141">
                  <c:v>4053.0106445000001</c:v>
                </c:pt>
                <c:pt idx="142">
                  <c:v>3927.2541985999997</c:v>
                </c:pt>
                <c:pt idx="143">
                  <c:v>3826.0696923</c:v>
                </c:pt>
                <c:pt idx="144">
                  <c:v>3671.2276121</c:v>
                </c:pt>
                <c:pt idx="145">
                  <c:v>3522.6013665999999</c:v>
                </c:pt>
              </c:numCache>
            </c:numRef>
          </c:val>
          <c:smooth val="0"/>
          <c:extLst>
            <c:ext xmlns:c16="http://schemas.microsoft.com/office/drawing/2014/chart" uri="{C3380CC4-5D6E-409C-BE32-E72D297353CC}">
              <c16:uniqueId val="{00000000-E51B-4776-880A-6FB4B7E70515}"/>
            </c:ext>
          </c:extLst>
        </c:ser>
        <c:dLbls>
          <c:showLegendKey val="0"/>
          <c:showVal val="0"/>
          <c:showCatName val="0"/>
          <c:showSerName val="0"/>
          <c:showPercent val="0"/>
          <c:showBubbleSize val="0"/>
        </c:dLbls>
        <c:marker val="1"/>
        <c:smooth val="0"/>
        <c:axId val="198087040"/>
        <c:axId val="198089728"/>
      </c:lineChart>
      <c:lineChart>
        <c:grouping val="standard"/>
        <c:varyColors val="0"/>
        <c:ser>
          <c:idx val="1"/>
          <c:order val="1"/>
          <c:tx>
            <c:strRef>
              <c:f>Sheet1!$G$6</c:f>
              <c:strCache>
                <c:ptCount val="1"/>
                <c:pt idx="0">
                  <c:v>Bill % of Treasury Debt (Right Axis)</c:v>
                </c:pt>
              </c:strCache>
            </c:strRef>
          </c:tx>
          <c:spPr>
            <a:ln>
              <a:solidFill>
                <a:srgbClr val="298FC2"/>
              </a:solidFill>
            </a:ln>
          </c:spPr>
          <c:marker>
            <c:symbol val="none"/>
          </c:marker>
          <c:cat>
            <c:numRef>
              <c:f>Sheet1!$E$7:$E$152</c:f>
              <c:numCache>
                <c:formatCode>m/d/yyyy</c:formatCode>
                <c:ptCount val="146"/>
                <c:pt idx="0">
                  <c:v>40329</c:v>
                </c:pt>
                <c:pt idx="1">
                  <c:v>40359</c:v>
                </c:pt>
                <c:pt idx="2">
                  <c:v>40390</c:v>
                </c:pt>
                <c:pt idx="3">
                  <c:v>40421</c:v>
                </c:pt>
                <c:pt idx="4">
                  <c:v>40451</c:v>
                </c:pt>
                <c:pt idx="5">
                  <c:v>40482</c:v>
                </c:pt>
                <c:pt idx="6">
                  <c:v>40512</c:v>
                </c:pt>
                <c:pt idx="7">
                  <c:v>40543</c:v>
                </c:pt>
                <c:pt idx="8">
                  <c:v>40574</c:v>
                </c:pt>
                <c:pt idx="9">
                  <c:v>40602</c:v>
                </c:pt>
                <c:pt idx="10">
                  <c:v>40633</c:v>
                </c:pt>
                <c:pt idx="11">
                  <c:v>40663</c:v>
                </c:pt>
                <c:pt idx="12">
                  <c:v>40694</c:v>
                </c:pt>
                <c:pt idx="13">
                  <c:v>40724</c:v>
                </c:pt>
                <c:pt idx="14">
                  <c:v>40755</c:v>
                </c:pt>
                <c:pt idx="15">
                  <c:v>40786</c:v>
                </c:pt>
                <c:pt idx="16">
                  <c:v>40816</c:v>
                </c:pt>
                <c:pt idx="17">
                  <c:v>40847</c:v>
                </c:pt>
                <c:pt idx="18">
                  <c:v>40877</c:v>
                </c:pt>
                <c:pt idx="19">
                  <c:v>40908</c:v>
                </c:pt>
                <c:pt idx="20">
                  <c:v>40939</c:v>
                </c:pt>
                <c:pt idx="21">
                  <c:v>40968</c:v>
                </c:pt>
                <c:pt idx="22">
                  <c:v>40999</c:v>
                </c:pt>
                <c:pt idx="23">
                  <c:v>41029</c:v>
                </c:pt>
                <c:pt idx="24">
                  <c:v>41060</c:v>
                </c:pt>
                <c:pt idx="25">
                  <c:v>41090</c:v>
                </c:pt>
                <c:pt idx="26">
                  <c:v>41121</c:v>
                </c:pt>
                <c:pt idx="27">
                  <c:v>41152</c:v>
                </c:pt>
                <c:pt idx="28">
                  <c:v>41182</c:v>
                </c:pt>
                <c:pt idx="29">
                  <c:v>41213</c:v>
                </c:pt>
                <c:pt idx="30">
                  <c:v>41243</c:v>
                </c:pt>
                <c:pt idx="31">
                  <c:v>41274</c:v>
                </c:pt>
                <c:pt idx="32">
                  <c:v>41305</c:v>
                </c:pt>
                <c:pt idx="33">
                  <c:v>41333</c:v>
                </c:pt>
                <c:pt idx="34">
                  <c:v>41364</c:v>
                </c:pt>
                <c:pt idx="35">
                  <c:v>41394</c:v>
                </c:pt>
                <c:pt idx="36">
                  <c:v>41425</c:v>
                </c:pt>
                <c:pt idx="37">
                  <c:v>41455</c:v>
                </c:pt>
                <c:pt idx="38">
                  <c:v>41486</c:v>
                </c:pt>
                <c:pt idx="39">
                  <c:v>41517</c:v>
                </c:pt>
                <c:pt idx="40">
                  <c:v>41547</c:v>
                </c:pt>
                <c:pt idx="41">
                  <c:v>41578</c:v>
                </c:pt>
                <c:pt idx="42">
                  <c:v>41608</c:v>
                </c:pt>
                <c:pt idx="43">
                  <c:v>41639</c:v>
                </c:pt>
                <c:pt idx="44">
                  <c:v>41670</c:v>
                </c:pt>
                <c:pt idx="45">
                  <c:v>41698</c:v>
                </c:pt>
                <c:pt idx="46">
                  <c:v>41729</c:v>
                </c:pt>
                <c:pt idx="47">
                  <c:v>41759</c:v>
                </c:pt>
                <c:pt idx="48">
                  <c:v>41790</c:v>
                </c:pt>
                <c:pt idx="49">
                  <c:v>41820</c:v>
                </c:pt>
                <c:pt idx="50">
                  <c:v>41851</c:v>
                </c:pt>
                <c:pt idx="51">
                  <c:v>41882</c:v>
                </c:pt>
                <c:pt idx="52">
                  <c:v>41912</c:v>
                </c:pt>
                <c:pt idx="53">
                  <c:v>41943</c:v>
                </c:pt>
                <c:pt idx="54">
                  <c:v>41973</c:v>
                </c:pt>
                <c:pt idx="55">
                  <c:v>42004</c:v>
                </c:pt>
                <c:pt idx="56">
                  <c:v>42035</c:v>
                </c:pt>
                <c:pt idx="57">
                  <c:v>42063</c:v>
                </c:pt>
                <c:pt idx="58">
                  <c:v>42094</c:v>
                </c:pt>
                <c:pt idx="59">
                  <c:v>42124</c:v>
                </c:pt>
                <c:pt idx="60">
                  <c:v>42155</c:v>
                </c:pt>
                <c:pt idx="61">
                  <c:v>42185</c:v>
                </c:pt>
                <c:pt idx="62">
                  <c:v>42216</c:v>
                </c:pt>
                <c:pt idx="63">
                  <c:v>42247</c:v>
                </c:pt>
                <c:pt idx="64">
                  <c:v>42277</c:v>
                </c:pt>
                <c:pt idx="65">
                  <c:v>42308</c:v>
                </c:pt>
                <c:pt idx="66">
                  <c:v>42338</c:v>
                </c:pt>
                <c:pt idx="67">
                  <c:v>42369</c:v>
                </c:pt>
                <c:pt idx="68">
                  <c:v>42400</c:v>
                </c:pt>
                <c:pt idx="69">
                  <c:v>42429</c:v>
                </c:pt>
                <c:pt idx="70">
                  <c:v>42460</c:v>
                </c:pt>
                <c:pt idx="71">
                  <c:v>42490</c:v>
                </c:pt>
                <c:pt idx="72">
                  <c:v>42521</c:v>
                </c:pt>
                <c:pt idx="73">
                  <c:v>42551</c:v>
                </c:pt>
                <c:pt idx="74">
                  <c:v>42582</c:v>
                </c:pt>
                <c:pt idx="75">
                  <c:v>42613</c:v>
                </c:pt>
                <c:pt idx="76">
                  <c:v>42643</c:v>
                </c:pt>
                <c:pt idx="77">
                  <c:v>42674</c:v>
                </c:pt>
                <c:pt idx="78">
                  <c:v>42704</c:v>
                </c:pt>
                <c:pt idx="79">
                  <c:v>42735</c:v>
                </c:pt>
                <c:pt idx="80">
                  <c:v>42766</c:v>
                </c:pt>
                <c:pt idx="81">
                  <c:v>42794</c:v>
                </c:pt>
                <c:pt idx="82">
                  <c:v>42825</c:v>
                </c:pt>
                <c:pt idx="83">
                  <c:v>42855</c:v>
                </c:pt>
                <c:pt idx="84">
                  <c:v>42886</c:v>
                </c:pt>
                <c:pt idx="85">
                  <c:v>42916</c:v>
                </c:pt>
                <c:pt idx="86">
                  <c:v>42947</c:v>
                </c:pt>
                <c:pt idx="87">
                  <c:v>42978</c:v>
                </c:pt>
                <c:pt idx="88">
                  <c:v>43008</c:v>
                </c:pt>
                <c:pt idx="89">
                  <c:v>43039</c:v>
                </c:pt>
                <c:pt idx="90">
                  <c:v>43069</c:v>
                </c:pt>
                <c:pt idx="91">
                  <c:v>43100</c:v>
                </c:pt>
                <c:pt idx="92">
                  <c:v>43131</c:v>
                </c:pt>
                <c:pt idx="93">
                  <c:v>43159</c:v>
                </c:pt>
                <c:pt idx="94">
                  <c:v>43190</c:v>
                </c:pt>
                <c:pt idx="95">
                  <c:v>43220</c:v>
                </c:pt>
                <c:pt idx="96">
                  <c:v>43251</c:v>
                </c:pt>
                <c:pt idx="97">
                  <c:v>43281</c:v>
                </c:pt>
                <c:pt idx="98">
                  <c:v>43312</c:v>
                </c:pt>
                <c:pt idx="99">
                  <c:v>43343</c:v>
                </c:pt>
                <c:pt idx="100">
                  <c:v>43373</c:v>
                </c:pt>
                <c:pt idx="101">
                  <c:v>43404</c:v>
                </c:pt>
                <c:pt idx="102">
                  <c:v>43434</c:v>
                </c:pt>
                <c:pt idx="103">
                  <c:v>43465</c:v>
                </c:pt>
                <c:pt idx="104">
                  <c:v>43496</c:v>
                </c:pt>
                <c:pt idx="105">
                  <c:v>43524</c:v>
                </c:pt>
                <c:pt idx="106">
                  <c:v>43555</c:v>
                </c:pt>
                <c:pt idx="107">
                  <c:v>43585</c:v>
                </c:pt>
                <c:pt idx="108">
                  <c:v>43616</c:v>
                </c:pt>
                <c:pt idx="109">
                  <c:v>43646</c:v>
                </c:pt>
                <c:pt idx="110">
                  <c:v>43677</c:v>
                </c:pt>
                <c:pt idx="111">
                  <c:v>43708</c:v>
                </c:pt>
                <c:pt idx="112">
                  <c:v>43738</c:v>
                </c:pt>
                <c:pt idx="113">
                  <c:v>43769</c:v>
                </c:pt>
                <c:pt idx="114">
                  <c:v>43799</c:v>
                </c:pt>
                <c:pt idx="115">
                  <c:v>43830</c:v>
                </c:pt>
                <c:pt idx="116">
                  <c:v>43861</c:v>
                </c:pt>
                <c:pt idx="117">
                  <c:v>43890</c:v>
                </c:pt>
                <c:pt idx="118">
                  <c:v>43921</c:v>
                </c:pt>
                <c:pt idx="119">
                  <c:v>43951</c:v>
                </c:pt>
                <c:pt idx="120">
                  <c:v>43982</c:v>
                </c:pt>
                <c:pt idx="121">
                  <c:v>44012</c:v>
                </c:pt>
                <c:pt idx="122">
                  <c:v>44043</c:v>
                </c:pt>
                <c:pt idx="123">
                  <c:v>44074</c:v>
                </c:pt>
                <c:pt idx="124">
                  <c:v>44104</c:v>
                </c:pt>
                <c:pt idx="125">
                  <c:v>44135</c:v>
                </c:pt>
                <c:pt idx="126">
                  <c:v>44165</c:v>
                </c:pt>
                <c:pt idx="127">
                  <c:v>44196</c:v>
                </c:pt>
                <c:pt idx="128">
                  <c:v>44227</c:v>
                </c:pt>
                <c:pt idx="129">
                  <c:v>44255</c:v>
                </c:pt>
                <c:pt idx="130">
                  <c:v>44286</c:v>
                </c:pt>
                <c:pt idx="131">
                  <c:v>44316</c:v>
                </c:pt>
                <c:pt idx="132">
                  <c:v>44347</c:v>
                </c:pt>
                <c:pt idx="133">
                  <c:v>44377</c:v>
                </c:pt>
                <c:pt idx="134">
                  <c:v>44408</c:v>
                </c:pt>
                <c:pt idx="135">
                  <c:v>44439</c:v>
                </c:pt>
                <c:pt idx="136">
                  <c:v>44469</c:v>
                </c:pt>
                <c:pt idx="137">
                  <c:v>44500</c:v>
                </c:pt>
                <c:pt idx="138">
                  <c:v>44530</c:v>
                </c:pt>
                <c:pt idx="139">
                  <c:v>44561</c:v>
                </c:pt>
                <c:pt idx="140">
                  <c:v>44592</c:v>
                </c:pt>
                <c:pt idx="141">
                  <c:v>44620</c:v>
                </c:pt>
                <c:pt idx="142">
                  <c:v>44651</c:v>
                </c:pt>
                <c:pt idx="143">
                  <c:v>44681</c:v>
                </c:pt>
                <c:pt idx="144">
                  <c:v>44712</c:v>
                </c:pt>
                <c:pt idx="145">
                  <c:v>44742</c:v>
                </c:pt>
              </c:numCache>
            </c:numRef>
          </c:cat>
          <c:val>
            <c:numRef>
              <c:f>Sheet1!$G$7:$G$152</c:f>
              <c:numCache>
                <c:formatCode>0.0%</c:formatCode>
                <c:ptCount val="146"/>
                <c:pt idx="0">
                  <c:v>0.23319968270083874</c:v>
                </c:pt>
                <c:pt idx="1">
                  <c:v>0.21995507860665045</c:v>
                </c:pt>
                <c:pt idx="2">
                  <c:v>0.21887445930095228</c:v>
                </c:pt>
                <c:pt idx="3">
                  <c:v>0.21715241457806164</c:v>
                </c:pt>
                <c:pt idx="4">
                  <c:v>0.21044006702953821</c:v>
                </c:pt>
                <c:pt idx="5">
                  <c:v>0.20702691380091184</c:v>
                </c:pt>
                <c:pt idx="6">
                  <c:v>0.20296325375511087</c:v>
                </c:pt>
                <c:pt idx="7">
                  <c:v>0.20007339826344106</c:v>
                </c:pt>
                <c:pt idx="8">
                  <c:v>0.19642718570257317</c:v>
                </c:pt>
                <c:pt idx="9">
                  <c:v>0.19216287717914804</c:v>
                </c:pt>
                <c:pt idx="10">
                  <c:v>0.18600875074895787</c:v>
                </c:pt>
                <c:pt idx="11">
                  <c:v>0.17942476938134766</c:v>
                </c:pt>
                <c:pt idx="12">
                  <c:v>0.17060625876029148</c:v>
                </c:pt>
                <c:pt idx="13">
                  <c:v>0.16419104642830054</c:v>
                </c:pt>
                <c:pt idx="14">
                  <c:v>0.15927733078622058</c:v>
                </c:pt>
                <c:pt idx="15">
                  <c:v>0.1569452713073822</c:v>
                </c:pt>
                <c:pt idx="16">
                  <c:v>0.15363505746967102</c:v>
                </c:pt>
                <c:pt idx="17">
                  <c:v>0.15223217270565906</c:v>
                </c:pt>
                <c:pt idx="18">
                  <c:v>0.15327349953741473</c:v>
                </c:pt>
                <c:pt idx="19">
                  <c:v>0.15321790063783208</c:v>
                </c:pt>
                <c:pt idx="20">
                  <c:v>0.15167390638076875</c:v>
                </c:pt>
                <c:pt idx="21">
                  <c:v>0.15769251513586033</c:v>
                </c:pt>
                <c:pt idx="22">
                  <c:v>0.16211155472658001</c:v>
                </c:pt>
                <c:pt idx="23">
                  <c:v>0.15525106723316928</c:v>
                </c:pt>
                <c:pt idx="24">
                  <c:v>0.15320315719479102</c:v>
                </c:pt>
                <c:pt idx="25">
                  <c:v>0.15182112382985644</c:v>
                </c:pt>
                <c:pt idx="26">
                  <c:v>0.14909697124110585</c:v>
                </c:pt>
                <c:pt idx="27">
                  <c:v>0.15459398351090403</c:v>
                </c:pt>
                <c:pt idx="28">
                  <c:v>0.15032620508326067</c:v>
                </c:pt>
                <c:pt idx="29">
                  <c:v>0.1490308189168304</c:v>
                </c:pt>
                <c:pt idx="30">
                  <c:v>0.15370089999901579</c:v>
                </c:pt>
                <c:pt idx="31">
                  <c:v>0.14741309418745999</c:v>
                </c:pt>
                <c:pt idx="32">
                  <c:v>0.14465506622754404</c:v>
                </c:pt>
                <c:pt idx="33">
                  <c:v>0.15400452157309877</c:v>
                </c:pt>
                <c:pt idx="34">
                  <c:v>0.15716731339019693</c:v>
                </c:pt>
                <c:pt idx="35">
                  <c:v>0.14851871136004402</c:v>
                </c:pt>
                <c:pt idx="36">
                  <c:v>0.14108076148328044</c:v>
                </c:pt>
                <c:pt idx="37">
                  <c:v>0.13784227106668179</c:v>
                </c:pt>
                <c:pt idx="38">
                  <c:v>0.13553571983809826</c:v>
                </c:pt>
                <c:pt idx="39">
                  <c:v>0.141412503053223</c:v>
                </c:pt>
                <c:pt idx="40">
                  <c:v>0.13197337794935074</c:v>
                </c:pt>
                <c:pt idx="41">
                  <c:v>0.13223856741503254</c:v>
                </c:pt>
                <c:pt idx="42">
                  <c:v>0.13760268403654563</c:v>
                </c:pt>
                <c:pt idx="43">
                  <c:v>0.13426670906222227</c:v>
                </c:pt>
                <c:pt idx="44">
                  <c:v>0.125777749545679</c:v>
                </c:pt>
                <c:pt idx="45">
                  <c:v>0.13449394202149961</c:v>
                </c:pt>
                <c:pt idx="46">
                  <c:v>0.1362475076166175</c:v>
                </c:pt>
                <c:pt idx="47">
                  <c:v>0.121500608618689</c:v>
                </c:pt>
                <c:pt idx="48">
                  <c:v>0.12033869560567542</c:v>
                </c:pt>
                <c:pt idx="49">
                  <c:v>0.11494246962341348</c:v>
                </c:pt>
                <c:pt idx="50">
                  <c:v>0.11599787577388768</c:v>
                </c:pt>
                <c:pt idx="51">
                  <c:v>0.11865784834634766</c:v>
                </c:pt>
                <c:pt idx="52">
                  <c:v>0.11486954222763411</c:v>
                </c:pt>
                <c:pt idx="53">
                  <c:v>0.11445583823027317</c:v>
                </c:pt>
                <c:pt idx="54">
                  <c:v>0.11600426705308738</c:v>
                </c:pt>
                <c:pt idx="55">
                  <c:v>0.1165760679931831</c:v>
                </c:pt>
                <c:pt idx="56">
                  <c:v>0.11327969147942139</c:v>
                </c:pt>
                <c:pt idx="57">
                  <c:v>0.11727893396617387</c:v>
                </c:pt>
                <c:pt idx="58">
                  <c:v>0.11699145216060911</c:v>
                </c:pt>
                <c:pt idx="59">
                  <c:v>0.11339026587562061</c:v>
                </c:pt>
                <c:pt idx="60">
                  <c:v>0.11411514632149015</c:v>
                </c:pt>
                <c:pt idx="61">
                  <c:v>0.10979294967539549</c:v>
                </c:pt>
                <c:pt idx="62">
                  <c:v>0.11243187017996861</c:v>
                </c:pt>
                <c:pt idx="63">
                  <c:v>0.11085936921990697</c:v>
                </c:pt>
                <c:pt idx="64">
                  <c:v>0.10561451508525443</c:v>
                </c:pt>
                <c:pt idx="65">
                  <c:v>9.9402655598388248E-2</c:v>
                </c:pt>
                <c:pt idx="66">
                  <c:v>0.1147483435976738</c:v>
                </c:pt>
                <c:pt idx="67">
                  <c:v>0.11462589651796741</c:v>
                </c:pt>
                <c:pt idx="68">
                  <c:v>0.11206540756198585</c:v>
                </c:pt>
                <c:pt idx="69">
                  <c:v>0.11652179129248753</c:v>
                </c:pt>
                <c:pt idx="70">
                  <c:v>0.12028194713411686</c:v>
                </c:pt>
                <c:pt idx="71">
                  <c:v>0.11423222034779527</c:v>
                </c:pt>
                <c:pt idx="72">
                  <c:v>0.11371069052834169</c:v>
                </c:pt>
                <c:pt idx="73">
                  <c:v>0.11224115102414897</c:v>
                </c:pt>
                <c:pt idx="74">
                  <c:v>0.11483947144979718</c:v>
                </c:pt>
                <c:pt idx="75">
                  <c:v>0.12010925348647285</c:v>
                </c:pt>
                <c:pt idx="76">
                  <c:v>0.12059850465726586</c:v>
                </c:pt>
                <c:pt idx="77">
                  <c:v>0.12733850466960922</c:v>
                </c:pt>
                <c:pt idx="78">
                  <c:v>0.13458677271951303</c:v>
                </c:pt>
                <c:pt idx="79">
                  <c:v>0.13063477286644243</c:v>
                </c:pt>
                <c:pt idx="80">
                  <c:v>0.12712878527491597</c:v>
                </c:pt>
                <c:pt idx="81">
                  <c:v>0.12616296705491278</c:v>
                </c:pt>
                <c:pt idx="82">
                  <c:v>0.12584494628358042</c:v>
                </c:pt>
                <c:pt idx="83">
                  <c:v>0.12491881661661026</c:v>
                </c:pt>
                <c:pt idx="84">
                  <c:v>0.12505129805844048</c:v>
                </c:pt>
                <c:pt idx="85">
                  <c:v>0.12265583120599138</c:v>
                </c:pt>
                <c:pt idx="86">
                  <c:v>0.12507249399173268</c:v>
                </c:pt>
                <c:pt idx="87">
                  <c:v>0.12406537522248326</c:v>
                </c:pt>
                <c:pt idx="88">
                  <c:v>0.12694769831467628</c:v>
                </c:pt>
                <c:pt idx="89">
                  <c:v>0.13005034112587144</c:v>
                </c:pt>
                <c:pt idx="90">
                  <c:v>0.13650961690864311</c:v>
                </c:pt>
                <c:pt idx="91">
                  <c:v>0.1350658503639206</c:v>
                </c:pt>
                <c:pt idx="92">
                  <c:v>0.13547492107744177</c:v>
                </c:pt>
                <c:pt idx="93">
                  <c:v>0.14154130747403354</c:v>
                </c:pt>
                <c:pt idx="94">
                  <c:v>0.1531013191640076</c:v>
                </c:pt>
                <c:pt idx="95">
                  <c:v>0.14614323228205092</c:v>
                </c:pt>
                <c:pt idx="96">
                  <c:v>0.14643003948261793</c:v>
                </c:pt>
                <c:pt idx="97">
                  <c:v>0.14425611675277081</c:v>
                </c:pt>
                <c:pt idx="98">
                  <c:v>0.14646014613084932</c:v>
                </c:pt>
                <c:pt idx="99">
                  <c:v>0.15323178924021852</c:v>
                </c:pt>
                <c:pt idx="100">
                  <c:v>0.14684996519597043</c:v>
                </c:pt>
                <c:pt idx="101">
                  <c:v>0.14726367841261997</c:v>
                </c:pt>
                <c:pt idx="102">
                  <c:v>0.1537839267602627</c:v>
                </c:pt>
                <c:pt idx="103">
                  <c:v>0.15005924647395327</c:v>
                </c:pt>
                <c:pt idx="104">
                  <c:v>0.14741150421844826</c:v>
                </c:pt>
                <c:pt idx="105">
                  <c:v>0.15217856893645759</c:v>
                </c:pt>
                <c:pt idx="106">
                  <c:v>0.15583594304972379</c:v>
                </c:pt>
                <c:pt idx="107">
                  <c:v>0.15033315348316287</c:v>
                </c:pt>
                <c:pt idx="108">
                  <c:v>0.14787195379212167</c:v>
                </c:pt>
                <c:pt idx="109">
                  <c:v>0.14147533584490307</c:v>
                </c:pt>
                <c:pt idx="110">
                  <c:v>0.13831512828250062</c:v>
                </c:pt>
                <c:pt idx="111">
                  <c:v>0.14460089627444239</c:v>
                </c:pt>
                <c:pt idx="112">
                  <c:v>0.14558735944907158</c:v>
                </c:pt>
                <c:pt idx="113">
                  <c:v>0.14890193442322069</c:v>
                </c:pt>
                <c:pt idx="114">
                  <c:v>0.15145820701490939</c:v>
                </c:pt>
                <c:pt idx="115">
                  <c:v>0.14506136377097992</c:v>
                </c:pt>
                <c:pt idx="116">
                  <c:v>0.14397902616700642</c:v>
                </c:pt>
                <c:pt idx="117">
                  <c:v>0.15177976738294896</c:v>
                </c:pt>
                <c:pt idx="118">
                  <c:v>0.15503051083775829</c:v>
                </c:pt>
                <c:pt idx="119">
                  <c:v>0.21612430428672605</c:v>
                </c:pt>
                <c:pt idx="120">
                  <c:v>0.24099000469283308</c:v>
                </c:pt>
                <c:pt idx="121">
                  <c:v>0.25541739475108866</c:v>
                </c:pt>
                <c:pt idx="122">
                  <c:v>0.25408333930366533</c:v>
                </c:pt>
                <c:pt idx="123">
                  <c:v>0.2516677804819803</c:v>
                </c:pt>
                <c:pt idx="124">
                  <c:v>0.24704658036199179</c:v>
                </c:pt>
                <c:pt idx="125">
                  <c:v>0.24409455190522419</c:v>
                </c:pt>
                <c:pt idx="126">
                  <c:v>0.23911499219218604</c:v>
                </c:pt>
                <c:pt idx="127">
                  <c:v>0.23680372040317541</c:v>
                </c:pt>
                <c:pt idx="128">
                  <c:v>0.23559458277450601</c:v>
                </c:pt>
                <c:pt idx="129">
                  <c:v>0.22983266754474371</c:v>
                </c:pt>
                <c:pt idx="130">
                  <c:v>0.2184717648535556</c:v>
                </c:pt>
                <c:pt idx="131">
                  <c:v>0.21175007834453999</c:v>
                </c:pt>
                <c:pt idx="132">
                  <c:v>0.20451307185604972</c:v>
                </c:pt>
                <c:pt idx="133">
                  <c:v>0.19680804214327494</c:v>
                </c:pt>
                <c:pt idx="134">
                  <c:v>0.19103973604198846</c:v>
                </c:pt>
                <c:pt idx="135">
                  <c:v>0.18425557395683145</c:v>
                </c:pt>
                <c:pt idx="136">
                  <c:v>0.16988663823076808</c:v>
                </c:pt>
                <c:pt idx="137">
                  <c:v>0.17418044645497849</c:v>
                </c:pt>
                <c:pt idx="138">
                  <c:v>0.16950877525961702</c:v>
                </c:pt>
                <c:pt idx="139">
                  <c:v>0.16697862347922748</c:v>
                </c:pt>
                <c:pt idx="140">
                  <c:v>0.17291502529734598</c:v>
                </c:pt>
                <c:pt idx="141">
                  <c:v>0.1749154385097311</c:v>
                </c:pt>
                <c:pt idx="142">
                  <c:v>0.16882358630889061</c:v>
                </c:pt>
                <c:pt idx="143">
                  <c:v>0.16468851684783153</c:v>
                </c:pt>
                <c:pt idx="144">
                  <c:v>0.15766601620803325</c:v>
                </c:pt>
                <c:pt idx="145">
                  <c:v>0.15124389631438714</c:v>
                </c:pt>
              </c:numCache>
            </c:numRef>
          </c:val>
          <c:smooth val="0"/>
          <c:extLst>
            <c:ext xmlns:c16="http://schemas.microsoft.com/office/drawing/2014/chart" uri="{C3380CC4-5D6E-409C-BE32-E72D297353CC}">
              <c16:uniqueId val="{00000001-E51B-4776-880A-6FB4B7E70515}"/>
            </c:ext>
          </c:extLst>
        </c:ser>
        <c:dLbls>
          <c:showLegendKey val="0"/>
          <c:showVal val="0"/>
          <c:showCatName val="0"/>
          <c:showSerName val="0"/>
          <c:showPercent val="0"/>
          <c:showBubbleSize val="0"/>
        </c:dLbls>
        <c:marker val="1"/>
        <c:smooth val="0"/>
        <c:axId val="198816896"/>
        <c:axId val="198114688"/>
      </c:lineChart>
      <c:dateAx>
        <c:axId val="198087040"/>
        <c:scaling>
          <c:orientation val="minMax"/>
          <c:max val="44742"/>
          <c:min val="41090"/>
        </c:scaling>
        <c:delete val="0"/>
        <c:axPos val="b"/>
        <c:numFmt formatCode="[$-409]mmm\-yy;@" sourceLinked="0"/>
        <c:majorTickMark val="out"/>
        <c:minorTickMark val="none"/>
        <c:tickLblPos val="nextTo"/>
        <c:spPr>
          <a:ln>
            <a:solidFill>
              <a:srgbClr val="999999"/>
            </a:solidFill>
          </a:ln>
        </c:spPr>
        <c:txPr>
          <a:bodyPr rot="0" vert="horz"/>
          <a:lstStyle/>
          <a:p>
            <a:pPr>
              <a:defRPr sz="800"/>
            </a:pPr>
            <a:endParaRPr lang="en-US"/>
          </a:p>
        </c:txPr>
        <c:crossAx val="198089728"/>
        <c:crosses val="autoZero"/>
        <c:auto val="1"/>
        <c:lblOffset val="100"/>
        <c:baseTimeUnit val="months"/>
        <c:majorUnit val="1"/>
        <c:majorTimeUnit val="years"/>
      </c:dateAx>
      <c:valAx>
        <c:axId val="198089728"/>
        <c:scaling>
          <c:orientation val="minMax"/>
          <c:max val="5500"/>
          <c:min val="1000"/>
        </c:scaling>
        <c:delete val="0"/>
        <c:axPos val="l"/>
        <c:title>
          <c:tx>
            <c:rich>
              <a:bodyPr rot="-5400000" vert="horz"/>
              <a:lstStyle/>
              <a:p>
                <a:pPr>
                  <a:defRPr sz="800">
                    <a:solidFill>
                      <a:srgbClr val="7A9A3D"/>
                    </a:solidFill>
                  </a:defRPr>
                </a:pPr>
                <a:r>
                  <a:rPr lang="en-US" sz="800" dirty="0">
                    <a:solidFill>
                      <a:srgbClr val="7A9A3D"/>
                    </a:solidFill>
                  </a:rPr>
                  <a:t>Billions</a:t>
                </a:r>
              </a:p>
            </c:rich>
          </c:tx>
          <c:layout>
            <c:manualLayout>
              <c:xMode val="edge"/>
              <c:yMode val="edge"/>
              <c:x val="0"/>
              <c:y val="0.4555780916848835"/>
            </c:manualLayout>
          </c:layout>
          <c:overlay val="0"/>
        </c:title>
        <c:numFmt formatCode="&quot;$&quot;#,##0" sourceLinked="0"/>
        <c:majorTickMark val="out"/>
        <c:minorTickMark val="none"/>
        <c:tickLblPos val="nextTo"/>
        <c:spPr>
          <a:ln>
            <a:solidFill>
              <a:srgbClr val="7A9A3D"/>
            </a:solidFill>
          </a:ln>
        </c:spPr>
        <c:txPr>
          <a:bodyPr/>
          <a:lstStyle/>
          <a:p>
            <a:pPr>
              <a:defRPr sz="800">
                <a:solidFill>
                  <a:srgbClr val="7A9A3D"/>
                </a:solidFill>
              </a:defRPr>
            </a:pPr>
            <a:endParaRPr lang="en-US"/>
          </a:p>
        </c:txPr>
        <c:crossAx val="198087040"/>
        <c:crosses val="autoZero"/>
        <c:crossBetween val="midCat"/>
        <c:majorUnit val="500"/>
      </c:valAx>
      <c:valAx>
        <c:axId val="198114688"/>
        <c:scaling>
          <c:orientation val="minMax"/>
          <c:max val="0.26"/>
          <c:min val="8.0000000000000016E-2"/>
        </c:scaling>
        <c:delete val="0"/>
        <c:axPos val="r"/>
        <c:numFmt formatCode="0.0%" sourceLinked="1"/>
        <c:majorTickMark val="out"/>
        <c:minorTickMark val="none"/>
        <c:tickLblPos val="nextTo"/>
        <c:spPr>
          <a:ln>
            <a:solidFill>
              <a:srgbClr val="298FC2"/>
            </a:solidFill>
          </a:ln>
        </c:spPr>
        <c:txPr>
          <a:bodyPr/>
          <a:lstStyle/>
          <a:p>
            <a:pPr>
              <a:defRPr sz="800">
                <a:solidFill>
                  <a:srgbClr val="298FC2"/>
                </a:solidFill>
              </a:defRPr>
            </a:pPr>
            <a:endParaRPr lang="en-US"/>
          </a:p>
        </c:txPr>
        <c:crossAx val="198816896"/>
        <c:crosses val="max"/>
        <c:crossBetween val="between"/>
        <c:majorUnit val="2.0000000000000004E-2"/>
      </c:valAx>
      <c:dateAx>
        <c:axId val="198816896"/>
        <c:scaling>
          <c:orientation val="minMax"/>
        </c:scaling>
        <c:delete val="1"/>
        <c:axPos val="b"/>
        <c:numFmt formatCode="m/d/yyyy" sourceLinked="1"/>
        <c:majorTickMark val="out"/>
        <c:minorTickMark val="none"/>
        <c:tickLblPos val="nextTo"/>
        <c:crossAx val="198114688"/>
        <c:crosses val="autoZero"/>
        <c:auto val="1"/>
        <c:lblOffset val="100"/>
        <c:baseTimeUnit val="months"/>
      </c:dateAx>
    </c:plotArea>
    <c:legend>
      <c:legendPos val="t"/>
      <c:overlay val="0"/>
      <c:txPr>
        <a:bodyPr/>
        <a:lstStyle/>
        <a:p>
          <a:pPr>
            <a:defRPr sz="800"/>
          </a:pPr>
          <a:endParaRPr lang="en-US"/>
        </a:p>
      </c:txPr>
    </c:legend>
    <c:plotVisOnly val="1"/>
    <c:dispBlanksAs val="gap"/>
    <c:showDLblsOverMax val="0"/>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5558617672790905E-2"/>
          <c:y val="0.11836368589891176"/>
          <c:w val="0.85471391076115488"/>
          <c:h val="0.77947547554019858"/>
        </c:manualLayout>
      </c:layout>
      <c:lineChart>
        <c:grouping val="standard"/>
        <c:varyColors val="0"/>
        <c:ser>
          <c:idx val="0"/>
          <c:order val="0"/>
          <c:tx>
            <c:strRef>
              <c:f>Sheet1!$M$6</c:f>
              <c:strCache>
                <c:ptCount val="1"/>
                <c:pt idx="0">
                  <c:v>AA Non Financial CP</c:v>
                </c:pt>
              </c:strCache>
            </c:strRef>
          </c:tx>
          <c:spPr>
            <a:ln>
              <a:solidFill>
                <a:srgbClr val="7A9A3D"/>
              </a:solidFill>
            </a:ln>
          </c:spPr>
          <c:marker>
            <c:symbol val="none"/>
          </c:marker>
          <c:cat>
            <c:numRef>
              <c:f>Sheet1!$L$7:$L$193</c:f>
              <c:numCache>
                <c:formatCode>m/d/yyyy</c:formatCode>
                <c:ptCount val="187"/>
                <c:pt idx="0">
                  <c:v>39080</c:v>
                </c:pt>
                <c:pt idx="1">
                  <c:v>39113</c:v>
                </c:pt>
                <c:pt idx="2">
                  <c:v>39141</c:v>
                </c:pt>
                <c:pt idx="3">
                  <c:v>39171</c:v>
                </c:pt>
                <c:pt idx="4">
                  <c:v>39202</c:v>
                </c:pt>
                <c:pt idx="5">
                  <c:v>39233</c:v>
                </c:pt>
                <c:pt idx="6">
                  <c:v>39262</c:v>
                </c:pt>
                <c:pt idx="7">
                  <c:v>39294</c:v>
                </c:pt>
                <c:pt idx="8">
                  <c:v>39325</c:v>
                </c:pt>
                <c:pt idx="9">
                  <c:v>39353</c:v>
                </c:pt>
                <c:pt idx="10">
                  <c:v>39386</c:v>
                </c:pt>
                <c:pt idx="11">
                  <c:v>39416</c:v>
                </c:pt>
                <c:pt idx="12">
                  <c:v>39447</c:v>
                </c:pt>
                <c:pt idx="13">
                  <c:v>39478</c:v>
                </c:pt>
                <c:pt idx="14">
                  <c:v>39507</c:v>
                </c:pt>
                <c:pt idx="15">
                  <c:v>39538</c:v>
                </c:pt>
                <c:pt idx="16">
                  <c:v>39568</c:v>
                </c:pt>
                <c:pt idx="17">
                  <c:v>39598</c:v>
                </c:pt>
                <c:pt idx="18">
                  <c:v>39629</c:v>
                </c:pt>
                <c:pt idx="19">
                  <c:v>39660</c:v>
                </c:pt>
                <c:pt idx="20">
                  <c:v>39689</c:v>
                </c:pt>
                <c:pt idx="21">
                  <c:v>39721</c:v>
                </c:pt>
                <c:pt idx="22">
                  <c:v>39752</c:v>
                </c:pt>
                <c:pt idx="23">
                  <c:v>39780</c:v>
                </c:pt>
                <c:pt idx="24">
                  <c:v>39813</c:v>
                </c:pt>
                <c:pt idx="25">
                  <c:v>39843</c:v>
                </c:pt>
                <c:pt idx="26">
                  <c:v>39871</c:v>
                </c:pt>
                <c:pt idx="27">
                  <c:v>39903</c:v>
                </c:pt>
                <c:pt idx="28">
                  <c:v>39933</c:v>
                </c:pt>
                <c:pt idx="29">
                  <c:v>39962</c:v>
                </c:pt>
                <c:pt idx="30">
                  <c:v>39994</c:v>
                </c:pt>
                <c:pt idx="31">
                  <c:v>40025</c:v>
                </c:pt>
                <c:pt idx="32">
                  <c:v>40056</c:v>
                </c:pt>
                <c:pt idx="33">
                  <c:v>40086</c:v>
                </c:pt>
                <c:pt idx="34">
                  <c:v>40116</c:v>
                </c:pt>
                <c:pt idx="35">
                  <c:v>40147</c:v>
                </c:pt>
                <c:pt idx="36">
                  <c:v>40178</c:v>
                </c:pt>
                <c:pt idx="37">
                  <c:v>40207</c:v>
                </c:pt>
                <c:pt idx="38">
                  <c:v>40235</c:v>
                </c:pt>
                <c:pt idx="39">
                  <c:v>40268</c:v>
                </c:pt>
                <c:pt idx="40">
                  <c:v>40298</c:v>
                </c:pt>
                <c:pt idx="41">
                  <c:v>40329</c:v>
                </c:pt>
                <c:pt idx="42">
                  <c:v>40359</c:v>
                </c:pt>
                <c:pt idx="43">
                  <c:v>40389</c:v>
                </c:pt>
                <c:pt idx="44">
                  <c:v>40421</c:v>
                </c:pt>
                <c:pt idx="45">
                  <c:v>40451</c:v>
                </c:pt>
                <c:pt idx="46">
                  <c:v>40480</c:v>
                </c:pt>
                <c:pt idx="47">
                  <c:v>40512</c:v>
                </c:pt>
                <c:pt idx="48">
                  <c:v>40543</c:v>
                </c:pt>
                <c:pt idx="49">
                  <c:v>40574</c:v>
                </c:pt>
                <c:pt idx="50">
                  <c:v>40602</c:v>
                </c:pt>
                <c:pt idx="51">
                  <c:v>40633</c:v>
                </c:pt>
                <c:pt idx="52">
                  <c:v>40662</c:v>
                </c:pt>
                <c:pt idx="53">
                  <c:v>40694</c:v>
                </c:pt>
                <c:pt idx="54">
                  <c:v>40724</c:v>
                </c:pt>
                <c:pt idx="55">
                  <c:v>40753</c:v>
                </c:pt>
                <c:pt idx="56">
                  <c:v>40786</c:v>
                </c:pt>
                <c:pt idx="57">
                  <c:v>40816</c:v>
                </c:pt>
                <c:pt idx="58">
                  <c:v>40847</c:v>
                </c:pt>
                <c:pt idx="59">
                  <c:v>40877</c:v>
                </c:pt>
                <c:pt idx="60">
                  <c:v>40907</c:v>
                </c:pt>
                <c:pt idx="61">
                  <c:v>40939</c:v>
                </c:pt>
                <c:pt idx="62">
                  <c:v>40968</c:v>
                </c:pt>
                <c:pt idx="63">
                  <c:v>40998</c:v>
                </c:pt>
                <c:pt idx="64">
                  <c:v>41029</c:v>
                </c:pt>
                <c:pt idx="65">
                  <c:v>41060</c:v>
                </c:pt>
                <c:pt idx="66">
                  <c:v>41089</c:v>
                </c:pt>
                <c:pt idx="67">
                  <c:v>41121</c:v>
                </c:pt>
                <c:pt idx="68">
                  <c:v>41152</c:v>
                </c:pt>
                <c:pt idx="69">
                  <c:v>41180</c:v>
                </c:pt>
                <c:pt idx="70">
                  <c:v>41213</c:v>
                </c:pt>
                <c:pt idx="71">
                  <c:v>41243</c:v>
                </c:pt>
                <c:pt idx="72">
                  <c:v>41274</c:v>
                </c:pt>
                <c:pt idx="73">
                  <c:v>41305</c:v>
                </c:pt>
                <c:pt idx="74">
                  <c:v>41333</c:v>
                </c:pt>
                <c:pt idx="75">
                  <c:v>41362</c:v>
                </c:pt>
                <c:pt idx="76">
                  <c:v>41394</c:v>
                </c:pt>
                <c:pt idx="77">
                  <c:v>41425</c:v>
                </c:pt>
                <c:pt idx="78">
                  <c:v>41453</c:v>
                </c:pt>
                <c:pt idx="79">
                  <c:v>41486</c:v>
                </c:pt>
                <c:pt idx="80">
                  <c:v>41516</c:v>
                </c:pt>
                <c:pt idx="81">
                  <c:v>41547</c:v>
                </c:pt>
                <c:pt idx="82">
                  <c:v>41578</c:v>
                </c:pt>
                <c:pt idx="83">
                  <c:v>41607</c:v>
                </c:pt>
                <c:pt idx="84">
                  <c:v>41639</c:v>
                </c:pt>
                <c:pt idx="85">
                  <c:v>41670</c:v>
                </c:pt>
                <c:pt idx="86">
                  <c:v>41698</c:v>
                </c:pt>
                <c:pt idx="87">
                  <c:v>41729</c:v>
                </c:pt>
                <c:pt idx="88">
                  <c:v>41759</c:v>
                </c:pt>
                <c:pt idx="89">
                  <c:v>41789</c:v>
                </c:pt>
                <c:pt idx="90">
                  <c:v>41820</c:v>
                </c:pt>
                <c:pt idx="91">
                  <c:v>41851</c:v>
                </c:pt>
                <c:pt idx="92">
                  <c:v>41880</c:v>
                </c:pt>
                <c:pt idx="93">
                  <c:v>41912</c:v>
                </c:pt>
                <c:pt idx="94">
                  <c:v>41943</c:v>
                </c:pt>
                <c:pt idx="95">
                  <c:v>41971</c:v>
                </c:pt>
                <c:pt idx="96">
                  <c:v>42004</c:v>
                </c:pt>
                <c:pt idx="97">
                  <c:v>42034</c:v>
                </c:pt>
                <c:pt idx="98">
                  <c:v>42062</c:v>
                </c:pt>
                <c:pt idx="99">
                  <c:v>42094</c:v>
                </c:pt>
                <c:pt idx="100">
                  <c:v>42124</c:v>
                </c:pt>
                <c:pt idx="101">
                  <c:v>42153</c:v>
                </c:pt>
                <c:pt idx="102">
                  <c:v>42185</c:v>
                </c:pt>
                <c:pt idx="103">
                  <c:v>42216</c:v>
                </c:pt>
                <c:pt idx="104">
                  <c:v>42247</c:v>
                </c:pt>
                <c:pt idx="105">
                  <c:v>42277</c:v>
                </c:pt>
                <c:pt idx="106">
                  <c:v>42307</c:v>
                </c:pt>
                <c:pt idx="107">
                  <c:v>42338</c:v>
                </c:pt>
                <c:pt idx="108">
                  <c:v>42369</c:v>
                </c:pt>
                <c:pt idx="109">
                  <c:v>42398</c:v>
                </c:pt>
                <c:pt idx="110">
                  <c:v>42429</c:v>
                </c:pt>
                <c:pt idx="111">
                  <c:v>42460</c:v>
                </c:pt>
                <c:pt idx="112">
                  <c:v>42489</c:v>
                </c:pt>
                <c:pt idx="113">
                  <c:v>42521</c:v>
                </c:pt>
                <c:pt idx="114">
                  <c:v>42551</c:v>
                </c:pt>
                <c:pt idx="115">
                  <c:v>42580</c:v>
                </c:pt>
                <c:pt idx="116">
                  <c:v>42613</c:v>
                </c:pt>
                <c:pt idx="117">
                  <c:v>42643</c:v>
                </c:pt>
                <c:pt idx="118">
                  <c:v>42674</c:v>
                </c:pt>
                <c:pt idx="119">
                  <c:v>42704</c:v>
                </c:pt>
                <c:pt idx="120">
                  <c:v>42734</c:v>
                </c:pt>
                <c:pt idx="121">
                  <c:v>42766</c:v>
                </c:pt>
                <c:pt idx="122">
                  <c:v>42794</c:v>
                </c:pt>
                <c:pt idx="123">
                  <c:v>42825</c:v>
                </c:pt>
                <c:pt idx="124">
                  <c:v>42853</c:v>
                </c:pt>
                <c:pt idx="125">
                  <c:v>42886</c:v>
                </c:pt>
                <c:pt idx="126">
                  <c:v>42916</c:v>
                </c:pt>
                <c:pt idx="127">
                  <c:v>42947</c:v>
                </c:pt>
                <c:pt idx="128">
                  <c:v>42978</c:v>
                </c:pt>
                <c:pt idx="129">
                  <c:v>43007</c:v>
                </c:pt>
                <c:pt idx="130">
                  <c:v>43039</c:v>
                </c:pt>
                <c:pt idx="131">
                  <c:v>43069</c:v>
                </c:pt>
                <c:pt idx="132">
                  <c:v>43098</c:v>
                </c:pt>
                <c:pt idx="133">
                  <c:v>43131</c:v>
                </c:pt>
                <c:pt idx="134">
                  <c:v>43159</c:v>
                </c:pt>
                <c:pt idx="135">
                  <c:v>43189</c:v>
                </c:pt>
                <c:pt idx="136">
                  <c:v>43220</c:v>
                </c:pt>
                <c:pt idx="137">
                  <c:v>43251</c:v>
                </c:pt>
                <c:pt idx="138">
                  <c:v>43280</c:v>
                </c:pt>
                <c:pt idx="139">
                  <c:v>43312</c:v>
                </c:pt>
                <c:pt idx="140">
                  <c:v>43343</c:v>
                </c:pt>
                <c:pt idx="141">
                  <c:v>43371</c:v>
                </c:pt>
                <c:pt idx="142">
                  <c:v>43404</c:v>
                </c:pt>
                <c:pt idx="143">
                  <c:v>43434</c:v>
                </c:pt>
                <c:pt idx="144">
                  <c:v>43465</c:v>
                </c:pt>
                <c:pt idx="145">
                  <c:v>43496</c:v>
                </c:pt>
                <c:pt idx="146">
                  <c:v>43524</c:v>
                </c:pt>
                <c:pt idx="147">
                  <c:v>43553</c:v>
                </c:pt>
                <c:pt idx="148">
                  <c:v>43585</c:v>
                </c:pt>
                <c:pt idx="149">
                  <c:v>43616</c:v>
                </c:pt>
                <c:pt idx="150">
                  <c:v>43644</c:v>
                </c:pt>
                <c:pt idx="151">
                  <c:v>43677</c:v>
                </c:pt>
                <c:pt idx="152">
                  <c:v>43707</c:v>
                </c:pt>
                <c:pt idx="153">
                  <c:v>43738</c:v>
                </c:pt>
                <c:pt idx="154">
                  <c:v>43769</c:v>
                </c:pt>
                <c:pt idx="155">
                  <c:v>43798</c:v>
                </c:pt>
                <c:pt idx="156">
                  <c:v>43830</c:v>
                </c:pt>
                <c:pt idx="157">
                  <c:v>43861</c:v>
                </c:pt>
                <c:pt idx="158">
                  <c:v>43889</c:v>
                </c:pt>
                <c:pt idx="159">
                  <c:v>43921</c:v>
                </c:pt>
                <c:pt idx="160">
                  <c:v>43951</c:v>
                </c:pt>
                <c:pt idx="161">
                  <c:v>43980</c:v>
                </c:pt>
                <c:pt idx="162">
                  <c:v>44012</c:v>
                </c:pt>
                <c:pt idx="163">
                  <c:v>44043</c:v>
                </c:pt>
                <c:pt idx="164">
                  <c:v>44074</c:v>
                </c:pt>
                <c:pt idx="165">
                  <c:v>44104</c:v>
                </c:pt>
                <c:pt idx="166">
                  <c:v>44134</c:v>
                </c:pt>
                <c:pt idx="167">
                  <c:v>44165</c:v>
                </c:pt>
                <c:pt idx="168">
                  <c:v>44196</c:v>
                </c:pt>
                <c:pt idx="169">
                  <c:v>44225</c:v>
                </c:pt>
                <c:pt idx="170">
                  <c:v>44253</c:v>
                </c:pt>
                <c:pt idx="171">
                  <c:v>44286</c:v>
                </c:pt>
                <c:pt idx="172">
                  <c:v>44316</c:v>
                </c:pt>
                <c:pt idx="173">
                  <c:v>44347</c:v>
                </c:pt>
                <c:pt idx="174">
                  <c:v>44377</c:v>
                </c:pt>
                <c:pt idx="175">
                  <c:v>44407</c:v>
                </c:pt>
                <c:pt idx="176">
                  <c:v>44439</c:v>
                </c:pt>
                <c:pt idx="177">
                  <c:v>44469</c:v>
                </c:pt>
                <c:pt idx="178">
                  <c:v>44498</c:v>
                </c:pt>
                <c:pt idx="179">
                  <c:v>44530</c:v>
                </c:pt>
                <c:pt idx="180">
                  <c:v>44561</c:v>
                </c:pt>
                <c:pt idx="181">
                  <c:v>44592</c:v>
                </c:pt>
                <c:pt idx="182">
                  <c:v>44620</c:v>
                </c:pt>
                <c:pt idx="183">
                  <c:v>44651</c:v>
                </c:pt>
                <c:pt idx="184">
                  <c:v>44680</c:v>
                </c:pt>
                <c:pt idx="185">
                  <c:v>44712</c:v>
                </c:pt>
                <c:pt idx="186">
                  <c:v>44742</c:v>
                </c:pt>
              </c:numCache>
            </c:numRef>
          </c:cat>
          <c:val>
            <c:numRef>
              <c:f>Sheet1!$M$7:$M$193</c:f>
              <c:numCache>
                <c:formatCode>General</c:formatCode>
                <c:ptCount val="187"/>
                <c:pt idx="0">
                  <c:v>5.17</c:v>
                </c:pt>
                <c:pt idx="1">
                  <c:v>5.18</c:v>
                </c:pt>
                <c:pt idx="2">
                  <c:v>5.19</c:v>
                </c:pt>
                <c:pt idx="3">
                  <c:v>5.2</c:v>
                </c:pt>
                <c:pt idx="4">
                  <c:v>5.22</c:v>
                </c:pt>
                <c:pt idx="5">
                  <c:v>5.2</c:v>
                </c:pt>
                <c:pt idx="6">
                  <c:v>5.24</c:v>
                </c:pt>
                <c:pt idx="7">
                  <c:v>5.24</c:v>
                </c:pt>
                <c:pt idx="8">
                  <c:v>5.23</c:v>
                </c:pt>
                <c:pt idx="9">
                  <c:v>4.72</c:v>
                </c:pt>
                <c:pt idx="10">
                  <c:v>4.46</c:v>
                </c:pt>
                <c:pt idx="11">
                  <c:v>4.46</c:v>
                </c:pt>
                <c:pt idx="12">
                  <c:v>4.01</c:v>
                </c:pt>
                <c:pt idx="13">
                  <c:v>2.75</c:v>
                </c:pt>
                <c:pt idx="14">
                  <c:v>2.5</c:v>
                </c:pt>
                <c:pt idx="15">
                  <c:v>2.08</c:v>
                </c:pt>
                <c:pt idx="16">
                  <c:v>1.9100000000000001</c:v>
                </c:pt>
                <c:pt idx="17">
                  <c:v>2.0299999999999998</c:v>
                </c:pt>
                <c:pt idx="18">
                  <c:v>2.13</c:v>
                </c:pt>
                <c:pt idx="19">
                  <c:v>1.97</c:v>
                </c:pt>
                <c:pt idx="20">
                  <c:v>2.06</c:v>
                </c:pt>
                <c:pt idx="21">
                  <c:v>2.09</c:v>
                </c:pt>
                <c:pt idx="22">
                  <c:v>1.95</c:v>
                </c:pt>
                <c:pt idx="23">
                  <c:v>1.22</c:v>
                </c:pt>
                <c:pt idx="24">
                  <c:v>0.25</c:v>
                </c:pt>
                <c:pt idx="25">
                  <c:v>0.36</c:v>
                </c:pt>
                <c:pt idx="26">
                  <c:v>0.51</c:v>
                </c:pt>
                <c:pt idx="27">
                  <c:v>0.45</c:v>
                </c:pt>
                <c:pt idx="28">
                  <c:v>0.22</c:v>
                </c:pt>
                <c:pt idx="29">
                  <c:v>0.35</c:v>
                </c:pt>
                <c:pt idx="30">
                  <c:v>0.24</c:v>
                </c:pt>
                <c:pt idx="31">
                  <c:v>0.26</c:v>
                </c:pt>
                <c:pt idx="32">
                  <c:v>0.19</c:v>
                </c:pt>
                <c:pt idx="33">
                  <c:v>0.23</c:v>
                </c:pt>
                <c:pt idx="34">
                  <c:v>0.14000000000000001</c:v>
                </c:pt>
                <c:pt idx="35">
                  <c:v>0.14000000000000001</c:v>
                </c:pt>
                <c:pt idx="36">
                  <c:v>0.18</c:v>
                </c:pt>
                <c:pt idx="37">
                  <c:v>7.0000000000000007E-2</c:v>
                </c:pt>
                <c:pt idx="38">
                  <c:v>0.18</c:v>
                </c:pt>
                <c:pt idx="39">
                  <c:v>0.2</c:v>
                </c:pt>
                <c:pt idx="40">
                  <c:v>0.24</c:v>
                </c:pt>
                <c:pt idx="41">
                  <c:v>0.3</c:v>
                </c:pt>
                <c:pt idx="42">
                  <c:v>0.33</c:v>
                </c:pt>
                <c:pt idx="43">
                  <c:v>0.25</c:v>
                </c:pt>
                <c:pt idx="44">
                  <c:v>0.27</c:v>
                </c:pt>
                <c:pt idx="45">
                  <c:v>0.23</c:v>
                </c:pt>
                <c:pt idx="46">
                  <c:v>0.25</c:v>
                </c:pt>
                <c:pt idx="47">
                  <c:v>0.21</c:v>
                </c:pt>
                <c:pt idx="48">
                  <c:v>0.21</c:v>
                </c:pt>
                <c:pt idx="49">
                  <c:v>0.24</c:v>
                </c:pt>
                <c:pt idx="50">
                  <c:v>0.23</c:v>
                </c:pt>
                <c:pt idx="51">
                  <c:v>0.2</c:v>
                </c:pt>
                <c:pt idx="52">
                  <c:v>0.23</c:v>
                </c:pt>
                <c:pt idx="53">
                  <c:v>0.16</c:v>
                </c:pt>
                <c:pt idx="54">
                  <c:v>0.13</c:v>
                </c:pt>
                <c:pt idx="55">
                  <c:v>0.17</c:v>
                </c:pt>
                <c:pt idx="56">
                  <c:v>0.09</c:v>
                </c:pt>
                <c:pt idx="57">
                  <c:v>0.14000000000000001</c:v>
                </c:pt>
                <c:pt idx="58">
                  <c:v>0.1</c:v>
                </c:pt>
                <c:pt idx="59">
                  <c:v>0.16</c:v>
                </c:pt>
                <c:pt idx="60">
                  <c:v>0.15</c:v>
                </c:pt>
                <c:pt idx="61">
                  <c:v>0.13</c:v>
                </c:pt>
                <c:pt idx="62">
                  <c:v>0.21</c:v>
                </c:pt>
                <c:pt idx="63">
                  <c:v>0.17</c:v>
                </c:pt>
                <c:pt idx="64">
                  <c:v>0.19</c:v>
                </c:pt>
                <c:pt idx="65">
                  <c:v>0.2</c:v>
                </c:pt>
                <c:pt idx="66">
                  <c:v>0.28000000000000003</c:v>
                </c:pt>
                <c:pt idx="67">
                  <c:v>0.2</c:v>
                </c:pt>
                <c:pt idx="68">
                  <c:v>0.19</c:v>
                </c:pt>
                <c:pt idx="69">
                  <c:v>0.18</c:v>
                </c:pt>
                <c:pt idx="70">
                  <c:v>0.21</c:v>
                </c:pt>
                <c:pt idx="71">
                  <c:v>0.21</c:v>
                </c:pt>
                <c:pt idx="72">
                  <c:v>0.19</c:v>
                </c:pt>
                <c:pt idx="73">
                  <c:v>0.16</c:v>
                </c:pt>
                <c:pt idx="74">
                  <c:v>0.18</c:v>
                </c:pt>
                <c:pt idx="75">
                  <c:v>0.11</c:v>
                </c:pt>
                <c:pt idx="76">
                  <c:v>0.12</c:v>
                </c:pt>
                <c:pt idx="77">
                  <c:v>0.1</c:v>
                </c:pt>
                <c:pt idx="78">
                  <c:v>0.12</c:v>
                </c:pt>
                <c:pt idx="79">
                  <c:v>0.08</c:v>
                </c:pt>
                <c:pt idx="80">
                  <c:v>0.08</c:v>
                </c:pt>
                <c:pt idx="81">
                  <c:v>0.1</c:v>
                </c:pt>
                <c:pt idx="82">
                  <c:v>0.09</c:v>
                </c:pt>
                <c:pt idx="83">
                  <c:v>0.1</c:v>
                </c:pt>
                <c:pt idx="84">
                  <c:v>0.09</c:v>
                </c:pt>
                <c:pt idx="85">
                  <c:v>0.08</c:v>
                </c:pt>
                <c:pt idx="86">
                  <c:v>0.09</c:v>
                </c:pt>
                <c:pt idx="87">
                  <c:v>0.1</c:v>
                </c:pt>
                <c:pt idx="88">
                  <c:v>0.1</c:v>
                </c:pt>
                <c:pt idx="89">
                  <c:v>0.1</c:v>
                </c:pt>
                <c:pt idx="90">
                  <c:v>0.1</c:v>
                </c:pt>
                <c:pt idx="91">
                  <c:v>0.09</c:v>
                </c:pt>
                <c:pt idx="92">
                  <c:v>0.11</c:v>
                </c:pt>
                <c:pt idx="93">
                  <c:v>0.05</c:v>
                </c:pt>
                <c:pt idx="94">
                  <c:v>7.0000000000000007E-2</c:v>
                </c:pt>
                <c:pt idx="95">
                  <c:v>0.1</c:v>
                </c:pt>
                <c:pt idx="96">
                  <c:v>0.17</c:v>
                </c:pt>
                <c:pt idx="97">
                  <c:v>0.13</c:v>
                </c:pt>
                <c:pt idx="98">
                  <c:v>0.12</c:v>
                </c:pt>
                <c:pt idx="99">
                  <c:v>0.1</c:v>
                </c:pt>
                <c:pt idx="100">
                  <c:v>0.1</c:v>
                </c:pt>
                <c:pt idx="101">
                  <c:v>0.1</c:v>
                </c:pt>
                <c:pt idx="102">
                  <c:v>0.18</c:v>
                </c:pt>
                <c:pt idx="103">
                  <c:v>0.11</c:v>
                </c:pt>
                <c:pt idx="104">
                  <c:v>0.26</c:v>
                </c:pt>
                <c:pt idx="105">
                  <c:v>0.2</c:v>
                </c:pt>
                <c:pt idx="106">
                  <c:v>0.19</c:v>
                </c:pt>
                <c:pt idx="107">
                  <c:v>0.23</c:v>
                </c:pt>
                <c:pt idx="108">
                  <c:v>0.42</c:v>
                </c:pt>
                <c:pt idx="109">
                  <c:v>0.46</c:v>
                </c:pt>
                <c:pt idx="110">
                  <c:v>0.48</c:v>
                </c:pt>
                <c:pt idx="111">
                  <c:v>0.46</c:v>
                </c:pt>
                <c:pt idx="112">
                  <c:v>0.44</c:v>
                </c:pt>
                <c:pt idx="113">
                  <c:v>0.46</c:v>
                </c:pt>
                <c:pt idx="114">
                  <c:v>0.45</c:v>
                </c:pt>
                <c:pt idx="115">
                  <c:v>0.44</c:v>
                </c:pt>
                <c:pt idx="116">
                  <c:v>0.47</c:v>
                </c:pt>
                <c:pt idx="117">
                  <c:v>0.52</c:v>
                </c:pt>
                <c:pt idx="118">
                  <c:v>0.55000000000000004</c:v>
                </c:pt>
                <c:pt idx="119">
                  <c:v>0.72</c:v>
                </c:pt>
                <c:pt idx="120">
                  <c:v>0.79</c:v>
                </c:pt>
                <c:pt idx="121">
                  <c:v>0.79</c:v>
                </c:pt>
                <c:pt idx="122">
                  <c:v>0.77</c:v>
                </c:pt>
                <c:pt idx="123">
                  <c:v>0.96</c:v>
                </c:pt>
                <c:pt idx="124">
                  <c:v>0.91</c:v>
                </c:pt>
                <c:pt idx="125">
                  <c:v>0.97</c:v>
                </c:pt>
                <c:pt idx="126">
                  <c:v>1.17</c:v>
                </c:pt>
                <c:pt idx="127">
                  <c:v>1.17</c:v>
                </c:pt>
                <c:pt idx="128">
                  <c:v>1.18</c:v>
                </c:pt>
                <c:pt idx="129">
                  <c:v>1.19</c:v>
                </c:pt>
                <c:pt idx="130">
                  <c:v>1.23</c:v>
                </c:pt>
                <c:pt idx="131">
                  <c:v>1.32</c:v>
                </c:pt>
                <c:pt idx="132">
                  <c:v>1.55</c:v>
                </c:pt>
                <c:pt idx="133">
                  <c:v>1.63</c:v>
                </c:pt>
                <c:pt idx="134">
                  <c:v>1.76</c:v>
                </c:pt>
                <c:pt idx="135">
                  <c:v>2.02</c:v>
                </c:pt>
                <c:pt idx="136">
                  <c:v>1.99</c:v>
                </c:pt>
                <c:pt idx="137">
                  <c:v>2.0299999999999998</c:v>
                </c:pt>
                <c:pt idx="138">
                  <c:v>2.1</c:v>
                </c:pt>
                <c:pt idx="139">
                  <c:v>2.11</c:v>
                </c:pt>
                <c:pt idx="140">
                  <c:v>2.15</c:v>
                </c:pt>
                <c:pt idx="141">
                  <c:v>2.23</c:v>
                </c:pt>
                <c:pt idx="142">
                  <c:v>2.34</c:v>
                </c:pt>
                <c:pt idx="143">
                  <c:v>2.46</c:v>
                </c:pt>
                <c:pt idx="144">
                  <c:v>2.5499999999999998</c:v>
                </c:pt>
                <c:pt idx="145">
                  <c:v>2.52</c:v>
                </c:pt>
                <c:pt idx="146">
                  <c:v>2.5</c:v>
                </c:pt>
                <c:pt idx="147">
                  <c:v>2.4699999999999998</c:v>
                </c:pt>
                <c:pt idx="148">
                  <c:v>2.4300000000000002</c:v>
                </c:pt>
                <c:pt idx="149">
                  <c:v>2.41</c:v>
                </c:pt>
                <c:pt idx="150">
                  <c:v>2.2599999999999998</c:v>
                </c:pt>
                <c:pt idx="151">
                  <c:v>2.1800000000000002</c:v>
                </c:pt>
                <c:pt idx="152">
                  <c:v>2</c:v>
                </c:pt>
                <c:pt idx="153">
                  <c:v>1.9</c:v>
                </c:pt>
                <c:pt idx="154">
                  <c:v>1.67</c:v>
                </c:pt>
                <c:pt idx="155">
                  <c:v>1.68</c:v>
                </c:pt>
                <c:pt idx="156">
                  <c:v>1.6800000000000002</c:v>
                </c:pt>
                <c:pt idx="157">
                  <c:v>1.59</c:v>
                </c:pt>
                <c:pt idx="158">
                  <c:v>1.47</c:v>
                </c:pt>
                <c:pt idx="159">
                  <c:v>1.51</c:v>
                </c:pt>
                <c:pt idx="160">
                  <c:v>0.78</c:v>
                </c:pt>
                <c:pt idx="161">
                  <c:v>0.22</c:v>
                </c:pt>
                <c:pt idx="162">
                  <c:v>0.17</c:v>
                </c:pt>
                <c:pt idx="163">
                  <c:v>0.12</c:v>
                </c:pt>
                <c:pt idx="164">
                  <c:v>0.12</c:v>
                </c:pt>
                <c:pt idx="165">
                  <c:v>0.11</c:v>
                </c:pt>
                <c:pt idx="166">
                  <c:v>0.11</c:v>
                </c:pt>
                <c:pt idx="167">
                  <c:v>0.13</c:v>
                </c:pt>
                <c:pt idx="168">
                  <c:v>0.13</c:v>
                </c:pt>
                <c:pt idx="169">
                  <c:v>0.09</c:v>
                </c:pt>
                <c:pt idx="170">
                  <c:v>0.08</c:v>
                </c:pt>
                <c:pt idx="171">
                  <c:v>0.06</c:v>
                </c:pt>
                <c:pt idx="172">
                  <c:v>0.05</c:v>
                </c:pt>
                <c:pt idx="173">
                  <c:v>0.04</c:v>
                </c:pt>
                <c:pt idx="174">
                  <c:v>0.05</c:v>
                </c:pt>
                <c:pt idx="175">
                  <c:v>0.06</c:v>
                </c:pt>
                <c:pt idx="176">
                  <c:v>0.06</c:v>
                </c:pt>
                <c:pt idx="177">
                  <c:v>0.05</c:v>
                </c:pt>
                <c:pt idx="178">
                  <c:v>7.0000000000000007E-2</c:v>
                </c:pt>
                <c:pt idx="179">
                  <c:v>0.09</c:v>
                </c:pt>
                <c:pt idx="180">
                  <c:v>0.14000000000000001</c:v>
                </c:pt>
                <c:pt idx="181">
                  <c:v>0.15</c:v>
                </c:pt>
                <c:pt idx="182">
                  <c:v>0.28000000000000003</c:v>
                </c:pt>
                <c:pt idx="183">
                  <c:v>0.63</c:v>
                </c:pt>
                <c:pt idx="184">
                  <c:v>0.99</c:v>
                </c:pt>
                <c:pt idx="185">
                  <c:v>1.2</c:v>
                </c:pt>
                <c:pt idx="186">
                  <c:v>1.07</c:v>
                </c:pt>
              </c:numCache>
            </c:numRef>
          </c:val>
          <c:smooth val="0"/>
          <c:extLst>
            <c:ext xmlns:c16="http://schemas.microsoft.com/office/drawing/2014/chart" uri="{C3380CC4-5D6E-409C-BE32-E72D297353CC}">
              <c16:uniqueId val="{00000000-4965-4C07-BF5B-F40C77F82A16}"/>
            </c:ext>
          </c:extLst>
        </c:ser>
        <c:ser>
          <c:idx val="1"/>
          <c:order val="1"/>
          <c:tx>
            <c:strRef>
              <c:f>Sheet1!$N$6</c:f>
              <c:strCache>
                <c:ptCount val="1"/>
                <c:pt idx="0">
                  <c:v>A2/P2 Non Financial CP</c:v>
                </c:pt>
              </c:strCache>
            </c:strRef>
          </c:tx>
          <c:spPr>
            <a:ln>
              <a:solidFill>
                <a:srgbClr val="298FC2"/>
              </a:solidFill>
            </a:ln>
          </c:spPr>
          <c:marker>
            <c:symbol val="none"/>
          </c:marker>
          <c:cat>
            <c:numRef>
              <c:f>Sheet1!$L$7:$L$193</c:f>
              <c:numCache>
                <c:formatCode>m/d/yyyy</c:formatCode>
                <c:ptCount val="187"/>
                <c:pt idx="0">
                  <c:v>39080</c:v>
                </c:pt>
                <c:pt idx="1">
                  <c:v>39113</c:v>
                </c:pt>
                <c:pt idx="2">
                  <c:v>39141</c:v>
                </c:pt>
                <c:pt idx="3">
                  <c:v>39171</c:v>
                </c:pt>
                <c:pt idx="4">
                  <c:v>39202</c:v>
                </c:pt>
                <c:pt idx="5">
                  <c:v>39233</c:v>
                </c:pt>
                <c:pt idx="6">
                  <c:v>39262</c:v>
                </c:pt>
                <c:pt idx="7">
                  <c:v>39294</c:v>
                </c:pt>
                <c:pt idx="8">
                  <c:v>39325</c:v>
                </c:pt>
                <c:pt idx="9">
                  <c:v>39353</c:v>
                </c:pt>
                <c:pt idx="10">
                  <c:v>39386</c:v>
                </c:pt>
                <c:pt idx="11">
                  <c:v>39416</c:v>
                </c:pt>
                <c:pt idx="12">
                  <c:v>39447</c:v>
                </c:pt>
                <c:pt idx="13">
                  <c:v>39478</c:v>
                </c:pt>
                <c:pt idx="14">
                  <c:v>39507</c:v>
                </c:pt>
                <c:pt idx="15">
                  <c:v>39538</c:v>
                </c:pt>
                <c:pt idx="16">
                  <c:v>39568</c:v>
                </c:pt>
                <c:pt idx="17">
                  <c:v>39598</c:v>
                </c:pt>
                <c:pt idx="18">
                  <c:v>39629</c:v>
                </c:pt>
                <c:pt idx="19">
                  <c:v>39660</c:v>
                </c:pt>
                <c:pt idx="20">
                  <c:v>39689</c:v>
                </c:pt>
                <c:pt idx="21">
                  <c:v>39721</c:v>
                </c:pt>
                <c:pt idx="22">
                  <c:v>39752</c:v>
                </c:pt>
                <c:pt idx="23">
                  <c:v>39780</c:v>
                </c:pt>
                <c:pt idx="24">
                  <c:v>39813</c:v>
                </c:pt>
                <c:pt idx="25">
                  <c:v>39843</c:v>
                </c:pt>
                <c:pt idx="26">
                  <c:v>39871</c:v>
                </c:pt>
                <c:pt idx="27">
                  <c:v>39903</c:v>
                </c:pt>
                <c:pt idx="28">
                  <c:v>39933</c:v>
                </c:pt>
                <c:pt idx="29">
                  <c:v>39962</c:v>
                </c:pt>
                <c:pt idx="30">
                  <c:v>39994</c:v>
                </c:pt>
                <c:pt idx="31">
                  <c:v>40025</c:v>
                </c:pt>
                <c:pt idx="32">
                  <c:v>40056</c:v>
                </c:pt>
                <c:pt idx="33">
                  <c:v>40086</c:v>
                </c:pt>
                <c:pt idx="34">
                  <c:v>40116</c:v>
                </c:pt>
                <c:pt idx="35">
                  <c:v>40147</c:v>
                </c:pt>
                <c:pt idx="36">
                  <c:v>40178</c:v>
                </c:pt>
                <c:pt idx="37">
                  <c:v>40207</c:v>
                </c:pt>
                <c:pt idx="38">
                  <c:v>40235</c:v>
                </c:pt>
                <c:pt idx="39">
                  <c:v>40268</c:v>
                </c:pt>
                <c:pt idx="40">
                  <c:v>40298</c:v>
                </c:pt>
                <c:pt idx="41">
                  <c:v>40329</c:v>
                </c:pt>
                <c:pt idx="42">
                  <c:v>40359</c:v>
                </c:pt>
                <c:pt idx="43">
                  <c:v>40389</c:v>
                </c:pt>
                <c:pt idx="44">
                  <c:v>40421</c:v>
                </c:pt>
                <c:pt idx="45">
                  <c:v>40451</c:v>
                </c:pt>
                <c:pt idx="46">
                  <c:v>40480</c:v>
                </c:pt>
                <c:pt idx="47">
                  <c:v>40512</c:v>
                </c:pt>
                <c:pt idx="48">
                  <c:v>40543</c:v>
                </c:pt>
                <c:pt idx="49">
                  <c:v>40574</c:v>
                </c:pt>
                <c:pt idx="50">
                  <c:v>40602</c:v>
                </c:pt>
                <c:pt idx="51">
                  <c:v>40633</c:v>
                </c:pt>
                <c:pt idx="52">
                  <c:v>40662</c:v>
                </c:pt>
                <c:pt idx="53">
                  <c:v>40694</c:v>
                </c:pt>
                <c:pt idx="54">
                  <c:v>40724</c:v>
                </c:pt>
                <c:pt idx="55">
                  <c:v>40753</c:v>
                </c:pt>
                <c:pt idx="56">
                  <c:v>40786</c:v>
                </c:pt>
                <c:pt idx="57">
                  <c:v>40816</c:v>
                </c:pt>
                <c:pt idx="58">
                  <c:v>40847</c:v>
                </c:pt>
                <c:pt idx="59">
                  <c:v>40877</c:v>
                </c:pt>
                <c:pt idx="60">
                  <c:v>40907</c:v>
                </c:pt>
                <c:pt idx="61">
                  <c:v>40939</c:v>
                </c:pt>
                <c:pt idx="62">
                  <c:v>40968</c:v>
                </c:pt>
                <c:pt idx="63">
                  <c:v>40998</c:v>
                </c:pt>
                <c:pt idx="64">
                  <c:v>41029</c:v>
                </c:pt>
                <c:pt idx="65">
                  <c:v>41060</c:v>
                </c:pt>
                <c:pt idx="66">
                  <c:v>41089</c:v>
                </c:pt>
                <c:pt idx="67">
                  <c:v>41121</c:v>
                </c:pt>
                <c:pt idx="68">
                  <c:v>41152</c:v>
                </c:pt>
                <c:pt idx="69">
                  <c:v>41180</c:v>
                </c:pt>
                <c:pt idx="70">
                  <c:v>41213</c:v>
                </c:pt>
                <c:pt idx="71">
                  <c:v>41243</c:v>
                </c:pt>
                <c:pt idx="72">
                  <c:v>41274</c:v>
                </c:pt>
                <c:pt idx="73">
                  <c:v>41305</c:v>
                </c:pt>
                <c:pt idx="74">
                  <c:v>41333</c:v>
                </c:pt>
                <c:pt idx="75">
                  <c:v>41362</c:v>
                </c:pt>
                <c:pt idx="76">
                  <c:v>41394</c:v>
                </c:pt>
                <c:pt idx="77">
                  <c:v>41425</c:v>
                </c:pt>
                <c:pt idx="78">
                  <c:v>41453</c:v>
                </c:pt>
                <c:pt idx="79">
                  <c:v>41486</c:v>
                </c:pt>
                <c:pt idx="80">
                  <c:v>41516</c:v>
                </c:pt>
                <c:pt idx="81">
                  <c:v>41547</c:v>
                </c:pt>
                <c:pt idx="82">
                  <c:v>41578</c:v>
                </c:pt>
                <c:pt idx="83">
                  <c:v>41607</c:v>
                </c:pt>
                <c:pt idx="84">
                  <c:v>41639</c:v>
                </c:pt>
                <c:pt idx="85">
                  <c:v>41670</c:v>
                </c:pt>
                <c:pt idx="86">
                  <c:v>41698</c:v>
                </c:pt>
                <c:pt idx="87">
                  <c:v>41729</c:v>
                </c:pt>
                <c:pt idx="88">
                  <c:v>41759</c:v>
                </c:pt>
                <c:pt idx="89">
                  <c:v>41789</c:v>
                </c:pt>
                <c:pt idx="90">
                  <c:v>41820</c:v>
                </c:pt>
                <c:pt idx="91">
                  <c:v>41851</c:v>
                </c:pt>
                <c:pt idx="92">
                  <c:v>41880</c:v>
                </c:pt>
                <c:pt idx="93">
                  <c:v>41912</c:v>
                </c:pt>
                <c:pt idx="94">
                  <c:v>41943</c:v>
                </c:pt>
                <c:pt idx="95">
                  <c:v>41971</c:v>
                </c:pt>
                <c:pt idx="96">
                  <c:v>42004</c:v>
                </c:pt>
                <c:pt idx="97">
                  <c:v>42034</c:v>
                </c:pt>
                <c:pt idx="98">
                  <c:v>42062</c:v>
                </c:pt>
                <c:pt idx="99">
                  <c:v>42094</c:v>
                </c:pt>
                <c:pt idx="100">
                  <c:v>42124</c:v>
                </c:pt>
                <c:pt idx="101">
                  <c:v>42153</c:v>
                </c:pt>
                <c:pt idx="102">
                  <c:v>42185</c:v>
                </c:pt>
                <c:pt idx="103">
                  <c:v>42216</c:v>
                </c:pt>
                <c:pt idx="104">
                  <c:v>42247</c:v>
                </c:pt>
                <c:pt idx="105">
                  <c:v>42277</c:v>
                </c:pt>
                <c:pt idx="106">
                  <c:v>42307</c:v>
                </c:pt>
                <c:pt idx="107">
                  <c:v>42338</c:v>
                </c:pt>
                <c:pt idx="108">
                  <c:v>42369</c:v>
                </c:pt>
                <c:pt idx="109">
                  <c:v>42398</c:v>
                </c:pt>
                <c:pt idx="110">
                  <c:v>42429</c:v>
                </c:pt>
                <c:pt idx="111">
                  <c:v>42460</c:v>
                </c:pt>
                <c:pt idx="112">
                  <c:v>42489</c:v>
                </c:pt>
                <c:pt idx="113">
                  <c:v>42521</c:v>
                </c:pt>
                <c:pt idx="114">
                  <c:v>42551</c:v>
                </c:pt>
                <c:pt idx="115">
                  <c:v>42580</c:v>
                </c:pt>
                <c:pt idx="116">
                  <c:v>42613</c:v>
                </c:pt>
                <c:pt idx="117">
                  <c:v>42643</c:v>
                </c:pt>
                <c:pt idx="118">
                  <c:v>42674</c:v>
                </c:pt>
                <c:pt idx="119">
                  <c:v>42704</c:v>
                </c:pt>
                <c:pt idx="120">
                  <c:v>42734</c:v>
                </c:pt>
                <c:pt idx="121">
                  <c:v>42766</c:v>
                </c:pt>
                <c:pt idx="122">
                  <c:v>42794</c:v>
                </c:pt>
                <c:pt idx="123">
                  <c:v>42825</c:v>
                </c:pt>
                <c:pt idx="124">
                  <c:v>42853</c:v>
                </c:pt>
                <c:pt idx="125">
                  <c:v>42886</c:v>
                </c:pt>
                <c:pt idx="126">
                  <c:v>42916</c:v>
                </c:pt>
                <c:pt idx="127">
                  <c:v>42947</c:v>
                </c:pt>
                <c:pt idx="128">
                  <c:v>42978</c:v>
                </c:pt>
                <c:pt idx="129">
                  <c:v>43007</c:v>
                </c:pt>
                <c:pt idx="130">
                  <c:v>43039</c:v>
                </c:pt>
                <c:pt idx="131">
                  <c:v>43069</c:v>
                </c:pt>
                <c:pt idx="132">
                  <c:v>43098</c:v>
                </c:pt>
                <c:pt idx="133">
                  <c:v>43131</c:v>
                </c:pt>
                <c:pt idx="134">
                  <c:v>43159</c:v>
                </c:pt>
                <c:pt idx="135">
                  <c:v>43189</c:v>
                </c:pt>
                <c:pt idx="136">
                  <c:v>43220</c:v>
                </c:pt>
                <c:pt idx="137">
                  <c:v>43251</c:v>
                </c:pt>
                <c:pt idx="138">
                  <c:v>43280</c:v>
                </c:pt>
                <c:pt idx="139">
                  <c:v>43312</c:v>
                </c:pt>
                <c:pt idx="140">
                  <c:v>43343</c:v>
                </c:pt>
                <c:pt idx="141">
                  <c:v>43371</c:v>
                </c:pt>
                <c:pt idx="142">
                  <c:v>43404</c:v>
                </c:pt>
                <c:pt idx="143">
                  <c:v>43434</c:v>
                </c:pt>
                <c:pt idx="144">
                  <c:v>43465</c:v>
                </c:pt>
                <c:pt idx="145">
                  <c:v>43496</c:v>
                </c:pt>
                <c:pt idx="146">
                  <c:v>43524</c:v>
                </c:pt>
                <c:pt idx="147">
                  <c:v>43553</c:v>
                </c:pt>
                <c:pt idx="148">
                  <c:v>43585</c:v>
                </c:pt>
                <c:pt idx="149">
                  <c:v>43616</c:v>
                </c:pt>
                <c:pt idx="150">
                  <c:v>43644</c:v>
                </c:pt>
                <c:pt idx="151">
                  <c:v>43677</c:v>
                </c:pt>
                <c:pt idx="152">
                  <c:v>43707</c:v>
                </c:pt>
                <c:pt idx="153">
                  <c:v>43738</c:v>
                </c:pt>
                <c:pt idx="154">
                  <c:v>43769</c:v>
                </c:pt>
                <c:pt idx="155">
                  <c:v>43798</c:v>
                </c:pt>
                <c:pt idx="156">
                  <c:v>43830</c:v>
                </c:pt>
                <c:pt idx="157">
                  <c:v>43861</c:v>
                </c:pt>
                <c:pt idx="158">
                  <c:v>43889</c:v>
                </c:pt>
                <c:pt idx="159">
                  <c:v>43921</c:v>
                </c:pt>
                <c:pt idx="160">
                  <c:v>43951</c:v>
                </c:pt>
                <c:pt idx="161">
                  <c:v>43980</c:v>
                </c:pt>
                <c:pt idx="162">
                  <c:v>44012</c:v>
                </c:pt>
                <c:pt idx="163">
                  <c:v>44043</c:v>
                </c:pt>
                <c:pt idx="164">
                  <c:v>44074</c:v>
                </c:pt>
                <c:pt idx="165">
                  <c:v>44104</c:v>
                </c:pt>
                <c:pt idx="166">
                  <c:v>44134</c:v>
                </c:pt>
                <c:pt idx="167">
                  <c:v>44165</c:v>
                </c:pt>
                <c:pt idx="168">
                  <c:v>44196</c:v>
                </c:pt>
                <c:pt idx="169">
                  <c:v>44225</c:v>
                </c:pt>
                <c:pt idx="170">
                  <c:v>44253</c:v>
                </c:pt>
                <c:pt idx="171">
                  <c:v>44286</c:v>
                </c:pt>
                <c:pt idx="172">
                  <c:v>44316</c:v>
                </c:pt>
                <c:pt idx="173">
                  <c:v>44347</c:v>
                </c:pt>
                <c:pt idx="174">
                  <c:v>44377</c:v>
                </c:pt>
                <c:pt idx="175">
                  <c:v>44407</c:v>
                </c:pt>
                <c:pt idx="176">
                  <c:v>44439</c:v>
                </c:pt>
                <c:pt idx="177">
                  <c:v>44469</c:v>
                </c:pt>
                <c:pt idx="178">
                  <c:v>44498</c:v>
                </c:pt>
                <c:pt idx="179">
                  <c:v>44530</c:v>
                </c:pt>
                <c:pt idx="180">
                  <c:v>44561</c:v>
                </c:pt>
                <c:pt idx="181">
                  <c:v>44592</c:v>
                </c:pt>
                <c:pt idx="182">
                  <c:v>44620</c:v>
                </c:pt>
                <c:pt idx="183">
                  <c:v>44651</c:v>
                </c:pt>
                <c:pt idx="184">
                  <c:v>44680</c:v>
                </c:pt>
                <c:pt idx="185">
                  <c:v>44712</c:v>
                </c:pt>
                <c:pt idx="186">
                  <c:v>44742</c:v>
                </c:pt>
              </c:numCache>
            </c:numRef>
          </c:cat>
          <c:val>
            <c:numRef>
              <c:f>Sheet1!$N$7:$N$193</c:f>
              <c:numCache>
                <c:formatCode>General</c:formatCode>
                <c:ptCount val="187"/>
                <c:pt idx="0">
                  <c:v>#N/A</c:v>
                </c:pt>
                <c:pt idx="1">
                  <c:v>5.33</c:v>
                </c:pt>
                <c:pt idx="2">
                  <c:v>5.31</c:v>
                </c:pt>
                <c:pt idx="3">
                  <c:v>5.32</c:v>
                </c:pt>
                <c:pt idx="4">
                  <c:v>5.32</c:v>
                </c:pt>
                <c:pt idx="5">
                  <c:v>5.35</c:v>
                </c:pt>
                <c:pt idx="6">
                  <c:v>5.33</c:v>
                </c:pt>
                <c:pt idx="7">
                  <c:v>5.33</c:v>
                </c:pt>
                <c:pt idx="8">
                  <c:v>6.16</c:v>
                </c:pt>
                <c:pt idx="9">
                  <c:v>5.37</c:v>
                </c:pt>
                <c:pt idx="10">
                  <c:v>5.05</c:v>
                </c:pt>
                <c:pt idx="11">
                  <c:v>5.42</c:v>
                </c:pt>
                <c:pt idx="12">
                  <c:v>5.5</c:v>
                </c:pt>
                <c:pt idx="13">
                  <c:v>3.31</c:v>
                </c:pt>
                <c:pt idx="14">
                  <c:v>3.28</c:v>
                </c:pt>
                <c:pt idx="15">
                  <c:v>3.07</c:v>
                </c:pt>
                <c:pt idx="16">
                  <c:v>3.19</c:v>
                </c:pt>
                <c:pt idx="17">
                  <c:v>2.93</c:v>
                </c:pt>
                <c:pt idx="18">
                  <c:v>3.11</c:v>
                </c:pt>
                <c:pt idx="19">
                  <c:v>3.1</c:v>
                </c:pt>
                <c:pt idx="20">
                  <c:v>3.12</c:v>
                </c:pt>
                <c:pt idx="21">
                  <c:v>6</c:v>
                </c:pt>
                <c:pt idx="22">
                  <c:v>4.33</c:v>
                </c:pt>
                <c:pt idx="23">
                  <c:v>4.75</c:v>
                </c:pt>
                <c:pt idx="24">
                  <c:v>6</c:v>
                </c:pt>
                <c:pt idx="25">
                  <c:v>1.59</c:v>
                </c:pt>
                <c:pt idx="26">
                  <c:v>1.78</c:v>
                </c:pt>
                <c:pt idx="27">
                  <c:v>1.45</c:v>
                </c:pt>
                <c:pt idx="28">
                  <c:v>1.22</c:v>
                </c:pt>
                <c:pt idx="29">
                  <c:v>1.2</c:v>
                </c:pt>
                <c:pt idx="30">
                  <c:v>0.9</c:v>
                </c:pt>
                <c:pt idx="31">
                  <c:v>0.6</c:v>
                </c:pt>
                <c:pt idx="32">
                  <c:v>0.56000000000000005</c:v>
                </c:pt>
                <c:pt idx="33">
                  <c:v>0.32</c:v>
                </c:pt>
                <c:pt idx="34">
                  <c:v>0.37</c:v>
                </c:pt>
                <c:pt idx="35">
                  <c:v>0.27</c:v>
                </c:pt>
                <c:pt idx="36">
                  <c:v>0.28000000000000003</c:v>
                </c:pt>
                <c:pt idx="37">
                  <c:v>#N/A</c:v>
                </c:pt>
                <c:pt idx="38">
                  <c:v>0.34</c:v>
                </c:pt>
                <c:pt idx="39">
                  <c:v>0.31</c:v>
                </c:pt>
                <c:pt idx="40">
                  <c:v>0.44</c:v>
                </c:pt>
                <c:pt idx="41">
                  <c:v>#N/A</c:v>
                </c:pt>
                <c:pt idx="42">
                  <c:v>0.56000000000000005</c:v>
                </c:pt>
                <c:pt idx="43">
                  <c:v>0.54</c:v>
                </c:pt>
                <c:pt idx="44">
                  <c:v>0.51</c:v>
                </c:pt>
                <c:pt idx="45">
                  <c:v>0.44</c:v>
                </c:pt>
                <c:pt idx="46">
                  <c:v>0.33</c:v>
                </c:pt>
                <c:pt idx="47">
                  <c:v>0.55000000000000004</c:v>
                </c:pt>
                <c:pt idx="48">
                  <c:v>0.53</c:v>
                </c:pt>
                <c:pt idx="49">
                  <c:v>0.48</c:v>
                </c:pt>
                <c:pt idx="50">
                  <c:v>0.41</c:v>
                </c:pt>
                <c:pt idx="51">
                  <c:v>0.37</c:v>
                </c:pt>
                <c:pt idx="52">
                  <c:v>0.4</c:v>
                </c:pt>
                <c:pt idx="53">
                  <c:v>0.28999999999999998</c:v>
                </c:pt>
                <c:pt idx="54">
                  <c:v>0.35</c:v>
                </c:pt>
                <c:pt idx="55">
                  <c:v>0.4</c:v>
                </c:pt>
                <c:pt idx="56">
                  <c:v>0.46</c:v>
                </c:pt>
                <c:pt idx="57">
                  <c:v>0.42</c:v>
                </c:pt>
                <c:pt idx="58">
                  <c:v>0.51</c:v>
                </c:pt>
                <c:pt idx="59">
                  <c:v>0.74</c:v>
                </c:pt>
                <c:pt idx="60">
                  <c:v>0.52</c:v>
                </c:pt>
                <c:pt idx="61">
                  <c:v>0.52</c:v>
                </c:pt>
                <c:pt idx="62">
                  <c:v>0.79</c:v>
                </c:pt>
                <c:pt idx="63">
                  <c:v>0.56000000000000005</c:v>
                </c:pt>
                <c:pt idx="64">
                  <c:v>0.52</c:v>
                </c:pt>
                <c:pt idx="65">
                  <c:v>0.59</c:v>
                </c:pt>
                <c:pt idx="66">
                  <c:v>0.51</c:v>
                </c:pt>
                <c:pt idx="67">
                  <c:v>0.47</c:v>
                </c:pt>
                <c:pt idx="68">
                  <c:v>0.62</c:v>
                </c:pt>
                <c:pt idx="69">
                  <c:v>0.61</c:v>
                </c:pt>
                <c:pt idx="70">
                  <c:v>0.5</c:v>
                </c:pt>
                <c:pt idx="71">
                  <c:v>0.6</c:v>
                </c:pt>
                <c:pt idx="72">
                  <c:v>0.48</c:v>
                </c:pt>
                <c:pt idx="73">
                  <c:v>0.38</c:v>
                </c:pt>
                <c:pt idx="74">
                  <c:v>0.42</c:v>
                </c:pt>
                <c:pt idx="75">
                  <c:v>0.35</c:v>
                </c:pt>
                <c:pt idx="76">
                  <c:v>0.36</c:v>
                </c:pt>
                <c:pt idx="77">
                  <c:v>0.25</c:v>
                </c:pt>
                <c:pt idx="78">
                  <c:v>0.32</c:v>
                </c:pt>
                <c:pt idx="79">
                  <c:v>0.31</c:v>
                </c:pt>
                <c:pt idx="80">
                  <c:v>0.24</c:v>
                </c:pt>
                <c:pt idx="81">
                  <c:v>0.26</c:v>
                </c:pt>
                <c:pt idx="82">
                  <c:v>0.3</c:v>
                </c:pt>
                <c:pt idx="83">
                  <c:v>0.38</c:v>
                </c:pt>
                <c:pt idx="84">
                  <c:v>0.19</c:v>
                </c:pt>
                <c:pt idx="85">
                  <c:v>0.65</c:v>
                </c:pt>
                <c:pt idx="86">
                  <c:v>0.31</c:v>
                </c:pt>
                <c:pt idx="87">
                  <c:v>0.36</c:v>
                </c:pt>
                <c:pt idx="88">
                  <c:v>0.14000000000000001</c:v>
                </c:pt>
                <c:pt idx="89">
                  <c:v>0.18</c:v>
                </c:pt>
                <c:pt idx="90">
                  <c:v>0.28999999999999998</c:v>
                </c:pt>
                <c:pt idx="91">
                  <c:v>0.25</c:v>
                </c:pt>
                <c:pt idx="92">
                  <c:v>0.22</c:v>
                </c:pt>
                <c:pt idx="93">
                  <c:v>0.3</c:v>
                </c:pt>
                <c:pt idx="94">
                  <c:v>0.33</c:v>
                </c:pt>
                <c:pt idx="95">
                  <c:v>0.48</c:v>
                </c:pt>
                <c:pt idx="96">
                  <c:v>0.62</c:v>
                </c:pt>
                <c:pt idx="97">
                  <c:v>0.38</c:v>
                </c:pt>
                <c:pt idx="98">
                  <c:v>0.52</c:v>
                </c:pt>
                <c:pt idx="99">
                  <c:v>0.53</c:v>
                </c:pt>
                <c:pt idx="100">
                  <c:v>0.64</c:v>
                </c:pt>
                <c:pt idx="101">
                  <c:v>0.66</c:v>
                </c:pt>
                <c:pt idx="102">
                  <c:v>0.49</c:v>
                </c:pt>
                <c:pt idx="103">
                  <c:v>0.42</c:v>
                </c:pt>
                <c:pt idx="104">
                  <c:v>0.5</c:v>
                </c:pt>
                <c:pt idx="105">
                  <c:v>0.49</c:v>
                </c:pt>
                <c:pt idx="106">
                  <c:v>0.53</c:v>
                </c:pt>
                <c:pt idx="107">
                  <c:v>0.59</c:v>
                </c:pt>
                <c:pt idx="108">
                  <c:v>0.93</c:v>
                </c:pt>
                <c:pt idx="109">
                  <c:v>1.03</c:v>
                </c:pt>
                <c:pt idx="110">
                  <c:v>0.95</c:v>
                </c:pt>
                <c:pt idx="111">
                  <c:v>0.79</c:v>
                </c:pt>
                <c:pt idx="112">
                  <c:v>0.8</c:v>
                </c:pt>
                <c:pt idx="113">
                  <c:v>1.1000000000000001</c:v>
                </c:pt>
                <c:pt idx="114">
                  <c:v>0.65</c:v>
                </c:pt>
                <c:pt idx="115">
                  <c:v>0.75</c:v>
                </c:pt>
                <c:pt idx="116">
                  <c:v>0.9</c:v>
                </c:pt>
                <c:pt idx="117">
                  <c:v>0.99</c:v>
                </c:pt>
                <c:pt idx="118">
                  <c:v>0.77</c:v>
                </c:pt>
                <c:pt idx="119">
                  <c:v>1.1100000000000001</c:v>
                </c:pt>
                <c:pt idx="120">
                  <c:v>1.3</c:v>
                </c:pt>
                <c:pt idx="121">
                  <c:v>1.18</c:v>
                </c:pt>
                <c:pt idx="122">
                  <c:v>0.85</c:v>
                </c:pt>
                <c:pt idx="123">
                  <c:v>1.26</c:v>
                </c:pt>
                <c:pt idx="124">
                  <c:v>1.3</c:v>
                </c:pt>
                <c:pt idx="125">
                  <c:v>1.43</c:v>
                </c:pt>
                <c:pt idx="126">
                  <c:v>1.79</c:v>
                </c:pt>
                <c:pt idx="127">
                  <c:v>1.47</c:v>
                </c:pt>
                <c:pt idx="128">
                  <c:v>1.37</c:v>
                </c:pt>
                <c:pt idx="129">
                  <c:v>1.54</c:v>
                </c:pt>
                <c:pt idx="130">
                  <c:v>1.47</c:v>
                </c:pt>
                <c:pt idx="131">
                  <c:v>1.52</c:v>
                </c:pt>
                <c:pt idx="132">
                  <c:v>2</c:v>
                </c:pt>
                <c:pt idx="133">
                  <c:v>1.99</c:v>
                </c:pt>
                <c:pt idx="134">
                  <c:v>2.25</c:v>
                </c:pt>
                <c:pt idx="135">
                  <c:v>2.67</c:v>
                </c:pt>
                <c:pt idx="136">
                  <c:v>2.4700000000000002</c:v>
                </c:pt>
                <c:pt idx="137">
                  <c:v>2.57</c:v>
                </c:pt>
                <c:pt idx="138">
                  <c:v>2.5299999999999998</c:v>
                </c:pt>
                <c:pt idx="139">
                  <c:v>2.5099999999999998</c:v>
                </c:pt>
                <c:pt idx="140">
                  <c:v>2.4500000000000002</c:v>
                </c:pt>
                <c:pt idx="141">
                  <c:v>2.58</c:v>
                </c:pt>
                <c:pt idx="142">
                  <c:v>2.71</c:v>
                </c:pt>
                <c:pt idx="143">
                  <c:v>3.04</c:v>
                </c:pt>
                <c:pt idx="144">
                  <c:v>3.13</c:v>
                </c:pt>
                <c:pt idx="145">
                  <c:v>2.85</c:v>
                </c:pt>
                <c:pt idx="146">
                  <c:v>3</c:v>
                </c:pt>
                <c:pt idx="147">
                  <c:v>2.79</c:v>
                </c:pt>
                <c:pt idx="148">
                  <c:v>2.8</c:v>
                </c:pt>
                <c:pt idx="149">
                  <c:v>2.69</c:v>
                </c:pt>
                <c:pt idx="150">
                  <c:v>2.5499999999999998</c:v>
                </c:pt>
                <c:pt idx="151">
                  <c:v>2.41</c:v>
                </c:pt>
                <c:pt idx="152">
                  <c:v>2.2599999999999998</c:v>
                </c:pt>
                <c:pt idx="153">
                  <c:v>2.21</c:v>
                </c:pt>
                <c:pt idx="154">
                  <c:v>1.98</c:v>
                </c:pt>
                <c:pt idx="155">
                  <c:v>2.0099999999999998</c:v>
                </c:pt>
                <c:pt idx="156">
                  <c:v>2.12</c:v>
                </c:pt>
                <c:pt idx="157">
                  <c:v>1.8</c:v>
                </c:pt>
                <c:pt idx="158">
                  <c:v>1.76</c:v>
                </c:pt>
                <c:pt idx="159">
                  <c:v>3.45</c:v>
                </c:pt>
                <c:pt idx="160">
                  <c:v>2.0299999999999998</c:v>
                </c:pt>
                <c:pt idx="161">
                  <c:v>0.7</c:v>
                </c:pt>
                <c:pt idx="162">
                  <c:v>0.47</c:v>
                </c:pt>
                <c:pt idx="163">
                  <c:v>0.28000000000000003</c:v>
                </c:pt>
                <c:pt idx="164">
                  <c:v>0.27</c:v>
                </c:pt>
                <c:pt idx="165">
                  <c:v>0.32</c:v>
                </c:pt>
                <c:pt idx="166">
                  <c:v>0.32</c:v>
                </c:pt>
                <c:pt idx="167">
                  <c:v>0.22</c:v>
                </c:pt>
                <c:pt idx="168">
                  <c:v>0.35</c:v>
                </c:pt>
                <c:pt idx="169">
                  <c:v>0.16</c:v>
                </c:pt>
                <c:pt idx="170">
                  <c:v>0.27</c:v>
                </c:pt>
                <c:pt idx="171">
                  <c:v>0.27</c:v>
                </c:pt>
                <c:pt idx="172">
                  <c:v>0.14000000000000001</c:v>
                </c:pt>
                <c:pt idx="173">
                  <c:v>0.18</c:v>
                </c:pt>
                <c:pt idx="174">
                  <c:v>0.17</c:v>
                </c:pt>
                <c:pt idx="175">
                  <c:v>0.17</c:v>
                </c:pt>
                <c:pt idx="176">
                  <c:v>0.2</c:v>
                </c:pt>
                <c:pt idx="177">
                  <c:v>0.19</c:v>
                </c:pt>
                <c:pt idx="178">
                  <c:v>0.22</c:v>
                </c:pt>
                <c:pt idx="179">
                  <c:v>0.22</c:v>
                </c:pt>
                <c:pt idx="180">
                  <c:v>0.3</c:v>
                </c:pt>
                <c:pt idx="181">
                  <c:v>0.41</c:v>
                </c:pt>
                <c:pt idx="182">
                  <c:v>0.83</c:v>
                </c:pt>
                <c:pt idx="183">
                  <c:v>1.23</c:v>
                </c:pt>
                <c:pt idx="184">
                  <c:v>1.25</c:v>
                </c:pt>
                <c:pt idx="185">
                  <c:v>1.65</c:v>
                </c:pt>
                <c:pt idx="186">
                  <c:v>2.71</c:v>
                </c:pt>
              </c:numCache>
            </c:numRef>
          </c:val>
          <c:smooth val="0"/>
          <c:extLst>
            <c:ext xmlns:c16="http://schemas.microsoft.com/office/drawing/2014/chart" uri="{C3380CC4-5D6E-409C-BE32-E72D297353CC}">
              <c16:uniqueId val="{00000001-4965-4C07-BF5B-F40C77F82A16}"/>
            </c:ext>
          </c:extLst>
        </c:ser>
        <c:ser>
          <c:idx val="2"/>
          <c:order val="2"/>
          <c:tx>
            <c:strRef>
              <c:f>Sheet1!$O$6</c:f>
              <c:strCache>
                <c:ptCount val="1"/>
                <c:pt idx="0">
                  <c:v>AA Financial CP</c:v>
                </c:pt>
              </c:strCache>
            </c:strRef>
          </c:tx>
          <c:spPr>
            <a:ln>
              <a:solidFill>
                <a:srgbClr val="004F6B"/>
              </a:solidFill>
            </a:ln>
          </c:spPr>
          <c:marker>
            <c:symbol val="none"/>
          </c:marker>
          <c:cat>
            <c:numRef>
              <c:f>Sheet1!$L$7:$L$193</c:f>
              <c:numCache>
                <c:formatCode>m/d/yyyy</c:formatCode>
                <c:ptCount val="187"/>
                <c:pt idx="0">
                  <c:v>39080</c:v>
                </c:pt>
                <c:pt idx="1">
                  <c:v>39113</c:v>
                </c:pt>
                <c:pt idx="2">
                  <c:v>39141</c:v>
                </c:pt>
                <c:pt idx="3">
                  <c:v>39171</c:v>
                </c:pt>
                <c:pt idx="4">
                  <c:v>39202</c:v>
                </c:pt>
                <c:pt idx="5">
                  <c:v>39233</c:v>
                </c:pt>
                <c:pt idx="6">
                  <c:v>39262</c:v>
                </c:pt>
                <c:pt idx="7">
                  <c:v>39294</c:v>
                </c:pt>
                <c:pt idx="8">
                  <c:v>39325</c:v>
                </c:pt>
                <c:pt idx="9">
                  <c:v>39353</c:v>
                </c:pt>
                <c:pt idx="10">
                  <c:v>39386</c:v>
                </c:pt>
                <c:pt idx="11">
                  <c:v>39416</c:v>
                </c:pt>
                <c:pt idx="12">
                  <c:v>39447</c:v>
                </c:pt>
                <c:pt idx="13">
                  <c:v>39478</c:v>
                </c:pt>
                <c:pt idx="14">
                  <c:v>39507</c:v>
                </c:pt>
                <c:pt idx="15">
                  <c:v>39538</c:v>
                </c:pt>
                <c:pt idx="16">
                  <c:v>39568</c:v>
                </c:pt>
                <c:pt idx="17">
                  <c:v>39598</c:v>
                </c:pt>
                <c:pt idx="18">
                  <c:v>39629</c:v>
                </c:pt>
                <c:pt idx="19">
                  <c:v>39660</c:v>
                </c:pt>
                <c:pt idx="20">
                  <c:v>39689</c:v>
                </c:pt>
                <c:pt idx="21">
                  <c:v>39721</c:v>
                </c:pt>
                <c:pt idx="22">
                  <c:v>39752</c:v>
                </c:pt>
                <c:pt idx="23">
                  <c:v>39780</c:v>
                </c:pt>
                <c:pt idx="24">
                  <c:v>39813</c:v>
                </c:pt>
                <c:pt idx="25">
                  <c:v>39843</c:v>
                </c:pt>
                <c:pt idx="26">
                  <c:v>39871</c:v>
                </c:pt>
                <c:pt idx="27">
                  <c:v>39903</c:v>
                </c:pt>
                <c:pt idx="28">
                  <c:v>39933</c:v>
                </c:pt>
                <c:pt idx="29">
                  <c:v>39962</c:v>
                </c:pt>
                <c:pt idx="30">
                  <c:v>39994</c:v>
                </c:pt>
                <c:pt idx="31">
                  <c:v>40025</c:v>
                </c:pt>
                <c:pt idx="32">
                  <c:v>40056</c:v>
                </c:pt>
                <c:pt idx="33">
                  <c:v>40086</c:v>
                </c:pt>
                <c:pt idx="34">
                  <c:v>40116</c:v>
                </c:pt>
                <c:pt idx="35">
                  <c:v>40147</c:v>
                </c:pt>
                <c:pt idx="36">
                  <c:v>40178</c:v>
                </c:pt>
                <c:pt idx="37">
                  <c:v>40207</c:v>
                </c:pt>
                <c:pt idx="38">
                  <c:v>40235</c:v>
                </c:pt>
                <c:pt idx="39">
                  <c:v>40268</c:v>
                </c:pt>
                <c:pt idx="40">
                  <c:v>40298</c:v>
                </c:pt>
                <c:pt idx="41">
                  <c:v>40329</c:v>
                </c:pt>
                <c:pt idx="42">
                  <c:v>40359</c:v>
                </c:pt>
                <c:pt idx="43">
                  <c:v>40389</c:v>
                </c:pt>
                <c:pt idx="44">
                  <c:v>40421</c:v>
                </c:pt>
                <c:pt idx="45">
                  <c:v>40451</c:v>
                </c:pt>
                <c:pt idx="46">
                  <c:v>40480</c:v>
                </c:pt>
                <c:pt idx="47">
                  <c:v>40512</c:v>
                </c:pt>
                <c:pt idx="48">
                  <c:v>40543</c:v>
                </c:pt>
                <c:pt idx="49">
                  <c:v>40574</c:v>
                </c:pt>
                <c:pt idx="50">
                  <c:v>40602</c:v>
                </c:pt>
                <c:pt idx="51">
                  <c:v>40633</c:v>
                </c:pt>
                <c:pt idx="52">
                  <c:v>40662</c:v>
                </c:pt>
                <c:pt idx="53">
                  <c:v>40694</c:v>
                </c:pt>
                <c:pt idx="54">
                  <c:v>40724</c:v>
                </c:pt>
                <c:pt idx="55">
                  <c:v>40753</c:v>
                </c:pt>
                <c:pt idx="56">
                  <c:v>40786</c:v>
                </c:pt>
                <c:pt idx="57">
                  <c:v>40816</c:v>
                </c:pt>
                <c:pt idx="58">
                  <c:v>40847</c:v>
                </c:pt>
                <c:pt idx="59">
                  <c:v>40877</c:v>
                </c:pt>
                <c:pt idx="60">
                  <c:v>40907</c:v>
                </c:pt>
                <c:pt idx="61">
                  <c:v>40939</c:v>
                </c:pt>
                <c:pt idx="62">
                  <c:v>40968</c:v>
                </c:pt>
                <c:pt idx="63">
                  <c:v>40998</c:v>
                </c:pt>
                <c:pt idx="64">
                  <c:v>41029</c:v>
                </c:pt>
                <c:pt idx="65">
                  <c:v>41060</c:v>
                </c:pt>
                <c:pt idx="66">
                  <c:v>41089</c:v>
                </c:pt>
                <c:pt idx="67">
                  <c:v>41121</c:v>
                </c:pt>
                <c:pt idx="68">
                  <c:v>41152</c:v>
                </c:pt>
                <c:pt idx="69">
                  <c:v>41180</c:v>
                </c:pt>
                <c:pt idx="70">
                  <c:v>41213</c:v>
                </c:pt>
                <c:pt idx="71">
                  <c:v>41243</c:v>
                </c:pt>
                <c:pt idx="72">
                  <c:v>41274</c:v>
                </c:pt>
                <c:pt idx="73">
                  <c:v>41305</c:v>
                </c:pt>
                <c:pt idx="74">
                  <c:v>41333</c:v>
                </c:pt>
                <c:pt idx="75">
                  <c:v>41362</c:v>
                </c:pt>
                <c:pt idx="76">
                  <c:v>41394</c:v>
                </c:pt>
                <c:pt idx="77">
                  <c:v>41425</c:v>
                </c:pt>
                <c:pt idx="78">
                  <c:v>41453</c:v>
                </c:pt>
                <c:pt idx="79">
                  <c:v>41486</c:v>
                </c:pt>
                <c:pt idx="80">
                  <c:v>41516</c:v>
                </c:pt>
                <c:pt idx="81">
                  <c:v>41547</c:v>
                </c:pt>
                <c:pt idx="82">
                  <c:v>41578</c:v>
                </c:pt>
                <c:pt idx="83">
                  <c:v>41607</c:v>
                </c:pt>
                <c:pt idx="84">
                  <c:v>41639</c:v>
                </c:pt>
                <c:pt idx="85">
                  <c:v>41670</c:v>
                </c:pt>
                <c:pt idx="86">
                  <c:v>41698</c:v>
                </c:pt>
                <c:pt idx="87">
                  <c:v>41729</c:v>
                </c:pt>
                <c:pt idx="88">
                  <c:v>41759</c:v>
                </c:pt>
                <c:pt idx="89">
                  <c:v>41789</c:v>
                </c:pt>
                <c:pt idx="90">
                  <c:v>41820</c:v>
                </c:pt>
                <c:pt idx="91">
                  <c:v>41851</c:v>
                </c:pt>
                <c:pt idx="92">
                  <c:v>41880</c:v>
                </c:pt>
                <c:pt idx="93">
                  <c:v>41912</c:v>
                </c:pt>
                <c:pt idx="94">
                  <c:v>41943</c:v>
                </c:pt>
                <c:pt idx="95">
                  <c:v>41971</c:v>
                </c:pt>
                <c:pt idx="96">
                  <c:v>42004</c:v>
                </c:pt>
                <c:pt idx="97">
                  <c:v>42034</c:v>
                </c:pt>
                <c:pt idx="98">
                  <c:v>42062</c:v>
                </c:pt>
                <c:pt idx="99">
                  <c:v>42094</c:v>
                </c:pt>
                <c:pt idx="100">
                  <c:v>42124</c:v>
                </c:pt>
                <c:pt idx="101">
                  <c:v>42153</c:v>
                </c:pt>
                <c:pt idx="102">
                  <c:v>42185</c:v>
                </c:pt>
                <c:pt idx="103">
                  <c:v>42216</c:v>
                </c:pt>
                <c:pt idx="104">
                  <c:v>42247</c:v>
                </c:pt>
                <c:pt idx="105">
                  <c:v>42277</c:v>
                </c:pt>
                <c:pt idx="106">
                  <c:v>42307</c:v>
                </c:pt>
                <c:pt idx="107">
                  <c:v>42338</c:v>
                </c:pt>
                <c:pt idx="108">
                  <c:v>42369</c:v>
                </c:pt>
                <c:pt idx="109">
                  <c:v>42398</c:v>
                </c:pt>
                <c:pt idx="110">
                  <c:v>42429</c:v>
                </c:pt>
                <c:pt idx="111">
                  <c:v>42460</c:v>
                </c:pt>
                <c:pt idx="112">
                  <c:v>42489</c:v>
                </c:pt>
                <c:pt idx="113">
                  <c:v>42521</c:v>
                </c:pt>
                <c:pt idx="114">
                  <c:v>42551</c:v>
                </c:pt>
                <c:pt idx="115">
                  <c:v>42580</c:v>
                </c:pt>
                <c:pt idx="116">
                  <c:v>42613</c:v>
                </c:pt>
                <c:pt idx="117">
                  <c:v>42643</c:v>
                </c:pt>
                <c:pt idx="118">
                  <c:v>42674</c:v>
                </c:pt>
                <c:pt idx="119">
                  <c:v>42704</c:v>
                </c:pt>
                <c:pt idx="120">
                  <c:v>42734</c:v>
                </c:pt>
                <c:pt idx="121">
                  <c:v>42766</c:v>
                </c:pt>
                <c:pt idx="122">
                  <c:v>42794</c:v>
                </c:pt>
                <c:pt idx="123">
                  <c:v>42825</c:v>
                </c:pt>
                <c:pt idx="124">
                  <c:v>42853</c:v>
                </c:pt>
                <c:pt idx="125">
                  <c:v>42886</c:v>
                </c:pt>
                <c:pt idx="126">
                  <c:v>42916</c:v>
                </c:pt>
                <c:pt idx="127">
                  <c:v>42947</c:v>
                </c:pt>
                <c:pt idx="128">
                  <c:v>42978</c:v>
                </c:pt>
                <c:pt idx="129">
                  <c:v>43007</c:v>
                </c:pt>
                <c:pt idx="130">
                  <c:v>43039</c:v>
                </c:pt>
                <c:pt idx="131">
                  <c:v>43069</c:v>
                </c:pt>
                <c:pt idx="132">
                  <c:v>43098</c:v>
                </c:pt>
                <c:pt idx="133">
                  <c:v>43131</c:v>
                </c:pt>
                <c:pt idx="134">
                  <c:v>43159</c:v>
                </c:pt>
                <c:pt idx="135">
                  <c:v>43189</c:v>
                </c:pt>
                <c:pt idx="136">
                  <c:v>43220</c:v>
                </c:pt>
                <c:pt idx="137">
                  <c:v>43251</c:v>
                </c:pt>
                <c:pt idx="138">
                  <c:v>43280</c:v>
                </c:pt>
                <c:pt idx="139">
                  <c:v>43312</c:v>
                </c:pt>
                <c:pt idx="140">
                  <c:v>43343</c:v>
                </c:pt>
                <c:pt idx="141">
                  <c:v>43371</c:v>
                </c:pt>
                <c:pt idx="142">
                  <c:v>43404</c:v>
                </c:pt>
                <c:pt idx="143">
                  <c:v>43434</c:v>
                </c:pt>
                <c:pt idx="144">
                  <c:v>43465</c:v>
                </c:pt>
                <c:pt idx="145">
                  <c:v>43496</c:v>
                </c:pt>
                <c:pt idx="146">
                  <c:v>43524</c:v>
                </c:pt>
                <c:pt idx="147">
                  <c:v>43553</c:v>
                </c:pt>
                <c:pt idx="148">
                  <c:v>43585</c:v>
                </c:pt>
                <c:pt idx="149">
                  <c:v>43616</c:v>
                </c:pt>
                <c:pt idx="150">
                  <c:v>43644</c:v>
                </c:pt>
                <c:pt idx="151">
                  <c:v>43677</c:v>
                </c:pt>
                <c:pt idx="152">
                  <c:v>43707</c:v>
                </c:pt>
                <c:pt idx="153">
                  <c:v>43738</c:v>
                </c:pt>
                <c:pt idx="154">
                  <c:v>43769</c:v>
                </c:pt>
                <c:pt idx="155">
                  <c:v>43798</c:v>
                </c:pt>
                <c:pt idx="156">
                  <c:v>43830</c:v>
                </c:pt>
                <c:pt idx="157">
                  <c:v>43861</c:v>
                </c:pt>
                <c:pt idx="158">
                  <c:v>43889</c:v>
                </c:pt>
                <c:pt idx="159">
                  <c:v>43921</c:v>
                </c:pt>
                <c:pt idx="160">
                  <c:v>43951</c:v>
                </c:pt>
                <c:pt idx="161">
                  <c:v>43980</c:v>
                </c:pt>
                <c:pt idx="162">
                  <c:v>44012</c:v>
                </c:pt>
                <c:pt idx="163">
                  <c:v>44043</c:v>
                </c:pt>
                <c:pt idx="164">
                  <c:v>44074</c:v>
                </c:pt>
                <c:pt idx="165">
                  <c:v>44104</c:v>
                </c:pt>
                <c:pt idx="166">
                  <c:v>44134</c:v>
                </c:pt>
                <c:pt idx="167">
                  <c:v>44165</c:v>
                </c:pt>
                <c:pt idx="168">
                  <c:v>44196</c:v>
                </c:pt>
                <c:pt idx="169">
                  <c:v>44225</c:v>
                </c:pt>
                <c:pt idx="170">
                  <c:v>44253</c:v>
                </c:pt>
                <c:pt idx="171">
                  <c:v>44286</c:v>
                </c:pt>
                <c:pt idx="172">
                  <c:v>44316</c:v>
                </c:pt>
                <c:pt idx="173">
                  <c:v>44347</c:v>
                </c:pt>
                <c:pt idx="174">
                  <c:v>44377</c:v>
                </c:pt>
                <c:pt idx="175">
                  <c:v>44407</c:v>
                </c:pt>
                <c:pt idx="176">
                  <c:v>44439</c:v>
                </c:pt>
                <c:pt idx="177">
                  <c:v>44469</c:v>
                </c:pt>
                <c:pt idx="178">
                  <c:v>44498</c:v>
                </c:pt>
                <c:pt idx="179">
                  <c:v>44530</c:v>
                </c:pt>
                <c:pt idx="180">
                  <c:v>44561</c:v>
                </c:pt>
                <c:pt idx="181">
                  <c:v>44592</c:v>
                </c:pt>
                <c:pt idx="182">
                  <c:v>44620</c:v>
                </c:pt>
                <c:pt idx="183">
                  <c:v>44651</c:v>
                </c:pt>
                <c:pt idx="184">
                  <c:v>44680</c:v>
                </c:pt>
                <c:pt idx="185">
                  <c:v>44712</c:v>
                </c:pt>
                <c:pt idx="186">
                  <c:v>44742</c:v>
                </c:pt>
              </c:numCache>
            </c:numRef>
          </c:cat>
          <c:val>
            <c:numRef>
              <c:f>Sheet1!$O$7:$O$193</c:f>
              <c:numCache>
                <c:formatCode>General</c:formatCode>
                <c:ptCount val="187"/>
                <c:pt idx="0">
                  <c:v>5.23</c:v>
                </c:pt>
                <c:pt idx="1">
                  <c:v>5.23</c:v>
                </c:pt>
                <c:pt idx="2">
                  <c:v>5.21</c:v>
                </c:pt>
                <c:pt idx="3">
                  <c:v>5.24</c:v>
                </c:pt>
                <c:pt idx="4">
                  <c:v>5.23</c:v>
                </c:pt>
                <c:pt idx="5">
                  <c:v>5.23</c:v>
                </c:pt>
                <c:pt idx="6">
                  <c:v>5.26</c:v>
                </c:pt>
                <c:pt idx="7">
                  <c:v>5.26</c:v>
                </c:pt>
                <c:pt idx="8">
                  <c:v>5.43</c:v>
                </c:pt>
                <c:pt idx="9">
                  <c:v>4.92</c:v>
                </c:pt>
                <c:pt idx="10">
                  <c:v>4.5999999999999996</c:v>
                </c:pt>
                <c:pt idx="11">
                  <c:v>4.58</c:v>
                </c:pt>
                <c:pt idx="12">
                  <c:v>4.1500000000000004</c:v>
                </c:pt>
                <c:pt idx="13">
                  <c:v>2.98</c:v>
                </c:pt>
                <c:pt idx="14">
                  <c:v>3.01</c:v>
                </c:pt>
                <c:pt idx="15">
                  <c:v>2.5099999999999998</c:v>
                </c:pt>
                <c:pt idx="16">
                  <c:v>2.67</c:v>
                </c:pt>
                <c:pt idx="17">
                  <c:v>2.56</c:v>
                </c:pt>
                <c:pt idx="18">
                  <c:v>2.73</c:v>
                </c:pt>
                <c:pt idx="19">
                  <c:v>2.71</c:v>
                </c:pt>
                <c:pt idx="20">
                  <c:v>2.67</c:v>
                </c:pt>
                <c:pt idx="21">
                  <c:v>3.61</c:v>
                </c:pt>
                <c:pt idx="22">
                  <c:v>2.6</c:v>
                </c:pt>
                <c:pt idx="23">
                  <c:v>1.3</c:v>
                </c:pt>
                <c:pt idx="24">
                  <c:v>0.44</c:v>
                </c:pt>
                <c:pt idx="25">
                  <c:v>2.2400000000000002</c:v>
                </c:pt>
                <c:pt idx="26">
                  <c:v>0.77</c:v>
                </c:pt>
                <c:pt idx="27">
                  <c:v>0.4</c:v>
                </c:pt>
                <c:pt idx="28">
                  <c:v>0.53</c:v>
                </c:pt>
                <c:pt idx="29">
                  <c:v>0.4</c:v>
                </c:pt>
                <c:pt idx="30">
                  <c:v>0.35</c:v>
                </c:pt>
                <c:pt idx="31">
                  <c:v>0.3</c:v>
                </c:pt>
                <c:pt idx="32">
                  <c:v>0.26</c:v>
                </c:pt>
                <c:pt idx="33">
                  <c:v>0.17</c:v>
                </c:pt>
                <c:pt idx="34">
                  <c:v>0.21</c:v>
                </c:pt>
                <c:pt idx="35">
                  <c:v>0.19</c:v>
                </c:pt>
                <c:pt idx="36">
                  <c:v>0.14000000000000001</c:v>
                </c:pt>
                <c:pt idx="37">
                  <c:v>0.23</c:v>
                </c:pt>
                <c:pt idx="38">
                  <c:v>0.2</c:v>
                </c:pt>
                <c:pt idx="39">
                  <c:v>0.32</c:v>
                </c:pt>
                <c:pt idx="40">
                  <c:v>0.36</c:v>
                </c:pt>
                <c:pt idx="41">
                  <c:v>0.48</c:v>
                </c:pt>
                <c:pt idx="42">
                  <c:v>0.42</c:v>
                </c:pt>
                <c:pt idx="43">
                  <c:v>0.35</c:v>
                </c:pt>
                <c:pt idx="44">
                  <c:v>0.24</c:v>
                </c:pt>
                <c:pt idx="45">
                  <c:v>0.23</c:v>
                </c:pt>
                <c:pt idx="46">
                  <c:v>0.26</c:v>
                </c:pt>
                <c:pt idx="47">
                  <c:v>0.25</c:v>
                </c:pt>
                <c:pt idx="48">
                  <c:v>0.23</c:v>
                </c:pt>
                <c:pt idx="49">
                  <c:v>0.25</c:v>
                </c:pt>
                <c:pt idx="50">
                  <c:v>0.25</c:v>
                </c:pt>
                <c:pt idx="51">
                  <c:v>0.22</c:v>
                </c:pt>
                <c:pt idx="52">
                  <c:v>0.22</c:v>
                </c:pt>
                <c:pt idx="53">
                  <c:v>0.19</c:v>
                </c:pt>
                <c:pt idx="54">
                  <c:v>0.18</c:v>
                </c:pt>
                <c:pt idx="55">
                  <c:v>0.16</c:v>
                </c:pt>
                <c:pt idx="56">
                  <c:v>0.18</c:v>
                </c:pt>
                <c:pt idx="57">
                  <c:v>0.11</c:v>
                </c:pt>
                <c:pt idx="58">
                  <c:v>0.2</c:v>
                </c:pt>
                <c:pt idx="59">
                  <c:v>0.18</c:v>
                </c:pt>
                <c:pt idx="60">
                  <c:v>0.13</c:v>
                </c:pt>
                <c:pt idx="61">
                  <c:v>0.2</c:v>
                </c:pt>
                <c:pt idx="62">
                  <c:v>0.19</c:v>
                </c:pt>
                <c:pt idx="63">
                  <c:v>0.18</c:v>
                </c:pt>
                <c:pt idx="64">
                  <c:v>0.18</c:v>
                </c:pt>
                <c:pt idx="65">
                  <c:v>0.2</c:v>
                </c:pt>
                <c:pt idx="66">
                  <c:v>0.17</c:v>
                </c:pt>
                <c:pt idx="67">
                  <c:v>0.18</c:v>
                </c:pt>
                <c:pt idx="68">
                  <c:v>0.17</c:v>
                </c:pt>
                <c:pt idx="69">
                  <c:v>0.12</c:v>
                </c:pt>
                <c:pt idx="70">
                  <c:v>0.19</c:v>
                </c:pt>
                <c:pt idx="71">
                  <c:v>0.19</c:v>
                </c:pt>
                <c:pt idx="72">
                  <c:v>0.12</c:v>
                </c:pt>
                <c:pt idx="73">
                  <c:v>0.18</c:v>
                </c:pt>
                <c:pt idx="74">
                  <c:v>0.16</c:v>
                </c:pt>
                <c:pt idx="75">
                  <c:v>0.12</c:v>
                </c:pt>
                <c:pt idx="76">
                  <c:v>0.13</c:v>
                </c:pt>
                <c:pt idx="77">
                  <c:v>0.13</c:v>
                </c:pt>
                <c:pt idx="78">
                  <c:v>0.13</c:v>
                </c:pt>
                <c:pt idx="79">
                  <c:v>0.1</c:v>
                </c:pt>
                <c:pt idx="80">
                  <c:v>0.11</c:v>
                </c:pt>
                <c:pt idx="81">
                  <c:v>0.1</c:v>
                </c:pt>
                <c:pt idx="82">
                  <c:v>0.11</c:v>
                </c:pt>
                <c:pt idx="83">
                  <c:v>0.13</c:v>
                </c:pt>
                <c:pt idx="84">
                  <c:v>0.14000000000000001</c:v>
                </c:pt>
                <c:pt idx="85">
                  <c:v>0.13</c:v>
                </c:pt>
                <c:pt idx="86">
                  <c:v>0.13</c:v>
                </c:pt>
                <c:pt idx="87">
                  <c:v>0.14000000000000001</c:v>
                </c:pt>
                <c:pt idx="88">
                  <c:v>0.1</c:v>
                </c:pt>
                <c:pt idx="89">
                  <c:v>0.09</c:v>
                </c:pt>
                <c:pt idx="90">
                  <c:v>0.11</c:v>
                </c:pt>
                <c:pt idx="91">
                  <c:v>0.12</c:v>
                </c:pt>
                <c:pt idx="92">
                  <c:v>0.13</c:v>
                </c:pt>
                <c:pt idx="93">
                  <c:v>0.11</c:v>
                </c:pt>
                <c:pt idx="94">
                  <c:v>0.11</c:v>
                </c:pt>
                <c:pt idx="95">
                  <c:v>0.15</c:v>
                </c:pt>
                <c:pt idx="96">
                  <c:v>0.18</c:v>
                </c:pt>
                <c:pt idx="97">
                  <c:v>0.15</c:v>
                </c:pt>
                <c:pt idx="98">
                  <c:v>0.15</c:v>
                </c:pt>
                <c:pt idx="99">
                  <c:v>0.16</c:v>
                </c:pt>
                <c:pt idx="100">
                  <c:v>0.12</c:v>
                </c:pt>
                <c:pt idx="101">
                  <c:v>0.17</c:v>
                </c:pt>
                <c:pt idx="102">
                  <c:v>0.18</c:v>
                </c:pt>
                <c:pt idx="103">
                  <c:v>0.21</c:v>
                </c:pt>
                <c:pt idx="104">
                  <c:v>0.28999999999999998</c:v>
                </c:pt>
                <c:pt idx="105">
                  <c:v>0.27</c:v>
                </c:pt>
                <c:pt idx="106">
                  <c:v>0.26</c:v>
                </c:pt>
                <c:pt idx="107">
                  <c:v>0.38</c:v>
                </c:pt>
                <c:pt idx="108">
                  <c:v>0.54</c:v>
                </c:pt>
                <c:pt idx="109">
                  <c:v>0.59</c:v>
                </c:pt>
                <c:pt idx="110">
                  <c:v>0.54</c:v>
                </c:pt>
                <c:pt idx="111">
                  <c:v>0.47</c:v>
                </c:pt>
                <c:pt idx="112">
                  <c:v>0.49</c:v>
                </c:pt>
                <c:pt idx="113">
                  <c:v>0.59</c:v>
                </c:pt>
                <c:pt idx="114">
                  <c:v>0.56999999999999995</c:v>
                </c:pt>
                <c:pt idx="115">
                  <c:v>0.7</c:v>
                </c:pt>
                <c:pt idx="116">
                  <c:v>0.74</c:v>
                </c:pt>
                <c:pt idx="117">
                  <c:v>0.71</c:v>
                </c:pt>
                <c:pt idx="118">
                  <c:v>0.67</c:v>
                </c:pt>
                <c:pt idx="119">
                  <c:v>0.73</c:v>
                </c:pt>
                <c:pt idx="120">
                  <c:v>0.87</c:v>
                </c:pt>
                <c:pt idx="121">
                  <c:v>0.92</c:v>
                </c:pt>
                <c:pt idx="122">
                  <c:v>0.81</c:v>
                </c:pt>
                <c:pt idx="123">
                  <c:v>1.02</c:v>
                </c:pt>
                <c:pt idx="124">
                  <c:v>1.1299999999999999</c:v>
                </c:pt>
                <c:pt idx="125">
                  <c:v>1.06</c:v>
                </c:pt>
                <c:pt idx="126">
                  <c:v>1.25</c:v>
                </c:pt>
                <c:pt idx="127">
                  <c:v>1.19</c:v>
                </c:pt>
                <c:pt idx="128">
                  <c:v>1.25</c:v>
                </c:pt>
                <c:pt idx="129">
                  <c:v>1.26</c:v>
                </c:pt>
                <c:pt idx="130">
                  <c:v>1.1400000000000001</c:v>
                </c:pt>
                <c:pt idx="131">
                  <c:v>1.3900000000000001</c:v>
                </c:pt>
                <c:pt idx="132">
                  <c:v>1.65</c:v>
                </c:pt>
                <c:pt idx="133">
                  <c:v>1.69</c:v>
                </c:pt>
                <c:pt idx="134">
                  <c:v>1.8900000000000001</c:v>
                </c:pt>
                <c:pt idx="135">
                  <c:v>2.31</c:v>
                </c:pt>
                <c:pt idx="136">
                  <c:v>2.2200000000000002</c:v>
                </c:pt>
                <c:pt idx="137">
                  <c:v>2.17</c:v>
                </c:pt>
                <c:pt idx="138">
                  <c:v>2.2000000000000002</c:v>
                </c:pt>
                <c:pt idx="139">
                  <c:v>2.23</c:v>
                </c:pt>
                <c:pt idx="140">
                  <c:v>2.15</c:v>
                </c:pt>
                <c:pt idx="141">
                  <c:v>2.33</c:v>
                </c:pt>
                <c:pt idx="142">
                  <c:v>2.5099999999999998</c:v>
                </c:pt>
                <c:pt idx="143">
                  <c:v>2.6</c:v>
                </c:pt>
                <c:pt idx="144">
                  <c:v>2.67</c:v>
                </c:pt>
                <c:pt idx="145">
                  <c:v>2.54</c:v>
                </c:pt>
                <c:pt idx="146">
                  <c:v>2.58</c:v>
                </c:pt>
                <c:pt idx="147">
                  <c:v>2.4300000000000002</c:v>
                </c:pt>
                <c:pt idx="148">
                  <c:v>2.46</c:v>
                </c:pt>
                <c:pt idx="149">
                  <c:v>2.39</c:v>
                </c:pt>
                <c:pt idx="150">
                  <c:v>2.2200000000000002</c:v>
                </c:pt>
                <c:pt idx="151">
                  <c:v>2.11</c:v>
                </c:pt>
                <c:pt idx="152">
                  <c:v>2.0299999999999998</c:v>
                </c:pt>
                <c:pt idx="153">
                  <c:v>1.97</c:v>
                </c:pt>
                <c:pt idx="154">
                  <c:v>1.71</c:v>
                </c:pt>
                <c:pt idx="155">
                  <c:v>1.79</c:v>
                </c:pt>
                <c:pt idx="156">
                  <c:v>1.79</c:v>
                </c:pt>
                <c:pt idx="157">
                  <c:v>1.72</c:v>
                </c:pt>
                <c:pt idx="158">
                  <c:v>1.47</c:v>
                </c:pt>
                <c:pt idx="159">
                  <c:v>2.44</c:v>
                </c:pt>
                <c:pt idx="161">
                  <c:v>0.17</c:v>
                </c:pt>
                <c:pt idx="162">
                  <c:v>0.22</c:v>
                </c:pt>
                <c:pt idx="163">
                  <c:v>0.16</c:v>
                </c:pt>
                <c:pt idx="164">
                  <c:v>0.17</c:v>
                </c:pt>
                <c:pt idx="165">
                  <c:v>0.14000000000000001</c:v>
                </c:pt>
                <c:pt idx="166">
                  <c:v>0.13</c:v>
                </c:pt>
                <c:pt idx="167">
                  <c:v>0.18</c:v>
                </c:pt>
                <c:pt idx="168">
                  <c:v>0.2</c:v>
                </c:pt>
                <c:pt idx="169">
                  <c:v>0.14000000000000001</c:v>
                </c:pt>
                <c:pt idx="170">
                  <c:v>0.15</c:v>
                </c:pt>
                <c:pt idx="171">
                  <c:v>0.15</c:v>
                </c:pt>
                <c:pt idx="172">
                  <c:v>0.11</c:v>
                </c:pt>
                <c:pt idx="173">
                  <c:v>0.08</c:v>
                </c:pt>
                <c:pt idx="174">
                  <c:v>0.1</c:v>
                </c:pt>
                <c:pt idx="175">
                  <c:v>0.09</c:v>
                </c:pt>
                <c:pt idx="176">
                  <c:v>0.09</c:v>
                </c:pt>
                <c:pt idx="177">
                  <c:v>0.1</c:v>
                </c:pt>
                <c:pt idx="178">
                  <c:v>0.11</c:v>
                </c:pt>
                <c:pt idx="179">
                  <c:v>0.21</c:v>
                </c:pt>
                <c:pt idx="180">
                  <c:v>0.13</c:v>
                </c:pt>
                <c:pt idx="181">
                  <c:v>0.3</c:v>
                </c:pt>
                <c:pt idx="182">
                  <c:v>0.49</c:v>
                </c:pt>
                <c:pt idx="183">
                  <c:v>0.84</c:v>
                </c:pt>
                <c:pt idx="184">
                  <c:v>1.28</c:v>
                </c:pt>
                <c:pt idx="185">
                  <c:v>1.52</c:v>
                </c:pt>
                <c:pt idx="186">
                  <c:v>2.25</c:v>
                </c:pt>
              </c:numCache>
            </c:numRef>
          </c:val>
          <c:smooth val="0"/>
          <c:extLst>
            <c:ext xmlns:c16="http://schemas.microsoft.com/office/drawing/2014/chart" uri="{C3380CC4-5D6E-409C-BE32-E72D297353CC}">
              <c16:uniqueId val="{00000002-4965-4C07-BF5B-F40C77F82A16}"/>
            </c:ext>
          </c:extLst>
        </c:ser>
        <c:ser>
          <c:idx val="3"/>
          <c:order val="3"/>
          <c:tx>
            <c:strRef>
              <c:f>Sheet1!$P$6</c:f>
              <c:strCache>
                <c:ptCount val="1"/>
                <c:pt idx="0">
                  <c:v>AA Asset Backed CP</c:v>
                </c:pt>
              </c:strCache>
            </c:strRef>
          </c:tx>
          <c:spPr>
            <a:ln>
              <a:solidFill>
                <a:srgbClr val="919EA8"/>
              </a:solidFill>
            </a:ln>
          </c:spPr>
          <c:marker>
            <c:symbol val="none"/>
          </c:marker>
          <c:cat>
            <c:numRef>
              <c:f>Sheet1!$L$7:$L$193</c:f>
              <c:numCache>
                <c:formatCode>m/d/yyyy</c:formatCode>
                <c:ptCount val="187"/>
                <c:pt idx="0">
                  <c:v>39080</c:v>
                </c:pt>
                <c:pt idx="1">
                  <c:v>39113</c:v>
                </c:pt>
                <c:pt idx="2">
                  <c:v>39141</c:v>
                </c:pt>
                <c:pt idx="3">
                  <c:v>39171</c:v>
                </c:pt>
                <c:pt idx="4">
                  <c:v>39202</c:v>
                </c:pt>
                <c:pt idx="5">
                  <c:v>39233</c:v>
                </c:pt>
                <c:pt idx="6">
                  <c:v>39262</c:v>
                </c:pt>
                <c:pt idx="7">
                  <c:v>39294</c:v>
                </c:pt>
                <c:pt idx="8">
                  <c:v>39325</c:v>
                </c:pt>
                <c:pt idx="9">
                  <c:v>39353</c:v>
                </c:pt>
                <c:pt idx="10">
                  <c:v>39386</c:v>
                </c:pt>
                <c:pt idx="11">
                  <c:v>39416</c:v>
                </c:pt>
                <c:pt idx="12">
                  <c:v>39447</c:v>
                </c:pt>
                <c:pt idx="13">
                  <c:v>39478</c:v>
                </c:pt>
                <c:pt idx="14">
                  <c:v>39507</c:v>
                </c:pt>
                <c:pt idx="15">
                  <c:v>39538</c:v>
                </c:pt>
                <c:pt idx="16">
                  <c:v>39568</c:v>
                </c:pt>
                <c:pt idx="17">
                  <c:v>39598</c:v>
                </c:pt>
                <c:pt idx="18">
                  <c:v>39629</c:v>
                </c:pt>
                <c:pt idx="19">
                  <c:v>39660</c:v>
                </c:pt>
                <c:pt idx="20">
                  <c:v>39689</c:v>
                </c:pt>
                <c:pt idx="21">
                  <c:v>39721</c:v>
                </c:pt>
                <c:pt idx="22">
                  <c:v>39752</c:v>
                </c:pt>
                <c:pt idx="23">
                  <c:v>39780</c:v>
                </c:pt>
                <c:pt idx="24">
                  <c:v>39813</c:v>
                </c:pt>
                <c:pt idx="25">
                  <c:v>39843</c:v>
                </c:pt>
                <c:pt idx="26">
                  <c:v>39871</c:v>
                </c:pt>
                <c:pt idx="27">
                  <c:v>39903</c:v>
                </c:pt>
                <c:pt idx="28">
                  <c:v>39933</c:v>
                </c:pt>
                <c:pt idx="29">
                  <c:v>39962</c:v>
                </c:pt>
                <c:pt idx="30">
                  <c:v>39994</c:v>
                </c:pt>
                <c:pt idx="31">
                  <c:v>40025</c:v>
                </c:pt>
                <c:pt idx="32">
                  <c:v>40056</c:v>
                </c:pt>
                <c:pt idx="33">
                  <c:v>40086</c:v>
                </c:pt>
                <c:pt idx="34">
                  <c:v>40116</c:v>
                </c:pt>
                <c:pt idx="35">
                  <c:v>40147</c:v>
                </c:pt>
                <c:pt idx="36">
                  <c:v>40178</c:v>
                </c:pt>
                <c:pt idx="37">
                  <c:v>40207</c:v>
                </c:pt>
                <c:pt idx="38">
                  <c:v>40235</c:v>
                </c:pt>
                <c:pt idx="39">
                  <c:v>40268</c:v>
                </c:pt>
                <c:pt idx="40">
                  <c:v>40298</c:v>
                </c:pt>
                <c:pt idx="41">
                  <c:v>40329</c:v>
                </c:pt>
                <c:pt idx="42">
                  <c:v>40359</c:v>
                </c:pt>
                <c:pt idx="43">
                  <c:v>40389</c:v>
                </c:pt>
                <c:pt idx="44">
                  <c:v>40421</c:v>
                </c:pt>
                <c:pt idx="45">
                  <c:v>40451</c:v>
                </c:pt>
                <c:pt idx="46">
                  <c:v>40480</c:v>
                </c:pt>
                <c:pt idx="47">
                  <c:v>40512</c:v>
                </c:pt>
                <c:pt idx="48">
                  <c:v>40543</c:v>
                </c:pt>
                <c:pt idx="49">
                  <c:v>40574</c:v>
                </c:pt>
                <c:pt idx="50">
                  <c:v>40602</c:v>
                </c:pt>
                <c:pt idx="51">
                  <c:v>40633</c:v>
                </c:pt>
                <c:pt idx="52">
                  <c:v>40662</c:v>
                </c:pt>
                <c:pt idx="53">
                  <c:v>40694</c:v>
                </c:pt>
                <c:pt idx="54">
                  <c:v>40724</c:v>
                </c:pt>
                <c:pt idx="55">
                  <c:v>40753</c:v>
                </c:pt>
                <c:pt idx="56">
                  <c:v>40786</c:v>
                </c:pt>
                <c:pt idx="57">
                  <c:v>40816</c:v>
                </c:pt>
                <c:pt idx="58">
                  <c:v>40847</c:v>
                </c:pt>
                <c:pt idx="59">
                  <c:v>40877</c:v>
                </c:pt>
                <c:pt idx="60">
                  <c:v>40907</c:v>
                </c:pt>
                <c:pt idx="61">
                  <c:v>40939</c:v>
                </c:pt>
                <c:pt idx="62">
                  <c:v>40968</c:v>
                </c:pt>
                <c:pt idx="63">
                  <c:v>40998</c:v>
                </c:pt>
                <c:pt idx="64">
                  <c:v>41029</c:v>
                </c:pt>
                <c:pt idx="65">
                  <c:v>41060</c:v>
                </c:pt>
                <c:pt idx="66">
                  <c:v>41089</c:v>
                </c:pt>
                <c:pt idx="67">
                  <c:v>41121</c:v>
                </c:pt>
                <c:pt idx="68">
                  <c:v>41152</c:v>
                </c:pt>
                <c:pt idx="69">
                  <c:v>41180</c:v>
                </c:pt>
                <c:pt idx="70">
                  <c:v>41213</c:v>
                </c:pt>
                <c:pt idx="71">
                  <c:v>41243</c:v>
                </c:pt>
                <c:pt idx="72">
                  <c:v>41274</c:v>
                </c:pt>
                <c:pt idx="73">
                  <c:v>41305</c:v>
                </c:pt>
                <c:pt idx="74">
                  <c:v>41333</c:v>
                </c:pt>
                <c:pt idx="75">
                  <c:v>41362</c:v>
                </c:pt>
                <c:pt idx="76">
                  <c:v>41394</c:v>
                </c:pt>
                <c:pt idx="77">
                  <c:v>41425</c:v>
                </c:pt>
                <c:pt idx="78">
                  <c:v>41453</c:v>
                </c:pt>
                <c:pt idx="79">
                  <c:v>41486</c:v>
                </c:pt>
                <c:pt idx="80">
                  <c:v>41516</c:v>
                </c:pt>
                <c:pt idx="81">
                  <c:v>41547</c:v>
                </c:pt>
                <c:pt idx="82">
                  <c:v>41578</c:v>
                </c:pt>
                <c:pt idx="83">
                  <c:v>41607</c:v>
                </c:pt>
                <c:pt idx="84">
                  <c:v>41639</c:v>
                </c:pt>
                <c:pt idx="85">
                  <c:v>41670</c:v>
                </c:pt>
                <c:pt idx="86">
                  <c:v>41698</c:v>
                </c:pt>
                <c:pt idx="87">
                  <c:v>41729</c:v>
                </c:pt>
                <c:pt idx="88">
                  <c:v>41759</c:v>
                </c:pt>
                <c:pt idx="89">
                  <c:v>41789</c:v>
                </c:pt>
                <c:pt idx="90">
                  <c:v>41820</c:v>
                </c:pt>
                <c:pt idx="91">
                  <c:v>41851</c:v>
                </c:pt>
                <c:pt idx="92">
                  <c:v>41880</c:v>
                </c:pt>
                <c:pt idx="93">
                  <c:v>41912</c:v>
                </c:pt>
                <c:pt idx="94">
                  <c:v>41943</c:v>
                </c:pt>
                <c:pt idx="95">
                  <c:v>41971</c:v>
                </c:pt>
                <c:pt idx="96">
                  <c:v>42004</c:v>
                </c:pt>
                <c:pt idx="97">
                  <c:v>42034</c:v>
                </c:pt>
                <c:pt idx="98">
                  <c:v>42062</c:v>
                </c:pt>
                <c:pt idx="99">
                  <c:v>42094</c:v>
                </c:pt>
                <c:pt idx="100">
                  <c:v>42124</c:v>
                </c:pt>
                <c:pt idx="101">
                  <c:v>42153</c:v>
                </c:pt>
                <c:pt idx="102">
                  <c:v>42185</c:v>
                </c:pt>
                <c:pt idx="103">
                  <c:v>42216</c:v>
                </c:pt>
                <c:pt idx="104">
                  <c:v>42247</c:v>
                </c:pt>
                <c:pt idx="105">
                  <c:v>42277</c:v>
                </c:pt>
                <c:pt idx="106">
                  <c:v>42307</c:v>
                </c:pt>
                <c:pt idx="107">
                  <c:v>42338</c:v>
                </c:pt>
                <c:pt idx="108">
                  <c:v>42369</c:v>
                </c:pt>
                <c:pt idx="109">
                  <c:v>42398</c:v>
                </c:pt>
                <c:pt idx="110">
                  <c:v>42429</c:v>
                </c:pt>
                <c:pt idx="111">
                  <c:v>42460</c:v>
                </c:pt>
                <c:pt idx="112">
                  <c:v>42489</c:v>
                </c:pt>
                <c:pt idx="113">
                  <c:v>42521</c:v>
                </c:pt>
                <c:pt idx="114">
                  <c:v>42551</c:v>
                </c:pt>
                <c:pt idx="115">
                  <c:v>42580</c:v>
                </c:pt>
                <c:pt idx="116">
                  <c:v>42613</c:v>
                </c:pt>
                <c:pt idx="117">
                  <c:v>42643</c:v>
                </c:pt>
                <c:pt idx="118">
                  <c:v>42674</c:v>
                </c:pt>
                <c:pt idx="119">
                  <c:v>42704</c:v>
                </c:pt>
                <c:pt idx="120">
                  <c:v>42734</c:v>
                </c:pt>
                <c:pt idx="121">
                  <c:v>42766</c:v>
                </c:pt>
                <c:pt idx="122">
                  <c:v>42794</c:v>
                </c:pt>
                <c:pt idx="123">
                  <c:v>42825</c:v>
                </c:pt>
                <c:pt idx="124">
                  <c:v>42853</c:v>
                </c:pt>
                <c:pt idx="125">
                  <c:v>42886</c:v>
                </c:pt>
                <c:pt idx="126">
                  <c:v>42916</c:v>
                </c:pt>
                <c:pt idx="127">
                  <c:v>42947</c:v>
                </c:pt>
                <c:pt idx="128">
                  <c:v>42978</c:v>
                </c:pt>
                <c:pt idx="129">
                  <c:v>43007</c:v>
                </c:pt>
                <c:pt idx="130">
                  <c:v>43039</c:v>
                </c:pt>
                <c:pt idx="131">
                  <c:v>43069</c:v>
                </c:pt>
                <c:pt idx="132">
                  <c:v>43098</c:v>
                </c:pt>
                <c:pt idx="133">
                  <c:v>43131</c:v>
                </c:pt>
                <c:pt idx="134">
                  <c:v>43159</c:v>
                </c:pt>
                <c:pt idx="135">
                  <c:v>43189</c:v>
                </c:pt>
                <c:pt idx="136">
                  <c:v>43220</c:v>
                </c:pt>
                <c:pt idx="137">
                  <c:v>43251</c:v>
                </c:pt>
                <c:pt idx="138">
                  <c:v>43280</c:v>
                </c:pt>
                <c:pt idx="139">
                  <c:v>43312</c:v>
                </c:pt>
                <c:pt idx="140">
                  <c:v>43343</c:v>
                </c:pt>
                <c:pt idx="141">
                  <c:v>43371</c:v>
                </c:pt>
                <c:pt idx="142">
                  <c:v>43404</c:v>
                </c:pt>
                <c:pt idx="143">
                  <c:v>43434</c:v>
                </c:pt>
                <c:pt idx="144">
                  <c:v>43465</c:v>
                </c:pt>
                <c:pt idx="145">
                  <c:v>43496</c:v>
                </c:pt>
                <c:pt idx="146">
                  <c:v>43524</c:v>
                </c:pt>
                <c:pt idx="147">
                  <c:v>43553</c:v>
                </c:pt>
                <c:pt idx="148">
                  <c:v>43585</c:v>
                </c:pt>
                <c:pt idx="149">
                  <c:v>43616</c:v>
                </c:pt>
                <c:pt idx="150">
                  <c:v>43644</c:v>
                </c:pt>
                <c:pt idx="151">
                  <c:v>43677</c:v>
                </c:pt>
                <c:pt idx="152">
                  <c:v>43707</c:v>
                </c:pt>
                <c:pt idx="153">
                  <c:v>43738</c:v>
                </c:pt>
                <c:pt idx="154">
                  <c:v>43769</c:v>
                </c:pt>
                <c:pt idx="155">
                  <c:v>43798</c:v>
                </c:pt>
                <c:pt idx="156">
                  <c:v>43830</c:v>
                </c:pt>
                <c:pt idx="157">
                  <c:v>43861</c:v>
                </c:pt>
                <c:pt idx="158">
                  <c:v>43889</c:v>
                </c:pt>
                <c:pt idx="159">
                  <c:v>43921</c:v>
                </c:pt>
                <c:pt idx="160">
                  <c:v>43951</c:v>
                </c:pt>
                <c:pt idx="161">
                  <c:v>43980</c:v>
                </c:pt>
                <c:pt idx="162">
                  <c:v>44012</c:v>
                </c:pt>
                <c:pt idx="163">
                  <c:v>44043</c:v>
                </c:pt>
                <c:pt idx="164">
                  <c:v>44074</c:v>
                </c:pt>
                <c:pt idx="165">
                  <c:v>44104</c:v>
                </c:pt>
                <c:pt idx="166">
                  <c:v>44134</c:v>
                </c:pt>
                <c:pt idx="167">
                  <c:v>44165</c:v>
                </c:pt>
                <c:pt idx="168">
                  <c:v>44196</c:v>
                </c:pt>
                <c:pt idx="169">
                  <c:v>44225</c:v>
                </c:pt>
                <c:pt idx="170">
                  <c:v>44253</c:v>
                </c:pt>
                <c:pt idx="171">
                  <c:v>44286</c:v>
                </c:pt>
                <c:pt idx="172">
                  <c:v>44316</c:v>
                </c:pt>
                <c:pt idx="173">
                  <c:v>44347</c:v>
                </c:pt>
                <c:pt idx="174">
                  <c:v>44377</c:v>
                </c:pt>
                <c:pt idx="175">
                  <c:v>44407</c:v>
                </c:pt>
                <c:pt idx="176">
                  <c:v>44439</c:v>
                </c:pt>
                <c:pt idx="177">
                  <c:v>44469</c:v>
                </c:pt>
                <c:pt idx="178">
                  <c:v>44498</c:v>
                </c:pt>
                <c:pt idx="179">
                  <c:v>44530</c:v>
                </c:pt>
                <c:pt idx="180">
                  <c:v>44561</c:v>
                </c:pt>
                <c:pt idx="181">
                  <c:v>44592</c:v>
                </c:pt>
                <c:pt idx="182">
                  <c:v>44620</c:v>
                </c:pt>
                <c:pt idx="183">
                  <c:v>44651</c:v>
                </c:pt>
                <c:pt idx="184">
                  <c:v>44680</c:v>
                </c:pt>
                <c:pt idx="185">
                  <c:v>44712</c:v>
                </c:pt>
                <c:pt idx="186">
                  <c:v>44742</c:v>
                </c:pt>
              </c:numCache>
            </c:numRef>
          </c:cat>
          <c:val>
            <c:numRef>
              <c:f>Sheet1!$P$7:$P$193</c:f>
              <c:numCache>
                <c:formatCode>General</c:formatCode>
                <c:ptCount val="187"/>
                <c:pt idx="0">
                  <c:v>5.26</c:v>
                </c:pt>
                <c:pt idx="1">
                  <c:v>5.26</c:v>
                </c:pt>
                <c:pt idx="2">
                  <c:v>5.24</c:v>
                </c:pt>
                <c:pt idx="3">
                  <c:v>5.25</c:v>
                </c:pt>
                <c:pt idx="4">
                  <c:v>5.25</c:v>
                </c:pt>
                <c:pt idx="5">
                  <c:v>5.26</c:v>
                </c:pt>
                <c:pt idx="6">
                  <c:v>5.28</c:v>
                </c:pt>
                <c:pt idx="7">
                  <c:v>5.27</c:v>
                </c:pt>
                <c:pt idx="8">
                  <c:v>6.15</c:v>
                </c:pt>
                <c:pt idx="9">
                  <c:v>5.24</c:v>
                </c:pt>
                <c:pt idx="10">
                  <c:v>4.83</c:v>
                </c:pt>
                <c:pt idx="11">
                  <c:v>5.45</c:v>
                </c:pt>
                <c:pt idx="12">
                  <c:v>4.58</c:v>
                </c:pt>
                <c:pt idx="13">
                  <c:v>3.07</c:v>
                </c:pt>
                <c:pt idx="14">
                  <c:v>3.19</c:v>
                </c:pt>
                <c:pt idx="15">
                  <c:v>2.8</c:v>
                </c:pt>
                <c:pt idx="16">
                  <c:v>2.99</c:v>
                </c:pt>
                <c:pt idx="17">
                  <c:v>2.75</c:v>
                </c:pt>
                <c:pt idx="18">
                  <c:v>3.21</c:v>
                </c:pt>
                <c:pt idx="19">
                  <c:v>2.88</c:v>
                </c:pt>
                <c:pt idx="20">
                  <c:v>2.84</c:v>
                </c:pt>
                <c:pt idx="21">
                  <c:v>4.41</c:v>
                </c:pt>
                <c:pt idx="22">
                  <c:v>3.38</c:v>
                </c:pt>
                <c:pt idx="23">
                  <c:v>2.1</c:v>
                </c:pt>
                <c:pt idx="24">
                  <c:v>0.55000000000000004</c:v>
                </c:pt>
                <c:pt idx="25">
                  <c:v>0.79</c:v>
                </c:pt>
                <c:pt idx="26">
                  <c:v>1.05</c:v>
                </c:pt>
                <c:pt idx="27">
                  <c:v>3.23</c:v>
                </c:pt>
                <c:pt idx="28">
                  <c:v>3.01</c:v>
                </c:pt>
                <c:pt idx="29">
                  <c:v>0.35</c:v>
                </c:pt>
                <c:pt idx="30">
                  <c:v>0.53</c:v>
                </c:pt>
                <c:pt idx="31">
                  <c:v>0.31</c:v>
                </c:pt>
                <c:pt idx="32">
                  <c:v>0.28999999999999998</c:v>
                </c:pt>
                <c:pt idx="33">
                  <c:v>0.35</c:v>
                </c:pt>
                <c:pt idx="34">
                  <c:v>0.25</c:v>
                </c:pt>
                <c:pt idx="35">
                  <c:v>0.26</c:v>
                </c:pt>
                <c:pt idx="36">
                  <c:v>0.3</c:v>
                </c:pt>
                <c:pt idx="37">
                  <c:v>0.23</c:v>
                </c:pt>
                <c:pt idx="38">
                  <c:v>0.25</c:v>
                </c:pt>
                <c:pt idx="39">
                  <c:v>0.41</c:v>
                </c:pt>
                <c:pt idx="40">
                  <c:v>0.49</c:v>
                </c:pt>
                <c:pt idx="41">
                  <c:v>0.53</c:v>
                </c:pt>
                <c:pt idx="42">
                  <c:v>0.51</c:v>
                </c:pt>
                <c:pt idx="43">
                  <c:v>0.43</c:v>
                </c:pt>
                <c:pt idx="44">
                  <c:v>0.33</c:v>
                </c:pt>
                <c:pt idx="45">
                  <c:v>0.32</c:v>
                </c:pt>
                <c:pt idx="46">
                  <c:v>0.32</c:v>
                </c:pt>
                <c:pt idx="47">
                  <c:v>0.32</c:v>
                </c:pt>
                <c:pt idx="48">
                  <c:v>0.34</c:v>
                </c:pt>
                <c:pt idx="49">
                  <c:v>0.32</c:v>
                </c:pt>
                <c:pt idx="50">
                  <c:v>0.33</c:v>
                </c:pt>
                <c:pt idx="51">
                  <c:v>0.3</c:v>
                </c:pt>
                <c:pt idx="52">
                  <c:v>0.26</c:v>
                </c:pt>
                <c:pt idx="53">
                  <c:v>0.23</c:v>
                </c:pt>
                <c:pt idx="54">
                  <c:v>0.21</c:v>
                </c:pt>
                <c:pt idx="55">
                  <c:v>0.27</c:v>
                </c:pt>
                <c:pt idx="56">
                  <c:v>0.32</c:v>
                </c:pt>
                <c:pt idx="57">
                  <c:v>0.33</c:v>
                </c:pt>
                <c:pt idx="58">
                  <c:v>0.34</c:v>
                </c:pt>
                <c:pt idx="59">
                  <c:v>0.28000000000000003</c:v>
                </c:pt>
                <c:pt idx="60">
                  <c:v>0.55000000000000004</c:v>
                </c:pt>
                <c:pt idx="61">
                  <c:v>0.36</c:v>
                </c:pt>
                <c:pt idx="62">
                  <c:v>0.31</c:v>
                </c:pt>
                <c:pt idx="63">
                  <c:v>0.33</c:v>
                </c:pt>
                <c:pt idx="64">
                  <c:v>0.28999999999999998</c:v>
                </c:pt>
                <c:pt idx="65">
                  <c:v>0.42</c:v>
                </c:pt>
                <c:pt idx="66">
                  <c:v>0.26</c:v>
                </c:pt>
                <c:pt idx="67">
                  <c:v>0.24</c:v>
                </c:pt>
                <c:pt idx="68">
                  <c:v>0.25</c:v>
                </c:pt>
                <c:pt idx="69">
                  <c:v>0.31</c:v>
                </c:pt>
                <c:pt idx="70">
                  <c:v>0.35</c:v>
                </c:pt>
                <c:pt idx="71">
                  <c:v>0.31</c:v>
                </c:pt>
                <c:pt idx="72">
                  <c:v>0.32</c:v>
                </c:pt>
                <c:pt idx="73">
                  <c:v>0.26</c:v>
                </c:pt>
                <c:pt idx="74">
                  <c:v>0.27</c:v>
                </c:pt>
                <c:pt idx="75">
                  <c:v>0.22</c:v>
                </c:pt>
                <c:pt idx="76">
                  <c:v>0.21</c:v>
                </c:pt>
                <c:pt idx="77">
                  <c:v>0.19</c:v>
                </c:pt>
                <c:pt idx="78">
                  <c:v>0.21</c:v>
                </c:pt>
                <c:pt idx="79">
                  <c:v>0.22</c:v>
                </c:pt>
                <c:pt idx="80">
                  <c:v>0.2</c:v>
                </c:pt>
                <c:pt idx="81">
                  <c:v>0.22</c:v>
                </c:pt>
                <c:pt idx="82">
                  <c:v>0.18</c:v>
                </c:pt>
                <c:pt idx="83">
                  <c:v>0.19</c:v>
                </c:pt>
                <c:pt idx="84">
                  <c:v>0.14000000000000001</c:v>
                </c:pt>
                <c:pt idx="85">
                  <c:v>0.18</c:v>
                </c:pt>
                <c:pt idx="86">
                  <c:v>0.16</c:v>
                </c:pt>
                <c:pt idx="87">
                  <c:v>0.2</c:v>
                </c:pt>
                <c:pt idx="88">
                  <c:v>0.22</c:v>
                </c:pt>
                <c:pt idx="89">
                  <c:v>0.18</c:v>
                </c:pt>
                <c:pt idx="90">
                  <c:v>0.2</c:v>
                </c:pt>
                <c:pt idx="91">
                  <c:v>0.22</c:v>
                </c:pt>
                <c:pt idx="92">
                  <c:v>0.21</c:v>
                </c:pt>
                <c:pt idx="93">
                  <c:v>0.2</c:v>
                </c:pt>
                <c:pt idx="94">
                  <c:v>0.19</c:v>
                </c:pt>
                <c:pt idx="95">
                  <c:v>0.19</c:v>
                </c:pt>
                <c:pt idx="96">
                  <c:v>0.22</c:v>
                </c:pt>
                <c:pt idx="97">
                  <c:v>0.24</c:v>
                </c:pt>
                <c:pt idx="98">
                  <c:v>0.24</c:v>
                </c:pt>
                <c:pt idx="99">
                  <c:v>0.21</c:v>
                </c:pt>
                <c:pt idx="100">
                  <c:v>0.24</c:v>
                </c:pt>
                <c:pt idx="101">
                  <c:v>0.19</c:v>
                </c:pt>
                <c:pt idx="102">
                  <c:v>0.27</c:v>
                </c:pt>
                <c:pt idx="103">
                  <c:v>0.26</c:v>
                </c:pt>
                <c:pt idx="104">
                  <c:v>0.33</c:v>
                </c:pt>
                <c:pt idx="105">
                  <c:v>0.31</c:v>
                </c:pt>
                <c:pt idx="106">
                  <c:v>0.27</c:v>
                </c:pt>
                <c:pt idx="107">
                  <c:v>0.38</c:v>
                </c:pt>
                <c:pt idx="108">
                  <c:v>0.6</c:v>
                </c:pt>
                <c:pt idx="109">
                  <c:v>0.6</c:v>
                </c:pt>
                <c:pt idx="110">
                  <c:v>0.62</c:v>
                </c:pt>
                <c:pt idx="111">
                  <c:v>0.6</c:v>
                </c:pt>
                <c:pt idx="112">
                  <c:v>0.59</c:v>
                </c:pt>
                <c:pt idx="113">
                  <c:v>0.62</c:v>
                </c:pt>
                <c:pt idx="114">
                  <c:v>0.62</c:v>
                </c:pt>
                <c:pt idx="115">
                  <c:v>0.79</c:v>
                </c:pt>
                <c:pt idx="116">
                  <c:v>0.97</c:v>
                </c:pt>
                <c:pt idx="117">
                  <c:v>0.88</c:v>
                </c:pt>
                <c:pt idx="118">
                  <c:v>0.92</c:v>
                </c:pt>
                <c:pt idx="119">
                  <c:v>0.89</c:v>
                </c:pt>
                <c:pt idx="120">
                  <c:v>1.07</c:v>
                </c:pt>
                <c:pt idx="121">
                  <c:v>1.06</c:v>
                </c:pt>
                <c:pt idx="122">
                  <c:v>0.93</c:v>
                </c:pt>
                <c:pt idx="123">
                  <c:v>1.1299999999999999</c:v>
                </c:pt>
                <c:pt idx="124">
                  <c:v>1.1499999999999999</c:v>
                </c:pt>
                <c:pt idx="125">
                  <c:v>1.1499999999999999</c:v>
                </c:pt>
                <c:pt idx="126">
                  <c:v>1.27</c:v>
                </c:pt>
                <c:pt idx="127">
                  <c:v>1.29</c:v>
                </c:pt>
                <c:pt idx="128">
                  <c:v>1.31</c:v>
                </c:pt>
                <c:pt idx="129">
                  <c:v>1.32</c:v>
                </c:pt>
                <c:pt idx="130">
                  <c:v>1.3900000000000001</c:v>
                </c:pt>
                <c:pt idx="131">
                  <c:v>1.5</c:v>
                </c:pt>
                <c:pt idx="132">
                  <c:v>1.78</c:v>
                </c:pt>
                <c:pt idx="133">
                  <c:v>1.77</c:v>
                </c:pt>
                <c:pt idx="134">
                  <c:v>2.04</c:v>
                </c:pt>
                <c:pt idx="135">
                  <c:v>2.31</c:v>
                </c:pt>
                <c:pt idx="136">
                  <c:v>2.2599999999999998</c:v>
                </c:pt>
                <c:pt idx="137">
                  <c:v>2.25</c:v>
                </c:pt>
                <c:pt idx="138">
                  <c:v>2.27</c:v>
                </c:pt>
                <c:pt idx="139">
                  <c:v>2.27</c:v>
                </c:pt>
                <c:pt idx="140">
                  <c:v>2.2599999999999998</c:v>
                </c:pt>
                <c:pt idx="141">
                  <c:v>2.36</c:v>
                </c:pt>
                <c:pt idx="142">
                  <c:v>2.61</c:v>
                </c:pt>
                <c:pt idx="143">
                  <c:v>2.73</c:v>
                </c:pt>
                <c:pt idx="144">
                  <c:v>2.8</c:v>
                </c:pt>
                <c:pt idx="145">
                  <c:v>2.62</c:v>
                </c:pt>
                <c:pt idx="146">
                  <c:v>2.56</c:v>
                </c:pt>
                <c:pt idx="147">
                  <c:v>2.58</c:v>
                </c:pt>
                <c:pt idx="148">
                  <c:v>2.5099999999999998</c:v>
                </c:pt>
                <c:pt idx="149">
                  <c:v>2.46</c:v>
                </c:pt>
                <c:pt idx="150">
                  <c:v>2.31</c:v>
                </c:pt>
                <c:pt idx="151">
                  <c:v>2.2599999999999998</c:v>
                </c:pt>
                <c:pt idx="152">
                  <c:v>2.1</c:v>
                </c:pt>
                <c:pt idx="153">
                  <c:v>2.11</c:v>
                </c:pt>
                <c:pt idx="154">
                  <c:v>1.87</c:v>
                </c:pt>
                <c:pt idx="155">
                  <c:v>1.86</c:v>
                </c:pt>
                <c:pt idx="156">
                  <c:v>1.85</c:v>
                </c:pt>
                <c:pt idx="157">
                  <c:v>1.69</c:v>
                </c:pt>
                <c:pt idx="158">
                  <c:v>1.54</c:v>
                </c:pt>
                <c:pt idx="159">
                  <c:v>1.3599999999999999</c:v>
                </c:pt>
                <c:pt idx="160">
                  <c:v>0.4</c:v>
                </c:pt>
                <c:pt idx="161">
                  <c:v>0.25</c:v>
                </c:pt>
                <c:pt idx="162">
                  <c:v>0.28999999999999998</c:v>
                </c:pt>
                <c:pt idx="163">
                  <c:v>0.2</c:v>
                </c:pt>
                <c:pt idx="164">
                  <c:v>0.16</c:v>
                </c:pt>
                <c:pt idx="165">
                  <c:v>0.19</c:v>
                </c:pt>
                <c:pt idx="166">
                  <c:v>0.2</c:v>
                </c:pt>
                <c:pt idx="167">
                  <c:v>0.22</c:v>
                </c:pt>
                <c:pt idx="168">
                  <c:v>0.2</c:v>
                </c:pt>
                <c:pt idx="169">
                  <c:v>0.17</c:v>
                </c:pt>
                <c:pt idx="170">
                  <c:v>0.13</c:v>
                </c:pt>
                <c:pt idx="171">
                  <c:v>0.14000000000000001</c:v>
                </c:pt>
                <c:pt idx="172">
                  <c:v>0.14000000000000001</c:v>
                </c:pt>
                <c:pt idx="173">
                  <c:v>0.09</c:v>
                </c:pt>
                <c:pt idx="174">
                  <c:v>0.1</c:v>
                </c:pt>
                <c:pt idx="175">
                  <c:v>0.11</c:v>
                </c:pt>
                <c:pt idx="176">
                  <c:v>0.11</c:v>
                </c:pt>
                <c:pt idx="177">
                  <c:v>0.11</c:v>
                </c:pt>
                <c:pt idx="178">
                  <c:v>0.13</c:v>
                </c:pt>
                <c:pt idx="179">
                  <c:v>0.19</c:v>
                </c:pt>
                <c:pt idx="180">
                  <c:v>0.2</c:v>
                </c:pt>
                <c:pt idx="181">
                  <c:v>0.31</c:v>
                </c:pt>
                <c:pt idx="182">
                  <c:v>0.52</c:v>
                </c:pt>
                <c:pt idx="183">
                  <c:v>0.96</c:v>
                </c:pt>
                <c:pt idx="184">
                  <c:v>1.21</c:v>
                </c:pt>
                <c:pt idx="185">
                  <c:v>1.45</c:v>
                </c:pt>
                <c:pt idx="186">
                  <c:v>2.2799999999999998</c:v>
                </c:pt>
              </c:numCache>
            </c:numRef>
          </c:val>
          <c:smooth val="0"/>
          <c:extLst>
            <c:ext xmlns:c16="http://schemas.microsoft.com/office/drawing/2014/chart" uri="{C3380CC4-5D6E-409C-BE32-E72D297353CC}">
              <c16:uniqueId val="{00000003-4965-4C07-BF5B-F40C77F82A16}"/>
            </c:ext>
          </c:extLst>
        </c:ser>
        <c:dLbls>
          <c:showLegendKey val="0"/>
          <c:showVal val="0"/>
          <c:showCatName val="0"/>
          <c:showSerName val="0"/>
          <c:showPercent val="0"/>
          <c:showBubbleSize val="0"/>
        </c:dLbls>
        <c:smooth val="0"/>
        <c:axId val="201439488"/>
        <c:axId val="306298880"/>
      </c:lineChart>
      <c:dateAx>
        <c:axId val="201439488"/>
        <c:scaling>
          <c:orientation val="minMax"/>
          <c:max val="44713"/>
          <c:min val="41061"/>
        </c:scaling>
        <c:delete val="0"/>
        <c:axPos val="b"/>
        <c:numFmt formatCode="[$-409]mmm\-yy;@" sourceLinked="0"/>
        <c:majorTickMark val="out"/>
        <c:minorTickMark val="none"/>
        <c:tickLblPos val="nextTo"/>
        <c:spPr>
          <a:ln>
            <a:solidFill>
              <a:srgbClr val="999999"/>
            </a:solidFill>
          </a:ln>
        </c:spPr>
        <c:txPr>
          <a:bodyPr rot="-2700000"/>
          <a:lstStyle/>
          <a:p>
            <a:pPr>
              <a:defRPr sz="800"/>
            </a:pPr>
            <a:endParaRPr lang="en-US"/>
          </a:p>
        </c:txPr>
        <c:crossAx val="306298880"/>
        <c:crosses val="autoZero"/>
        <c:auto val="0"/>
        <c:lblOffset val="100"/>
        <c:baseTimeUnit val="months"/>
        <c:majorUnit val="1"/>
        <c:majorTimeUnit val="years"/>
      </c:dateAx>
      <c:valAx>
        <c:axId val="306298880"/>
        <c:scaling>
          <c:orientation val="minMax"/>
          <c:max val="3.5"/>
        </c:scaling>
        <c:delete val="0"/>
        <c:axPos val="l"/>
        <c:title>
          <c:tx>
            <c:rich>
              <a:bodyPr rot="-5400000" vert="horz"/>
              <a:lstStyle/>
              <a:p>
                <a:pPr>
                  <a:defRPr sz="800"/>
                </a:pPr>
                <a:r>
                  <a:rPr lang="en-US" sz="800" dirty="0"/>
                  <a:t>Yield (%)</a:t>
                </a:r>
              </a:p>
            </c:rich>
          </c:tx>
          <c:overlay val="0"/>
        </c:title>
        <c:numFmt formatCode="#,##0.0" sourceLinked="0"/>
        <c:majorTickMark val="out"/>
        <c:minorTickMark val="none"/>
        <c:tickLblPos val="nextTo"/>
        <c:spPr>
          <a:ln>
            <a:solidFill>
              <a:srgbClr val="999999"/>
            </a:solidFill>
          </a:ln>
        </c:spPr>
        <c:txPr>
          <a:bodyPr/>
          <a:lstStyle/>
          <a:p>
            <a:pPr>
              <a:defRPr sz="800"/>
            </a:pPr>
            <a:endParaRPr lang="en-US"/>
          </a:p>
        </c:txPr>
        <c:crossAx val="201439488"/>
        <c:crosses val="autoZero"/>
        <c:crossBetween val="midCat"/>
      </c:valAx>
    </c:plotArea>
    <c:legend>
      <c:legendPos val="t"/>
      <c:layout>
        <c:manualLayout>
          <c:xMode val="edge"/>
          <c:yMode val="edge"/>
          <c:x val="6.8706911636045476E-2"/>
          <c:y val="1.6645190293625961E-2"/>
          <c:w val="0.73758617672790905"/>
          <c:h val="7.8207929008481836E-2"/>
        </c:manualLayout>
      </c:layout>
      <c:overlay val="0"/>
      <c:txPr>
        <a:bodyPr/>
        <a:lstStyle/>
        <a:p>
          <a:pPr>
            <a:defRPr sz="800"/>
          </a:pPr>
          <a:endParaRPr lang="en-US"/>
        </a:p>
      </c:txPr>
    </c:legend>
    <c:plotVisOnly val="1"/>
    <c:dispBlanksAs val="gap"/>
    <c:showDLblsOverMax val="0"/>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33573928258966"/>
          <c:y val="0.10640310926817394"/>
          <c:w val="0.80855883639545056"/>
          <c:h val="0.78950449370710585"/>
        </c:manualLayout>
      </c:layout>
      <c:areaChart>
        <c:grouping val="stacked"/>
        <c:varyColors val="0"/>
        <c:ser>
          <c:idx val="0"/>
          <c:order val="0"/>
          <c:tx>
            <c:strRef>
              <c:f>Sheet1!$B$3</c:f>
              <c:strCache>
                <c:ptCount val="1"/>
                <c:pt idx="0">
                  <c:v>Non Financial CP</c:v>
                </c:pt>
              </c:strCache>
            </c:strRef>
          </c:tx>
          <c:spPr>
            <a:solidFill>
              <a:srgbClr val="7A9A3D"/>
            </a:solidFill>
          </c:spPr>
          <c:cat>
            <c:numRef>
              <c:f>Sheet1!$A$7:$A$193</c:f>
              <c:numCache>
                <c:formatCode>m/d/yyyy</c:formatCode>
                <c:ptCount val="187"/>
                <c:pt idx="0">
                  <c:v>0</c:v>
                </c:pt>
                <c:pt idx="1">
                  <c:v>39113</c:v>
                </c:pt>
                <c:pt idx="2">
                  <c:v>39141</c:v>
                </c:pt>
                <c:pt idx="3">
                  <c:v>39172</c:v>
                </c:pt>
                <c:pt idx="4">
                  <c:v>39202</c:v>
                </c:pt>
                <c:pt idx="5">
                  <c:v>39233</c:v>
                </c:pt>
                <c:pt idx="6">
                  <c:v>39263</c:v>
                </c:pt>
                <c:pt idx="7">
                  <c:v>39294</c:v>
                </c:pt>
                <c:pt idx="8">
                  <c:v>39325</c:v>
                </c:pt>
                <c:pt idx="9">
                  <c:v>39355</c:v>
                </c:pt>
                <c:pt idx="10">
                  <c:v>39386</c:v>
                </c:pt>
                <c:pt idx="11">
                  <c:v>39416</c:v>
                </c:pt>
                <c:pt idx="12">
                  <c:v>39447</c:v>
                </c:pt>
                <c:pt idx="13">
                  <c:v>39478</c:v>
                </c:pt>
                <c:pt idx="14">
                  <c:v>39507</c:v>
                </c:pt>
                <c:pt idx="15">
                  <c:v>39538</c:v>
                </c:pt>
                <c:pt idx="16">
                  <c:v>39568</c:v>
                </c:pt>
                <c:pt idx="17">
                  <c:v>39599</c:v>
                </c:pt>
                <c:pt idx="18">
                  <c:v>39629</c:v>
                </c:pt>
                <c:pt idx="19">
                  <c:v>39660</c:v>
                </c:pt>
                <c:pt idx="20">
                  <c:v>39691</c:v>
                </c:pt>
                <c:pt idx="21">
                  <c:v>39721</c:v>
                </c:pt>
                <c:pt idx="22">
                  <c:v>39752</c:v>
                </c:pt>
                <c:pt idx="23">
                  <c:v>39782</c:v>
                </c:pt>
                <c:pt idx="24">
                  <c:v>39813</c:v>
                </c:pt>
                <c:pt idx="25">
                  <c:v>39844</c:v>
                </c:pt>
                <c:pt idx="26">
                  <c:v>39872</c:v>
                </c:pt>
                <c:pt idx="27">
                  <c:v>39903</c:v>
                </c:pt>
                <c:pt idx="28">
                  <c:v>39933</c:v>
                </c:pt>
                <c:pt idx="29">
                  <c:v>39964</c:v>
                </c:pt>
                <c:pt idx="30">
                  <c:v>39994</c:v>
                </c:pt>
                <c:pt idx="31">
                  <c:v>40025</c:v>
                </c:pt>
                <c:pt idx="32">
                  <c:v>40056</c:v>
                </c:pt>
                <c:pt idx="33">
                  <c:v>40086</c:v>
                </c:pt>
                <c:pt idx="34">
                  <c:v>40117</c:v>
                </c:pt>
                <c:pt idx="35">
                  <c:v>40147</c:v>
                </c:pt>
                <c:pt idx="36">
                  <c:v>40178</c:v>
                </c:pt>
                <c:pt idx="37">
                  <c:v>40209</c:v>
                </c:pt>
                <c:pt idx="38">
                  <c:v>40237</c:v>
                </c:pt>
                <c:pt idx="39">
                  <c:v>40268</c:v>
                </c:pt>
                <c:pt idx="40">
                  <c:v>40298</c:v>
                </c:pt>
                <c:pt idx="41">
                  <c:v>40329</c:v>
                </c:pt>
                <c:pt idx="42">
                  <c:v>40359</c:v>
                </c:pt>
                <c:pt idx="43">
                  <c:v>40390</c:v>
                </c:pt>
                <c:pt idx="44">
                  <c:v>40421</c:v>
                </c:pt>
                <c:pt idx="45">
                  <c:v>40451</c:v>
                </c:pt>
                <c:pt idx="46">
                  <c:v>40482</c:v>
                </c:pt>
                <c:pt idx="47">
                  <c:v>40512</c:v>
                </c:pt>
                <c:pt idx="48">
                  <c:v>40543</c:v>
                </c:pt>
                <c:pt idx="49">
                  <c:v>40574</c:v>
                </c:pt>
                <c:pt idx="50">
                  <c:v>40602</c:v>
                </c:pt>
                <c:pt idx="51">
                  <c:v>40633</c:v>
                </c:pt>
                <c:pt idx="52">
                  <c:v>40663</c:v>
                </c:pt>
                <c:pt idx="53">
                  <c:v>40694</c:v>
                </c:pt>
                <c:pt idx="54">
                  <c:v>40724</c:v>
                </c:pt>
                <c:pt idx="55">
                  <c:v>40755</c:v>
                </c:pt>
                <c:pt idx="56">
                  <c:v>40786</c:v>
                </c:pt>
                <c:pt idx="57">
                  <c:v>40816</c:v>
                </c:pt>
                <c:pt idx="58">
                  <c:v>40847</c:v>
                </c:pt>
                <c:pt idx="59">
                  <c:v>40877</c:v>
                </c:pt>
                <c:pt idx="60">
                  <c:v>40908</c:v>
                </c:pt>
                <c:pt idx="61">
                  <c:v>40939</c:v>
                </c:pt>
                <c:pt idx="62">
                  <c:v>40968</c:v>
                </c:pt>
                <c:pt idx="63">
                  <c:v>40999</c:v>
                </c:pt>
                <c:pt idx="64">
                  <c:v>41029</c:v>
                </c:pt>
                <c:pt idx="65">
                  <c:v>41060</c:v>
                </c:pt>
                <c:pt idx="66">
                  <c:v>41090</c:v>
                </c:pt>
                <c:pt idx="67">
                  <c:v>41121</c:v>
                </c:pt>
                <c:pt idx="68">
                  <c:v>41152</c:v>
                </c:pt>
                <c:pt idx="69">
                  <c:v>41182</c:v>
                </c:pt>
                <c:pt idx="70">
                  <c:v>41213</c:v>
                </c:pt>
                <c:pt idx="71">
                  <c:v>41243</c:v>
                </c:pt>
                <c:pt idx="72">
                  <c:v>41274</c:v>
                </c:pt>
                <c:pt idx="73">
                  <c:v>41305</c:v>
                </c:pt>
                <c:pt idx="74">
                  <c:v>41333</c:v>
                </c:pt>
                <c:pt idx="75">
                  <c:v>41364</c:v>
                </c:pt>
                <c:pt idx="76">
                  <c:v>41394</c:v>
                </c:pt>
                <c:pt idx="77">
                  <c:v>41425</c:v>
                </c:pt>
                <c:pt idx="78">
                  <c:v>41455</c:v>
                </c:pt>
                <c:pt idx="79">
                  <c:v>41486</c:v>
                </c:pt>
                <c:pt idx="80">
                  <c:v>41517</c:v>
                </c:pt>
                <c:pt idx="81">
                  <c:v>41547</c:v>
                </c:pt>
                <c:pt idx="82">
                  <c:v>41578</c:v>
                </c:pt>
                <c:pt idx="83">
                  <c:v>41608</c:v>
                </c:pt>
                <c:pt idx="84">
                  <c:v>41639</c:v>
                </c:pt>
                <c:pt idx="85">
                  <c:v>41670</c:v>
                </c:pt>
                <c:pt idx="86">
                  <c:v>41698</c:v>
                </c:pt>
                <c:pt idx="87">
                  <c:v>41729</c:v>
                </c:pt>
                <c:pt idx="88">
                  <c:v>41759</c:v>
                </c:pt>
                <c:pt idx="89">
                  <c:v>41790</c:v>
                </c:pt>
                <c:pt idx="90">
                  <c:v>41820</c:v>
                </c:pt>
                <c:pt idx="91">
                  <c:v>41851</c:v>
                </c:pt>
                <c:pt idx="92">
                  <c:v>41882</c:v>
                </c:pt>
                <c:pt idx="93">
                  <c:v>41912</c:v>
                </c:pt>
                <c:pt idx="94">
                  <c:v>41943</c:v>
                </c:pt>
                <c:pt idx="95">
                  <c:v>41973</c:v>
                </c:pt>
                <c:pt idx="96">
                  <c:v>42004</c:v>
                </c:pt>
                <c:pt idx="97">
                  <c:v>42035</c:v>
                </c:pt>
                <c:pt idx="98">
                  <c:v>42063</c:v>
                </c:pt>
                <c:pt idx="99">
                  <c:v>42094</c:v>
                </c:pt>
                <c:pt idx="100">
                  <c:v>42124</c:v>
                </c:pt>
                <c:pt idx="101">
                  <c:v>42155</c:v>
                </c:pt>
                <c:pt idx="102">
                  <c:v>42185</c:v>
                </c:pt>
                <c:pt idx="103">
                  <c:v>42216</c:v>
                </c:pt>
                <c:pt idx="104">
                  <c:v>42247</c:v>
                </c:pt>
                <c:pt idx="105">
                  <c:v>42277</c:v>
                </c:pt>
                <c:pt idx="106">
                  <c:v>42308</c:v>
                </c:pt>
                <c:pt idx="107">
                  <c:v>42338</c:v>
                </c:pt>
                <c:pt idx="108">
                  <c:v>42369</c:v>
                </c:pt>
                <c:pt idx="109">
                  <c:v>42400</c:v>
                </c:pt>
                <c:pt idx="110">
                  <c:v>42429</c:v>
                </c:pt>
                <c:pt idx="111">
                  <c:v>42460</c:v>
                </c:pt>
                <c:pt idx="112">
                  <c:v>42490</c:v>
                </c:pt>
                <c:pt idx="113">
                  <c:v>42521</c:v>
                </c:pt>
                <c:pt idx="114">
                  <c:v>42551</c:v>
                </c:pt>
                <c:pt idx="115">
                  <c:v>42582</c:v>
                </c:pt>
                <c:pt idx="116">
                  <c:v>42613</c:v>
                </c:pt>
                <c:pt idx="117">
                  <c:v>42643</c:v>
                </c:pt>
                <c:pt idx="118">
                  <c:v>42674</c:v>
                </c:pt>
                <c:pt idx="119">
                  <c:v>42704</c:v>
                </c:pt>
                <c:pt idx="120">
                  <c:v>42735</c:v>
                </c:pt>
                <c:pt idx="121">
                  <c:v>42766</c:v>
                </c:pt>
                <c:pt idx="122">
                  <c:v>42794</c:v>
                </c:pt>
                <c:pt idx="123">
                  <c:v>42825</c:v>
                </c:pt>
                <c:pt idx="124">
                  <c:v>42855</c:v>
                </c:pt>
                <c:pt idx="125">
                  <c:v>42886</c:v>
                </c:pt>
                <c:pt idx="126">
                  <c:v>42916</c:v>
                </c:pt>
                <c:pt idx="127">
                  <c:v>42947</c:v>
                </c:pt>
                <c:pt idx="128">
                  <c:v>42978</c:v>
                </c:pt>
                <c:pt idx="129">
                  <c:v>43008</c:v>
                </c:pt>
                <c:pt idx="130">
                  <c:v>43039</c:v>
                </c:pt>
                <c:pt idx="131">
                  <c:v>43069</c:v>
                </c:pt>
                <c:pt idx="132">
                  <c:v>43100</c:v>
                </c:pt>
                <c:pt idx="133">
                  <c:v>43131</c:v>
                </c:pt>
                <c:pt idx="134">
                  <c:v>43159</c:v>
                </c:pt>
                <c:pt idx="135">
                  <c:v>43190</c:v>
                </c:pt>
                <c:pt idx="136">
                  <c:v>43220</c:v>
                </c:pt>
                <c:pt idx="137">
                  <c:v>43251</c:v>
                </c:pt>
                <c:pt idx="138">
                  <c:v>43281</c:v>
                </c:pt>
                <c:pt idx="139">
                  <c:v>43312</c:v>
                </c:pt>
                <c:pt idx="140">
                  <c:v>43343</c:v>
                </c:pt>
                <c:pt idx="141">
                  <c:v>43373</c:v>
                </c:pt>
                <c:pt idx="142">
                  <c:v>43404</c:v>
                </c:pt>
                <c:pt idx="143">
                  <c:v>43434</c:v>
                </c:pt>
                <c:pt idx="144">
                  <c:v>43465</c:v>
                </c:pt>
                <c:pt idx="145">
                  <c:v>43496</c:v>
                </c:pt>
                <c:pt idx="146">
                  <c:v>43524</c:v>
                </c:pt>
                <c:pt idx="147">
                  <c:v>43555</c:v>
                </c:pt>
                <c:pt idx="148">
                  <c:v>43585</c:v>
                </c:pt>
                <c:pt idx="149">
                  <c:v>43616</c:v>
                </c:pt>
                <c:pt idx="150">
                  <c:v>43646</c:v>
                </c:pt>
                <c:pt idx="151">
                  <c:v>43677</c:v>
                </c:pt>
                <c:pt idx="152">
                  <c:v>43708</c:v>
                </c:pt>
                <c:pt idx="153">
                  <c:v>43738</c:v>
                </c:pt>
                <c:pt idx="154">
                  <c:v>43769</c:v>
                </c:pt>
                <c:pt idx="155">
                  <c:v>43799</c:v>
                </c:pt>
                <c:pt idx="156">
                  <c:v>43830</c:v>
                </c:pt>
                <c:pt idx="157">
                  <c:v>43861</c:v>
                </c:pt>
                <c:pt idx="158">
                  <c:v>43890</c:v>
                </c:pt>
                <c:pt idx="159">
                  <c:v>43921</c:v>
                </c:pt>
                <c:pt idx="160">
                  <c:v>43951</c:v>
                </c:pt>
                <c:pt idx="161">
                  <c:v>43982</c:v>
                </c:pt>
                <c:pt idx="162">
                  <c:v>44012</c:v>
                </c:pt>
                <c:pt idx="163">
                  <c:v>44043</c:v>
                </c:pt>
                <c:pt idx="164">
                  <c:v>44074</c:v>
                </c:pt>
                <c:pt idx="165">
                  <c:v>44104</c:v>
                </c:pt>
                <c:pt idx="166">
                  <c:v>44135</c:v>
                </c:pt>
                <c:pt idx="167">
                  <c:v>44165</c:v>
                </c:pt>
                <c:pt idx="168">
                  <c:v>44196</c:v>
                </c:pt>
                <c:pt idx="169">
                  <c:v>44227</c:v>
                </c:pt>
                <c:pt idx="170">
                  <c:v>44255</c:v>
                </c:pt>
                <c:pt idx="171">
                  <c:v>44286</c:v>
                </c:pt>
                <c:pt idx="172">
                  <c:v>44316</c:v>
                </c:pt>
                <c:pt idx="173">
                  <c:v>44347</c:v>
                </c:pt>
                <c:pt idx="174">
                  <c:v>44377</c:v>
                </c:pt>
                <c:pt idx="175">
                  <c:v>44408</c:v>
                </c:pt>
                <c:pt idx="176">
                  <c:v>44439</c:v>
                </c:pt>
                <c:pt idx="177">
                  <c:v>44469</c:v>
                </c:pt>
                <c:pt idx="178">
                  <c:v>44500</c:v>
                </c:pt>
                <c:pt idx="179">
                  <c:v>44530</c:v>
                </c:pt>
                <c:pt idx="180">
                  <c:v>44561</c:v>
                </c:pt>
                <c:pt idx="181">
                  <c:v>44592</c:v>
                </c:pt>
                <c:pt idx="182">
                  <c:v>44620</c:v>
                </c:pt>
                <c:pt idx="183">
                  <c:v>44651</c:v>
                </c:pt>
                <c:pt idx="184">
                  <c:v>44681</c:v>
                </c:pt>
                <c:pt idx="185">
                  <c:v>44712</c:v>
                </c:pt>
                <c:pt idx="186">
                  <c:v>44742</c:v>
                </c:pt>
              </c:numCache>
            </c:numRef>
          </c:cat>
          <c:val>
            <c:numRef>
              <c:f>Sheet1!$B$7:$B$193</c:f>
              <c:numCache>
                <c:formatCode>General</c:formatCode>
                <c:ptCount val="187"/>
                <c:pt idx="0">
                  <c:v>167.1</c:v>
                </c:pt>
                <c:pt idx="1">
                  <c:v>156.9</c:v>
                </c:pt>
                <c:pt idx="2">
                  <c:v>159.5</c:v>
                </c:pt>
                <c:pt idx="3">
                  <c:v>166.7</c:v>
                </c:pt>
                <c:pt idx="4">
                  <c:v>161</c:v>
                </c:pt>
                <c:pt idx="5">
                  <c:v>162.5</c:v>
                </c:pt>
                <c:pt idx="6">
                  <c:v>180.5</c:v>
                </c:pt>
                <c:pt idx="7">
                  <c:v>183.5</c:v>
                </c:pt>
                <c:pt idx="8">
                  <c:v>175.8</c:v>
                </c:pt>
                <c:pt idx="9">
                  <c:v>169</c:v>
                </c:pt>
                <c:pt idx="10">
                  <c:v>164</c:v>
                </c:pt>
                <c:pt idx="11">
                  <c:v>167.9</c:v>
                </c:pt>
                <c:pt idx="12">
                  <c:v>162.69999999999999</c:v>
                </c:pt>
                <c:pt idx="13">
                  <c:v>172.3</c:v>
                </c:pt>
                <c:pt idx="14">
                  <c:v>179.7</c:v>
                </c:pt>
                <c:pt idx="15">
                  <c:v>173.6</c:v>
                </c:pt>
                <c:pt idx="16">
                  <c:v>186.2</c:v>
                </c:pt>
                <c:pt idx="17">
                  <c:v>181.1</c:v>
                </c:pt>
                <c:pt idx="18">
                  <c:v>165.1</c:v>
                </c:pt>
                <c:pt idx="19">
                  <c:v>168.9</c:v>
                </c:pt>
                <c:pt idx="20">
                  <c:v>195.5</c:v>
                </c:pt>
                <c:pt idx="21">
                  <c:v>186.8</c:v>
                </c:pt>
                <c:pt idx="22">
                  <c:v>193.9</c:v>
                </c:pt>
                <c:pt idx="23">
                  <c:v>199.4</c:v>
                </c:pt>
                <c:pt idx="24">
                  <c:v>202.3</c:v>
                </c:pt>
                <c:pt idx="25">
                  <c:v>208.7</c:v>
                </c:pt>
                <c:pt idx="26">
                  <c:v>189.2</c:v>
                </c:pt>
                <c:pt idx="27">
                  <c:v>170.4</c:v>
                </c:pt>
                <c:pt idx="28">
                  <c:v>152.30000000000001</c:v>
                </c:pt>
                <c:pt idx="29">
                  <c:v>152.80000000000001</c:v>
                </c:pt>
                <c:pt idx="30">
                  <c:v>128.69999999999999</c:v>
                </c:pt>
                <c:pt idx="31">
                  <c:v>117.4</c:v>
                </c:pt>
                <c:pt idx="32">
                  <c:v>115.4</c:v>
                </c:pt>
                <c:pt idx="33">
                  <c:v>116.7</c:v>
                </c:pt>
                <c:pt idx="34">
                  <c:v>116</c:v>
                </c:pt>
                <c:pt idx="35">
                  <c:v>103.9</c:v>
                </c:pt>
                <c:pt idx="36">
                  <c:v>99.4</c:v>
                </c:pt>
                <c:pt idx="37">
                  <c:v>98.6</c:v>
                </c:pt>
                <c:pt idx="38">
                  <c:v>106.4</c:v>
                </c:pt>
                <c:pt idx="39">
                  <c:v>121.7</c:v>
                </c:pt>
                <c:pt idx="40">
                  <c:v>121.4</c:v>
                </c:pt>
                <c:pt idx="41">
                  <c:v>126.7</c:v>
                </c:pt>
                <c:pt idx="42">
                  <c:v>133.1</c:v>
                </c:pt>
                <c:pt idx="43">
                  <c:v>133.5</c:v>
                </c:pt>
                <c:pt idx="44">
                  <c:v>128.69999999999999</c:v>
                </c:pt>
                <c:pt idx="45">
                  <c:v>145.80000000000001</c:v>
                </c:pt>
                <c:pt idx="46">
                  <c:v>140.30000000000001</c:v>
                </c:pt>
                <c:pt idx="47">
                  <c:v>124.5</c:v>
                </c:pt>
                <c:pt idx="48">
                  <c:v>127.5</c:v>
                </c:pt>
                <c:pt idx="49">
                  <c:v>122.4</c:v>
                </c:pt>
                <c:pt idx="50">
                  <c:v>128.9</c:v>
                </c:pt>
                <c:pt idx="51">
                  <c:v>142.5</c:v>
                </c:pt>
                <c:pt idx="52">
                  <c:v>151.69999999999999</c:v>
                </c:pt>
                <c:pt idx="53">
                  <c:v>154.5</c:v>
                </c:pt>
                <c:pt idx="54">
                  <c:v>162.9</c:v>
                </c:pt>
                <c:pt idx="55">
                  <c:v>169</c:v>
                </c:pt>
                <c:pt idx="56">
                  <c:v>169.9</c:v>
                </c:pt>
                <c:pt idx="57">
                  <c:v>167.1</c:v>
                </c:pt>
                <c:pt idx="58">
                  <c:v>186.7</c:v>
                </c:pt>
                <c:pt idx="59">
                  <c:v>187.6</c:v>
                </c:pt>
                <c:pt idx="60">
                  <c:v>175.1</c:v>
                </c:pt>
                <c:pt idx="61">
                  <c:v>189.8</c:v>
                </c:pt>
                <c:pt idx="62">
                  <c:v>183.5</c:v>
                </c:pt>
                <c:pt idx="63">
                  <c:v>168.6</c:v>
                </c:pt>
                <c:pt idx="64">
                  <c:v>180.9</c:v>
                </c:pt>
                <c:pt idx="65">
                  <c:v>191.1</c:v>
                </c:pt>
                <c:pt idx="66">
                  <c:v>177.5</c:v>
                </c:pt>
                <c:pt idx="67">
                  <c:v>184.6</c:v>
                </c:pt>
                <c:pt idx="68">
                  <c:v>186</c:v>
                </c:pt>
                <c:pt idx="69">
                  <c:v>179.4</c:v>
                </c:pt>
                <c:pt idx="70">
                  <c:v>182.3</c:v>
                </c:pt>
                <c:pt idx="71">
                  <c:v>190</c:v>
                </c:pt>
                <c:pt idx="72">
                  <c:v>207.8</c:v>
                </c:pt>
                <c:pt idx="73">
                  <c:v>215.4</c:v>
                </c:pt>
                <c:pt idx="74">
                  <c:v>221.2</c:v>
                </c:pt>
                <c:pt idx="75">
                  <c:v>201.9</c:v>
                </c:pt>
                <c:pt idx="76">
                  <c:v>181.1</c:v>
                </c:pt>
                <c:pt idx="77">
                  <c:v>201.7</c:v>
                </c:pt>
                <c:pt idx="78">
                  <c:v>206.5</c:v>
                </c:pt>
                <c:pt idx="79">
                  <c:v>185.4</c:v>
                </c:pt>
                <c:pt idx="80">
                  <c:v>201.2</c:v>
                </c:pt>
                <c:pt idx="81">
                  <c:v>240.1</c:v>
                </c:pt>
                <c:pt idx="82">
                  <c:v>225.5</c:v>
                </c:pt>
                <c:pt idx="83">
                  <c:v>224.5</c:v>
                </c:pt>
                <c:pt idx="84">
                  <c:v>230.8</c:v>
                </c:pt>
                <c:pt idx="85">
                  <c:v>228.6</c:v>
                </c:pt>
                <c:pt idx="86">
                  <c:v>236.2</c:v>
                </c:pt>
                <c:pt idx="87">
                  <c:v>256.2</c:v>
                </c:pt>
                <c:pt idx="88">
                  <c:v>260.5</c:v>
                </c:pt>
                <c:pt idx="89">
                  <c:v>261</c:v>
                </c:pt>
                <c:pt idx="90">
                  <c:v>269.89999999999998</c:v>
                </c:pt>
                <c:pt idx="91">
                  <c:v>263.39999999999998</c:v>
                </c:pt>
                <c:pt idx="92">
                  <c:v>272.60000000000002</c:v>
                </c:pt>
                <c:pt idx="93">
                  <c:v>270.60000000000002</c:v>
                </c:pt>
                <c:pt idx="94">
                  <c:v>251.6</c:v>
                </c:pt>
                <c:pt idx="95">
                  <c:v>267.3</c:v>
                </c:pt>
                <c:pt idx="96">
                  <c:v>260.8</c:v>
                </c:pt>
                <c:pt idx="97">
                  <c:v>259.3</c:v>
                </c:pt>
                <c:pt idx="98">
                  <c:v>256.2</c:v>
                </c:pt>
                <c:pt idx="99">
                  <c:v>256.7</c:v>
                </c:pt>
                <c:pt idx="100">
                  <c:v>255.5</c:v>
                </c:pt>
                <c:pt idx="101">
                  <c:v>245.2</c:v>
                </c:pt>
                <c:pt idx="102">
                  <c:v>244.3</c:v>
                </c:pt>
                <c:pt idx="103">
                  <c:v>275.60000000000002</c:v>
                </c:pt>
                <c:pt idx="104">
                  <c:v>257.2</c:v>
                </c:pt>
                <c:pt idx="105">
                  <c:v>248.9</c:v>
                </c:pt>
                <c:pt idx="106">
                  <c:v>270</c:v>
                </c:pt>
                <c:pt idx="107">
                  <c:v>275</c:v>
                </c:pt>
                <c:pt idx="108">
                  <c:v>260.10000000000002</c:v>
                </c:pt>
                <c:pt idx="109">
                  <c:v>262.10000000000002</c:v>
                </c:pt>
                <c:pt idx="110">
                  <c:v>271.5</c:v>
                </c:pt>
                <c:pt idx="111">
                  <c:v>276.3</c:v>
                </c:pt>
                <c:pt idx="112">
                  <c:v>280.2</c:v>
                </c:pt>
                <c:pt idx="113">
                  <c:v>280.10000000000002</c:v>
                </c:pt>
                <c:pt idx="114">
                  <c:v>266.89999999999998</c:v>
                </c:pt>
                <c:pt idx="115">
                  <c:v>259.10000000000002</c:v>
                </c:pt>
                <c:pt idx="116">
                  <c:v>248.7</c:v>
                </c:pt>
                <c:pt idx="117">
                  <c:v>238.4</c:v>
                </c:pt>
                <c:pt idx="118">
                  <c:v>247</c:v>
                </c:pt>
                <c:pt idx="119">
                  <c:v>250.4</c:v>
                </c:pt>
                <c:pt idx="120">
                  <c:v>278.10000000000002</c:v>
                </c:pt>
                <c:pt idx="121">
                  <c:v>273.8</c:v>
                </c:pt>
                <c:pt idx="122">
                  <c:v>263</c:v>
                </c:pt>
                <c:pt idx="123">
                  <c:v>267</c:v>
                </c:pt>
                <c:pt idx="124">
                  <c:v>267.3</c:v>
                </c:pt>
                <c:pt idx="125">
                  <c:v>268.7</c:v>
                </c:pt>
                <c:pt idx="126">
                  <c:v>262</c:v>
                </c:pt>
                <c:pt idx="127">
                  <c:v>265.8</c:v>
                </c:pt>
                <c:pt idx="128">
                  <c:v>286.8</c:v>
                </c:pt>
                <c:pt idx="129">
                  <c:v>291.2</c:v>
                </c:pt>
                <c:pt idx="130">
                  <c:v>290.39999999999998</c:v>
                </c:pt>
                <c:pt idx="131">
                  <c:v>273.10000000000002</c:v>
                </c:pt>
                <c:pt idx="132">
                  <c:v>294.7</c:v>
                </c:pt>
                <c:pt idx="133">
                  <c:v>298.2</c:v>
                </c:pt>
                <c:pt idx="134">
                  <c:v>298.5</c:v>
                </c:pt>
                <c:pt idx="135">
                  <c:v>317.5</c:v>
                </c:pt>
                <c:pt idx="136">
                  <c:v>310</c:v>
                </c:pt>
                <c:pt idx="137">
                  <c:v>320.39999999999998</c:v>
                </c:pt>
                <c:pt idx="138">
                  <c:v>326.5</c:v>
                </c:pt>
                <c:pt idx="139">
                  <c:v>327.7</c:v>
                </c:pt>
                <c:pt idx="140">
                  <c:v>320.2</c:v>
                </c:pt>
                <c:pt idx="141">
                  <c:v>320.7</c:v>
                </c:pt>
                <c:pt idx="142">
                  <c:v>291.5</c:v>
                </c:pt>
                <c:pt idx="143">
                  <c:v>283.39999999999998</c:v>
                </c:pt>
                <c:pt idx="144">
                  <c:v>289.60000000000002</c:v>
                </c:pt>
                <c:pt idx="145">
                  <c:v>284</c:v>
                </c:pt>
                <c:pt idx="146">
                  <c:v>300.8</c:v>
                </c:pt>
                <c:pt idx="147">
                  <c:v>323.2</c:v>
                </c:pt>
                <c:pt idx="148">
                  <c:v>303.60000000000002</c:v>
                </c:pt>
                <c:pt idx="149">
                  <c:v>297.7</c:v>
                </c:pt>
                <c:pt idx="150">
                  <c:v>318.5</c:v>
                </c:pt>
                <c:pt idx="151">
                  <c:v>318.3</c:v>
                </c:pt>
                <c:pt idx="152">
                  <c:v>314.39999999999998</c:v>
                </c:pt>
                <c:pt idx="153">
                  <c:v>311.10000000000002</c:v>
                </c:pt>
                <c:pt idx="154">
                  <c:v>314.7</c:v>
                </c:pt>
                <c:pt idx="155">
                  <c:v>320.60000000000002</c:v>
                </c:pt>
                <c:pt idx="156">
                  <c:v>314.3</c:v>
                </c:pt>
                <c:pt idx="157">
                  <c:v>325.5</c:v>
                </c:pt>
                <c:pt idx="158">
                  <c:v>316</c:v>
                </c:pt>
                <c:pt idx="159">
                  <c:v>308.10000000000002</c:v>
                </c:pt>
                <c:pt idx="160">
                  <c:v>281</c:v>
                </c:pt>
                <c:pt idx="161">
                  <c:v>257.5</c:v>
                </c:pt>
                <c:pt idx="162">
                  <c:v>234.4</c:v>
                </c:pt>
                <c:pt idx="163">
                  <c:v>204.8</c:v>
                </c:pt>
                <c:pt idx="164">
                  <c:v>189.8</c:v>
                </c:pt>
                <c:pt idx="165">
                  <c:v>208.3</c:v>
                </c:pt>
                <c:pt idx="166">
                  <c:v>226</c:v>
                </c:pt>
                <c:pt idx="167">
                  <c:v>207.6</c:v>
                </c:pt>
                <c:pt idx="168">
                  <c:v>236.2</c:v>
                </c:pt>
                <c:pt idx="169">
                  <c:v>196.5</c:v>
                </c:pt>
                <c:pt idx="170">
                  <c:v>203.8</c:v>
                </c:pt>
                <c:pt idx="171">
                  <c:v>174.7</c:v>
                </c:pt>
                <c:pt idx="172">
                  <c:v>193.9</c:v>
                </c:pt>
                <c:pt idx="173">
                  <c:v>206.4</c:v>
                </c:pt>
                <c:pt idx="174">
                  <c:v>194.7</c:v>
                </c:pt>
                <c:pt idx="175">
                  <c:v>205.4</c:v>
                </c:pt>
                <c:pt idx="176">
                  <c:v>209.7</c:v>
                </c:pt>
                <c:pt idx="177">
                  <c:v>223.5</c:v>
                </c:pt>
                <c:pt idx="178">
                  <c:v>235.5</c:v>
                </c:pt>
                <c:pt idx="179">
                  <c:v>236.9</c:v>
                </c:pt>
                <c:pt idx="180">
                  <c:v>233.7</c:v>
                </c:pt>
                <c:pt idx="181">
                  <c:v>233.5</c:v>
                </c:pt>
                <c:pt idx="182">
                  <c:v>222.1</c:v>
                </c:pt>
                <c:pt idx="183">
                  <c:v>218.5</c:v>
                </c:pt>
                <c:pt idx="184">
                  <c:v>232.9</c:v>
                </c:pt>
                <c:pt idx="185">
                  <c:v>231.2</c:v>
                </c:pt>
                <c:pt idx="186">
                  <c:v>246.9</c:v>
                </c:pt>
              </c:numCache>
            </c:numRef>
          </c:val>
          <c:extLst>
            <c:ext xmlns:c16="http://schemas.microsoft.com/office/drawing/2014/chart" uri="{C3380CC4-5D6E-409C-BE32-E72D297353CC}">
              <c16:uniqueId val="{00000000-BC32-45FB-8704-E9B74D713631}"/>
            </c:ext>
          </c:extLst>
        </c:ser>
        <c:ser>
          <c:idx val="1"/>
          <c:order val="1"/>
          <c:tx>
            <c:strRef>
              <c:f>Sheet1!$C$3</c:f>
              <c:strCache>
                <c:ptCount val="1"/>
                <c:pt idx="0">
                  <c:v>Financial CP</c:v>
                </c:pt>
              </c:strCache>
            </c:strRef>
          </c:tx>
          <c:spPr>
            <a:solidFill>
              <a:srgbClr val="298FC2"/>
            </a:solidFill>
          </c:spPr>
          <c:cat>
            <c:numRef>
              <c:f>Sheet1!$A$7:$A$193</c:f>
              <c:numCache>
                <c:formatCode>m/d/yyyy</c:formatCode>
                <c:ptCount val="187"/>
                <c:pt idx="0">
                  <c:v>0</c:v>
                </c:pt>
                <c:pt idx="1">
                  <c:v>39113</c:v>
                </c:pt>
                <c:pt idx="2">
                  <c:v>39141</c:v>
                </c:pt>
                <c:pt idx="3">
                  <c:v>39172</c:v>
                </c:pt>
                <c:pt idx="4">
                  <c:v>39202</c:v>
                </c:pt>
                <c:pt idx="5">
                  <c:v>39233</c:v>
                </c:pt>
                <c:pt idx="6">
                  <c:v>39263</c:v>
                </c:pt>
                <c:pt idx="7">
                  <c:v>39294</c:v>
                </c:pt>
                <c:pt idx="8">
                  <c:v>39325</c:v>
                </c:pt>
                <c:pt idx="9">
                  <c:v>39355</c:v>
                </c:pt>
                <c:pt idx="10">
                  <c:v>39386</c:v>
                </c:pt>
                <c:pt idx="11">
                  <c:v>39416</c:v>
                </c:pt>
                <c:pt idx="12">
                  <c:v>39447</c:v>
                </c:pt>
                <c:pt idx="13">
                  <c:v>39478</c:v>
                </c:pt>
                <c:pt idx="14">
                  <c:v>39507</c:v>
                </c:pt>
                <c:pt idx="15">
                  <c:v>39538</c:v>
                </c:pt>
                <c:pt idx="16">
                  <c:v>39568</c:v>
                </c:pt>
                <c:pt idx="17">
                  <c:v>39599</c:v>
                </c:pt>
                <c:pt idx="18">
                  <c:v>39629</c:v>
                </c:pt>
                <c:pt idx="19">
                  <c:v>39660</c:v>
                </c:pt>
                <c:pt idx="20">
                  <c:v>39691</c:v>
                </c:pt>
                <c:pt idx="21">
                  <c:v>39721</c:v>
                </c:pt>
                <c:pt idx="22">
                  <c:v>39752</c:v>
                </c:pt>
                <c:pt idx="23">
                  <c:v>39782</c:v>
                </c:pt>
                <c:pt idx="24">
                  <c:v>39813</c:v>
                </c:pt>
                <c:pt idx="25">
                  <c:v>39844</c:v>
                </c:pt>
                <c:pt idx="26">
                  <c:v>39872</c:v>
                </c:pt>
                <c:pt idx="27">
                  <c:v>39903</c:v>
                </c:pt>
                <c:pt idx="28">
                  <c:v>39933</c:v>
                </c:pt>
                <c:pt idx="29">
                  <c:v>39964</c:v>
                </c:pt>
                <c:pt idx="30">
                  <c:v>39994</c:v>
                </c:pt>
                <c:pt idx="31">
                  <c:v>40025</c:v>
                </c:pt>
                <c:pt idx="32">
                  <c:v>40056</c:v>
                </c:pt>
                <c:pt idx="33">
                  <c:v>40086</c:v>
                </c:pt>
                <c:pt idx="34">
                  <c:v>40117</c:v>
                </c:pt>
                <c:pt idx="35">
                  <c:v>40147</c:v>
                </c:pt>
                <c:pt idx="36">
                  <c:v>40178</c:v>
                </c:pt>
                <c:pt idx="37">
                  <c:v>40209</c:v>
                </c:pt>
                <c:pt idx="38">
                  <c:v>40237</c:v>
                </c:pt>
                <c:pt idx="39">
                  <c:v>40268</c:v>
                </c:pt>
                <c:pt idx="40">
                  <c:v>40298</c:v>
                </c:pt>
                <c:pt idx="41">
                  <c:v>40329</c:v>
                </c:pt>
                <c:pt idx="42">
                  <c:v>40359</c:v>
                </c:pt>
                <c:pt idx="43">
                  <c:v>40390</c:v>
                </c:pt>
                <c:pt idx="44">
                  <c:v>40421</c:v>
                </c:pt>
                <c:pt idx="45">
                  <c:v>40451</c:v>
                </c:pt>
                <c:pt idx="46">
                  <c:v>40482</c:v>
                </c:pt>
                <c:pt idx="47">
                  <c:v>40512</c:v>
                </c:pt>
                <c:pt idx="48">
                  <c:v>40543</c:v>
                </c:pt>
                <c:pt idx="49">
                  <c:v>40574</c:v>
                </c:pt>
                <c:pt idx="50">
                  <c:v>40602</c:v>
                </c:pt>
                <c:pt idx="51">
                  <c:v>40633</c:v>
                </c:pt>
                <c:pt idx="52">
                  <c:v>40663</c:v>
                </c:pt>
                <c:pt idx="53">
                  <c:v>40694</c:v>
                </c:pt>
                <c:pt idx="54">
                  <c:v>40724</c:v>
                </c:pt>
                <c:pt idx="55">
                  <c:v>40755</c:v>
                </c:pt>
                <c:pt idx="56">
                  <c:v>40786</c:v>
                </c:pt>
                <c:pt idx="57">
                  <c:v>40816</c:v>
                </c:pt>
                <c:pt idx="58">
                  <c:v>40847</c:v>
                </c:pt>
                <c:pt idx="59">
                  <c:v>40877</c:v>
                </c:pt>
                <c:pt idx="60">
                  <c:v>40908</c:v>
                </c:pt>
                <c:pt idx="61">
                  <c:v>40939</c:v>
                </c:pt>
                <c:pt idx="62">
                  <c:v>40968</c:v>
                </c:pt>
                <c:pt idx="63">
                  <c:v>40999</c:v>
                </c:pt>
                <c:pt idx="64">
                  <c:v>41029</c:v>
                </c:pt>
                <c:pt idx="65">
                  <c:v>41060</c:v>
                </c:pt>
                <c:pt idx="66">
                  <c:v>41090</c:v>
                </c:pt>
                <c:pt idx="67">
                  <c:v>41121</c:v>
                </c:pt>
                <c:pt idx="68">
                  <c:v>41152</c:v>
                </c:pt>
                <c:pt idx="69">
                  <c:v>41182</c:v>
                </c:pt>
                <c:pt idx="70">
                  <c:v>41213</c:v>
                </c:pt>
                <c:pt idx="71">
                  <c:v>41243</c:v>
                </c:pt>
                <c:pt idx="72">
                  <c:v>41274</c:v>
                </c:pt>
                <c:pt idx="73">
                  <c:v>41305</c:v>
                </c:pt>
                <c:pt idx="74">
                  <c:v>41333</c:v>
                </c:pt>
                <c:pt idx="75">
                  <c:v>41364</c:v>
                </c:pt>
                <c:pt idx="76">
                  <c:v>41394</c:v>
                </c:pt>
                <c:pt idx="77">
                  <c:v>41425</c:v>
                </c:pt>
                <c:pt idx="78">
                  <c:v>41455</c:v>
                </c:pt>
                <c:pt idx="79">
                  <c:v>41486</c:v>
                </c:pt>
                <c:pt idx="80">
                  <c:v>41517</c:v>
                </c:pt>
                <c:pt idx="81">
                  <c:v>41547</c:v>
                </c:pt>
                <c:pt idx="82">
                  <c:v>41578</c:v>
                </c:pt>
                <c:pt idx="83">
                  <c:v>41608</c:v>
                </c:pt>
                <c:pt idx="84">
                  <c:v>41639</c:v>
                </c:pt>
                <c:pt idx="85">
                  <c:v>41670</c:v>
                </c:pt>
                <c:pt idx="86">
                  <c:v>41698</c:v>
                </c:pt>
                <c:pt idx="87">
                  <c:v>41729</c:v>
                </c:pt>
                <c:pt idx="88">
                  <c:v>41759</c:v>
                </c:pt>
                <c:pt idx="89">
                  <c:v>41790</c:v>
                </c:pt>
                <c:pt idx="90">
                  <c:v>41820</c:v>
                </c:pt>
                <c:pt idx="91">
                  <c:v>41851</c:v>
                </c:pt>
                <c:pt idx="92">
                  <c:v>41882</c:v>
                </c:pt>
                <c:pt idx="93">
                  <c:v>41912</c:v>
                </c:pt>
                <c:pt idx="94">
                  <c:v>41943</c:v>
                </c:pt>
                <c:pt idx="95">
                  <c:v>41973</c:v>
                </c:pt>
                <c:pt idx="96">
                  <c:v>42004</c:v>
                </c:pt>
                <c:pt idx="97">
                  <c:v>42035</c:v>
                </c:pt>
                <c:pt idx="98">
                  <c:v>42063</c:v>
                </c:pt>
                <c:pt idx="99">
                  <c:v>42094</c:v>
                </c:pt>
                <c:pt idx="100">
                  <c:v>42124</c:v>
                </c:pt>
                <c:pt idx="101">
                  <c:v>42155</c:v>
                </c:pt>
                <c:pt idx="102">
                  <c:v>42185</c:v>
                </c:pt>
                <c:pt idx="103">
                  <c:v>42216</c:v>
                </c:pt>
                <c:pt idx="104">
                  <c:v>42247</c:v>
                </c:pt>
                <c:pt idx="105">
                  <c:v>42277</c:v>
                </c:pt>
                <c:pt idx="106">
                  <c:v>42308</c:v>
                </c:pt>
                <c:pt idx="107">
                  <c:v>42338</c:v>
                </c:pt>
                <c:pt idx="108">
                  <c:v>42369</c:v>
                </c:pt>
                <c:pt idx="109">
                  <c:v>42400</c:v>
                </c:pt>
                <c:pt idx="110">
                  <c:v>42429</c:v>
                </c:pt>
                <c:pt idx="111">
                  <c:v>42460</c:v>
                </c:pt>
                <c:pt idx="112">
                  <c:v>42490</c:v>
                </c:pt>
                <c:pt idx="113">
                  <c:v>42521</c:v>
                </c:pt>
                <c:pt idx="114">
                  <c:v>42551</c:v>
                </c:pt>
                <c:pt idx="115">
                  <c:v>42582</c:v>
                </c:pt>
                <c:pt idx="116">
                  <c:v>42613</c:v>
                </c:pt>
                <c:pt idx="117">
                  <c:v>42643</c:v>
                </c:pt>
                <c:pt idx="118">
                  <c:v>42674</c:v>
                </c:pt>
                <c:pt idx="119">
                  <c:v>42704</c:v>
                </c:pt>
                <c:pt idx="120">
                  <c:v>42735</c:v>
                </c:pt>
                <c:pt idx="121">
                  <c:v>42766</c:v>
                </c:pt>
                <c:pt idx="122">
                  <c:v>42794</c:v>
                </c:pt>
                <c:pt idx="123">
                  <c:v>42825</c:v>
                </c:pt>
                <c:pt idx="124">
                  <c:v>42855</c:v>
                </c:pt>
                <c:pt idx="125">
                  <c:v>42886</c:v>
                </c:pt>
                <c:pt idx="126">
                  <c:v>42916</c:v>
                </c:pt>
                <c:pt idx="127">
                  <c:v>42947</c:v>
                </c:pt>
                <c:pt idx="128">
                  <c:v>42978</c:v>
                </c:pt>
                <c:pt idx="129">
                  <c:v>43008</c:v>
                </c:pt>
                <c:pt idx="130">
                  <c:v>43039</c:v>
                </c:pt>
                <c:pt idx="131">
                  <c:v>43069</c:v>
                </c:pt>
                <c:pt idx="132">
                  <c:v>43100</c:v>
                </c:pt>
                <c:pt idx="133">
                  <c:v>43131</c:v>
                </c:pt>
                <c:pt idx="134">
                  <c:v>43159</c:v>
                </c:pt>
                <c:pt idx="135">
                  <c:v>43190</c:v>
                </c:pt>
                <c:pt idx="136">
                  <c:v>43220</c:v>
                </c:pt>
                <c:pt idx="137">
                  <c:v>43251</c:v>
                </c:pt>
                <c:pt idx="138">
                  <c:v>43281</c:v>
                </c:pt>
                <c:pt idx="139">
                  <c:v>43312</c:v>
                </c:pt>
                <c:pt idx="140">
                  <c:v>43343</c:v>
                </c:pt>
                <c:pt idx="141">
                  <c:v>43373</c:v>
                </c:pt>
                <c:pt idx="142">
                  <c:v>43404</c:v>
                </c:pt>
                <c:pt idx="143">
                  <c:v>43434</c:v>
                </c:pt>
                <c:pt idx="144">
                  <c:v>43465</c:v>
                </c:pt>
                <c:pt idx="145">
                  <c:v>43496</c:v>
                </c:pt>
                <c:pt idx="146">
                  <c:v>43524</c:v>
                </c:pt>
                <c:pt idx="147">
                  <c:v>43555</c:v>
                </c:pt>
                <c:pt idx="148">
                  <c:v>43585</c:v>
                </c:pt>
                <c:pt idx="149">
                  <c:v>43616</c:v>
                </c:pt>
                <c:pt idx="150">
                  <c:v>43646</c:v>
                </c:pt>
                <c:pt idx="151">
                  <c:v>43677</c:v>
                </c:pt>
                <c:pt idx="152">
                  <c:v>43708</c:v>
                </c:pt>
                <c:pt idx="153">
                  <c:v>43738</c:v>
                </c:pt>
                <c:pt idx="154">
                  <c:v>43769</c:v>
                </c:pt>
                <c:pt idx="155">
                  <c:v>43799</c:v>
                </c:pt>
                <c:pt idx="156">
                  <c:v>43830</c:v>
                </c:pt>
                <c:pt idx="157">
                  <c:v>43861</c:v>
                </c:pt>
                <c:pt idx="158">
                  <c:v>43890</c:v>
                </c:pt>
                <c:pt idx="159">
                  <c:v>43921</c:v>
                </c:pt>
                <c:pt idx="160">
                  <c:v>43951</c:v>
                </c:pt>
                <c:pt idx="161">
                  <c:v>43982</c:v>
                </c:pt>
                <c:pt idx="162">
                  <c:v>44012</c:v>
                </c:pt>
                <c:pt idx="163">
                  <c:v>44043</c:v>
                </c:pt>
                <c:pt idx="164">
                  <c:v>44074</c:v>
                </c:pt>
                <c:pt idx="165">
                  <c:v>44104</c:v>
                </c:pt>
                <c:pt idx="166">
                  <c:v>44135</c:v>
                </c:pt>
                <c:pt idx="167">
                  <c:v>44165</c:v>
                </c:pt>
                <c:pt idx="168">
                  <c:v>44196</c:v>
                </c:pt>
                <c:pt idx="169">
                  <c:v>44227</c:v>
                </c:pt>
                <c:pt idx="170">
                  <c:v>44255</c:v>
                </c:pt>
                <c:pt idx="171">
                  <c:v>44286</c:v>
                </c:pt>
                <c:pt idx="172">
                  <c:v>44316</c:v>
                </c:pt>
                <c:pt idx="173">
                  <c:v>44347</c:v>
                </c:pt>
                <c:pt idx="174">
                  <c:v>44377</c:v>
                </c:pt>
                <c:pt idx="175">
                  <c:v>44408</c:v>
                </c:pt>
                <c:pt idx="176">
                  <c:v>44439</c:v>
                </c:pt>
                <c:pt idx="177">
                  <c:v>44469</c:v>
                </c:pt>
                <c:pt idx="178">
                  <c:v>44500</c:v>
                </c:pt>
                <c:pt idx="179">
                  <c:v>44530</c:v>
                </c:pt>
                <c:pt idx="180">
                  <c:v>44561</c:v>
                </c:pt>
                <c:pt idx="181">
                  <c:v>44592</c:v>
                </c:pt>
                <c:pt idx="182">
                  <c:v>44620</c:v>
                </c:pt>
                <c:pt idx="183">
                  <c:v>44651</c:v>
                </c:pt>
                <c:pt idx="184">
                  <c:v>44681</c:v>
                </c:pt>
                <c:pt idx="185">
                  <c:v>44712</c:v>
                </c:pt>
                <c:pt idx="186">
                  <c:v>44742</c:v>
                </c:pt>
              </c:numCache>
            </c:numRef>
          </c:cat>
          <c:val>
            <c:numRef>
              <c:f>Sheet1!$C$7:$C$193</c:f>
              <c:numCache>
                <c:formatCode>General</c:formatCode>
                <c:ptCount val="187"/>
                <c:pt idx="0">
                  <c:v>0</c:v>
                </c:pt>
                <c:pt idx="1">
                  <c:v>742.1</c:v>
                </c:pt>
                <c:pt idx="2">
                  <c:v>765.8</c:v>
                </c:pt>
                <c:pt idx="3">
                  <c:v>771.5</c:v>
                </c:pt>
                <c:pt idx="4">
                  <c:v>767.4</c:v>
                </c:pt>
                <c:pt idx="5">
                  <c:v>783.4</c:v>
                </c:pt>
                <c:pt idx="6">
                  <c:v>769.1</c:v>
                </c:pt>
                <c:pt idx="7">
                  <c:v>789.7</c:v>
                </c:pt>
                <c:pt idx="8">
                  <c:v>742.2</c:v>
                </c:pt>
                <c:pt idx="9">
                  <c:v>745.6</c:v>
                </c:pt>
                <c:pt idx="10">
                  <c:v>817.5</c:v>
                </c:pt>
                <c:pt idx="11">
                  <c:v>822.2</c:v>
                </c:pt>
                <c:pt idx="12">
                  <c:v>814.9</c:v>
                </c:pt>
                <c:pt idx="13">
                  <c:v>853.3</c:v>
                </c:pt>
                <c:pt idx="14">
                  <c:v>844.1</c:v>
                </c:pt>
                <c:pt idx="15">
                  <c:v>835.2</c:v>
                </c:pt>
                <c:pt idx="16">
                  <c:v>802.3</c:v>
                </c:pt>
                <c:pt idx="17">
                  <c:v>810.9</c:v>
                </c:pt>
                <c:pt idx="18">
                  <c:v>817.1</c:v>
                </c:pt>
                <c:pt idx="19">
                  <c:v>808.1</c:v>
                </c:pt>
                <c:pt idx="20">
                  <c:v>833.7</c:v>
                </c:pt>
                <c:pt idx="21">
                  <c:v>711.6</c:v>
                </c:pt>
                <c:pt idx="22">
                  <c:v>670.9</c:v>
                </c:pt>
                <c:pt idx="23">
                  <c:v>678.5</c:v>
                </c:pt>
                <c:pt idx="24">
                  <c:v>731.3</c:v>
                </c:pt>
                <c:pt idx="25">
                  <c:v>630.79999999999995</c:v>
                </c:pt>
                <c:pt idx="26">
                  <c:v>588.5</c:v>
                </c:pt>
                <c:pt idx="27">
                  <c:v>637.70000000000005</c:v>
                </c:pt>
                <c:pt idx="28">
                  <c:v>574.1</c:v>
                </c:pt>
                <c:pt idx="29">
                  <c:v>559.70000000000005</c:v>
                </c:pt>
                <c:pt idx="30">
                  <c:v>576.70000000000005</c:v>
                </c:pt>
                <c:pt idx="31">
                  <c:v>498.5</c:v>
                </c:pt>
                <c:pt idx="32">
                  <c:v>540.4</c:v>
                </c:pt>
                <c:pt idx="33">
                  <c:v>626</c:v>
                </c:pt>
                <c:pt idx="34">
                  <c:v>604.1</c:v>
                </c:pt>
                <c:pt idx="35">
                  <c:v>609.5</c:v>
                </c:pt>
                <c:pt idx="36">
                  <c:v>577.20000000000005</c:v>
                </c:pt>
                <c:pt idx="37">
                  <c:v>596.1</c:v>
                </c:pt>
                <c:pt idx="38">
                  <c:v>580.79999999999995</c:v>
                </c:pt>
                <c:pt idx="39">
                  <c:v>572.5</c:v>
                </c:pt>
                <c:pt idx="40">
                  <c:v>556.20000000000005</c:v>
                </c:pt>
                <c:pt idx="41">
                  <c:v>532.70000000000005</c:v>
                </c:pt>
                <c:pt idx="42">
                  <c:v>517</c:v>
                </c:pt>
                <c:pt idx="43">
                  <c:v>522.79999999999995</c:v>
                </c:pt>
                <c:pt idx="44">
                  <c:v>521.6</c:v>
                </c:pt>
                <c:pt idx="45">
                  <c:v>540.5</c:v>
                </c:pt>
                <c:pt idx="46">
                  <c:v>528.29999999999995</c:v>
                </c:pt>
                <c:pt idx="47">
                  <c:v>529.1</c:v>
                </c:pt>
                <c:pt idx="48">
                  <c:v>530.4</c:v>
                </c:pt>
                <c:pt idx="49">
                  <c:v>509</c:v>
                </c:pt>
                <c:pt idx="50">
                  <c:v>536.70000000000005</c:v>
                </c:pt>
                <c:pt idx="51">
                  <c:v>560</c:v>
                </c:pt>
                <c:pt idx="52">
                  <c:v>633.20000000000005</c:v>
                </c:pt>
                <c:pt idx="53">
                  <c:v>627.70000000000005</c:v>
                </c:pt>
                <c:pt idx="54">
                  <c:v>606.70000000000005</c:v>
                </c:pt>
                <c:pt idx="55">
                  <c:v>556.5</c:v>
                </c:pt>
                <c:pt idx="56">
                  <c:v>557.5</c:v>
                </c:pt>
                <c:pt idx="57">
                  <c:v>513.6</c:v>
                </c:pt>
                <c:pt idx="58">
                  <c:v>490</c:v>
                </c:pt>
                <c:pt idx="59">
                  <c:v>478.6</c:v>
                </c:pt>
                <c:pt idx="60">
                  <c:v>433.9</c:v>
                </c:pt>
                <c:pt idx="61">
                  <c:v>445.3</c:v>
                </c:pt>
                <c:pt idx="62">
                  <c:v>444.9</c:v>
                </c:pt>
                <c:pt idx="63">
                  <c:v>440.6</c:v>
                </c:pt>
                <c:pt idx="64">
                  <c:v>443.6</c:v>
                </c:pt>
                <c:pt idx="65">
                  <c:v>456.3</c:v>
                </c:pt>
                <c:pt idx="66">
                  <c:v>469.7</c:v>
                </c:pt>
                <c:pt idx="67">
                  <c:v>497.3</c:v>
                </c:pt>
                <c:pt idx="68">
                  <c:v>500</c:v>
                </c:pt>
                <c:pt idx="69">
                  <c:v>495.4</c:v>
                </c:pt>
                <c:pt idx="70">
                  <c:v>493.5</c:v>
                </c:pt>
                <c:pt idx="71">
                  <c:v>501.3</c:v>
                </c:pt>
                <c:pt idx="72">
                  <c:v>508.7</c:v>
                </c:pt>
                <c:pt idx="73">
                  <c:v>555.70000000000005</c:v>
                </c:pt>
                <c:pt idx="74">
                  <c:v>523.79999999999995</c:v>
                </c:pt>
                <c:pt idx="75">
                  <c:v>504.3</c:v>
                </c:pt>
                <c:pt idx="76">
                  <c:v>532.1</c:v>
                </c:pt>
                <c:pt idx="77">
                  <c:v>541.70000000000005</c:v>
                </c:pt>
                <c:pt idx="78">
                  <c:v>515.29999999999995</c:v>
                </c:pt>
                <c:pt idx="79">
                  <c:v>526.5</c:v>
                </c:pt>
                <c:pt idx="80">
                  <c:v>510.9</c:v>
                </c:pt>
                <c:pt idx="81">
                  <c:v>506.1</c:v>
                </c:pt>
                <c:pt idx="82">
                  <c:v>572.29999999999995</c:v>
                </c:pt>
                <c:pt idx="83">
                  <c:v>582.70000000000005</c:v>
                </c:pt>
                <c:pt idx="84">
                  <c:v>554.79999999999995</c:v>
                </c:pt>
                <c:pt idx="85">
                  <c:v>532.1</c:v>
                </c:pt>
                <c:pt idx="86">
                  <c:v>530.5</c:v>
                </c:pt>
                <c:pt idx="87">
                  <c:v>505.5</c:v>
                </c:pt>
                <c:pt idx="88">
                  <c:v>507.9</c:v>
                </c:pt>
                <c:pt idx="89">
                  <c:v>501</c:v>
                </c:pt>
                <c:pt idx="90">
                  <c:v>494.3</c:v>
                </c:pt>
                <c:pt idx="91">
                  <c:v>492</c:v>
                </c:pt>
                <c:pt idx="92">
                  <c:v>504.4</c:v>
                </c:pt>
                <c:pt idx="93">
                  <c:v>516.6</c:v>
                </c:pt>
                <c:pt idx="94">
                  <c:v>535.79999999999995</c:v>
                </c:pt>
                <c:pt idx="95">
                  <c:v>543.1</c:v>
                </c:pt>
                <c:pt idx="96">
                  <c:v>531.20000000000005</c:v>
                </c:pt>
                <c:pt idx="97">
                  <c:v>499.7</c:v>
                </c:pt>
                <c:pt idx="98">
                  <c:v>505.9</c:v>
                </c:pt>
                <c:pt idx="99">
                  <c:v>505.1</c:v>
                </c:pt>
                <c:pt idx="100">
                  <c:v>488.7</c:v>
                </c:pt>
                <c:pt idx="101">
                  <c:v>482.3</c:v>
                </c:pt>
                <c:pt idx="102">
                  <c:v>512.29999999999995</c:v>
                </c:pt>
                <c:pt idx="103">
                  <c:v>518.5</c:v>
                </c:pt>
                <c:pt idx="104">
                  <c:v>537</c:v>
                </c:pt>
                <c:pt idx="105">
                  <c:v>535.29999999999995</c:v>
                </c:pt>
                <c:pt idx="106">
                  <c:v>506.7</c:v>
                </c:pt>
                <c:pt idx="107">
                  <c:v>508.9</c:v>
                </c:pt>
                <c:pt idx="108">
                  <c:v>515</c:v>
                </c:pt>
                <c:pt idx="109">
                  <c:v>493.5</c:v>
                </c:pt>
                <c:pt idx="110">
                  <c:v>488.4</c:v>
                </c:pt>
                <c:pt idx="111">
                  <c:v>555.70000000000005</c:v>
                </c:pt>
                <c:pt idx="112">
                  <c:v>530.6</c:v>
                </c:pt>
                <c:pt idx="113">
                  <c:v>522.5</c:v>
                </c:pt>
                <c:pt idx="114">
                  <c:v>529.4</c:v>
                </c:pt>
                <c:pt idx="115">
                  <c:v>502.4</c:v>
                </c:pt>
                <c:pt idx="116">
                  <c:v>460.6</c:v>
                </c:pt>
                <c:pt idx="117">
                  <c:v>448.9</c:v>
                </c:pt>
                <c:pt idx="118">
                  <c:v>408</c:v>
                </c:pt>
                <c:pt idx="119">
                  <c:v>394.8</c:v>
                </c:pt>
                <c:pt idx="120">
                  <c:v>459.3</c:v>
                </c:pt>
                <c:pt idx="121">
                  <c:v>434.9</c:v>
                </c:pt>
                <c:pt idx="122">
                  <c:v>446.7</c:v>
                </c:pt>
                <c:pt idx="123">
                  <c:v>466.6</c:v>
                </c:pt>
                <c:pt idx="124">
                  <c:v>417.1</c:v>
                </c:pt>
                <c:pt idx="125">
                  <c:v>430</c:v>
                </c:pt>
                <c:pt idx="126">
                  <c:v>433.8</c:v>
                </c:pt>
                <c:pt idx="127">
                  <c:v>421</c:v>
                </c:pt>
                <c:pt idx="128">
                  <c:v>435.7</c:v>
                </c:pt>
                <c:pt idx="129">
                  <c:v>498.2</c:v>
                </c:pt>
                <c:pt idx="130">
                  <c:v>476.7</c:v>
                </c:pt>
                <c:pt idx="131">
                  <c:v>498.7</c:v>
                </c:pt>
                <c:pt idx="132">
                  <c:v>511.2</c:v>
                </c:pt>
                <c:pt idx="133">
                  <c:v>556.20000000000005</c:v>
                </c:pt>
                <c:pt idx="134">
                  <c:v>542.79999999999995</c:v>
                </c:pt>
                <c:pt idx="135">
                  <c:v>502.2</c:v>
                </c:pt>
                <c:pt idx="136">
                  <c:v>505.2</c:v>
                </c:pt>
                <c:pt idx="137">
                  <c:v>514</c:v>
                </c:pt>
                <c:pt idx="138">
                  <c:v>502.4</c:v>
                </c:pt>
                <c:pt idx="139">
                  <c:v>498.4</c:v>
                </c:pt>
                <c:pt idx="140">
                  <c:v>506.9</c:v>
                </c:pt>
                <c:pt idx="141">
                  <c:v>519.70000000000005</c:v>
                </c:pt>
                <c:pt idx="142">
                  <c:v>541.70000000000005</c:v>
                </c:pt>
                <c:pt idx="143">
                  <c:v>548.4</c:v>
                </c:pt>
                <c:pt idx="144">
                  <c:v>534.9</c:v>
                </c:pt>
                <c:pt idx="145">
                  <c:v>512.4</c:v>
                </c:pt>
                <c:pt idx="146">
                  <c:v>501.9</c:v>
                </c:pt>
                <c:pt idx="147">
                  <c:v>496.5</c:v>
                </c:pt>
                <c:pt idx="148">
                  <c:v>506.5</c:v>
                </c:pt>
                <c:pt idx="149">
                  <c:v>522</c:v>
                </c:pt>
                <c:pt idx="150">
                  <c:v>545.9</c:v>
                </c:pt>
                <c:pt idx="151">
                  <c:v>554.70000000000005</c:v>
                </c:pt>
                <c:pt idx="152">
                  <c:v>557.5</c:v>
                </c:pt>
                <c:pt idx="153">
                  <c:v>561.70000000000005</c:v>
                </c:pt>
                <c:pt idx="154">
                  <c:v>551.1</c:v>
                </c:pt>
                <c:pt idx="155">
                  <c:v>561.29999999999995</c:v>
                </c:pt>
                <c:pt idx="156">
                  <c:v>554.4</c:v>
                </c:pt>
                <c:pt idx="157">
                  <c:v>568.9</c:v>
                </c:pt>
                <c:pt idx="158">
                  <c:v>565.9</c:v>
                </c:pt>
                <c:pt idx="159">
                  <c:v>518</c:v>
                </c:pt>
                <c:pt idx="160">
                  <c:v>537.79999999999995</c:v>
                </c:pt>
                <c:pt idx="161">
                  <c:v>517.9</c:v>
                </c:pt>
                <c:pt idx="162">
                  <c:v>519.79999999999995</c:v>
                </c:pt>
                <c:pt idx="163">
                  <c:v>529.6</c:v>
                </c:pt>
                <c:pt idx="164">
                  <c:v>542.6</c:v>
                </c:pt>
                <c:pt idx="165">
                  <c:v>524.5</c:v>
                </c:pt>
                <c:pt idx="166">
                  <c:v>515.70000000000005</c:v>
                </c:pt>
                <c:pt idx="167">
                  <c:v>517.1</c:v>
                </c:pt>
                <c:pt idx="168">
                  <c:v>555.70000000000005</c:v>
                </c:pt>
                <c:pt idx="169">
                  <c:v>576.5</c:v>
                </c:pt>
                <c:pt idx="170">
                  <c:v>609</c:v>
                </c:pt>
                <c:pt idx="171">
                  <c:v>688.2</c:v>
                </c:pt>
                <c:pt idx="172">
                  <c:v>713.6</c:v>
                </c:pt>
                <c:pt idx="173">
                  <c:v>736</c:v>
                </c:pt>
                <c:pt idx="174">
                  <c:v>647</c:v>
                </c:pt>
                <c:pt idx="175">
                  <c:v>678.4</c:v>
                </c:pt>
                <c:pt idx="176">
                  <c:v>663.8</c:v>
                </c:pt>
                <c:pt idx="177">
                  <c:v>625.20000000000005</c:v>
                </c:pt>
                <c:pt idx="178">
                  <c:v>621.20000000000005</c:v>
                </c:pt>
                <c:pt idx="179">
                  <c:v>586.29999999999995</c:v>
                </c:pt>
                <c:pt idx="180">
                  <c:v>558.1</c:v>
                </c:pt>
                <c:pt idx="181">
                  <c:v>532.5</c:v>
                </c:pt>
                <c:pt idx="182">
                  <c:v>542.70000000000005</c:v>
                </c:pt>
                <c:pt idx="183">
                  <c:v>552.70000000000005</c:v>
                </c:pt>
                <c:pt idx="184">
                  <c:v>569.9</c:v>
                </c:pt>
                <c:pt idx="185">
                  <c:v>605.20000000000005</c:v>
                </c:pt>
                <c:pt idx="186">
                  <c:v>601.29999999999995</c:v>
                </c:pt>
              </c:numCache>
            </c:numRef>
          </c:val>
          <c:extLst>
            <c:ext xmlns:c16="http://schemas.microsoft.com/office/drawing/2014/chart" uri="{C3380CC4-5D6E-409C-BE32-E72D297353CC}">
              <c16:uniqueId val="{00000001-BC32-45FB-8704-E9B74D713631}"/>
            </c:ext>
          </c:extLst>
        </c:ser>
        <c:ser>
          <c:idx val="2"/>
          <c:order val="2"/>
          <c:tx>
            <c:strRef>
              <c:f>Sheet1!$D$3</c:f>
              <c:strCache>
                <c:ptCount val="1"/>
                <c:pt idx="0">
                  <c:v>Asset Backed CP</c:v>
                </c:pt>
              </c:strCache>
            </c:strRef>
          </c:tx>
          <c:spPr>
            <a:solidFill>
              <a:srgbClr val="004F6B"/>
            </a:solidFill>
          </c:spPr>
          <c:cat>
            <c:numRef>
              <c:f>Sheet1!$A$7:$A$193</c:f>
              <c:numCache>
                <c:formatCode>m/d/yyyy</c:formatCode>
                <c:ptCount val="187"/>
                <c:pt idx="0">
                  <c:v>0</c:v>
                </c:pt>
                <c:pt idx="1">
                  <c:v>39113</c:v>
                </c:pt>
                <c:pt idx="2">
                  <c:v>39141</c:v>
                </c:pt>
                <c:pt idx="3">
                  <c:v>39172</c:v>
                </c:pt>
                <c:pt idx="4">
                  <c:v>39202</c:v>
                </c:pt>
                <c:pt idx="5">
                  <c:v>39233</c:v>
                </c:pt>
                <c:pt idx="6">
                  <c:v>39263</c:v>
                </c:pt>
                <c:pt idx="7">
                  <c:v>39294</c:v>
                </c:pt>
                <c:pt idx="8">
                  <c:v>39325</c:v>
                </c:pt>
                <c:pt idx="9">
                  <c:v>39355</c:v>
                </c:pt>
                <c:pt idx="10">
                  <c:v>39386</c:v>
                </c:pt>
                <c:pt idx="11">
                  <c:v>39416</c:v>
                </c:pt>
                <c:pt idx="12">
                  <c:v>39447</c:v>
                </c:pt>
                <c:pt idx="13">
                  <c:v>39478</c:v>
                </c:pt>
                <c:pt idx="14">
                  <c:v>39507</c:v>
                </c:pt>
                <c:pt idx="15">
                  <c:v>39538</c:v>
                </c:pt>
                <c:pt idx="16">
                  <c:v>39568</c:v>
                </c:pt>
                <c:pt idx="17">
                  <c:v>39599</c:v>
                </c:pt>
                <c:pt idx="18">
                  <c:v>39629</c:v>
                </c:pt>
                <c:pt idx="19">
                  <c:v>39660</c:v>
                </c:pt>
                <c:pt idx="20">
                  <c:v>39691</c:v>
                </c:pt>
                <c:pt idx="21">
                  <c:v>39721</c:v>
                </c:pt>
                <c:pt idx="22">
                  <c:v>39752</c:v>
                </c:pt>
                <c:pt idx="23">
                  <c:v>39782</c:v>
                </c:pt>
                <c:pt idx="24">
                  <c:v>39813</c:v>
                </c:pt>
                <c:pt idx="25">
                  <c:v>39844</c:v>
                </c:pt>
                <c:pt idx="26">
                  <c:v>39872</c:v>
                </c:pt>
                <c:pt idx="27">
                  <c:v>39903</c:v>
                </c:pt>
                <c:pt idx="28">
                  <c:v>39933</c:v>
                </c:pt>
                <c:pt idx="29">
                  <c:v>39964</c:v>
                </c:pt>
                <c:pt idx="30">
                  <c:v>39994</c:v>
                </c:pt>
                <c:pt idx="31">
                  <c:v>40025</c:v>
                </c:pt>
                <c:pt idx="32">
                  <c:v>40056</c:v>
                </c:pt>
                <c:pt idx="33">
                  <c:v>40086</c:v>
                </c:pt>
                <c:pt idx="34">
                  <c:v>40117</c:v>
                </c:pt>
                <c:pt idx="35">
                  <c:v>40147</c:v>
                </c:pt>
                <c:pt idx="36">
                  <c:v>40178</c:v>
                </c:pt>
                <c:pt idx="37">
                  <c:v>40209</c:v>
                </c:pt>
                <c:pt idx="38">
                  <c:v>40237</c:v>
                </c:pt>
                <c:pt idx="39">
                  <c:v>40268</c:v>
                </c:pt>
                <c:pt idx="40">
                  <c:v>40298</c:v>
                </c:pt>
                <c:pt idx="41">
                  <c:v>40329</c:v>
                </c:pt>
                <c:pt idx="42">
                  <c:v>40359</c:v>
                </c:pt>
                <c:pt idx="43">
                  <c:v>40390</c:v>
                </c:pt>
                <c:pt idx="44">
                  <c:v>40421</c:v>
                </c:pt>
                <c:pt idx="45">
                  <c:v>40451</c:v>
                </c:pt>
                <c:pt idx="46">
                  <c:v>40482</c:v>
                </c:pt>
                <c:pt idx="47">
                  <c:v>40512</c:v>
                </c:pt>
                <c:pt idx="48">
                  <c:v>40543</c:v>
                </c:pt>
                <c:pt idx="49">
                  <c:v>40574</c:v>
                </c:pt>
                <c:pt idx="50">
                  <c:v>40602</c:v>
                </c:pt>
                <c:pt idx="51">
                  <c:v>40633</c:v>
                </c:pt>
                <c:pt idx="52">
                  <c:v>40663</c:v>
                </c:pt>
                <c:pt idx="53">
                  <c:v>40694</c:v>
                </c:pt>
                <c:pt idx="54">
                  <c:v>40724</c:v>
                </c:pt>
                <c:pt idx="55">
                  <c:v>40755</c:v>
                </c:pt>
                <c:pt idx="56">
                  <c:v>40786</c:v>
                </c:pt>
                <c:pt idx="57">
                  <c:v>40816</c:v>
                </c:pt>
                <c:pt idx="58">
                  <c:v>40847</c:v>
                </c:pt>
                <c:pt idx="59">
                  <c:v>40877</c:v>
                </c:pt>
                <c:pt idx="60">
                  <c:v>40908</c:v>
                </c:pt>
                <c:pt idx="61">
                  <c:v>40939</c:v>
                </c:pt>
                <c:pt idx="62">
                  <c:v>40968</c:v>
                </c:pt>
                <c:pt idx="63">
                  <c:v>40999</c:v>
                </c:pt>
                <c:pt idx="64">
                  <c:v>41029</c:v>
                </c:pt>
                <c:pt idx="65">
                  <c:v>41060</c:v>
                </c:pt>
                <c:pt idx="66">
                  <c:v>41090</c:v>
                </c:pt>
                <c:pt idx="67">
                  <c:v>41121</c:v>
                </c:pt>
                <c:pt idx="68">
                  <c:v>41152</c:v>
                </c:pt>
                <c:pt idx="69">
                  <c:v>41182</c:v>
                </c:pt>
                <c:pt idx="70">
                  <c:v>41213</c:v>
                </c:pt>
                <c:pt idx="71">
                  <c:v>41243</c:v>
                </c:pt>
                <c:pt idx="72">
                  <c:v>41274</c:v>
                </c:pt>
                <c:pt idx="73">
                  <c:v>41305</c:v>
                </c:pt>
                <c:pt idx="74">
                  <c:v>41333</c:v>
                </c:pt>
                <c:pt idx="75">
                  <c:v>41364</c:v>
                </c:pt>
                <c:pt idx="76">
                  <c:v>41394</c:v>
                </c:pt>
                <c:pt idx="77">
                  <c:v>41425</c:v>
                </c:pt>
                <c:pt idx="78">
                  <c:v>41455</c:v>
                </c:pt>
                <c:pt idx="79">
                  <c:v>41486</c:v>
                </c:pt>
                <c:pt idx="80">
                  <c:v>41517</c:v>
                </c:pt>
                <c:pt idx="81">
                  <c:v>41547</c:v>
                </c:pt>
                <c:pt idx="82">
                  <c:v>41578</c:v>
                </c:pt>
                <c:pt idx="83">
                  <c:v>41608</c:v>
                </c:pt>
                <c:pt idx="84">
                  <c:v>41639</c:v>
                </c:pt>
                <c:pt idx="85">
                  <c:v>41670</c:v>
                </c:pt>
                <c:pt idx="86">
                  <c:v>41698</c:v>
                </c:pt>
                <c:pt idx="87">
                  <c:v>41729</c:v>
                </c:pt>
                <c:pt idx="88">
                  <c:v>41759</c:v>
                </c:pt>
                <c:pt idx="89">
                  <c:v>41790</c:v>
                </c:pt>
                <c:pt idx="90">
                  <c:v>41820</c:v>
                </c:pt>
                <c:pt idx="91">
                  <c:v>41851</c:v>
                </c:pt>
                <c:pt idx="92">
                  <c:v>41882</c:v>
                </c:pt>
                <c:pt idx="93">
                  <c:v>41912</c:v>
                </c:pt>
                <c:pt idx="94">
                  <c:v>41943</c:v>
                </c:pt>
                <c:pt idx="95">
                  <c:v>41973</c:v>
                </c:pt>
                <c:pt idx="96">
                  <c:v>42004</c:v>
                </c:pt>
                <c:pt idx="97">
                  <c:v>42035</c:v>
                </c:pt>
                <c:pt idx="98">
                  <c:v>42063</c:v>
                </c:pt>
                <c:pt idx="99">
                  <c:v>42094</c:v>
                </c:pt>
                <c:pt idx="100">
                  <c:v>42124</c:v>
                </c:pt>
                <c:pt idx="101">
                  <c:v>42155</c:v>
                </c:pt>
                <c:pt idx="102">
                  <c:v>42185</c:v>
                </c:pt>
                <c:pt idx="103">
                  <c:v>42216</c:v>
                </c:pt>
                <c:pt idx="104">
                  <c:v>42247</c:v>
                </c:pt>
                <c:pt idx="105">
                  <c:v>42277</c:v>
                </c:pt>
                <c:pt idx="106">
                  <c:v>42308</c:v>
                </c:pt>
                <c:pt idx="107">
                  <c:v>42338</c:v>
                </c:pt>
                <c:pt idx="108">
                  <c:v>42369</c:v>
                </c:pt>
                <c:pt idx="109">
                  <c:v>42400</c:v>
                </c:pt>
                <c:pt idx="110">
                  <c:v>42429</c:v>
                </c:pt>
                <c:pt idx="111">
                  <c:v>42460</c:v>
                </c:pt>
                <c:pt idx="112">
                  <c:v>42490</c:v>
                </c:pt>
                <c:pt idx="113">
                  <c:v>42521</c:v>
                </c:pt>
                <c:pt idx="114">
                  <c:v>42551</c:v>
                </c:pt>
                <c:pt idx="115">
                  <c:v>42582</c:v>
                </c:pt>
                <c:pt idx="116">
                  <c:v>42613</c:v>
                </c:pt>
                <c:pt idx="117">
                  <c:v>42643</c:v>
                </c:pt>
                <c:pt idx="118">
                  <c:v>42674</c:v>
                </c:pt>
                <c:pt idx="119">
                  <c:v>42704</c:v>
                </c:pt>
                <c:pt idx="120">
                  <c:v>42735</c:v>
                </c:pt>
                <c:pt idx="121">
                  <c:v>42766</c:v>
                </c:pt>
                <c:pt idx="122">
                  <c:v>42794</c:v>
                </c:pt>
                <c:pt idx="123">
                  <c:v>42825</c:v>
                </c:pt>
                <c:pt idx="124">
                  <c:v>42855</c:v>
                </c:pt>
                <c:pt idx="125">
                  <c:v>42886</c:v>
                </c:pt>
                <c:pt idx="126">
                  <c:v>42916</c:v>
                </c:pt>
                <c:pt idx="127">
                  <c:v>42947</c:v>
                </c:pt>
                <c:pt idx="128">
                  <c:v>42978</c:v>
                </c:pt>
                <c:pt idx="129">
                  <c:v>43008</c:v>
                </c:pt>
                <c:pt idx="130">
                  <c:v>43039</c:v>
                </c:pt>
                <c:pt idx="131">
                  <c:v>43069</c:v>
                </c:pt>
                <c:pt idx="132">
                  <c:v>43100</c:v>
                </c:pt>
                <c:pt idx="133">
                  <c:v>43131</c:v>
                </c:pt>
                <c:pt idx="134">
                  <c:v>43159</c:v>
                </c:pt>
                <c:pt idx="135">
                  <c:v>43190</c:v>
                </c:pt>
                <c:pt idx="136">
                  <c:v>43220</c:v>
                </c:pt>
                <c:pt idx="137">
                  <c:v>43251</c:v>
                </c:pt>
                <c:pt idx="138">
                  <c:v>43281</c:v>
                </c:pt>
                <c:pt idx="139">
                  <c:v>43312</c:v>
                </c:pt>
                <c:pt idx="140">
                  <c:v>43343</c:v>
                </c:pt>
                <c:pt idx="141">
                  <c:v>43373</c:v>
                </c:pt>
                <c:pt idx="142">
                  <c:v>43404</c:v>
                </c:pt>
                <c:pt idx="143">
                  <c:v>43434</c:v>
                </c:pt>
                <c:pt idx="144">
                  <c:v>43465</c:v>
                </c:pt>
                <c:pt idx="145">
                  <c:v>43496</c:v>
                </c:pt>
                <c:pt idx="146">
                  <c:v>43524</c:v>
                </c:pt>
                <c:pt idx="147">
                  <c:v>43555</c:v>
                </c:pt>
                <c:pt idx="148">
                  <c:v>43585</c:v>
                </c:pt>
                <c:pt idx="149">
                  <c:v>43616</c:v>
                </c:pt>
                <c:pt idx="150">
                  <c:v>43646</c:v>
                </c:pt>
                <c:pt idx="151">
                  <c:v>43677</c:v>
                </c:pt>
                <c:pt idx="152">
                  <c:v>43708</c:v>
                </c:pt>
                <c:pt idx="153">
                  <c:v>43738</c:v>
                </c:pt>
                <c:pt idx="154">
                  <c:v>43769</c:v>
                </c:pt>
                <c:pt idx="155">
                  <c:v>43799</c:v>
                </c:pt>
                <c:pt idx="156">
                  <c:v>43830</c:v>
                </c:pt>
                <c:pt idx="157">
                  <c:v>43861</c:v>
                </c:pt>
                <c:pt idx="158">
                  <c:v>43890</c:v>
                </c:pt>
                <c:pt idx="159">
                  <c:v>43921</c:v>
                </c:pt>
                <c:pt idx="160">
                  <c:v>43951</c:v>
                </c:pt>
                <c:pt idx="161">
                  <c:v>43982</c:v>
                </c:pt>
                <c:pt idx="162">
                  <c:v>44012</c:v>
                </c:pt>
                <c:pt idx="163">
                  <c:v>44043</c:v>
                </c:pt>
                <c:pt idx="164">
                  <c:v>44074</c:v>
                </c:pt>
                <c:pt idx="165">
                  <c:v>44104</c:v>
                </c:pt>
                <c:pt idx="166">
                  <c:v>44135</c:v>
                </c:pt>
                <c:pt idx="167">
                  <c:v>44165</c:v>
                </c:pt>
                <c:pt idx="168">
                  <c:v>44196</c:v>
                </c:pt>
                <c:pt idx="169">
                  <c:v>44227</c:v>
                </c:pt>
                <c:pt idx="170">
                  <c:v>44255</c:v>
                </c:pt>
                <c:pt idx="171">
                  <c:v>44286</c:v>
                </c:pt>
                <c:pt idx="172">
                  <c:v>44316</c:v>
                </c:pt>
                <c:pt idx="173">
                  <c:v>44347</c:v>
                </c:pt>
                <c:pt idx="174">
                  <c:v>44377</c:v>
                </c:pt>
                <c:pt idx="175">
                  <c:v>44408</c:v>
                </c:pt>
                <c:pt idx="176">
                  <c:v>44439</c:v>
                </c:pt>
                <c:pt idx="177">
                  <c:v>44469</c:v>
                </c:pt>
                <c:pt idx="178">
                  <c:v>44500</c:v>
                </c:pt>
                <c:pt idx="179">
                  <c:v>44530</c:v>
                </c:pt>
                <c:pt idx="180">
                  <c:v>44561</c:v>
                </c:pt>
                <c:pt idx="181">
                  <c:v>44592</c:v>
                </c:pt>
                <c:pt idx="182">
                  <c:v>44620</c:v>
                </c:pt>
                <c:pt idx="183">
                  <c:v>44651</c:v>
                </c:pt>
                <c:pt idx="184">
                  <c:v>44681</c:v>
                </c:pt>
                <c:pt idx="185">
                  <c:v>44712</c:v>
                </c:pt>
                <c:pt idx="186">
                  <c:v>44742</c:v>
                </c:pt>
              </c:numCache>
            </c:numRef>
          </c:cat>
          <c:val>
            <c:numRef>
              <c:f>Sheet1!$D$7:$D$193</c:f>
              <c:numCache>
                <c:formatCode>General</c:formatCode>
                <c:ptCount val="187"/>
                <c:pt idx="0">
                  <c:v>0</c:v>
                </c:pt>
                <c:pt idx="1">
                  <c:v>1078.5999999999999</c:v>
                </c:pt>
                <c:pt idx="2">
                  <c:v>1076.5</c:v>
                </c:pt>
                <c:pt idx="3">
                  <c:v>1096.5</c:v>
                </c:pt>
                <c:pt idx="4">
                  <c:v>1113.9000000000001</c:v>
                </c:pt>
                <c:pt idx="5">
                  <c:v>1166.5</c:v>
                </c:pt>
                <c:pt idx="6">
                  <c:v>1200.0999999999999</c:v>
                </c:pt>
                <c:pt idx="7">
                  <c:v>1214.7</c:v>
                </c:pt>
                <c:pt idx="8">
                  <c:v>1008.7</c:v>
                </c:pt>
                <c:pt idx="9">
                  <c:v>957.2</c:v>
                </c:pt>
                <c:pt idx="10">
                  <c:v>916.4</c:v>
                </c:pt>
                <c:pt idx="11">
                  <c:v>853.1</c:v>
                </c:pt>
                <c:pt idx="12">
                  <c:v>803</c:v>
                </c:pt>
                <c:pt idx="13">
                  <c:v>835.2</c:v>
                </c:pt>
                <c:pt idx="14">
                  <c:v>795.4</c:v>
                </c:pt>
                <c:pt idx="15">
                  <c:v>812.7</c:v>
                </c:pt>
                <c:pt idx="16">
                  <c:v>769.5</c:v>
                </c:pt>
                <c:pt idx="17">
                  <c:v>757</c:v>
                </c:pt>
                <c:pt idx="18">
                  <c:v>758.9</c:v>
                </c:pt>
                <c:pt idx="19">
                  <c:v>756.1</c:v>
                </c:pt>
                <c:pt idx="20">
                  <c:v>748.1</c:v>
                </c:pt>
                <c:pt idx="21">
                  <c:v>726</c:v>
                </c:pt>
                <c:pt idx="22">
                  <c:v>725.5</c:v>
                </c:pt>
                <c:pt idx="23">
                  <c:v>724.3</c:v>
                </c:pt>
                <c:pt idx="24">
                  <c:v>725.2</c:v>
                </c:pt>
                <c:pt idx="25">
                  <c:v>717.9</c:v>
                </c:pt>
                <c:pt idx="26">
                  <c:v>672.1</c:v>
                </c:pt>
                <c:pt idx="27">
                  <c:v>680.6</c:v>
                </c:pt>
                <c:pt idx="28">
                  <c:v>607.5</c:v>
                </c:pt>
                <c:pt idx="29">
                  <c:v>560.9</c:v>
                </c:pt>
                <c:pt idx="30">
                  <c:v>523.5</c:v>
                </c:pt>
                <c:pt idx="31">
                  <c:v>475.6</c:v>
                </c:pt>
                <c:pt idx="32">
                  <c:v>503.5</c:v>
                </c:pt>
                <c:pt idx="33">
                  <c:v>537.29999999999995</c:v>
                </c:pt>
                <c:pt idx="34">
                  <c:v>477.1</c:v>
                </c:pt>
                <c:pt idx="35">
                  <c:v>482.4</c:v>
                </c:pt>
                <c:pt idx="36">
                  <c:v>472.1</c:v>
                </c:pt>
                <c:pt idx="37">
                  <c:v>417.1</c:v>
                </c:pt>
                <c:pt idx="38">
                  <c:v>422.5</c:v>
                </c:pt>
                <c:pt idx="39">
                  <c:v>397.3</c:v>
                </c:pt>
                <c:pt idx="40">
                  <c:v>400.5</c:v>
                </c:pt>
                <c:pt idx="41">
                  <c:v>398.1</c:v>
                </c:pt>
                <c:pt idx="42">
                  <c:v>391.8</c:v>
                </c:pt>
                <c:pt idx="43">
                  <c:v>409.8</c:v>
                </c:pt>
                <c:pt idx="44">
                  <c:v>414.4</c:v>
                </c:pt>
                <c:pt idx="45">
                  <c:v>416.7</c:v>
                </c:pt>
                <c:pt idx="46">
                  <c:v>408.9</c:v>
                </c:pt>
                <c:pt idx="47">
                  <c:v>401.2</c:v>
                </c:pt>
                <c:pt idx="48">
                  <c:v>378.7</c:v>
                </c:pt>
                <c:pt idx="49">
                  <c:v>346.9</c:v>
                </c:pt>
                <c:pt idx="50">
                  <c:v>365.2</c:v>
                </c:pt>
                <c:pt idx="51">
                  <c:v>373.1</c:v>
                </c:pt>
                <c:pt idx="52">
                  <c:v>382.9</c:v>
                </c:pt>
                <c:pt idx="53">
                  <c:v>393.3</c:v>
                </c:pt>
                <c:pt idx="54">
                  <c:v>401.5</c:v>
                </c:pt>
                <c:pt idx="55">
                  <c:v>412.9</c:v>
                </c:pt>
                <c:pt idx="56">
                  <c:v>363.7</c:v>
                </c:pt>
                <c:pt idx="57">
                  <c:v>347.8</c:v>
                </c:pt>
                <c:pt idx="58">
                  <c:v>342.3</c:v>
                </c:pt>
                <c:pt idx="59">
                  <c:v>327</c:v>
                </c:pt>
                <c:pt idx="60">
                  <c:v>328.5</c:v>
                </c:pt>
                <c:pt idx="61">
                  <c:v>341</c:v>
                </c:pt>
                <c:pt idx="62">
                  <c:v>335.4</c:v>
                </c:pt>
                <c:pt idx="63">
                  <c:v>327.8</c:v>
                </c:pt>
                <c:pt idx="64">
                  <c:v>326.5</c:v>
                </c:pt>
                <c:pt idx="65">
                  <c:v>323.5</c:v>
                </c:pt>
                <c:pt idx="66">
                  <c:v>318.8</c:v>
                </c:pt>
                <c:pt idx="67">
                  <c:v>318.60000000000002</c:v>
                </c:pt>
                <c:pt idx="68">
                  <c:v>310.7</c:v>
                </c:pt>
                <c:pt idx="69">
                  <c:v>301.3</c:v>
                </c:pt>
                <c:pt idx="70">
                  <c:v>292.3</c:v>
                </c:pt>
                <c:pt idx="71">
                  <c:v>293.10000000000002</c:v>
                </c:pt>
                <c:pt idx="72">
                  <c:v>293.3</c:v>
                </c:pt>
                <c:pt idx="73">
                  <c:v>309.8</c:v>
                </c:pt>
                <c:pt idx="74">
                  <c:v>299.60000000000002</c:v>
                </c:pt>
                <c:pt idx="75">
                  <c:v>292.3</c:v>
                </c:pt>
                <c:pt idx="76">
                  <c:v>280.5</c:v>
                </c:pt>
                <c:pt idx="77">
                  <c:v>277.39999999999998</c:v>
                </c:pt>
                <c:pt idx="78">
                  <c:v>275.7</c:v>
                </c:pt>
                <c:pt idx="79">
                  <c:v>271.39999999999998</c:v>
                </c:pt>
                <c:pt idx="80">
                  <c:v>269.8</c:v>
                </c:pt>
                <c:pt idx="81">
                  <c:v>264.39999999999998</c:v>
                </c:pt>
                <c:pt idx="82">
                  <c:v>256.10000000000002</c:v>
                </c:pt>
                <c:pt idx="83">
                  <c:v>249.7</c:v>
                </c:pt>
                <c:pt idx="84">
                  <c:v>253.5</c:v>
                </c:pt>
                <c:pt idx="85">
                  <c:v>245.9</c:v>
                </c:pt>
                <c:pt idx="86">
                  <c:v>237.4</c:v>
                </c:pt>
                <c:pt idx="87">
                  <c:v>238.7</c:v>
                </c:pt>
                <c:pt idx="88">
                  <c:v>243</c:v>
                </c:pt>
                <c:pt idx="89">
                  <c:v>251.6</c:v>
                </c:pt>
                <c:pt idx="90">
                  <c:v>259.3</c:v>
                </c:pt>
                <c:pt idx="91">
                  <c:v>262.39999999999998</c:v>
                </c:pt>
                <c:pt idx="92">
                  <c:v>255</c:v>
                </c:pt>
                <c:pt idx="93">
                  <c:v>247.7</c:v>
                </c:pt>
                <c:pt idx="94">
                  <c:v>244.4</c:v>
                </c:pt>
                <c:pt idx="95">
                  <c:v>232.6</c:v>
                </c:pt>
                <c:pt idx="96">
                  <c:v>223.8</c:v>
                </c:pt>
                <c:pt idx="97">
                  <c:v>218.9</c:v>
                </c:pt>
                <c:pt idx="98">
                  <c:v>226.7</c:v>
                </c:pt>
                <c:pt idx="99">
                  <c:v>222.7</c:v>
                </c:pt>
                <c:pt idx="100">
                  <c:v>221</c:v>
                </c:pt>
                <c:pt idx="101">
                  <c:v>218.8</c:v>
                </c:pt>
                <c:pt idx="102">
                  <c:v>230.1</c:v>
                </c:pt>
                <c:pt idx="103">
                  <c:v>238.6</c:v>
                </c:pt>
                <c:pt idx="104">
                  <c:v>234.3</c:v>
                </c:pt>
                <c:pt idx="105">
                  <c:v>241.8</c:v>
                </c:pt>
                <c:pt idx="106">
                  <c:v>250.4</c:v>
                </c:pt>
                <c:pt idx="107">
                  <c:v>253.3</c:v>
                </c:pt>
                <c:pt idx="108">
                  <c:v>247.8</c:v>
                </c:pt>
                <c:pt idx="109">
                  <c:v>257.89999999999998</c:v>
                </c:pt>
                <c:pt idx="110">
                  <c:v>269</c:v>
                </c:pt>
                <c:pt idx="111">
                  <c:v>266.89999999999998</c:v>
                </c:pt>
                <c:pt idx="112">
                  <c:v>259.5</c:v>
                </c:pt>
                <c:pt idx="113">
                  <c:v>254.6</c:v>
                </c:pt>
                <c:pt idx="114">
                  <c:v>251.9</c:v>
                </c:pt>
                <c:pt idx="115">
                  <c:v>250.2</c:v>
                </c:pt>
                <c:pt idx="116">
                  <c:v>253.5</c:v>
                </c:pt>
                <c:pt idx="117">
                  <c:v>258</c:v>
                </c:pt>
                <c:pt idx="118">
                  <c:v>258.10000000000002</c:v>
                </c:pt>
                <c:pt idx="119">
                  <c:v>260.2</c:v>
                </c:pt>
                <c:pt idx="120">
                  <c:v>253.9</c:v>
                </c:pt>
                <c:pt idx="121">
                  <c:v>240.8</c:v>
                </c:pt>
                <c:pt idx="122">
                  <c:v>240.4</c:v>
                </c:pt>
                <c:pt idx="123">
                  <c:v>243.1</c:v>
                </c:pt>
                <c:pt idx="124">
                  <c:v>247</c:v>
                </c:pt>
                <c:pt idx="125">
                  <c:v>245.4</c:v>
                </c:pt>
                <c:pt idx="126">
                  <c:v>240.1</c:v>
                </c:pt>
                <c:pt idx="127">
                  <c:v>240.9</c:v>
                </c:pt>
                <c:pt idx="128">
                  <c:v>244.2</c:v>
                </c:pt>
                <c:pt idx="129">
                  <c:v>246</c:v>
                </c:pt>
                <c:pt idx="130">
                  <c:v>242.2</c:v>
                </c:pt>
                <c:pt idx="131">
                  <c:v>237.8</c:v>
                </c:pt>
                <c:pt idx="132">
                  <c:v>239.9</c:v>
                </c:pt>
                <c:pt idx="133">
                  <c:v>243</c:v>
                </c:pt>
                <c:pt idx="134">
                  <c:v>239.7</c:v>
                </c:pt>
                <c:pt idx="135">
                  <c:v>234.5</c:v>
                </c:pt>
                <c:pt idx="136">
                  <c:v>232.2</c:v>
                </c:pt>
                <c:pt idx="137">
                  <c:v>238.3</c:v>
                </c:pt>
                <c:pt idx="138">
                  <c:v>238.7</c:v>
                </c:pt>
                <c:pt idx="139">
                  <c:v>238.7</c:v>
                </c:pt>
                <c:pt idx="140">
                  <c:v>233.2</c:v>
                </c:pt>
                <c:pt idx="141">
                  <c:v>231.2</c:v>
                </c:pt>
                <c:pt idx="142">
                  <c:v>229.7</c:v>
                </c:pt>
                <c:pt idx="143">
                  <c:v>237.4</c:v>
                </c:pt>
                <c:pt idx="144">
                  <c:v>253.3</c:v>
                </c:pt>
                <c:pt idx="145">
                  <c:v>246.3</c:v>
                </c:pt>
                <c:pt idx="146">
                  <c:v>243.3</c:v>
                </c:pt>
                <c:pt idx="147">
                  <c:v>246.5</c:v>
                </c:pt>
                <c:pt idx="148">
                  <c:v>242.7</c:v>
                </c:pt>
                <c:pt idx="149">
                  <c:v>240.4</c:v>
                </c:pt>
                <c:pt idx="150">
                  <c:v>243.2</c:v>
                </c:pt>
                <c:pt idx="151">
                  <c:v>243</c:v>
                </c:pt>
                <c:pt idx="152">
                  <c:v>239.2</c:v>
                </c:pt>
                <c:pt idx="153">
                  <c:v>237.3</c:v>
                </c:pt>
                <c:pt idx="154">
                  <c:v>246.8</c:v>
                </c:pt>
                <c:pt idx="155">
                  <c:v>242</c:v>
                </c:pt>
                <c:pt idx="156">
                  <c:v>245.4</c:v>
                </c:pt>
                <c:pt idx="157">
                  <c:v>241.7</c:v>
                </c:pt>
                <c:pt idx="158">
                  <c:v>245.6</c:v>
                </c:pt>
                <c:pt idx="159">
                  <c:v>266.5</c:v>
                </c:pt>
                <c:pt idx="160">
                  <c:v>271.2</c:v>
                </c:pt>
                <c:pt idx="161">
                  <c:v>267.2</c:v>
                </c:pt>
                <c:pt idx="162">
                  <c:v>262.3</c:v>
                </c:pt>
                <c:pt idx="163">
                  <c:v>262.89999999999998</c:v>
                </c:pt>
                <c:pt idx="164">
                  <c:v>253.8</c:v>
                </c:pt>
                <c:pt idx="165">
                  <c:v>244.5</c:v>
                </c:pt>
                <c:pt idx="166">
                  <c:v>241.7</c:v>
                </c:pt>
                <c:pt idx="167">
                  <c:v>243</c:v>
                </c:pt>
                <c:pt idx="168">
                  <c:v>242.4</c:v>
                </c:pt>
                <c:pt idx="169">
                  <c:v>247</c:v>
                </c:pt>
                <c:pt idx="170">
                  <c:v>248.5</c:v>
                </c:pt>
                <c:pt idx="171">
                  <c:v>240.1</c:v>
                </c:pt>
                <c:pt idx="172">
                  <c:v>246</c:v>
                </c:pt>
                <c:pt idx="173">
                  <c:v>251.1</c:v>
                </c:pt>
                <c:pt idx="174">
                  <c:v>260.89999999999998</c:v>
                </c:pt>
                <c:pt idx="175">
                  <c:v>258</c:v>
                </c:pt>
                <c:pt idx="176">
                  <c:v>264.39999999999998</c:v>
                </c:pt>
                <c:pt idx="177">
                  <c:v>272.8</c:v>
                </c:pt>
                <c:pt idx="178">
                  <c:v>271.39999999999998</c:v>
                </c:pt>
                <c:pt idx="179">
                  <c:v>268.2</c:v>
                </c:pt>
                <c:pt idx="180">
                  <c:v>273.89999999999998</c:v>
                </c:pt>
                <c:pt idx="181">
                  <c:v>272</c:v>
                </c:pt>
                <c:pt idx="182">
                  <c:v>267</c:v>
                </c:pt>
                <c:pt idx="183">
                  <c:v>262</c:v>
                </c:pt>
                <c:pt idx="184">
                  <c:v>257.8</c:v>
                </c:pt>
                <c:pt idx="185">
                  <c:v>251.1</c:v>
                </c:pt>
                <c:pt idx="186">
                  <c:v>259.89999999999998</c:v>
                </c:pt>
              </c:numCache>
            </c:numRef>
          </c:val>
          <c:extLst>
            <c:ext xmlns:c16="http://schemas.microsoft.com/office/drawing/2014/chart" uri="{C3380CC4-5D6E-409C-BE32-E72D297353CC}">
              <c16:uniqueId val="{00000002-BC32-45FB-8704-E9B74D713631}"/>
            </c:ext>
          </c:extLst>
        </c:ser>
        <c:dLbls>
          <c:showLegendKey val="0"/>
          <c:showVal val="0"/>
          <c:showCatName val="0"/>
          <c:showSerName val="0"/>
          <c:showPercent val="0"/>
          <c:showBubbleSize val="0"/>
        </c:dLbls>
        <c:axId val="198963200"/>
        <c:axId val="198964736"/>
      </c:areaChart>
      <c:catAx>
        <c:axId val="198963200"/>
        <c:scaling>
          <c:orientation val="minMax"/>
          <c:max val="187"/>
          <c:min val="67"/>
        </c:scaling>
        <c:delete val="0"/>
        <c:axPos val="b"/>
        <c:numFmt formatCode="[$-409]mmm\-yy;@" sourceLinked="0"/>
        <c:majorTickMark val="out"/>
        <c:minorTickMark val="none"/>
        <c:tickLblPos val="nextTo"/>
        <c:spPr>
          <a:ln>
            <a:solidFill>
              <a:srgbClr val="999999"/>
            </a:solidFill>
          </a:ln>
        </c:spPr>
        <c:txPr>
          <a:bodyPr rot="-2700000"/>
          <a:lstStyle/>
          <a:p>
            <a:pPr>
              <a:defRPr sz="800"/>
            </a:pPr>
            <a:endParaRPr lang="en-US"/>
          </a:p>
        </c:txPr>
        <c:crossAx val="198964736"/>
        <c:crosses val="autoZero"/>
        <c:auto val="0"/>
        <c:lblAlgn val="ctr"/>
        <c:lblOffset val="100"/>
        <c:tickLblSkip val="4"/>
        <c:noMultiLvlLbl val="1"/>
      </c:catAx>
      <c:valAx>
        <c:axId val="198964736"/>
        <c:scaling>
          <c:orientation val="minMax"/>
          <c:max val="1200"/>
        </c:scaling>
        <c:delete val="0"/>
        <c:axPos val="l"/>
        <c:title>
          <c:tx>
            <c:rich>
              <a:bodyPr rot="-5400000" vert="horz"/>
              <a:lstStyle/>
              <a:p>
                <a:pPr>
                  <a:defRPr sz="800"/>
                </a:pPr>
                <a:r>
                  <a:rPr lang="en-US" sz="800"/>
                  <a:t>$Billions</a:t>
                </a:r>
              </a:p>
            </c:rich>
          </c:tx>
          <c:overlay val="0"/>
        </c:title>
        <c:numFmt formatCode="#,##0" sourceLinked="0"/>
        <c:majorTickMark val="out"/>
        <c:minorTickMark val="none"/>
        <c:tickLblPos val="nextTo"/>
        <c:spPr>
          <a:ln>
            <a:solidFill>
              <a:srgbClr val="999999"/>
            </a:solidFill>
          </a:ln>
        </c:spPr>
        <c:txPr>
          <a:bodyPr/>
          <a:lstStyle/>
          <a:p>
            <a:pPr>
              <a:defRPr sz="800"/>
            </a:pPr>
            <a:endParaRPr lang="en-US"/>
          </a:p>
        </c:txPr>
        <c:crossAx val="198963200"/>
        <c:crosses val="autoZero"/>
        <c:crossBetween val="midCat"/>
      </c:valAx>
    </c:plotArea>
    <c:legend>
      <c:legendPos val="t"/>
      <c:layout>
        <c:manualLayout>
          <c:xMode val="edge"/>
          <c:yMode val="edge"/>
          <c:x val="8.227165354330708E-2"/>
          <c:y val="1.6650238576942131E-2"/>
          <c:w val="0.74101224846894154"/>
          <c:h val="4.1197104082127192E-2"/>
        </c:manualLayout>
      </c:layout>
      <c:overlay val="0"/>
      <c:txPr>
        <a:bodyPr/>
        <a:lstStyle/>
        <a:p>
          <a:pPr>
            <a:defRPr sz="800"/>
          </a:pPr>
          <a:endParaRPr lang="en-US"/>
        </a:p>
      </c:txPr>
    </c:legend>
    <c:plotVisOnly val="1"/>
    <c:dispBlanksAs val="zero"/>
    <c:showDLblsOverMax val="0"/>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3786487152839541E-2"/>
          <c:y val="3.3762914254281871E-2"/>
          <c:w val="0.89351434518960993"/>
          <c:h val="0.90266540927805849"/>
        </c:manualLayout>
      </c:layout>
      <c:areaChart>
        <c:grouping val="standard"/>
        <c:varyColors val="0"/>
        <c:ser>
          <c:idx val="0"/>
          <c:order val="0"/>
          <c:spPr>
            <a:solidFill>
              <a:srgbClr val="7A9A3D"/>
            </a:solidFill>
          </c:spPr>
          <c:cat>
            <c:numRef>
              <c:f>Sheet1!$G$3:$G$3155</c:f>
              <c:numCache>
                <c:formatCode>m/d/yyyy</c:formatCode>
                <c:ptCount val="3153"/>
                <c:pt idx="0">
                  <c:v>40178</c:v>
                </c:pt>
                <c:pt idx="1">
                  <c:v>40182</c:v>
                </c:pt>
                <c:pt idx="2">
                  <c:v>40183</c:v>
                </c:pt>
                <c:pt idx="3">
                  <c:v>40184</c:v>
                </c:pt>
                <c:pt idx="4">
                  <c:v>40185</c:v>
                </c:pt>
                <c:pt idx="5">
                  <c:v>40186</c:v>
                </c:pt>
                <c:pt idx="6">
                  <c:v>40189</c:v>
                </c:pt>
                <c:pt idx="7">
                  <c:v>40190</c:v>
                </c:pt>
                <c:pt idx="8">
                  <c:v>40191</c:v>
                </c:pt>
                <c:pt idx="9">
                  <c:v>40192</c:v>
                </c:pt>
                <c:pt idx="10">
                  <c:v>40193</c:v>
                </c:pt>
                <c:pt idx="11">
                  <c:v>40196</c:v>
                </c:pt>
                <c:pt idx="12">
                  <c:v>40197</c:v>
                </c:pt>
                <c:pt idx="13">
                  <c:v>40198</c:v>
                </c:pt>
                <c:pt idx="14">
                  <c:v>40199</c:v>
                </c:pt>
                <c:pt idx="15">
                  <c:v>40200</c:v>
                </c:pt>
                <c:pt idx="16">
                  <c:v>40203</c:v>
                </c:pt>
                <c:pt idx="17">
                  <c:v>40204</c:v>
                </c:pt>
                <c:pt idx="18">
                  <c:v>40205</c:v>
                </c:pt>
                <c:pt idx="19">
                  <c:v>40206</c:v>
                </c:pt>
                <c:pt idx="20">
                  <c:v>40207</c:v>
                </c:pt>
                <c:pt idx="21">
                  <c:v>40210</c:v>
                </c:pt>
                <c:pt idx="22">
                  <c:v>40211</c:v>
                </c:pt>
                <c:pt idx="23">
                  <c:v>40212</c:v>
                </c:pt>
                <c:pt idx="24">
                  <c:v>40213</c:v>
                </c:pt>
                <c:pt idx="25">
                  <c:v>40214</c:v>
                </c:pt>
                <c:pt idx="26">
                  <c:v>40217</c:v>
                </c:pt>
                <c:pt idx="27">
                  <c:v>40218</c:v>
                </c:pt>
                <c:pt idx="28">
                  <c:v>40219</c:v>
                </c:pt>
                <c:pt idx="29">
                  <c:v>40220</c:v>
                </c:pt>
                <c:pt idx="30">
                  <c:v>40221</c:v>
                </c:pt>
                <c:pt idx="31">
                  <c:v>40224</c:v>
                </c:pt>
                <c:pt idx="32">
                  <c:v>40225</c:v>
                </c:pt>
                <c:pt idx="33">
                  <c:v>40226</c:v>
                </c:pt>
                <c:pt idx="34">
                  <c:v>40227</c:v>
                </c:pt>
                <c:pt idx="35">
                  <c:v>40228</c:v>
                </c:pt>
                <c:pt idx="36">
                  <c:v>40231</c:v>
                </c:pt>
                <c:pt idx="37">
                  <c:v>40232</c:v>
                </c:pt>
                <c:pt idx="38">
                  <c:v>40233</c:v>
                </c:pt>
                <c:pt idx="39">
                  <c:v>40234</c:v>
                </c:pt>
                <c:pt idx="40">
                  <c:v>40235</c:v>
                </c:pt>
                <c:pt idx="41">
                  <c:v>40238</c:v>
                </c:pt>
                <c:pt idx="42">
                  <c:v>40239</c:v>
                </c:pt>
                <c:pt idx="43">
                  <c:v>40240</c:v>
                </c:pt>
                <c:pt idx="44">
                  <c:v>40241</c:v>
                </c:pt>
                <c:pt idx="45">
                  <c:v>40242</c:v>
                </c:pt>
                <c:pt idx="46">
                  <c:v>40245</c:v>
                </c:pt>
                <c:pt idx="47">
                  <c:v>40246</c:v>
                </c:pt>
                <c:pt idx="48">
                  <c:v>40247</c:v>
                </c:pt>
                <c:pt idx="49">
                  <c:v>40248</c:v>
                </c:pt>
                <c:pt idx="50">
                  <c:v>40249</c:v>
                </c:pt>
                <c:pt idx="51">
                  <c:v>40252</c:v>
                </c:pt>
                <c:pt idx="52">
                  <c:v>40253</c:v>
                </c:pt>
                <c:pt idx="53">
                  <c:v>40254</c:v>
                </c:pt>
                <c:pt idx="54">
                  <c:v>40255</c:v>
                </c:pt>
                <c:pt idx="55">
                  <c:v>40256</c:v>
                </c:pt>
                <c:pt idx="56">
                  <c:v>40259</c:v>
                </c:pt>
                <c:pt idx="57">
                  <c:v>40260</c:v>
                </c:pt>
                <c:pt idx="58">
                  <c:v>40261</c:v>
                </c:pt>
                <c:pt idx="59">
                  <c:v>40262</c:v>
                </c:pt>
                <c:pt idx="60">
                  <c:v>40263</c:v>
                </c:pt>
                <c:pt idx="61">
                  <c:v>40266</c:v>
                </c:pt>
                <c:pt idx="62">
                  <c:v>40267</c:v>
                </c:pt>
                <c:pt idx="63">
                  <c:v>40268</c:v>
                </c:pt>
                <c:pt idx="64">
                  <c:v>40269</c:v>
                </c:pt>
                <c:pt idx="65">
                  <c:v>40274</c:v>
                </c:pt>
                <c:pt idx="66">
                  <c:v>40275</c:v>
                </c:pt>
                <c:pt idx="67">
                  <c:v>40276</c:v>
                </c:pt>
                <c:pt idx="68">
                  <c:v>40277</c:v>
                </c:pt>
                <c:pt idx="69">
                  <c:v>40280</c:v>
                </c:pt>
                <c:pt idx="70">
                  <c:v>40281</c:v>
                </c:pt>
                <c:pt idx="71">
                  <c:v>40282</c:v>
                </c:pt>
                <c:pt idx="72">
                  <c:v>40283</c:v>
                </c:pt>
                <c:pt idx="73">
                  <c:v>40284</c:v>
                </c:pt>
                <c:pt idx="74">
                  <c:v>40287</c:v>
                </c:pt>
                <c:pt idx="75">
                  <c:v>40288</c:v>
                </c:pt>
                <c:pt idx="76">
                  <c:v>40289</c:v>
                </c:pt>
                <c:pt idx="77">
                  <c:v>40290</c:v>
                </c:pt>
                <c:pt idx="78">
                  <c:v>40291</c:v>
                </c:pt>
                <c:pt idx="79">
                  <c:v>40294</c:v>
                </c:pt>
                <c:pt idx="80">
                  <c:v>40295</c:v>
                </c:pt>
                <c:pt idx="81">
                  <c:v>40296</c:v>
                </c:pt>
                <c:pt idx="82">
                  <c:v>40297</c:v>
                </c:pt>
                <c:pt idx="83">
                  <c:v>40298</c:v>
                </c:pt>
                <c:pt idx="84">
                  <c:v>40302</c:v>
                </c:pt>
                <c:pt idx="85">
                  <c:v>40303</c:v>
                </c:pt>
                <c:pt idx="86">
                  <c:v>40304</c:v>
                </c:pt>
                <c:pt idx="87">
                  <c:v>40305</c:v>
                </c:pt>
                <c:pt idx="88">
                  <c:v>40308</c:v>
                </c:pt>
                <c:pt idx="89">
                  <c:v>40309</c:v>
                </c:pt>
                <c:pt idx="90">
                  <c:v>40310</c:v>
                </c:pt>
                <c:pt idx="91">
                  <c:v>40311</c:v>
                </c:pt>
                <c:pt idx="92">
                  <c:v>40312</c:v>
                </c:pt>
                <c:pt idx="93">
                  <c:v>40315</c:v>
                </c:pt>
                <c:pt idx="94">
                  <c:v>40316</c:v>
                </c:pt>
                <c:pt idx="95">
                  <c:v>40317</c:v>
                </c:pt>
                <c:pt idx="96">
                  <c:v>40318</c:v>
                </c:pt>
                <c:pt idx="97">
                  <c:v>40319</c:v>
                </c:pt>
                <c:pt idx="98">
                  <c:v>40322</c:v>
                </c:pt>
                <c:pt idx="99">
                  <c:v>40323</c:v>
                </c:pt>
                <c:pt idx="100">
                  <c:v>40324</c:v>
                </c:pt>
                <c:pt idx="101">
                  <c:v>40325</c:v>
                </c:pt>
                <c:pt idx="102">
                  <c:v>40326</c:v>
                </c:pt>
                <c:pt idx="103">
                  <c:v>40330</c:v>
                </c:pt>
                <c:pt idx="104">
                  <c:v>40331</c:v>
                </c:pt>
                <c:pt idx="105">
                  <c:v>40332</c:v>
                </c:pt>
                <c:pt idx="106">
                  <c:v>40333</c:v>
                </c:pt>
                <c:pt idx="107">
                  <c:v>40336</c:v>
                </c:pt>
                <c:pt idx="108">
                  <c:v>40337</c:v>
                </c:pt>
                <c:pt idx="109">
                  <c:v>40338</c:v>
                </c:pt>
                <c:pt idx="110">
                  <c:v>40339</c:v>
                </c:pt>
                <c:pt idx="111">
                  <c:v>40340</c:v>
                </c:pt>
                <c:pt idx="112">
                  <c:v>40343</c:v>
                </c:pt>
                <c:pt idx="113">
                  <c:v>40344</c:v>
                </c:pt>
                <c:pt idx="114">
                  <c:v>40345</c:v>
                </c:pt>
                <c:pt idx="115">
                  <c:v>40346</c:v>
                </c:pt>
                <c:pt idx="116">
                  <c:v>40347</c:v>
                </c:pt>
                <c:pt idx="117">
                  <c:v>40350</c:v>
                </c:pt>
                <c:pt idx="118">
                  <c:v>40351</c:v>
                </c:pt>
                <c:pt idx="119">
                  <c:v>40352</c:v>
                </c:pt>
                <c:pt idx="120">
                  <c:v>40353</c:v>
                </c:pt>
                <c:pt idx="121">
                  <c:v>40354</c:v>
                </c:pt>
                <c:pt idx="122">
                  <c:v>40357</c:v>
                </c:pt>
                <c:pt idx="123">
                  <c:v>40358</c:v>
                </c:pt>
                <c:pt idx="124">
                  <c:v>40359</c:v>
                </c:pt>
                <c:pt idx="125">
                  <c:v>40360</c:v>
                </c:pt>
                <c:pt idx="126">
                  <c:v>40361</c:v>
                </c:pt>
                <c:pt idx="127">
                  <c:v>40364</c:v>
                </c:pt>
                <c:pt idx="128">
                  <c:v>40365</c:v>
                </c:pt>
                <c:pt idx="129">
                  <c:v>40366</c:v>
                </c:pt>
                <c:pt idx="130">
                  <c:v>40367</c:v>
                </c:pt>
                <c:pt idx="131">
                  <c:v>40368</c:v>
                </c:pt>
                <c:pt idx="132">
                  <c:v>40371</c:v>
                </c:pt>
                <c:pt idx="133">
                  <c:v>40372</c:v>
                </c:pt>
                <c:pt idx="134">
                  <c:v>40373</c:v>
                </c:pt>
                <c:pt idx="135">
                  <c:v>40374</c:v>
                </c:pt>
                <c:pt idx="136">
                  <c:v>40375</c:v>
                </c:pt>
                <c:pt idx="137">
                  <c:v>40378</c:v>
                </c:pt>
                <c:pt idx="138">
                  <c:v>40379</c:v>
                </c:pt>
                <c:pt idx="139">
                  <c:v>40380</c:v>
                </c:pt>
                <c:pt idx="140">
                  <c:v>40381</c:v>
                </c:pt>
                <c:pt idx="141">
                  <c:v>40382</c:v>
                </c:pt>
                <c:pt idx="142">
                  <c:v>40385</c:v>
                </c:pt>
                <c:pt idx="143">
                  <c:v>40386</c:v>
                </c:pt>
                <c:pt idx="144">
                  <c:v>40387</c:v>
                </c:pt>
                <c:pt idx="145">
                  <c:v>40388</c:v>
                </c:pt>
                <c:pt idx="146">
                  <c:v>40389</c:v>
                </c:pt>
                <c:pt idx="147">
                  <c:v>40392</c:v>
                </c:pt>
                <c:pt idx="148">
                  <c:v>40393</c:v>
                </c:pt>
                <c:pt idx="149">
                  <c:v>40394</c:v>
                </c:pt>
                <c:pt idx="150">
                  <c:v>40395</c:v>
                </c:pt>
                <c:pt idx="151">
                  <c:v>40396</c:v>
                </c:pt>
                <c:pt idx="152">
                  <c:v>40399</c:v>
                </c:pt>
                <c:pt idx="153">
                  <c:v>40400</c:v>
                </c:pt>
                <c:pt idx="154">
                  <c:v>40401</c:v>
                </c:pt>
                <c:pt idx="155">
                  <c:v>40402</c:v>
                </c:pt>
                <c:pt idx="156">
                  <c:v>40403</c:v>
                </c:pt>
                <c:pt idx="157">
                  <c:v>40406</c:v>
                </c:pt>
                <c:pt idx="158">
                  <c:v>40407</c:v>
                </c:pt>
                <c:pt idx="159">
                  <c:v>40408</c:v>
                </c:pt>
                <c:pt idx="160">
                  <c:v>40409</c:v>
                </c:pt>
                <c:pt idx="161">
                  <c:v>40410</c:v>
                </c:pt>
                <c:pt idx="162">
                  <c:v>40413</c:v>
                </c:pt>
                <c:pt idx="163">
                  <c:v>40414</c:v>
                </c:pt>
                <c:pt idx="164">
                  <c:v>40415</c:v>
                </c:pt>
                <c:pt idx="165">
                  <c:v>40416</c:v>
                </c:pt>
                <c:pt idx="166">
                  <c:v>40417</c:v>
                </c:pt>
                <c:pt idx="167">
                  <c:v>40421</c:v>
                </c:pt>
                <c:pt idx="168">
                  <c:v>40422</c:v>
                </c:pt>
                <c:pt idx="169">
                  <c:v>40423</c:v>
                </c:pt>
                <c:pt idx="170">
                  <c:v>40424</c:v>
                </c:pt>
                <c:pt idx="171">
                  <c:v>40427</c:v>
                </c:pt>
                <c:pt idx="172">
                  <c:v>40428</c:v>
                </c:pt>
                <c:pt idx="173">
                  <c:v>40429</c:v>
                </c:pt>
                <c:pt idx="174">
                  <c:v>40430</c:v>
                </c:pt>
                <c:pt idx="175">
                  <c:v>40431</c:v>
                </c:pt>
                <c:pt idx="176">
                  <c:v>40434</c:v>
                </c:pt>
                <c:pt idx="177">
                  <c:v>40435</c:v>
                </c:pt>
                <c:pt idx="178">
                  <c:v>40436</c:v>
                </c:pt>
                <c:pt idx="179">
                  <c:v>40437</c:v>
                </c:pt>
                <c:pt idx="180">
                  <c:v>40438</c:v>
                </c:pt>
                <c:pt idx="181">
                  <c:v>40441</c:v>
                </c:pt>
                <c:pt idx="182">
                  <c:v>40442</c:v>
                </c:pt>
                <c:pt idx="183">
                  <c:v>40443</c:v>
                </c:pt>
                <c:pt idx="184">
                  <c:v>40444</c:v>
                </c:pt>
                <c:pt idx="185">
                  <c:v>40445</c:v>
                </c:pt>
                <c:pt idx="186">
                  <c:v>40448</c:v>
                </c:pt>
                <c:pt idx="187">
                  <c:v>40449</c:v>
                </c:pt>
                <c:pt idx="188">
                  <c:v>40450</c:v>
                </c:pt>
                <c:pt idx="189">
                  <c:v>40451</c:v>
                </c:pt>
                <c:pt idx="190">
                  <c:v>40452</c:v>
                </c:pt>
                <c:pt idx="191">
                  <c:v>40455</c:v>
                </c:pt>
                <c:pt idx="192">
                  <c:v>40456</c:v>
                </c:pt>
                <c:pt idx="193">
                  <c:v>40457</c:v>
                </c:pt>
                <c:pt idx="194">
                  <c:v>40458</c:v>
                </c:pt>
                <c:pt idx="195">
                  <c:v>40459</c:v>
                </c:pt>
                <c:pt idx="196">
                  <c:v>40462</c:v>
                </c:pt>
                <c:pt idx="197">
                  <c:v>40463</c:v>
                </c:pt>
                <c:pt idx="198">
                  <c:v>40464</c:v>
                </c:pt>
                <c:pt idx="199">
                  <c:v>40465</c:v>
                </c:pt>
                <c:pt idx="200">
                  <c:v>40466</c:v>
                </c:pt>
                <c:pt idx="201">
                  <c:v>40469</c:v>
                </c:pt>
                <c:pt idx="202">
                  <c:v>40470</c:v>
                </c:pt>
                <c:pt idx="203">
                  <c:v>40471</c:v>
                </c:pt>
                <c:pt idx="204">
                  <c:v>40472</c:v>
                </c:pt>
                <c:pt idx="205">
                  <c:v>40473</c:v>
                </c:pt>
                <c:pt idx="206">
                  <c:v>40476</c:v>
                </c:pt>
                <c:pt idx="207">
                  <c:v>40477</c:v>
                </c:pt>
                <c:pt idx="208">
                  <c:v>40478</c:v>
                </c:pt>
                <c:pt idx="209">
                  <c:v>40479</c:v>
                </c:pt>
                <c:pt idx="210">
                  <c:v>40480</c:v>
                </c:pt>
                <c:pt idx="211">
                  <c:v>40483</c:v>
                </c:pt>
                <c:pt idx="212">
                  <c:v>40484</c:v>
                </c:pt>
                <c:pt idx="213">
                  <c:v>40485</c:v>
                </c:pt>
                <c:pt idx="214">
                  <c:v>40486</c:v>
                </c:pt>
                <c:pt idx="215">
                  <c:v>40487</c:v>
                </c:pt>
                <c:pt idx="216">
                  <c:v>40490</c:v>
                </c:pt>
                <c:pt idx="217">
                  <c:v>40491</c:v>
                </c:pt>
                <c:pt idx="218">
                  <c:v>40492</c:v>
                </c:pt>
                <c:pt idx="219">
                  <c:v>40493</c:v>
                </c:pt>
                <c:pt idx="220">
                  <c:v>40494</c:v>
                </c:pt>
                <c:pt idx="221">
                  <c:v>40497</c:v>
                </c:pt>
                <c:pt idx="222">
                  <c:v>40498</c:v>
                </c:pt>
                <c:pt idx="223">
                  <c:v>40499</c:v>
                </c:pt>
                <c:pt idx="224">
                  <c:v>40500</c:v>
                </c:pt>
                <c:pt idx="225">
                  <c:v>40501</c:v>
                </c:pt>
                <c:pt idx="226">
                  <c:v>40504</c:v>
                </c:pt>
                <c:pt idx="227">
                  <c:v>40505</c:v>
                </c:pt>
                <c:pt idx="228">
                  <c:v>40506</c:v>
                </c:pt>
                <c:pt idx="229">
                  <c:v>40507</c:v>
                </c:pt>
                <c:pt idx="230">
                  <c:v>40508</c:v>
                </c:pt>
                <c:pt idx="231">
                  <c:v>40511</c:v>
                </c:pt>
                <c:pt idx="232">
                  <c:v>40512</c:v>
                </c:pt>
                <c:pt idx="233">
                  <c:v>40513</c:v>
                </c:pt>
                <c:pt idx="234">
                  <c:v>40514</c:v>
                </c:pt>
                <c:pt idx="235">
                  <c:v>40515</c:v>
                </c:pt>
                <c:pt idx="236">
                  <c:v>40518</c:v>
                </c:pt>
                <c:pt idx="237">
                  <c:v>40519</c:v>
                </c:pt>
                <c:pt idx="238">
                  <c:v>40520</c:v>
                </c:pt>
                <c:pt idx="239">
                  <c:v>40521</c:v>
                </c:pt>
                <c:pt idx="240">
                  <c:v>40522</c:v>
                </c:pt>
                <c:pt idx="241">
                  <c:v>40525</c:v>
                </c:pt>
                <c:pt idx="242">
                  <c:v>40526</c:v>
                </c:pt>
                <c:pt idx="243">
                  <c:v>40527</c:v>
                </c:pt>
                <c:pt idx="244">
                  <c:v>40528</c:v>
                </c:pt>
                <c:pt idx="245">
                  <c:v>40529</c:v>
                </c:pt>
                <c:pt idx="246">
                  <c:v>40532</c:v>
                </c:pt>
                <c:pt idx="247">
                  <c:v>40533</c:v>
                </c:pt>
                <c:pt idx="248">
                  <c:v>40534</c:v>
                </c:pt>
                <c:pt idx="249">
                  <c:v>40535</c:v>
                </c:pt>
                <c:pt idx="250">
                  <c:v>40536</c:v>
                </c:pt>
                <c:pt idx="251">
                  <c:v>40541</c:v>
                </c:pt>
                <c:pt idx="252">
                  <c:v>40542</c:v>
                </c:pt>
                <c:pt idx="253">
                  <c:v>40543</c:v>
                </c:pt>
                <c:pt idx="254">
                  <c:v>40547</c:v>
                </c:pt>
                <c:pt idx="255">
                  <c:v>40548</c:v>
                </c:pt>
                <c:pt idx="256">
                  <c:v>40549</c:v>
                </c:pt>
                <c:pt idx="257">
                  <c:v>40550</c:v>
                </c:pt>
                <c:pt idx="258">
                  <c:v>40553</c:v>
                </c:pt>
                <c:pt idx="259">
                  <c:v>40554</c:v>
                </c:pt>
                <c:pt idx="260">
                  <c:v>40555</c:v>
                </c:pt>
                <c:pt idx="261">
                  <c:v>40556</c:v>
                </c:pt>
                <c:pt idx="262">
                  <c:v>40557</c:v>
                </c:pt>
                <c:pt idx="263">
                  <c:v>40560</c:v>
                </c:pt>
                <c:pt idx="264">
                  <c:v>40561</c:v>
                </c:pt>
                <c:pt idx="265">
                  <c:v>40562</c:v>
                </c:pt>
                <c:pt idx="266">
                  <c:v>40563</c:v>
                </c:pt>
                <c:pt idx="267">
                  <c:v>40564</c:v>
                </c:pt>
                <c:pt idx="268">
                  <c:v>40567</c:v>
                </c:pt>
                <c:pt idx="269">
                  <c:v>40568</c:v>
                </c:pt>
                <c:pt idx="270">
                  <c:v>40569</c:v>
                </c:pt>
                <c:pt idx="271">
                  <c:v>40570</c:v>
                </c:pt>
                <c:pt idx="272">
                  <c:v>40571</c:v>
                </c:pt>
                <c:pt idx="273">
                  <c:v>40574</c:v>
                </c:pt>
                <c:pt idx="274">
                  <c:v>40575</c:v>
                </c:pt>
                <c:pt idx="275">
                  <c:v>40576</c:v>
                </c:pt>
                <c:pt idx="276">
                  <c:v>40577</c:v>
                </c:pt>
                <c:pt idx="277">
                  <c:v>40578</c:v>
                </c:pt>
                <c:pt idx="278">
                  <c:v>40581</c:v>
                </c:pt>
                <c:pt idx="279">
                  <c:v>40582</c:v>
                </c:pt>
                <c:pt idx="280">
                  <c:v>40583</c:v>
                </c:pt>
                <c:pt idx="281">
                  <c:v>40584</c:v>
                </c:pt>
                <c:pt idx="282">
                  <c:v>40585</c:v>
                </c:pt>
                <c:pt idx="283">
                  <c:v>40588</c:v>
                </c:pt>
                <c:pt idx="284">
                  <c:v>40589</c:v>
                </c:pt>
                <c:pt idx="285">
                  <c:v>40590</c:v>
                </c:pt>
                <c:pt idx="286">
                  <c:v>40591</c:v>
                </c:pt>
                <c:pt idx="287">
                  <c:v>40592</c:v>
                </c:pt>
                <c:pt idx="288">
                  <c:v>40595</c:v>
                </c:pt>
                <c:pt idx="289">
                  <c:v>40596</c:v>
                </c:pt>
                <c:pt idx="290">
                  <c:v>40597</c:v>
                </c:pt>
                <c:pt idx="291">
                  <c:v>40598</c:v>
                </c:pt>
                <c:pt idx="292">
                  <c:v>40599</c:v>
                </c:pt>
                <c:pt idx="293">
                  <c:v>40602</c:v>
                </c:pt>
                <c:pt idx="294">
                  <c:v>40603</c:v>
                </c:pt>
                <c:pt idx="295">
                  <c:v>40604</c:v>
                </c:pt>
                <c:pt idx="296">
                  <c:v>40605</c:v>
                </c:pt>
                <c:pt idx="297">
                  <c:v>40606</c:v>
                </c:pt>
                <c:pt idx="298">
                  <c:v>40609</c:v>
                </c:pt>
                <c:pt idx="299">
                  <c:v>40610</c:v>
                </c:pt>
                <c:pt idx="300">
                  <c:v>40611</c:v>
                </c:pt>
                <c:pt idx="301">
                  <c:v>40612</c:v>
                </c:pt>
                <c:pt idx="302">
                  <c:v>40613</c:v>
                </c:pt>
                <c:pt idx="303">
                  <c:v>40616</c:v>
                </c:pt>
                <c:pt idx="304">
                  <c:v>40617</c:v>
                </c:pt>
                <c:pt idx="305">
                  <c:v>40618</c:v>
                </c:pt>
                <c:pt idx="306">
                  <c:v>40619</c:v>
                </c:pt>
                <c:pt idx="307">
                  <c:v>40620</c:v>
                </c:pt>
                <c:pt idx="308">
                  <c:v>40623</c:v>
                </c:pt>
                <c:pt idx="309">
                  <c:v>40624</c:v>
                </c:pt>
                <c:pt idx="310">
                  <c:v>40625</c:v>
                </c:pt>
                <c:pt idx="311">
                  <c:v>40626</c:v>
                </c:pt>
                <c:pt idx="312">
                  <c:v>40627</c:v>
                </c:pt>
                <c:pt idx="313">
                  <c:v>40630</c:v>
                </c:pt>
                <c:pt idx="314">
                  <c:v>40631</c:v>
                </c:pt>
                <c:pt idx="315">
                  <c:v>40632</c:v>
                </c:pt>
                <c:pt idx="316">
                  <c:v>40633</c:v>
                </c:pt>
                <c:pt idx="317">
                  <c:v>40634</c:v>
                </c:pt>
                <c:pt idx="318">
                  <c:v>40637</c:v>
                </c:pt>
                <c:pt idx="319">
                  <c:v>40638</c:v>
                </c:pt>
                <c:pt idx="320">
                  <c:v>40639</c:v>
                </c:pt>
                <c:pt idx="321">
                  <c:v>40640</c:v>
                </c:pt>
                <c:pt idx="322">
                  <c:v>40641</c:v>
                </c:pt>
                <c:pt idx="323">
                  <c:v>40644</c:v>
                </c:pt>
                <c:pt idx="324">
                  <c:v>40645</c:v>
                </c:pt>
                <c:pt idx="325">
                  <c:v>40646</c:v>
                </c:pt>
                <c:pt idx="326">
                  <c:v>40647</c:v>
                </c:pt>
                <c:pt idx="327">
                  <c:v>40648</c:v>
                </c:pt>
                <c:pt idx="328">
                  <c:v>40651</c:v>
                </c:pt>
                <c:pt idx="329">
                  <c:v>40652</c:v>
                </c:pt>
                <c:pt idx="330">
                  <c:v>40653</c:v>
                </c:pt>
                <c:pt idx="331">
                  <c:v>40654</c:v>
                </c:pt>
                <c:pt idx="332">
                  <c:v>40659</c:v>
                </c:pt>
                <c:pt idx="333">
                  <c:v>40660</c:v>
                </c:pt>
                <c:pt idx="334">
                  <c:v>40661</c:v>
                </c:pt>
                <c:pt idx="335">
                  <c:v>40666</c:v>
                </c:pt>
                <c:pt idx="336">
                  <c:v>40667</c:v>
                </c:pt>
                <c:pt idx="337">
                  <c:v>40668</c:v>
                </c:pt>
                <c:pt idx="338">
                  <c:v>40669</c:v>
                </c:pt>
                <c:pt idx="339">
                  <c:v>40672</c:v>
                </c:pt>
                <c:pt idx="340">
                  <c:v>40673</c:v>
                </c:pt>
                <c:pt idx="341">
                  <c:v>40674</c:v>
                </c:pt>
                <c:pt idx="342">
                  <c:v>40675</c:v>
                </c:pt>
                <c:pt idx="343">
                  <c:v>40676</c:v>
                </c:pt>
                <c:pt idx="344">
                  <c:v>40679</c:v>
                </c:pt>
                <c:pt idx="345">
                  <c:v>40680</c:v>
                </c:pt>
                <c:pt idx="346">
                  <c:v>40681</c:v>
                </c:pt>
                <c:pt idx="347">
                  <c:v>40682</c:v>
                </c:pt>
                <c:pt idx="348">
                  <c:v>40683</c:v>
                </c:pt>
                <c:pt idx="349">
                  <c:v>40686</c:v>
                </c:pt>
                <c:pt idx="350">
                  <c:v>40687</c:v>
                </c:pt>
                <c:pt idx="351">
                  <c:v>40688</c:v>
                </c:pt>
                <c:pt idx="352">
                  <c:v>40689</c:v>
                </c:pt>
                <c:pt idx="353">
                  <c:v>40690</c:v>
                </c:pt>
                <c:pt idx="354">
                  <c:v>40694</c:v>
                </c:pt>
                <c:pt idx="355">
                  <c:v>40695</c:v>
                </c:pt>
                <c:pt idx="356">
                  <c:v>40696</c:v>
                </c:pt>
                <c:pt idx="357">
                  <c:v>40697</c:v>
                </c:pt>
                <c:pt idx="358">
                  <c:v>40700</c:v>
                </c:pt>
                <c:pt idx="359">
                  <c:v>40701</c:v>
                </c:pt>
                <c:pt idx="360">
                  <c:v>40702</c:v>
                </c:pt>
                <c:pt idx="361">
                  <c:v>40703</c:v>
                </c:pt>
                <c:pt idx="362">
                  <c:v>40704</c:v>
                </c:pt>
                <c:pt idx="363">
                  <c:v>40707</c:v>
                </c:pt>
                <c:pt idx="364">
                  <c:v>40708</c:v>
                </c:pt>
                <c:pt idx="365">
                  <c:v>40709</c:v>
                </c:pt>
                <c:pt idx="366">
                  <c:v>40710</c:v>
                </c:pt>
                <c:pt idx="367">
                  <c:v>40711</c:v>
                </c:pt>
                <c:pt idx="368">
                  <c:v>40714</c:v>
                </c:pt>
                <c:pt idx="369">
                  <c:v>40715</c:v>
                </c:pt>
                <c:pt idx="370">
                  <c:v>40716</c:v>
                </c:pt>
                <c:pt idx="371">
                  <c:v>40717</c:v>
                </c:pt>
                <c:pt idx="372">
                  <c:v>40718</c:v>
                </c:pt>
                <c:pt idx="373">
                  <c:v>40721</c:v>
                </c:pt>
                <c:pt idx="374">
                  <c:v>40722</c:v>
                </c:pt>
                <c:pt idx="375">
                  <c:v>40723</c:v>
                </c:pt>
                <c:pt idx="376">
                  <c:v>40724</c:v>
                </c:pt>
                <c:pt idx="377">
                  <c:v>40725</c:v>
                </c:pt>
                <c:pt idx="378">
                  <c:v>40728</c:v>
                </c:pt>
                <c:pt idx="379">
                  <c:v>40729</c:v>
                </c:pt>
                <c:pt idx="380">
                  <c:v>40730</c:v>
                </c:pt>
                <c:pt idx="381">
                  <c:v>40731</c:v>
                </c:pt>
                <c:pt idx="382">
                  <c:v>40732</c:v>
                </c:pt>
                <c:pt idx="383">
                  <c:v>40735</c:v>
                </c:pt>
                <c:pt idx="384">
                  <c:v>40736</c:v>
                </c:pt>
                <c:pt idx="385">
                  <c:v>40737</c:v>
                </c:pt>
                <c:pt idx="386">
                  <c:v>40738</c:v>
                </c:pt>
                <c:pt idx="387">
                  <c:v>40739</c:v>
                </c:pt>
                <c:pt idx="388">
                  <c:v>40742</c:v>
                </c:pt>
                <c:pt idx="389">
                  <c:v>40743</c:v>
                </c:pt>
                <c:pt idx="390">
                  <c:v>40744</c:v>
                </c:pt>
                <c:pt idx="391">
                  <c:v>40745</c:v>
                </c:pt>
                <c:pt idx="392">
                  <c:v>40746</c:v>
                </c:pt>
                <c:pt idx="393">
                  <c:v>40749</c:v>
                </c:pt>
                <c:pt idx="394">
                  <c:v>40750</c:v>
                </c:pt>
                <c:pt idx="395">
                  <c:v>40751</c:v>
                </c:pt>
                <c:pt idx="396">
                  <c:v>40752</c:v>
                </c:pt>
                <c:pt idx="397">
                  <c:v>40753</c:v>
                </c:pt>
                <c:pt idx="398">
                  <c:v>40756</c:v>
                </c:pt>
                <c:pt idx="399">
                  <c:v>40757</c:v>
                </c:pt>
                <c:pt idx="400">
                  <c:v>40758</c:v>
                </c:pt>
                <c:pt idx="401">
                  <c:v>40759</c:v>
                </c:pt>
                <c:pt idx="402">
                  <c:v>40760</c:v>
                </c:pt>
                <c:pt idx="403">
                  <c:v>40763</c:v>
                </c:pt>
                <c:pt idx="404">
                  <c:v>40764</c:v>
                </c:pt>
                <c:pt idx="405">
                  <c:v>40765</c:v>
                </c:pt>
                <c:pt idx="406">
                  <c:v>40766</c:v>
                </c:pt>
                <c:pt idx="407">
                  <c:v>40767</c:v>
                </c:pt>
                <c:pt idx="408">
                  <c:v>40770</c:v>
                </c:pt>
                <c:pt idx="409">
                  <c:v>40771</c:v>
                </c:pt>
                <c:pt idx="410">
                  <c:v>40772</c:v>
                </c:pt>
                <c:pt idx="411">
                  <c:v>40773</c:v>
                </c:pt>
                <c:pt idx="412">
                  <c:v>40774</c:v>
                </c:pt>
                <c:pt idx="413">
                  <c:v>40777</c:v>
                </c:pt>
                <c:pt idx="414">
                  <c:v>40778</c:v>
                </c:pt>
                <c:pt idx="415">
                  <c:v>40779</c:v>
                </c:pt>
                <c:pt idx="416">
                  <c:v>40780</c:v>
                </c:pt>
                <c:pt idx="417">
                  <c:v>40781</c:v>
                </c:pt>
                <c:pt idx="418">
                  <c:v>40785</c:v>
                </c:pt>
                <c:pt idx="419">
                  <c:v>40786</c:v>
                </c:pt>
                <c:pt idx="420">
                  <c:v>40787</c:v>
                </c:pt>
                <c:pt idx="421">
                  <c:v>40788</c:v>
                </c:pt>
                <c:pt idx="422">
                  <c:v>40791</c:v>
                </c:pt>
                <c:pt idx="423">
                  <c:v>40792</c:v>
                </c:pt>
                <c:pt idx="424">
                  <c:v>40793</c:v>
                </c:pt>
                <c:pt idx="425">
                  <c:v>40794</c:v>
                </c:pt>
                <c:pt idx="426">
                  <c:v>40795</c:v>
                </c:pt>
                <c:pt idx="427">
                  <c:v>40798</c:v>
                </c:pt>
                <c:pt idx="428">
                  <c:v>40799</c:v>
                </c:pt>
                <c:pt idx="429">
                  <c:v>40800</c:v>
                </c:pt>
                <c:pt idx="430">
                  <c:v>40801</c:v>
                </c:pt>
                <c:pt idx="431">
                  <c:v>40802</c:v>
                </c:pt>
                <c:pt idx="432">
                  <c:v>40805</c:v>
                </c:pt>
                <c:pt idx="433">
                  <c:v>40806</c:v>
                </c:pt>
                <c:pt idx="434">
                  <c:v>40807</c:v>
                </c:pt>
                <c:pt idx="435">
                  <c:v>40808</c:v>
                </c:pt>
                <c:pt idx="436">
                  <c:v>40809</c:v>
                </c:pt>
                <c:pt idx="437">
                  <c:v>40812</c:v>
                </c:pt>
                <c:pt idx="438">
                  <c:v>40813</c:v>
                </c:pt>
                <c:pt idx="439">
                  <c:v>40814</c:v>
                </c:pt>
                <c:pt idx="440">
                  <c:v>40815</c:v>
                </c:pt>
                <c:pt idx="441">
                  <c:v>40816</c:v>
                </c:pt>
                <c:pt idx="442">
                  <c:v>40819</c:v>
                </c:pt>
                <c:pt idx="443">
                  <c:v>40820</c:v>
                </c:pt>
                <c:pt idx="444">
                  <c:v>40821</c:v>
                </c:pt>
                <c:pt idx="445">
                  <c:v>40822</c:v>
                </c:pt>
                <c:pt idx="446">
                  <c:v>40823</c:v>
                </c:pt>
                <c:pt idx="447">
                  <c:v>40826</c:v>
                </c:pt>
                <c:pt idx="448">
                  <c:v>40827</c:v>
                </c:pt>
                <c:pt idx="449">
                  <c:v>40828</c:v>
                </c:pt>
                <c:pt idx="450">
                  <c:v>40829</c:v>
                </c:pt>
                <c:pt idx="451">
                  <c:v>40830</c:v>
                </c:pt>
                <c:pt idx="452">
                  <c:v>40833</c:v>
                </c:pt>
                <c:pt idx="453">
                  <c:v>40834</c:v>
                </c:pt>
                <c:pt idx="454">
                  <c:v>40835</c:v>
                </c:pt>
                <c:pt idx="455">
                  <c:v>40836</c:v>
                </c:pt>
                <c:pt idx="456">
                  <c:v>40837</c:v>
                </c:pt>
                <c:pt idx="457">
                  <c:v>40840</c:v>
                </c:pt>
                <c:pt idx="458">
                  <c:v>40841</c:v>
                </c:pt>
                <c:pt idx="459">
                  <c:v>40842</c:v>
                </c:pt>
                <c:pt idx="460">
                  <c:v>40843</c:v>
                </c:pt>
                <c:pt idx="461">
                  <c:v>40844</c:v>
                </c:pt>
                <c:pt idx="462">
                  <c:v>40847</c:v>
                </c:pt>
                <c:pt idx="463">
                  <c:v>40848</c:v>
                </c:pt>
                <c:pt idx="464">
                  <c:v>40849</c:v>
                </c:pt>
                <c:pt idx="465">
                  <c:v>40850</c:v>
                </c:pt>
                <c:pt idx="466">
                  <c:v>40851</c:v>
                </c:pt>
                <c:pt idx="467">
                  <c:v>40854</c:v>
                </c:pt>
                <c:pt idx="468">
                  <c:v>40855</c:v>
                </c:pt>
                <c:pt idx="469">
                  <c:v>40856</c:v>
                </c:pt>
                <c:pt idx="470">
                  <c:v>40857</c:v>
                </c:pt>
                <c:pt idx="471">
                  <c:v>40858</c:v>
                </c:pt>
                <c:pt idx="472">
                  <c:v>40861</c:v>
                </c:pt>
                <c:pt idx="473">
                  <c:v>40862</c:v>
                </c:pt>
                <c:pt idx="474">
                  <c:v>40863</c:v>
                </c:pt>
                <c:pt idx="475">
                  <c:v>40864</c:v>
                </c:pt>
                <c:pt idx="476">
                  <c:v>40865</c:v>
                </c:pt>
                <c:pt idx="477">
                  <c:v>40868</c:v>
                </c:pt>
                <c:pt idx="478">
                  <c:v>40869</c:v>
                </c:pt>
                <c:pt idx="479">
                  <c:v>40870</c:v>
                </c:pt>
                <c:pt idx="480">
                  <c:v>40871</c:v>
                </c:pt>
                <c:pt idx="481">
                  <c:v>40872</c:v>
                </c:pt>
                <c:pt idx="482">
                  <c:v>40875</c:v>
                </c:pt>
                <c:pt idx="483">
                  <c:v>40876</c:v>
                </c:pt>
                <c:pt idx="484">
                  <c:v>40877</c:v>
                </c:pt>
                <c:pt idx="485">
                  <c:v>40878</c:v>
                </c:pt>
                <c:pt idx="486">
                  <c:v>40879</c:v>
                </c:pt>
                <c:pt idx="487">
                  <c:v>40882</c:v>
                </c:pt>
                <c:pt idx="488">
                  <c:v>40883</c:v>
                </c:pt>
                <c:pt idx="489">
                  <c:v>40884</c:v>
                </c:pt>
                <c:pt idx="490">
                  <c:v>40885</c:v>
                </c:pt>
                <c:pt idx="491">
                  <c:v>40886</c:v>
                </c:pt>
                <c:pt idx="492">
                  <c:v>40889</c:v>
                </c:pt>
                <c:pt idx="493">
                  <c:v>40890</c:v>
                </c:pt>
                <c:pt idx="494">
                  <c:v>40891</c:v>
                </c:pt>
                <c:pt idx="495">
                  <c:v>40892</c:v>
                </c:pt>
                <c:pt idx="496">
                  <c:v>40893</c:v>
                </c:pt>
                <c:pt idx="497">
                  <c:v>40896</c:v>
                </c:pt>
                <c:pt idx="498">
                  <c:v>40897</c:v>
                </c:pt>
                <c:pt idx="499">
                  <c:v>40898</c:v>
                </c:pt>
                <c:pt idx="500">
                  <c:v>40899</c:v>
                </c:pt>
                <c:pt idx="501">
                  <c:v>40900</c:v>
                </c:pt>
                <c:pt idx="502">
                  <c:v>40905</c:v>
                </c:pt>
                <c:pt idx="503">
                  <c:v>40906</c:v>
                </c:pt>
                <c:pt idx="504">
                  <c:v>40907</c:v>
                </c:pt>
                <c:pt idx="505">
                  <c:v>40911</c:v>
                </c:pt>
                <c:pt idx="506">
                  <c:v>40912</c:v>
                </c:pt>
                <c:pt idx="507">
                  <c:v>40913</c:v>
                </c:pt>
                <c:pt idx="508">
                  <c:v>40914</c:v>
                </c:pt>
                <c:pt idx="509">
                  <c:v>40917</c:v>
                </c:pt>
                <c:pt idx="510">
                  <c:v>40918</c:v>
                </c:pt>
                <c:pt idx="511">
                  <c:v>40919</c:v>
                </c:pt>
                <c:pt idx="512">
                  <c:v>40920</c:v>
                </c:pt>
                <c:pt idx="513">
                  <c:v>40921</c:v>
                </c:pt>
                <c:pt idx="514">
                  <c:v>40924</c:v>
                </c:pt>
                <c:pt idx="515">
                  <c:v>40925</c:v>
                </c:pt>
                <c:pt idx="516">
                  <c:v>40926</c:v>
                </c:pt>
                <c:pt idx="517">
                  <c:v>40927</c:v>
                </c:pt>
                <c:pt idx="518">
                  <c:v>40928</c:v>
                </c:pt>
                <c:pt idx="519">
                  <c:v>40931</c:v>
                </c:pt>
                <c:pt idx="520">
                  <c:v>40932</c:v>
                </c:pt>
                <c:pt idx="521">
                  <c:v>40933</c:v>
                </c:pt>
                <c:pt idx="522">
                  <c:v>40934</c:v>
                </c:pt>
                <c:pt idx="523">
                  <c:v>40935</c:v>
                </c:pt>
                <c:pt idx="524">
                  <c:v>40938</c:v>
                </c:pt>
                <c:pt idx="525">
                  <c:v>40939</c:v>
                </c:pt>
                <c:pt idx="526">
                  <c:v>40940</c:v>
                </c:pt>
                <c:pt idx="527">
                  <c:v>40941</c:v>
                </c:pt>
                <c:pt idx="528">
                  <c:v>40942</c:v>
                </c:pt>
                <c:pt idx="529">
                  <c:v>40945</c:v>
                </c:pt>
                <c:pt idx="530">
                  <c:v>40946</c:v>
                </c:pt>
                <c:pt idx="531">
                  <c:v>40947</c:v>
                </c:pt>
                <c:pt idx="532">
                  <c:v>40948</c:v>
                </c:pt>
                <c:pt idx="533">
                  <c:v>40949</c:v>
                </c:pt>
                <c:pt idx="534">
                  <c:v>40952</c:v>
                </c:pt>
                <c:pt idx="535">
                  <c:v>40953</c:v>
                </c:pt>
                <c:pt idx="536">
                  <c:v>40954</c:v>
                </c:pt>
                <c:pt idx="537">
                  <c:v>40955</c:v>
                </c:pt>
                <c:pt idx="538">
                  <c:v>40956</c:v>
                </c:pt>
                <c:pt idx="539">
                  <c:v>40959</c:v>
                </c:pt>
                <c:pt idx="540">
                  <c:v>40960</c:v>
                </c:pt>
                <c:pt idx="541">
                  <c:v>40961</c:v>
                </c:pt>
                <c:pt idx="542">
                  <c:v>40962</c:v>
                </c:pt>
                <c:pt idx="543">
                  <c:v>40963</c:v>
                </c:pt>
                <c:pt idx="544">
                  <c:v>40966</c:v>
                </c:pt>
                <c:pt idx="545">
                  <c:v>40967</c:v>
                </c:pt>
                <c:pt idx="546">
                  <c:v>40968</c:v>
                </c:pt>
                <c:pt idx="547">
                  <c:v>40969</c:v>
                </c:pt>
                <c:pt idx="548">
                  <c:v>40970</c:v>
                </c:pt>
                <c:pt idx="549">
                  <c:v>40973</c:v>
                </c:pt>
                <c:pt idx="550">
                  <c:v>40974</c:v>
                </c:pt>
                <c:pt idx="551">
                  <c:v>40975</c:v>
                </c:pt>
                <c:pt idx="552">
                  <c:v>40976</c:v>
                </c:pt>
                <c:pt idx="553">
                  <c:v>40977</c:v>
                </c:pt>
                <c:pt idx="554">
                  <c:v>40980</c:v>
                </c:pt>
                <c:pt idx="555">
                  <c:v>40981</c:v>
                </c:pt>
                <c:pt idx="556">
                  <c:v>40982</c:v>
                </c:pt>
                <c:pt idx="557">
                  <c:v>40983</c:v>
                </c:pt>
                <c:pt idx="558">
                  <c:v>40984</c:v>
                </c:pt>
                <c:pt idx="559">
                  <c:v>40987</c:v>
                </c:pt>
                <c:pt idx="560">
                  <c:v>40988</c:v>
                </c:pt>
                <c:pt idx="561">
                  <c:v>40989</c:v>
                </c:pt>
                <c:pt idx="562">
                  <c:v>40990</c:v>
                </c:pt>
                <c:pt idx="563">
                  <c:v>40991</c:v>
                </c:pt>
                <c:pt idx="564">
                  <c:v>40994</c:v>
                </c:pt>
                <c:pt idx="565">
                  <c:v>40995</c:v>
                </c:pt>
                <c:pt idx="566">
                  <c:v>40996</c:v>
                </c:pt>
                <c:pt idx="567">
                  <c:v>40997</c:v>
                </c:pt>
                <c:pt idx="568">
                  <c:v>40998</c:v>
                </c:pt>
                <c:pt idx="569">
                  <c:v>41001</c:v>
                </c:pt>
                <c:pt idx="570">
                  <c:v>41002</c:v>
                </c:pt>
                <c:pt idx="571">
                  <c:v>41003</c:v>
                </c:pt>
                <c:pt idx="572">
                  <c:v>41004</c:v>
                </c:pt>
                <c:pt idx="573">
                  <c:v>41009</c:v>
                </c:pt>
                <c:pt idx="574">
                  <c:v>41010</c:v>
                </c:pt>
                <c:pt idx="575">
                  <c:v>41011</c:v>
                </c:pt>
                <c:pt idx="576">
                  <c:v>41012</c:v>
                </c:pt>
                <c:pt idx="577">
                  <c:v>41015</c:v>
                </c:pt>
                <c:pt idx="578">
                  <c:v>41016</c:v>
                </c:pt>
                <c:pt idx="579">
                  <c:v>41017</c:v>
                </c:pt>
                <c:pt idx="580">
                  <c:v>41018</c:v>
                </c:pt>
                <c:pt idx="581">
                  <c:v>41019</c:v>
                </c:pt>
                <c:pt idx="582">
                  <c:v>41022</c:v>
                </c:pt>
                <c:pt idx="583">
                  <c:v>41023</c:v>
                </c:pt>
                <c:pt idx="584">
                  <c:v>41024</c:v>
                </c:pt>
                <c:pt idx="585">
                  <c:v>41025</c:v>
                </c:pt>
                <c:pt idx="586">
                  <c:v>41026</c:v>
                </c:pt>
                <c:pt idx="587">
                  <c:v>41029</c:v>
                </c:pt>
                <c:pt idx="588">
                  <c:v>41030</c:v>
                </c:pt>
                <c:pt idx="589">
                  <c:v>41031</c:v>
                </c:pt>
                <c:pt idx="590">
                  <c:v>41032</c:v>
                </c:pt>
                <c:pt idx="591">
                  <c:v>41033</c:v>
                </c:pt>
                <c:pt idx="592">
                  <c:v>41037</c:v>
                </c:pt>
                <c:pt idx="593">
                  <c:v>41038</c:v>
                </c:pt>
                <c:pt idx="594">
                  <c:v>41039</c:v>
                </c:pt>
                <c:pt idx="595">
                  <c:v>41040</c:v>
                </c:pt>
                <c:pt idx="596">
                  <c:v>41043</c:v>
                </c:pt>
                <c:pt idx="597">
                  <c:v>41044</c:v>
                </c:pt>
                <c:pt idx="598">
                  <c:v>41045</c:v>
                </c:pt>
                <c:pt idx="599">
                  <c:v>41046</c:v>
                </c:pt>
                <c:pt idx="600">
                  <c:v>41047</c:v>
                </c:pt>
                <c:pt idx="601">
                  <c:v>41050</c:v>
                </c:pt>
                <c:pt idx="602">
                  <c:v>41051</c:v>
                </c:pt>
                <c:pt idx="603">
                  <c:v>41052</c:v>
                </c:pt>
                <c:pt idx="604">
                  <c:v>41053</c:v>
                </c:pt>
                <c:pt idx="605">
                  <c:v>41054</c:v>
                </c:pt>
                <c:pt idx="606">
                  <c:v>41057</c:v>
                </c:pt>
                <c:pt idx="607">
                  <c:v>41058</c:v>
                </c:pt>
                <c:pt idx="608">
                  <c:v>41059</c:v>
                </c:pt>
                <c:pt idx="609">
                  <c:v>41060</c:v>
                </c:pt>
                <c:pt idx="610">
                  <c:v>41061</c:v>
                </c:pt>
                <c:pt idx="611">
                  <c:v>41066</c:v>
                </c:pt>
                <c:pt idx="612">
                  <c:v>41067</c:v>
                </c:pt>
                <c:pt idx="613">
                  <c:v>41068</c:v>
                </c:pt>
                <c:pt idx="614">
                  <c:v>41071</c:v>
                </c:pt>
                <c:pt idx="615">
                  <c:v>41072</c:v>
                </c:pt>
                <c:pt idx="616">
                  <c:v>41073</c:v>
                </c:pt>
                <c:pt idx="617">
                  <c:v>41074</c:v>
                </c:pt>
                <c:pt idx="618">
                  <c:v>41075</c:v>
                </c:pt>
                <c:pt idx="619">
                  <c:v>41078</c:v>
                </c:pt>
                <c:pt idx="620">
                  <c:v>41079</c:v>
                </c:pt>
                <c:pt idx="621">
                  <c:v>41080</c:v>
                </c:pt>
                <c:pt idx="622">
                  <c:v>41081</c:v>
                </c:pt>
                <c:pt idx="623">
                  <c:v>41082</c:v>
                </c:pt>
                <c:pt idx="624">
                  <c:v>41085</c:v>
                </c:pt>
                <c:pt idx="625">
                  <c:v>41086</c:v>
                </c:pt>
                <c:pt idx="626">
                  <c:v>41087</c:v>
                </c:pt>
                <c:pt idx="627">
                  <c:v>41088</c:v>
                </c:pt>
                <c:pt idx="628">
                  <c:v>41089</c:v>
                </c:pt>
                <c:pt idx="629">
                  <c:v>41092</c:v>
                </c:pt>
                <c:pt idx="630">
                  <c:v>41093</c:v>
                </c:pt>
                <c:pt idx="631">
                  <c:v>41094</c:v>
                </c:pt>
                <c:pt idx="632">
                  <c:v>41095</c:v>
                </c:pt>
                <c:pt idx="633">
                  <c:v>41096</c:v>
                </c:pt>
                <c:pt idx="634">
                  <c:v>41099</c:v>
                </c:pt>
                <c:pt idx="635">
                  <c:v>41100</c:v>
                </c:pt>
                <c:pt idx="636">
                  <c:v>41101</c:v>
                </c:pt>
                <c:pt idx="637">
                  <c:v>41102</c:v>
                </c:pt>
                <c:pt idx="638">
                  <c:v>41103</c:v>
                </c:pt>
                <c:pt idx="639">
                  <c:v>41106</c:v>
                </c:pt>
                <c:pt idx="640">
                  <c:v>41107</c:v>
                </c:pt>
                <c:pt idx="641">
                  <c:v>41108</c:v>
                </c:pt>
                <c:pt idx="642">
                  <c:v>41109</c:v>
                </c:pt>
                <c:pt idx="643">
                  <c:v>41110</c:v>
                </c:pt>
                <c:pt idx="644">
                  <c:v>41113</c:v>
                </c:pt>
                <c:pt idx="645">
                  <c:v>41114</c:v>
                </c:pt>
                <c:pt idx="646">
                  <c:v>41115</c:v>
                </c:pt>
                <c:pt idx="647">
                  <c:v>41116</c:v>
                </c:pt>
                <c:pt idx="648">
                  <c:v>41117</c:v>
                </c:pt>
                <c:pt idx="649">
                  <c:v>41120</c:v>
                </c:pt>
                <c:pt idx="650">
                  <c:v>41121</c:v>
                </c:pt>
                <c:pt idx="651">
                  <c:v>41122</c:v>
                </c:pt>
                <c:pt idx="652">
                  <c:v>41123</c:v>
                </c:pt>
                <c:pt idx="653">
                  <c:v>41124</c:v>
                </c:pt>
                <c:pt idx="654">
                  <c:v>41127</c:v>
                </c:pt>
                <c:pt idx="655">
                  <c:v>41128</c:v>
                </c:pt>
                <c:pt idx="656">
                  <c:v>41129</c:v>
                </c:pt>
                <c:pt idx="657">
                  <c:v>41130</c:v>
                </c:pt>
                <c:pt idx="658">
                  <c:v>41131</c:v>
                </c:pt>
                <c:pt idx="659">
                  <c:v>41134</c:v>
                </c:pt>
                <c:pt idx="660">
                  <c:v>41135</c:v>
                </c:pt>
                <c:pt idx="661">
                  <c:v>41136</c:v>
                </c:pt>
                <c:pt idx="662">
                  <c:v>41137</c:v>
                </c:pt>
                <c:pt idx="663">
                  <c:v>41138</c:v>
                </c:pt>
                <c:pt idx="664">
                  <c:v>41141</c:v>
                </c:pt>
                <c:pt idx="665">
                  <c:v>41142</c:v>
                </c:pt>
                <c:pt idx="666">
                  <c:v>41143</c:v>
                </c:pt>
                <c:pt idx="667">
                  <c:v>41144</c:v>
                </c:pt>
                <c:pt idx="668">
                  <c:v>41145</c:v>
                </c:pt>
                <c:pt idx="669">
                  <c:v>41149</c:v>
                </c:pt>
                <c:pt idx="670">
                  <c:v>41150</c:v>
                </c:pt>
                <c:pt idx="671">
                  <c:v>41151</c:v>
                </c:pt>
                <c:pt idx="672">
                  <c:v>41152</c:v>
                </c:pt>
                <c:pt idx="673">
                  <c:v>41155</c:v>
                </c:pt>
                <c:pt idx="674">
                  <c:v>41156</c:v>
                </c:pt>
                <c:pt idx="675">
                  <c:v>41157</c:v>
                </c:pt>
                <c:pt idx="676">
                  <c:v>41158</c:v>
                </c:pt>
                <c:pt idx="677">
                  <c:v>41159</c:v>
                </c:pt>
                <c:pt idx="678">
                  <c:v>41162</c:v>
                </c:pt>
                <c:pt idx="679">
                  <c:v>41163</c:v>
                </c:pt>
                <c:pt idx="680">
                  <c:v>41164</c:v>
                </c:pt>
                <c:pt idx="681">
                  <c:v>41165</c:v>
                </c:pt>
                <c:pt idx="682">
                  <c:v>41166</c:v>
                </c:pt>
                <c:pt idx="683">
                  <c:v>41169</c:v>
                </c:pt>
                <c:pt idx="684">
                  <c:v>41170</c:v>
                </c:pt>
                <c:pt idx="685">
                  <c:v>41171</c:v>
                </c:pt>
                <c:pt idx="686">
                  <c:v>41172</c:v>
                </c:pt>
                <c:pt idx="687">
                  <c:v>41173</c:v>
                </c:pt>
                <c:pt idx="688">
                  <c:v>41176</c:v>
                </c:pt>
                <c:pt idx="689">
                  <c:v>41177</c:v>
                </c:pt>
                <c:pt idx="690">
                  <c:v>41178</c:v>
                </c:pt>
                <c:pt idx="691">
                  <c:v>41179</c:v>
                </c:pt>
                <c:pt idx="692">
                  <c:v>41180</c:v>
                </c:pt>
                <c:pt idx="693">
                  <c:v>41183</c:v>
                </c:pt>
                <c:pt idx="694">
                  <c:v>41184</c:v>
                </c:pt>
                <c:pt idx="695">
                  <c:v>41185</c:v>
                </c:pt>
                <c:pt idx="696">
                  <c:v>41186</c:v>
                </c:pt>
                <c:pt idx="697">
                  <c:v>41187</c:v>
                </c:pt>
                <c:pt idx="698">
                  <c:v>41190</c:v>
                </c:pt>
                <c:pt idx="699">
                  <c:v>41191</c:v>
                </c:pt>
                <c:pt idx="700">
                  <c:v>41192</c:v>
                </c:pt>
                <c:pt idx="701">
                  <c:v>41193</c:v>
                </c:pt>
                <c:pt idx="702">
                  <c:v>41194</c:v>
                </c:pt>
                <c:pt idx="703">
                  <c:v>41197</c:v>
                </c:pt>
                <c:pt idx="704">
                  <c:v>41198</c:v>
                </c:pt>
                <c:pt idx="705">
                  <c:v>41199</c:v>
                </c:pt>
                <c:pt idx="706">
                  <c:v>41200</c:v>
                </c:pt>
                <c:pt idx="707">
                  <c:v>41201</c:v>
                </c:pt>
                <c:pt idx="708">
                  <c:v>41204</c:v>
                </c:pt>
                <c:pt idx="709">
                  <c:v>41205</c:v>
                </c:pt>
                <c:pt idx="710">
                  <c:v>41206</c:v>
                </c:pt>
                <c:pt idx="711">
                  <c:v>41207</c:v>
                </c:pt>
                <c:pt idx="712">
                  <c:v>41208</c:v>
                </c:pt>
                <c:pt idx="713">
                  <c:v>41211</c:v>
                </c:pt>
                <c:pt idx="714">
                  <c:v>41212</c:v>
                </c:pt>
                <c:pt idx="715">
                  <c:v>41213</c:v>
                </c:pt>
                <c:pt idx="716">
                  <c:v>41214</c:v>
                </c:pt>
                <c:pt idx="717">
                  <c:v>41215</c:v>
                </c:pt>
                <c:pt idx="718">
                  <c:v>41218</c:v>
                </c:pt>
                <c:pt idx="719">
                  <c:v>41219</c:v>
                </c:pt>
                <c:pt idx="720">
                  <c:v>41220</c:v>
                </c:pt>
                <c:pt idx="721">
                  <c:v>41221</c:v>
                </c:pt>
                <c:pt idx="722">
                  <c:v>41222</c:v>
                </c:pt>
                <c:pt idx="723">
                  <c:v>41225</c:v>
                </c:pt>
                <c:pt idx="724">
                  <c:v>41226</c:v>
                </c:pt>
                <c:pt idx="725">
                  <c:v>41227</c:v>
                </c:pt>
                <c:pt idx="726">
                  <c:v>41228</c:v>
                </c:pt>
                <c:pt idx="727">
                  <c:v>41229</c:v>
                </c:pt>
                <c:pt idx="728">
                  <c:v>41232</c:v>
                </c:pt>
                <c:pt idx="729">
                  <c:v>41233</c:v>
                </c:pt>
                <c:pt idx="730">
                  <c:v>41234</c:v>
                </c:pt>
                <c:pt idx="731">
                  <c:v>41235</c:v>
                </c:pt>
                <c:pt idx="732">
                  <c:v>41236</c:v>
                </c:pt>
                <c:pt idx="733">
                  <c:v>41239</c:v>
                </c:pt>
                <c:pt idx="734">
                  <c:v>41240</c:v>
                </c:pt>
                <c:pt idx="735">
                  <c:v>41241</c:v>
                </c:pt>
                <c:pt idx="736">
                  <c:v>41242</c:v>
                </c:pt>
                <c:pt idx="737">
                  <c:v>41243</c:v>
                </c:pt>
                <c:pt idx="738">
                  <c:v>41246</c:v>
                </c:pt>
                <c:pt idx="739">
                  <c:v>41247</c:v>
                </c:pt>
                <c:pt idx="740">
                  <c:v>41248</c:v>
                </c:pt>
                <c:pt idx="741">
                  <c:v>41249</c:v>
                </c:pt>
                <c:pt idx="742">
                  <c:v>41250</c:v>
                </c:pt>
                <c:pt idx="743">
                  <c:v>41253</c:v>
                </c:pt>
                <c:pt idx="744">
                  <c:v>41254</c:v>
                </c:pt>
                <c:pt idx="745">
                  <c:v>41255</c:v>
                </c:pt>
                <c:pt idx="746">
                  <c:v>41256</c:v>
                </c:pt>
                <c:pt idx="747">
                  <c:v>41257</c:v>
                </c:pt>
                <c:pt idx="748">
                  <c:v>41260</c:v>
                </c:pt>
                <c:pt idx="749">
                  <c:v>41261</c:v>
                </c:pt>
                <c:pt idx="750">
                  <c:v>41262</c:v>
                </c:pt>
                <c:pt idx="751">
                  <c:v>41263</c:v>
                </c:pt>
                <c:pt idx="752">
                  <c:v>41264</c:v>
                </c:pt>
                <c:pt idx="753">
                  <c:v>41267</c:v>
                </c:pt>
                <c:pt idx="754">
                  <c:v>41270</c:v>
                </c:pt>
                <c:pt idx="755">
                  <c:v>41271</c:v>
                </c:pt>
                <c:pt idx="756">
                  <c:v>41274</c:v>
                </c:pt>
                <c:pt idx="757">
                  <c:v>41276</c:v>
                </c:pt>
                <c:pt idx="758">
                  <c:v>41277</c:v>
                </c:pt>
                <c:pt idx="759">
                  <c:v>41278</c:v>
                </c:pt>
                <c:pt idx="760">
                  <c:v>41281</c:v>
                </c:pt>
                <c:pt idx="761">
                  <c:v>41282</c:v>
                </c:pt>
                <c:pt idx="762">
                  <c:v>41283</c:v>
                </c:pt>
                <c:pt idx="763">
                  <c:v>41284</c:v>
                </c:pt>
                <c:pt idx="764">
                  <c:v>41285</c:v>
                </c:pt>
                <c:pt idx="765">
                  <c:v>41288</c:v>
                </c:pt>
                <c:pt idx="766">
                  <c:v>41289</c:v>
                </c:pt>
                <c:pt idx="767">
                  <c:v>41290</c:v>
                </c:pt>
                <c:pt idx="768">
                  <c:v>41291</c:v>
                </c:pt>
                <c:pt idx="769">
                  <c:v>41292</c:v>
                </c:pt>
                <c:pt idx="770">
                  <c:v>41295</c:v>
                </c:pt>
                <c:pt idx="771">
                  <c:v>41296</c:v>
                </c:pt>
                <c:pt idx="772">
                  <c:v>41297</c:v>
                </c:pt>
                <c:pt idx="773">
                  <c:v>41298</c:v>
                </c:pt>
                <c:pt idx="774">
                  <c:v>41299</c:v>
                </c:pt>
                <c:pt idx="775">
                  <c:v>41302</c:v>
                </c:pt>
                <c:pt idx="776">
                  <c:v>41303</c:v>
                </c:pt>
                <c:pt idx="777">
                  <c:v>41304</c:v>
                </c:pt>
                <c:pt idx="778">
                  <c:v>41305</c:v>
                </c:pt>
                <c:pt idx="779">
                  <c:v>41306</c:v>
                </c:pt>
                <c:pt idx="780">
                  <c:v>41309</c:v>
                </c:pt>
                <c:pt idx="781">
                  <c:v>41310</c:v>
                </c:pt>
                <c:pt idx="782">
                  <c:v>41311</c:v>
                </c:pt>
                <c:pt idx="783">
                  <c:v>41312</c:v>
                </c:pt>
                <c:pt idx="784">
                  <c:v>41313</c:v>
                </c:pt>
                <c:pt idx="785">
                  <c:v>41316</c:v>
                </c:pt>
                <c:pt idx="786">
                  <c:v>41317</c:v>
                </c:pt>
                <c:pt idx="787">
                  <c:v>41318</c:v>
                </c:pt>
                <c:pt idx="788">
                  <c:v>41319</c:v>
                </c:pt>
                <c:pt idx="789">
                  <c:v>41320</c:v>
                </c:pt>
                <c:pt idx="790">
                  <c:v>41323</c:v>
                </c:pt>
                <c:pt idx="791">
                  <c:v>41324</c:v>
                </c:pt>
                <c:pt idx="792">
                  <c:v>41325</c:v>
                </c:pt>
                <c:pt idx="793">
                  <c:v>41326</c:v>
                </c:pt>
                <c:pt idx="794">
                  <c:v>41327</c:v>
                </c:pt>
                <c:pt idx="795">
                  <c:v>41330</c:v>
                </c:pt>
                <c:pt idx="796">
                  <c:v>41331</c:v>
                </c:pt>
                <c:pt idx="797">
                  <c:v>41332</c:v>
                </c:pt>
                <c:pt idx="798">
                  <c:v>41333</c:v>
                </c:pt>
                <c:pt idx="799">
                  <c:v>41334</c:v>
                </c:pt>
                <c:pt idx="800">
                  <c:v>41337</c:v>
                </c:pt>
                <c:pt idx="801">
                  <c:v>41338</c:v>
                </c:pt>
                <c:pt idx="802">
                  <c:v>41339</c:v>
                </c:pt>
                <c:pt idx="803">
                  <c:v>41340</c:v>
                </c:pt>
                <c:pt idx="804">
                  <c:v>41341</c:v>
                </c:pt>
                <c:pt idx="805">
                  <c:v>41344</c:v>
                </c:pt>
                <c:pt idx="806">
                  <c:v>41345</c:v>
                </c:pt>
                <c:pt idx="807">
                  <c:v>41346</c:v>
                </c:pt>
                <c:pt idx="808">
                  <c:v>41347</c:v>
                </c:pt>
                <c:pt idx="809">
                  <c:v>41348</c:v>
                </c:pt>
                <c:pt idx="810">
                  <c:v>41351</c:v>
                </c:pt>
                <c:pt idx="811">
                  <c:v>41352</c:v>
                </c:pt>
                <c:pt idx="812">
                  <c:v>41353</c:v>
                </c:pt>
                <c:pt idx="813">
                  <c:v>41354</c:v>
                </c:pt>
                <c:pt idx="814">
                  <c:v>41355</c:v>
                </c:pt>
                <c:pt idx="815">
                  <c:v>41358</c:v>
                </c:pt>
                <c:pt idx="816">
                  <c:v>41359</c:v>
                </c:pt>
                <c:pt idx="817">
                  <c:v>41360</c:v>
                </c:pt>
                <c:pt idx="818">
                  <c:v>41361</c:v>
                </c:pt>
                <c:pt idx="819">
                  <c:v>41366</c:v>
                </c:pt>
                <c:pt idx="820">
                  <c:v>41367</c:v>
                </c:pt>
                <c:pt idx="821">
                  <c:v>41368</c:v>
                </c:pt>
                <c:pt idx="822">
                  <c:v>41369</c:v>
                </c:pt>
                <c:pt idx="823">
                  <c:v>41372</c:v>
                </c:pt>
                <c:pt idx="824">
                  <c:v>41373</c:v>
                </c:pt>
                <c:pt idx="825">
                  <c:v>41374</c:v>
                </c:pt>
                <c:pt idx="826">
                  <c:v>41375</c:v>
                </c:pt>
                <c:pt idx="827">
                  <c:v>41376</c:v>
                </c:pt>
                <c:pt idx="828">
                  <c:v>41379</c:v>
                </c:pt>
                <c:pt idx="829">
                  <c:v>41380</c:v>
                </c:pt>
                <c:pt idx="830">
                  <c:v>41381</c:v>
                </c:pt>
                <c:pt idx="831">
                  <c:v>41382</c:v>
                </c:pt>
                <c:pt idx="832">
                  <c:v>41383</c:v>
                </c:pt>
                <c:pt idx="833">
                  <c:v>41386</c:v>
                </c:pt>
                <c:pt idx="834">
                  <c:v>41387</c:v>
                </c:pt>
                <c:pt idx="835">
                  <c:v>41388</c:v>
                </c:pt>
                <c:pt idx="836">
                  <c:v>41389</c:v>
                </c:pt>
                <c:pt idx="837">
                  <c:v>41390</c:v>
                </c:pt>
                <c:pt idx="838">
                  <c:v>41393</c:v>
                </c:pt>
                <c:pt idx="839">
                  <c:v>41394</c:v>
                </c:pt>
                <c:pt idx="840">
                  <c:v>41395</c:v>
                </c:pt>
                <c:pt idx="841">
                  <c:v>41396</c:v>
                </c:pt>
                <c:pt idx="842">
                  <c:v>41397</c:v>
                </c:pt>
                <c:pt idx="843">
                  <c:v>41401</c:v>
                </c:pt>
                <c:pt idx="844">
                  <c:v>41402</c:v>
                </c:pt>
                <c:pt idx="845">
                  <c:v>41403</c:v>
                </c:pt>
                <c:pt idx="846">
                  <c:v>41404</c:v>
                </c:pt>
                <c:pt idx="847">
                  <c:v>41407</c:v>
                </c:pt>
                <c:pt idx="848">
                  <c:v>41408</c:v>
                </c:pt>
                <c:pt idx="849">
                  <c:v>41409</c:v>
                </c:pt>
                <c:pt idx="850">
                  <c:v>41410</c:v>
                </c:pt>
                <c:pt idx="851">
                  <c:v>41411</c:v>
                </c:pt>
                <c:pt idx="852">
                  <c:v>41414</c:v>
                </c:pt>
                <c:pt idx="853">
                  <c:v>41415</c:v>
                </c:pt>
                <c:pt idx="854">
                  <c:v>41416</c:v>
                </c:pt>
                <c:pt idx="855">
                  <c:v>41417</c:v>
                </c:pt>
                <c:pt idx="856">
                  <c:v>41418</c:v>
                </c:pt>
                <c:pt idx="857">
                  <c:v>41422</c:v>
                </c:pt>
                <c:pt idx="858">
                  <c:v>41423</c:v>
                </c:pt>
                <c:pt idx="859">
                  <c:v>41424</c:v>
                </c:pt>
                <c:pt idx="860">
                  <c:v>41425</c:v>
                </c:pt>
                <c:pt idx="861">
                  <c:v>41428</c:v>
                </c:pt>
                <c:pt idx="862">
                  <c:v>41429</c:v>
                </c:pt>
                <c:pt idx="863">
                  <c:v>41430</c:v>
                </c:pt>
                <c:pt idx="864">
                  <c:v>41431</c:v>
                </c:pt>
                <c:pt idx="865">
                  <c:v>41432</c:v>
                </c:pt>
                <c:pt idx="866">
                  <c:v>41435</c:v>
                </c:pt>
                <c:pt idx="867">
                  <c:v>41436</c:v>
                </c:pt>
                <c:pt idx="868">
                  <c:v>41437</c:v>
                </c:pt>
                <c:pt idx="869">
                  <c:v>41438</c:v>
                </c:pt>
                <c:pt idx="870">
                  <c:v>41439</c:v>
                </c:pt>
                <c:pt idx="871">
                  <c:v>41442</c:v>
                </c:pt>
                <c:pt idx="872">
                  <c:v>41443</c:v>
                </c:pt>
                <c:pt idx="873">
                  <c:v>41444</c:v>
                </c:pt>
                <c:pt idx="874">
                  <c:v>41445</c:v>
                </c:pt>
                <c:pt idx="875">
                  <c:v>41446</c:v>
                </c:pt>
                <c:pt idx="876">
                  <c:v>41449</c:v>
                </c:pt>
                <c:pt idx="877">
                  <c:v>41450</c:v>
                </c:pt>
                <c:pt idx="878">
                  <c:v>41451</c:v>
                </c:pt>
                <c:pt idx="879">
                  <c:v>41452</c:v>
                </c:pt>
                <c:pt idx="880">
                  <c:v>41453</c:v>
                </c:pt>
                <c:pt idx="881">
                  <c:v>41456</c:v>
                </c:pt>
                <c:pt idx="882">
                  <c:v>41457</c:v>
                </c:pt>
                <c:pt idx="883">
                  <c:v>41458</c:v>
                </c:pt>
                <c:pt idx="884">
                  <c:v>41459</c:v>
                </c:pt>
                <c:pt idx="885">
                  <c:v>41460</c:v>
                </c:pt>
                <c:pt idx="886">
                  <c:v>41463</c:v>
                </c:pt>
                <c:pt idx="887">
                  <c:v>41464</c:v>
                </c:pt>
                <c:pt idx="888">
                  <c:v>41465</c:v>
                </c:pt>
                <c:pt idx="889">
                  <c:v>41466</c:v>
                </c:pt>
                <c:pt idx="890">
                  <c:v>41467</c:v>
                </c:pt>
                <c:pt idx="891">
                  <c:v>41470</c:v>
                </c:pt>
                <c:pt idx="892">
                  <c:v>41471</c:v>
                </c:pt>
                <c:pt idx="893">
                  <c:v>41472</c:v>
                </c:pt>
                <c:pt idx="894">
                  <c:v>41473</c:v>
                </c:pt>
                <c:pt idx="895">
                  <c:v>41474</c:v>
                </c:pt>
                <c:pt idx="896">
                  <c:v>41477</c:v>
                </c:pt>
                <c:pt idx="897">
                  <c:v>41478</c:v>
                </c:pt>
                <c:pt idx="898">
                  <c:v>41479</c:v>
                </c:pt>
                <c:pt idx="899">
                  <c:v>41480</c:v>
                </c:pt>
                <c:pt idx="900">
                  <c:v>41481</c:v>
                </c:pt>
                <c:pt idx="901">
                  <c:v>41484</c:v>
                </c:pt>
                <c:pt idx="902">
                  <c:v>41485</c:v>
                </c:pt>
                <c:pt idx="903">
                  <c:v>41486</c:v>
                </c:pt>
                <c:pt idx="904">
                  <c:v>41487</c:v>
                </c:pt>
                <c:pt idx="905">
                  <c:v>41488</c:v>
                </c:pt>
                <c:pt idx="906">
                  <c:v>41491</c:v>
                </c:pt>
                <c:pt idx="907">
                  <c:v>41492</c:v>
                </c:pt>
                <c:pt idx="908">
                  <c:v>41493</c:v>
                </c:pt>
                <c:pt idx="909">
                  <c:v>41494</c:v>
                </c:pt>
                <c:pt idx="910">
                  <c:v>41495</c:v>
                </c:pt>
                <c:pt idx="911">
                  <c:v>41498</c:v>
                </c:pt>
                <c:pt idx="912">
                  <c:v>41499</c:v>
                </c:pt>
                <c:pt idx="913">
                  <c:v>41500</c:v>
                </c:pt>
                <c:pt idx="914">
                  <c:v>41501</c:v>
                </c:pt>
                <c:pt idx="915">
                  <c:v>41502</c:v>
                </c:pt>
                <c:pt idx="916">
                  <c:v>41505</c:v>
                </c:pt>
                <c:pt idx="917">
                  <c:v>41506</c:v>
                </c:pt>
                <c:pt idx="918">
                  <c:v>41507</c:v>
                </c:pt>
                <c:pt idx="919">
                  <c:v>41508</c:v>
                </c:pt>
                <c:pt idx="920">
                  <c:v>41509</c:v>
                </c:pt>
                <c:pt idx="921">
                  <c:v>41513</c:v>
                </c:pt>
                <c:pt idx="922">
                  <c:v>41514</c:v>
                </c:pt>
                <c:pt idx="923">
                  <c:v>41515</c:v>
                </c:pt>
                <c:pt idx="924">
                  <c:v>41516</c:v>
                </c:pt>
                <c:pt idx="925">
                  <c:v>41519</c:v>
                </c:pt>
                <c:pt idx="926">
                  <c:v>41520</c:v>
                </c:pt>
                <c:pt idx="927">
                  <c:v>41521</c:v>
                </c:pt>
                <c:pt idx="928">
                  <c:v>41522</c:v>
                </c:pt>
                <c:pt idx="929">
                  <c:v>41523</c:v>
                </c:pt>
                <c:pt idx="930">
                  <c:v>41526</c:v>
                </c:pt>
                <c:pt idx="931">
                  <c:v>41527</c:v>
                </c:pt>
                <c:pt idx="932">
                  <c:v>41528</c:v>
                </c:pt>
                <c:pt idx="933">
                  <c:v>41529</c:v>
                </c:pt>
                <c:pt idx="934">
                  <c:v>41530</c:v>
                </c:pt>
                <c:pt idx="935">
                  <c:v>41533</c:v>
                </c:pt>
                <c:pt idx="936">
                  <c:v>41534</c:v>
                </c:pt>
                <c:pt idx="937">
                  <c:v>41535</c:v>
                </c:pt>
                <c:pt idx="938">
                  <c:v>41536</c:v>
                </c:pt>
                <c:pt idx="939">
                  <c:v>41537</c:v>
                </c:pt>
                <c:pt idx="940">
                  <c:v>41540</c:v>
                </c:pt>
                <c:pt idx="941">
                  <c:v>41541</c:v>
                </c:pt>
                <c:pt idx="942">
                  <c:v>41542</c:v>
                </c:pt>
                <c:pt idx="943">
                  <c:v>41543</c:v>
                </c:pt>
                <c:pt idx="944">
                  <c:v>41544</c:v>
                </c:pt>
                <c:pt idx="945">
                  <c:v>41547</c:v>
                </c:pt>
                <c:pt idx="946">
                  <c:v>41548</c:v>
                </c:pt>
                <c:pt idx="947">
                  <c:v>41549</c:v>
                </c:pt>
                <c:pt idx="948">
                  <c:v>41550</c:v>
                </c:pt>
                <c:pt idx="949">
                  <c:v>41551</c:v>
                </c:pt>
                <c:pt idx="950">
                  <c:v>41554</c:v>
                </c:pt>
                <c:pt idx="951">
                  <c:v>41555</c:v>
                </c:pt>
                <c:pt idx="952">
                  <c:v>41556</c:v>
                </c:pt>
                <c:pt idx="953">
                  <c:v>41557</c:v>
                </c:pt>
                <c:pt idx="954">
                  <c:v>41558</c:v>
                </c:pt>
                <c:pt idx="955">
                  <c:v>41561</c:v>
                </c:pt>
                <c:pt idx="956">
                  <c:v>41562</c:v>
                </c:pt>
                <c:pt idx="957">
                  <c:v>41563</c:v>
                </c:pt>
                <c:pt idx="958">
                  <c:v>41564</c:v>
                </c:pt>
                <c:pt idx="959">
                  <c:v>41565</c:v>
                </c:pt>
                <c:pt idx="960">
                  <c:v>41568</c:v>
                </c:pt>
                <c:pt idx="961">
                  <c:v>41569</c:v>
                </c:pt>
                <c:pt idx="962">
                  <c:v>41570</c:v>
                </c:pt>
                <c:pt idx="963">
                  <c:v>41571</c:v>
                </c:pt>
                <c:pt idx="964">
                  <c:v>41572</c:v>
                </c:pt>
                <c:pt idx="965">
                  <c:v>41575</c:v>
                </c:pt>
                <c:pt idx="966">
                  <c:v>41576</c:v>
                </c:pt>
                <c:pt idx="967">
                  <c:v>41577</c:v>
                </c:pt>
                <c:pt idx="968">
                  <c:v>41578</c:v>
                </c:pt>
                <c:pt idx="969">
                  <c:v>41579</c:v>
                </c:pt>
                <c:pt idx="970">
                  <c:v>41582</c:v>
                </c:pt>
                <c:pt idx="971">
                  <c:v>41583</c:v>
                </c:pt>
                <c:pt idx="972">
                  <c:v>41584</c:v>
                </c:pt>
                <c:pt idx="973">
                  <c:v>41585</c:v>
                </c:pt>
                <c:pt idx="974">
                  <c:v>41586</c:v>
                </c:pt>
                <c:pt idx="975">
                  <c:v>41589</c:v>
                </c:pt>
                <c:pt idx="976">
                  <c:v>41590</c:v>
                </c:pt>
                <c:pt idx="977">
                  <c:v>41591</c:v>
                </c:pt>
                <c:pt idx="978">
                  <c:v>41592</c:v>
                </c:pt>
                <c:pt idx="979">
                  <c:v>41593</c:v>
                </c:pt>
                <c:pt idx="980">
                  <c:v>41596</c:v>
                </c:pt>
                <c:pt idx="981">
                  <c:v>41597</c:v>
                </c:pt>
                <c:pt idx="982">
                  <c:v>41598</c:v>
                </c:pt>
                <c:pt idx="983">
                  <c:v>41599</c:v>
                </c:pt>
                <c:pt idx="984">
                  <c:v>41600</c:v>
                </c:pt>
                <c:pt idx="985">
                  <c:v>41603</c:v>
                </c:pt>
                <c:pt idx="986">
                  <c:v>41604</c:v>
                </c:pt>
                <c:pt idx="987">
                  <c:v>41605</c:v>
                </c:pt>
                <c:pt idx="988">
                  <c:v>41606</c:v>
                </c:pt>
                <c:pt idx="989">
                  <c:v>41607</c:v>
                </c:pt>
                <c:pt idx="990">
                  <c:v>41610</c:v>
                </c:pt>
                <c:pt idx="991">
                  <c:v>41611</c:v>
                </c:pt>
                <c:pt idx="992">
                  <c:v>41612</c:v>
                </c:pt>
                <c:pt idx="993">
                  <c:v>41613</c:v>
                </c:pt>
                <c:pt idx="994">
                  <c:v>41614</c:v>
                </c:pt>
                <c:pt idx="995">
                  <c:v>41617</c:v>
                </c:pt>
                <c:pt idx="996">
                  <c:v>41618</c:v>
                </c:pt>
                <c:pt idx="997">
                  <c:v>41619</c:v>
                </c:pt>
                <c:pt idx="998">
                  <c:v>41620</c:v>
                </c:pt>
                <c:pt idx="999">
                  <c:v>41621</c:v>
                </c:pt>
                <c:pt idx="1000">
                  <c:v>41624</c:v>
                </c:pt>
                <c:pt idx="1001">
                  <c:v>41625</c:v>
                </c:pt>
                <c:pt idx="1002">
                  <c:v>41626</c:v>
                </c:pt>
                <c:pt idx="1003">
                  <c:v>41627</c:v>
                </c:pt>
                <c:pt idx="1004">
                  <c:v>41628</c:v>
                </c:pt>
                <c:pt idx="1005">
                  <c:v>41631</c:v>
                </c:pt>
                <c:pt idx="1006">
                  <c:v>41632</c:v>
                </c:pt>
                <c:pt idx="1007">
                  <c:v>41635</c:v>
                </c:pt>
                <c:pt idx="1008">
                  <c:v>41638</c:v>
                </c:pt>
                <c:pt idx="1009">
                  <c:v>41639</c:v>
                </c:pt>
                <c:pt idx="1010">
                  <c:v>41641</c:v>
                </c:pt>
                <c:pt idx="1011">
                  <c:v>41642</c:v>
                </c:pt>
                <c:pt idx="1012">
                  <c:v>41645</c:v>
                </c:pt>
                <c:pt idx="1013">
                  <c:v>41646</c:v>
                </c:pt>
                <c:pt idx="1014">
                  <c:v>41647</c:v>
                </c:pt>
                <c:pt idx="1015">
                  <c:v>41648</c:v>
                </c:pt>
                <c:pt idx="1016">
                  <c:v>41649</c:v>
                </c:pt>
                <c:pt idx="1017">
                  <c:v>41652</c:v>
                </c:pt>
                <c:pt idx="1018">
                  <c:v>41653</c:v>
                </c:pt>
                <c:pt idx="1019">
                  <c:v>41654</c:v>
                </c:pt>
                <c:pt idx="1020">
                  <c:v>41655</c:v>
                </c:pt>
                <c:pt idx="1021">
                  <c:v>41656</c:v>
                </c:pt>
                <c:pt idx="1022">
                  <c:v>41659</c:v>
                </c:pt>
                <c:pt idx="1023">
                  <c:v>41660</c:v>
                </c:pt>
                <c:pt idx="1024">
                  <c:v>41661</c:v>
                </c:pt>
                <c:pt idx="1025">
                  <c:v>41662</c:v>
                </c:pt>
                <c:pt idx="1026">
                  <c:v>41663</c:v>
                </c:pt>
                <c:pt idx="1027">
                  <c:v>41666</c:v>
                </c:pt>
                <c:pt idx="1028">
                  <c:v>41667</c:v>
                </c:pt>
                <c:pt idx="1029">
                  <c:v>41668</c:v>
                </c:pt>
                <c:pt idx="1030">
                  <c:v>41669</c:v>
                </c:pt>
                <c:pt idx="1031">
                  <c:v>41670</c:v>
                </c:pt>
                <c:pt idx="1032">
                  <c:v>41673</c:v>
                </c:pt>
                <c:pt idx="1033">
                  <c:v>41674</c:v>
                </c:pt>
                <c:pt idx="1034">
                  <c:v>41675</c:v>
                </c:pt>
                <c:pt idx="1035">
                  <c:v>41676</c:v>
                </c:pt>
                <c:pt idx="1036">
                  <c:v>41677</c:v>
                </c:pt>
                <c:pt idx="1037">
                  <c:v>41680</c:v>
                </c:pt>
                <c:pt idx="1038">
                  <c:v>41681</c:v>
                </c:pt>
                <c:pt idx="1039">
                  <c:v>41682</c:v>
                </c:pt>
                <c:pt idx="1040">
                  <c:v>41683</c:v>
                </c:pt>
                <c:pt idx="1041">
                  <c:v>41684</c:v>
                </c:pt>
                <c:pt idx="1042">
                  <c:v>41687</c:v>
                </c:pt>
                <c:pt idx="1043">
                  <c:v>41688</c:v>
                </c:pt>
                <c:pt idx="1044">
                  <c:v>41689</c:v>
                </c:pt>
                <c:pt idx="1045">
                  <c:v>41690</c:v>
                </c:pt>
                <c:pt idx="1046">
                  <c:v>41691</c:v>
                </c:pt>
                <c:pt idx="1047">
                  <c:v>41694</c:v>
                </c:pt>
                <c:pt idx="1048">
                  <c:v>41695</c:v>
                </c:pt>
                <c:pt idx="1049">
                  <c:v>41696</c:v>
                </c:pt>
                <c:pt idx="1050">
                  <c:v>41697</c:v>
                </c:pt>
                <c:pt idx="1051">
                  <c:v>41698</c:v>
                </c:pt>
                <c:pt idx="1052">
                  <c:v>41701</c:v>
                </c:pt>
                <c:pt idx="1053">
                  <c:v>41702</c:v>
                </c:pt>
                <c:pt idx="1054">
                  <c:v>41703</c:v>
                </c:pt>
                <c:pt idx="1055">
                  <c:v>41704</c:v>
                </c:pt>
                <c:pt idx="1056">
                  <c:v>41705</c:v>
                </c:pt>
                <c:pt idx="1057">
                  <c:v>41708</c:v>
                </c:pt>
                <c:pt idx="1058">
                  <c:v>41709</c:v>
                </c:pt>
                <c:pt idx="1059">
                  <c:v>41710</c:v>
                </c:pt>
                <c:pt idx="1060">
                  <c:v>41711</c:v>
                </c:pt>
                <c:pt idx="1061">
                  <c:v>41712</c:v>
                </c:pt>
                <c:pt idx="1062">
                  <c:v>41715</c:v>
                </c:pt>
                <c:pt idx="1063">
                  <c:v>41716</c:v>
                </c:pt>
                <c:pt idx="1064">
                  <c:v>41717</c:v>
                </c:pt>
                <c:pt idx="1065">
                  <c:v>41718</c:v>
                </c:pt>
                <c:pt idx="1066">
                  <c:v>41719</c:v>
                </c:pt>
                <c:pt idx="1067">
                  <c:v>41722</c:v>
                </c:pt>
                <c:pt idx="1068">
                  <c:v>41723</c:v>
                </c:pt>
                <c:pt idx="1069">
                  <c:v>41724</c:v>
                </c:pt>
                <c:pt idx="1070">
                  <c:v>41725</c:v>
                </c:pt>
                <c:pt idx="1071">
                  <c:v>41726</c:v>
                </c:pt>
                <c:pt idx="1072">
                  <c:v>41729</c:v>
                </c:pt>
                <c:pt idx="1073">
                  <c:v>41730</c:v>
                </c:pt>
                <c:pt idx="1074">
                  <c:v>41731</c:v>
                </c:pt>
                <c:pt idx="1075">
                  <c:v>41732</c:v>
                </c:pt>
                <c:pt idx="1076">
                  <c:v>41733</c:v>
                </c:pt>
                <c:pt idx="1077">
                  <c:v>41736</c:v>
                </c:pt>
                <c:pt idx="1078">
                  <c:v>41737</c:v>
                </c:pt>
                <c:pt idx="1079">
                  <c:v>41738</c:v>
                </c:pt>
                <c:pt idx="1080">
                  <c:v>41739</c:v>
                </c:pt>
                <c:pt idx="1081">
                  <c:v>41740</c:v>
                </c:pt>
                <c:pt idx="1082">
                  <c:v>41743</c:v>
                </c:pt>
                <c:pt idx="1083">
                  <c:v>41744</c:v>
                </c:pt>
                <c:pt idx="1084">
                  <c:v>41745</c:v>
                </c:pt>
                <c:pt idx="1085">
                  <c:v>41746</c:v>
                </c:pt>
                <c:pt idx="1086">
                  <c:v>41751</c:v>
                </c:pt>
                <c:pt idx="1087">
                  <c:v>41752</c:v>
                </c:pt>
                <c:pt idx="1088">
                  <c:v>41753</c:v>
                </c:pt>
                <c:pt idx="1089">
                  <c:v>41754</c:v>
                </c:pt>
                <c:pt idx="1090">
                  <c:v>41757</c:v>
                </c:pt>
                <c:pt idx="1091">
                  <c:v>41758</c:v>
                </c:pt>
                <c:pt idx="1092">
                  <c:v>41759</c:v>
                </c:pt>
                <c:pt idx="1093">
                  <c:v>41760</c:v>
                </c:pt>
                <c:pt idx="1094">
                  <c:v>41761</c:v>
                </c:pt>
                <c:pt idx="1095">
                  <c:v>41765</c:v>
                </c:pt>
                <c:pt idx="1096">
                  <c:v>41766</c:v>
                </c:pt>
                <c:pt idx="1097">
                  <c:v>41767</c:v>
                </c:pt>
                <c:pt idx="1098">
                  <c:v>41768</c:v>
                </c:pt>
                <c:pt idx="1099">
                  <c:v>41771</c:v>
                </c:pt>
                <c:pt idx="1100">
                  <c:v>41772</c:v>
                </c:pt>
                <c:pt idx="1101">
                  <c:v>41773</c:v>
                </c:pt>
                <c:pt idx="1102">
                  <c:v>41774</c:v>
                </c:pt>
                <c:pt idx="1103">
                  <c:v>41775</c:v>
                </c:pt>
                <c:pt idx="1104">
                  <c:v>41778</c:v>
                </c:pt>
                <c:pt idx="1105">
                  <c:v>41779</c:v>
                </c:pt>
                <c:pt idx="1106">
                  <c:v>41780</c:v>
                </c:pt>
                <c:pt idx="1107">
                  <c:v>41781</c:v>
                </c:pt>
                <c:pt idx="1108">
                  <c:v>41782</c:v>
                </c:pt>
                <c:pt idx="1109">
                  <c:v>41786</c:v>
                </c:pt>
                <c:pt idx="1110">
                  <c:v>41787</c:v>
                </c:pt>
                <c:pt idx="1111">
                  <c:v>41788</c:v>
                </c:pt>
                <c:pt idx="1112">
                  <c:v>41789</c:v>
                </c:pt>
                <c:pt idx="1113">
                  <c:v>41792</c:v>
                </c:pt>
                <c:pt idx="1114">
                  <c:v>41793</c:v>
                </c:pt>
                <c:pt idx="1115">
                  <c:v>41794</c:v>
                </c:pt>
                <c:pt idx="1116">
                  <c:v>41795</c:v>
                </c:pt>
                <c:pt idx="1117">
                  <c:v>41796</c:v>
                </c:pt>
                <c:pt idx="1118">
                  <c:v>41799</c:v>
                </c:pt>
                <c:pt idx="1119">
                  <c:v>41800</c:v>
                </c:pt>
                <c:pt idx="1120">
                  <c:v>41801</c:v>
                </c:pt>
                <c:pt idx="1121">
                  <c:v>41802</c:v>
                </c:pt>
                <c:pt idx="1122">
                  <c:v>41803</c:v>
                </c:pt>
                <c:pt idx="1123">
                  <c:v>41806</c:v>
                </c:pt>
                <c:pt idx="1124">
                  <c:v>41807</c:v>
                </c:pt>
                <c:pt idx="1125">
                  <c:v>41808</c:v>
                </c:pt>
                <c:pt idx="1126">
                  <c:v>41809</c:v>
                </c:pt>
                <c:pt idx="1127">
                  <c:v>41810</c:v>
                </c:pt>
                <c:pt idx="1128">
                  <c:v>41813</c:v>
                </c:pt>
                <c:pt idx="1129">
                  <c:v>41814</c:v>
                </c:pt>
                <c:pt idx="1130">
                  <c:v>41815</c:v>
                </c:pt>
                <c:pt idx="1131">
                  <c:v>41816</c:v>
                </c:pt>
                <c:pt idx="1132">
                  <c:v>41817</c:v>
                </c:pt>
                <c:pt idx="1133">
                  <c:v>41820</c:v>
                </c:pt>
                <c:pt idx="1134">
                  <c:v>41821</c:v>
                </c:pt>
                <c:pt idx="1135">
                  <c:v>41822</c:v>
                </c:pt>
                <c:pt idx="1136">
                  <c:v>41823</c:v>
                </c:pt>
                <c:pt idx="1137">
                  <c:v>41827</c:v>
                </c:pt>
                <c:pt idx="1138">
                  <c:v>41828</c:v>
                </c:pt>
                <c:pt idx="1139">
                  <c:v>41829</c:v>
                </c:pt>
                <c:pt idx="1140">
                  <c:v>41830</c:v>
                </c:pt>
                <c:pt idx="1141">
                  <c:v>41831</c:v>
                </c:pt>
                <c:pt idx="1142">
                  <c:v>41834</c:v>
                </c:pt>
                <c:pt idx="1143">
                  <c:v>41835</c:v>
                </c:pt>
                <c:pt idx="1144">
                  <c:v>41836</c:v>
                </c:pt>
                <c:pt idx="1145">
                  <c:v>41837</c:v>
                </c:pt>
                <c:pt idx="1146">
                  <c:v>41838</c:v>
                </c:pt>
                <c:pt idx="1147">
                  <c:v>41841</c:v>
                </c:pt>
                <c:pt idx="1148">
                  <c:v>41842</c:v>
                </c:pt>
                <c:pt idx="1149">
                  <c:v>41843</c:v>
                </c:pt>
                <c:pt idx="1150">
                  <c:v>41844</c:v>
                </c:pt>
                <c:pt idx="1151">
                  <c:v>41845</c:v>
                </c:pt>
                <c:pt idx="1152">
                  <c:v>41848</c:v>
                </c:pt>
                <c:pt idx="1153">
                  <c:v>41849</c:v>
                </c:pt>
                <c:pt idx="1154">
                  <c:v>41850</c:v>
                </c:pt>
                <c:pt idx="1155">
                  <c:v>41851</c:v>
                </c:pt>
                <c:pt idx="1156">
                  <c:v>41852</c:v>
                </c:pt>
                <c:pt idx="1157">
                  <c:v>41855</c:v>
                </c:pt>
                <c:pt idx="1158">
                  <c:v>41856</c:v>
                </c:pt>
                <c:pt idx="1159">
                  <c:v>41857</c:v>
                </c:pt>
                <c:pt idx="1160">
                  <c:v>41858</c:v>
                </c:pt>
                <c:pt idx="1161">
                  <c:v>41859</c:v>
                </c:pt>
                <c:pt idx="1162">
                  <c:v>41862</c:v>
                </c:pt>
                <c:pt idx="1163">
                  <c:v>41863</c:v>
                </c:pt>
                <c:pt idx="1164">
                  <c:v>41864</c:v>
                </c:pt>
                <c:pt idx="1165">
                  <c:v>41865</c:v>
                </c:pt>
                <c:pt idx="1166">
                  <c:v>41866</c:v>
                </c:pt>
                <c:pt idx="1167">
                  <c:v>41869</c:v>
                </c:pt>
                <c:pt idx="1168">
                  <c:v>41870</c:v>
                </c:pt>
                <c:pt idx="1169">
                  <c:v>41871</c:v>
                </c:pt>
                <c:pt idx="1170">
                  <c:v>41872</c:v>
                </c:pt>
                <c:pt idx="1171">
                  <c:v>41873</c:v>
                </c:pt>
                <c:pt idx="1172">
                  <c:v>41877</c:v>
                </c:pt>
                <c:pt idx="1173">
                  <c:v>41878</c:v>
                </c:pt>
                <c:pt idx="1174">
                  <c:v>41879</c:v>
                </c:pt>
                <c:pt idx="1175">
                  <c:v>41880</c:v>
                </c:pt>
                <c:pt idx="1176">
                  <c:v>41884</c:v>
                </c:pt>
                <c:pt idx="1177">
                  <c:v>41885</c:v>
                </c:pt>
                <c:pt idx="1178">
                  <c:v>41886</c:v>
                </c:pt>
                <c:pt idx="1179">
                  <c:v>41887</c:v>
                </c:pt>
                <c:pt idx="1180">
                  <c:v>41890</c:v>
                </c:pt>
                <c:pt idx="1181">
                  <c:v>41891</c:v>
                </c:pt>
                <c:pt idx="1182">
                  <c:v>41892</c:v>
                </c:pt>
                <c:pt idx="1183">
                  <c:v>41893</c:v>
                </c:pt>
                <c:pt idx="1184">
                  <c:v>41894</c:v>
                </c:pt>
                <c:pt idx="1185">
                  <c:v>41897</c:v>
                </c:pt>
                <c:pt idx="1186">
                  <c:v>41898</c:v>
                </c:pt>
                <c:pt idx="1187">
                  <c:v>41899</c:v>
                </c:pt>
                <c:pt idx="1188">
                  <c:v>41900</c:v>
                </c:pt>
                <c:pt idx="1189">
                  <c:v>41901</c:v>
                </c:pt>
                <c:pt idx="1190">
                  <c:v>41904</c:v>
                </c:pt>
                <c:pt idx="1191">
                  <c:v>41905</c:v>
                </c:pt>
                <c:pt idx="1192">
                  <c:v>41906</c:v>
                </c:pt>
                <c:pt idx="1193">
                  <c:v>41907</c:v>
                </c:pt>
                <c:pt idx="1194">
                  <c:v>41908</c:v>
                </c:pt>
                <c:pt idx="1195">
                  <c:v>41911</c:v>
                </c:pt>
                <c:pt idx="1196">
                  <c:v>41912</c:v>
                </c:pt>
                <c:pt idx="1197">
                  <c:v>41913</c:v>
                </c:pt>
                <c:pt idx="1198">
                  <c:v>41914</c:v>
                </c:pt>
                <c:pt idx="1199">
                  <c:v>41915</c:v>
                </c:pt>
                <c:pt idx="1200">
                  <c:v>41918</c:v>
                </c:pt>
                <c:pt idx="1201">
                  <c:v>41919</c:v>
                </c:pt>
                <c:pt idx="1202">
                  <c:v>41920</c:v>
                </c:pt>
                <c:pt idx="1203">
                  <c:v>41921</c:v>
                </c:pt>
                <c:pt idx="1204">
                  <c:v>41922</c:v>
                </c:pt>
                <c:pt idx="1205">
                  <c:v>41925</c:v>
                </c:pt>
                <c:pt idx="1206">
                  <c:v>41926</c:v>
                </c:pt>
                <c:pt idx="1207">
                  <c:v>41927</c:v>
                </c:pt>
                <c:pt idx="1208">
                  <c:v>41928</c:v>
                </c:pt>
                <c:pt idx="1209">
                  <c:v>41929</c:v>
                </c:pt>
                <c:pt idx="1210">
                  <c:v>41932</c:v>
                </c:pt>
                <c:pt idx="1211">
                  <c:v>41933</c:v>
                </c:pt>
                <c:pt idx="1212">
                  <c:v>41934</c:v>
                </c:pt>
                <c:pt idx="1213">
                  <c:v>41935</c:v>
                </c:pt>
                <c:pt idx="1214">
                  <c:v>41936</c:v>
                </c:pt>
                <c:pt idx="1215">
                  <c:v>41939</c:v>
                </c:pt>
                <c:pt idx="1216">
                  <c:v>41940</c:v>
                </c:pt>
                <c:pt idx="1217">
                  <c:v>41941</c:v>
                </c:pt>
                <c:pt idx="1218">
                  <c:v>41942</c:v>
                </c:pt>
                <c:pt idx="1219">
                  <c:v>41943</c:v>
                </c:pt>
                <c:pt idx="1220">
                  <c:v>41946</c:v>
                </c:pt>
                <c:pt idx="1221">
                  <c:v>41947</c:v>
                </c:pt>
                <c:pt idx="1222">
                  <c:v>41948</c:v>
                </c:pt>
                <c:pt idx="1223">
                  <c:v>41949</c:v>
                </c:pt>
                <c:pt idx="1224">
                  <c:v>41950</c:v>
                </c:pt>
                <c:pt idx="1225">
                  <c:v>41953</c:v>
                </c:pt>
                <c:pt idx="1226">
                  <c:v>41954</c:v>
                </c:pt>
                <c:pt idx="1227">
                  <c:v>41955</c:v>
                </c:pt>
                <c:pt idx="1228">
                  <c:v>41956</c:v>
                </c:pt>
                <c:pt idx="1229">
                  <c:v>41957</c:v>
                </c:pt>
                <c:pt idx="1230">
                  <c:v>41960</c:v>
                </c:pt>
                <c:pt idx="1231">
                  <c:v>41961</c:v>
                </c:pt>
                <c:pt idx="1232">
                  <c:v>41962</c:v>
                </c:pt>
                <c:pt idx="1233">
                  <c:v>41963</c:v>
                </c:pt>
                <c:pt idx="1234">
                  <c:v>41964</c:v>
                </c:pt>
                <c:pt idx="1235">
                  <c:v>41967</c:v>
                </c:pt>
                <c:pt idx="1236">
                  <c:v>41968</c:v>
                </c:pt>
                <c:pt idx="1237">
                  <c:v>41969</c:v>
                </c:pt>
                <c:pt idx="1238">
                  <c:v>41970</c:v>
                </c:pt>
                <c:pt idx="1239">
                  <c:v>41971</c:v>
                </c:pt>
                <c:pt idx="1240">
                  <c:v>41974</c:v>
                </c:pt>
                <c:pt idx="1241">
                  <c:v>41975</c:v>
                </c:pt>
                <c:pt idx="1242">
                  <c:v>41976</c:v>
                </c:pt>
                <c:pt idx="1243">
                  <c:v>41977</c:v>
                </c:pt>
                <c:pt idx="1244">
                  <c:v>41978</c:v>
                </c:pt>
                <c:pt idx="1245">
                  <c:v>41981</c:v>
                </c:pt>
                <c:pt idx="1246">
                  <c:v>41982</c:v>
                </c:pt>
                <c:pt idx="1247">
                  <c:v>41983</c:v>
                </c:pt>
                <c:pt idx="1248">
                  <c:v>41984</c:v>
                </c:pt>
                <c:pt idx="1249">
                  <c:v>41985</c:v>
                </c:pt>
                <c:pt idx="1250">
                  <c:v>41988</c:v>
                </c:pt>
                <c:pt idx="1251">
                  <c:v>41989</c:v>
                </c:pt>
                <c:pt idx="1252">
                  <c:v>41990</c:v>
                </c:pt>
                <c:pt idx="1253">
                  <c:v>41991</c:v>
                </c:pt>
                <c:pt idx="1254">
                  <c:v>41992</c:v>
                </c:pt>
                <c:pt idx="1255">
                  <c:v>41995</c:v>
                </c:pt>
                <c:pt idx="1256">
                  <c:v>41996</c:v>
                </c:pt>
                <c:pt idx="1257">
                  <c:v>41997</c:v>
                </c:pt>
                <c:pt idx="1258">
                  <c:v>42002</c:v>
                </c:pt>
                <c:pt idx="1259">
                  <c:v>42003</c:v>
                </c:pt>
                <c:pt idx="1260">
                  <c:v>42004</c:v>
                </c:pt>
                <c:pt idx="1261">
                  <c:v>42006</c:v>
                </c:pt>
                <c:pt idx="1262">
                  <c:v>42009</c:v>
                </c:pt>
                <c:pt idx="1263">
                  <c:v>42010</c:v>
                </c:pt>
                <c:pt idx="1264">
                  <c:v>42011</c:v>
                </c:pt>
                <c:pt idx="1265">
                  <c:v>42012</c:v>
                </c:pt>
                <c:pt idx="1266">
                  <c:v>42013</c:v>
                </c:pt>
                <c:pt idx="1267">
                  <c:v>42016</c:v>
                </c:pt>
                <c:pt idx="1268">
                  <c:v>42017</c:v>
                </c:pt>
                <c:pt idx="1269">
                  <c:v>42018</c:v>
                </c:pt>
                <c:pt idx="1270">
                  <c:v>42019</c:v>
                </c:pt>
                <c:pt idx="1271">
                  <c:v>42020</c:v>
                </c:pt>
                <c:pt idx="1272">
                  <c:v>42023</c:v>
                </c:pt>
                <c:pt idx="1273">
                  <c:v>42024</c:v>
                </c:pt>
                <c:pt idx="1274">
                  <c:v>42025</c:v>
                </c:pt>
                <c:pt idx="1275">
                  <c:v>42026</c:v>
                </c:pt>
                <c:pt idx="1276">
                  <c:v>42027</c:v>
                </c:pt>
                <c:pt idx="1277">
                  <c:v>42030</c:v>
                </c:pt>
                <c:pt idx="1278">
                  <c:v>42031</c:v>
                </c:pt>
                <c:pt idx="1279">
                  <c:v>42032</c:v>
                </c:pt>
                <c:pt idx="1280">
                  <c:v>42033</c:v>
                </c:pt>
                <c:pt idx="1281">
                  <c:v>42034</c:v>
                </c:pt>
                <c:pt idx="1282">
                  <c:v>42037</c:v>
                </c:pt>
                <c:pt idx="1283">
                  <c:v>42038</c:v>
                </c:pt>
                <c:pt idx="1284">
                  <c:v>42039</c:v>
                </c:pt>
                <c:pt idx="1285">
                  <c:v>42040</c:v>
                </c:pt>
                <c:pt idx="1286">
                  <c:v>42041</c:v>
                </c:pt>
                <c:pt idx="1287">
                  <c:v>42044</c:v>
                </c:pt>
                <c:pt idx="1288">
                  <c:v>42045</c:v>
                </c:pt>
                <c:pt idx="1289">
                  <c:v>42046</c:v>
                </c:pt>
                <c:pt idx="1290">
                  <c:v>42047</c:v>
                </c:pt>
                <c:pt idx="1291">
                  <c:v>42048</c:v>
                </c:pt>
                <c:pt idx="1292">
                  <c:v>42051</c:v>
                </c:pt>
                <c:pt idx="1293">
                  <c:v>42052</c:v>
                </c:pt>
                <c:pt idx="1294">
                  <c:v>42053</c:v>
                </c:pt>
                <c:pt idx="1295">
                  <c:v>42054</c:v>
                </c:pt>
                <c:pt idx="1296">
                  <c:v>42055</c:v>
                </c:pt>
                <c:pt idx="1297">
                  <c:v>42058</c:v>
                </c:pt>
                <c:pt idx="1298">
                  <c:v>42059</c:v>
                </c:pt>
                <c:pt idx="1299">
                  <c:v>42060</c:v>
                </c:pt>
                <c:pt idx="1300">
                  <c:v>42061</c:v>
                </c:pt>
                <c:pt idx="1301">
                  <c:v>42062</c:v>
                </c:pt>
                <c:pt idx="1302">
                  <c:v>42065</c:v>
                </c:pt>
                <c:pt idx="1303">
                  <c:v>42066</c:v>
                </c:pt>
                <c:pt idx="1304">
                  <c:v>42067</c:v>
                </c:pt>
                <c:pt idx="1305">
                  <c:v>42068</c:v>
                </c:pt>
                <c:pt idx="1306">
                  <c:v>42069</c:v>
                </c:pt>
                <c:pt idx="1307">
                  <c:v>42072</c:v>
                </c:pt>
                <c:pt idx="1308">
                  <c:v>42073</c:v>
                </c:pt>
                <c:pt idx="1309">
                  <c:v>42074</c:v>
                </c:pt>
                <c:pt idx="1310">
                  <c:v>42075</c:v>
                </c:pt>
                <c:pt idx="1311">
                  <c:v>42076</c:v>
                </c:pt>
                <c:pt idx="1312">
                  <c:v>42079</c:v>
                </c:pt>
                <c:pt idx="1313">
                  <c:v>42080</c:v>
                </c:pt>
                <c:pt idx="1314">
                  <c:v>42081</c:v>
                </c:pt>
                <c:pt idx="1315">
                  <c:v>42082</c:v>
                </c:pt>
                <c:pt idx="1316">
                  <c:v>42083</c:v>
                </c:pt>
                <c:pt idx="1317">
                  <c:v>42086</c:v>
                </c:pt>
                <c:pt idx="1318">
                  <c:v>42087</c:v>
                </c:pt>
                <c:pt idx="1319">
                  <c:v>42088</c:v>
                </c:pt>
                <c:pt idx="1320">
                  <c:v>42089</c:v>
                </c:pt>
                <c:pt idx="1321">
                  <c:v>42090</c:v>
                </c:pt>
                <c:pt idx="1322">
                  <c:v>42093</c:v>
                </c:pt>
                <c:pt idx="1323">
                  <c:v>42094</c:v>
                </c:pt>
                <c:pt idx="1324">
                  <c:v>42095</c:v>
                </c:pt>
                <c:pt idx="1325">
                  <c:v>42096</c:v>
                </c:pt>
                <c:pt idx="1326">
                  <c:v>42101</c:v>
                </c:pt>
                <c:pt idx="1327">
                  <c:v>42102</c:v>
                </c:pt>
                <c:pt idx="1328">
                  <c:v>42103</c:v>
                </c:pt>
                <c:pt idx="1329">
                  <c:v>42104</c:v>
                </c:pt>
                <c:pt idx="1330">
                  <c:v>42107</c:v>
                </c:pt>
                <c:pt idx="1331">
                  <c:v>42108</c:v>
                </c:pt>
                <c:pt idx="1332">
                  <c:v>42109</c:v>
                </c:pt>
                <c:pt idx="1333">
                  <c:v>42110</c:v>
                </c:pt>
                <c:pt idx="1334">
                  <c:v>42111</c:v>
                </c:pt>
                <c:pt idx="1335">
                  <c:v>42114</c:v>
                </c:pt>
                <c:pt idx="1336">
                  <c:v>42115</c:v>
                </c:pt>
                <c:pt idx="1337">
                  <c:v>42116</c:v>
                </c:pt>
                <c:pt idx="1338">
                  <c:v>42117</c:v>
                </c:pt>
                <c:pt idx="1339">
                  <c:v>42118</c:v>
                </c:pt>
                <c:pt idx="1340">
                  <c:v>42121</c:v>
                </c:pt>
                <c:pt idx="1341">
                  <c:v>42122</c:v>
                </c:pt>
                <c:pt idx="1342">
                  <c:v>42123</c:v>
                </c:pt>
                <c:pt idx="1343">
                  <c:v>42124</c:v>
                </c:pt>
                <c:pt idx="1344">
                  <c:v>42125</c:v>
                </c:pt>
                <c:pt idx="1345">
                  <c:v>42129</c:v>
                </c:pt>
                <c:pt idx="1346">
                  <c:v>42130</c:v>
                </c:pt>
                <c:pt idx="1347">
                  <c:v>42131</c:v>
                </c:pt>
                <c:pt idx="1348">
                  <c:v>42132</c:v>
                </c:pt>
                <c:pt idx="1349">
                  <c:v>42135</c:v>
                </c:pt>
                <c:pt idx="1350">
                  <c:v>42136</c:v>
                </c:pt>
                <c:pt idx="1351">
                  <c:v>42137</c:v>
                </c:pt>
                <c:pt idx="1352">
                  <c:v>42138</c:v>
                </c:pt>
                <c:pt idx="1353">
                  <c:v>42139</c:v>
                </c:pt>
                <c:pt idx="1354">
                  <c:v>42142</c:v>
                </c:pt>
                <c:pt idx="1355">
                  <c:v>42143</c:v>
                </c:pt>
                <c:pt idx="1356">
                  <c:v>42144</c:v>
                </c:pt>
                <c:pt idx="1357">
                  <c:v>42145</c:v>
                </c:pt>
                <c:pt idx="1358">
                  <c:v>42146</c:v>
                </c:pt>
                <c:pt idx="1359">
                  <c:v>42150</c:v>
                </c:pt>
                <c:pt idx="1360">
                  <c:v>42151</c:v>
                </c:pt>
                <c:pt idx="1361">
                  <c:v>42152</c:v>
                </c:pt>
                <c:pt idx="1362">
                  <c:v>42153</c:v>
                </c:pt>
                <c:pt idx="1363">
                  <c:v>42156</c:v>
                </c:pt>
                <c:pt idx="1364">
                  <c:v>42157</c:v>
                </c:pt>
                <c:pt idx="1365">
                  <c:v>42158</c:v>
                </c:pt>
                <c:pt idx="1366">
                  <c:v>42159</c:v>
                </c:pt>
                <c:pt idx="1367">
                  <c:v>42160</c:v>
                </c:pt>
                <c:pt idx="1368">
                  <c:v>42163</c:v>
                </c:pt>
                <c:pt idx="1369">
                  <c:v>42164</c:v>
                </c:pt>
                <c:pt idx="1370">
                  <c:v>42165</c:v>
                </c:pt>
                <c:pt idx="1371">
                  <c:v>42166</c:v>
                </c:pt>
                <c:pt idx="1372">
                  <c:v>42167</c:v>
                </c:pt>
                <c:pt idx="1373">
                  <c:v>42170</c:v>
                </c:pt>
                <c:pt idx="1374">
                  <c:v>42171</c:v>
                </c:pt>
                <c:pt idx="1375">
                  <c:v>42172</c:v>
                </c:pt>
                <c:pt idx="1376">
                  <c:v>42173</c:v>
                </c:pt>
                <c:pt idx="1377">
                  <c:v>42174</c:v>
                </c:pt>
                <c:pt idx="1378">
                  <c:v>42177</c:v>
                </c:pt>
                <c:pt idx="1379">
                  <c:v>42178</c:v>
                </c:pt>
                <c:pt idx="1380">
                  <c:v>42179</c:v>
                </c:pt>
                <c:pt idx="1381">
                  <c:v>42180</c:v>
                </c:pt>
                <c:pt idx="1382">
                  <c:v>42181</c:v>
                </c:pt>
                <c:pt idx="1383">
                  <c:v>42184</c:v>
                </c:pt>
                <c:pt idx="1384">
                  <c:v>42185</c:v>
                </c:pt>
                <c:pt idx="1385">
                  <c:v>42186</c:v>
                </c:pt>
                <c:pt idx="1386">
                  <c:v>42187</c:v>
                </c:pt>
                <c:pt idx="1387">
                  <c:v>42188</c:v>
                </c:pt>
                <c:pt idx="1388">
                  <c:v>42191</c:v>
                </c:pt>
                <c:pt idx="1389">
                  <c:v>42192</c:v>
                </c:pt>
                <c:pt idx="1390">
                  <c:v>42193</c:v>
                </c:pt>
                <c:pt idx="1391">
                  <c:v>42194</c:v>
                </c:pt>
                <c:pt idx="1392">
                  <c:v>42195</c:v>
                </c:pt>
                <c:pt idx="1393">
                  <c:v>42198</c:v>
                </c:pt>
                <c:pt idx="1394">
                  <c:v>42199</c:v>
                </c:pt>
                <c:pt idx="1395">
                  <c:v>42200</c:v>
                </c:pt>
                <c:pt idx="1396">
                  <c:v>42201</c:v>
                </c:pt>
                <c:pt idx="1397">
                  <c:v>42202</c:v>
                </c:pt>
                <c:pt idx="1398">
                  <c:v>42205</c:v>
                </c:pt>
                <c:pt idx="1399">
                  <c:v>42206</c:v>
                </c:pt>
                <c:pt idx="1400">
                  <c:v>42207</c:v>
                </c:pt>
                <c:pt idx="1401">
                  <c:v>42208</c:v>
                </c:pt>
                <c:pt idx="1402">
                  <c:v>42209</c:v>
                </c:pt>
                <c:pt idx="1403">
                  <c:v>42212</c:v>
                </c:pt>
                <c:pt idx="1404">
                  <c:v>42213</c:v>
                </c:pt>
                <c:pt idx="1405">
                  <c:v>42214</c:v>
                </c:pt>
                <c:pt idx="1406">
                  <c:v>42215</c:v>
                </c:pt>
                <c:pt idx="1407">
                  <c:v>42216</c:v>
                </c:pt>
                <c:pt idx="1408">
                  <c:v>42219</c:v>
                </c:pt>
                <c:pt idx="1409">
                  <c:v>42220</c:v>
                </c:pt>
                <c:pt idx="1410">
                  <c:v>42221</c:v>
                </c:pt>
                <c:pt idx="1411">
                  <c:v>42222</c:v>
                </c:pt>
                <c:pt idx="1412">
                  <c:v>42223</c:v>
                </c:pt>
                <c:pt idx="1413">
                  <c:v>42226</c:v>
                </c:pt>
                <c:pt idx="1414">
                  <c:v>42227</c:v>
                </c:pt>
                <c:pt idx="1415">
                  <c:v>42228</c:v>
                </c:pt>
                <c:pt idx="1416">
                  <c:v>42229</c:v>
                </c:pt>
                <c:pt idx="1417">
                  <c:v>42230</c:v>
                </c:pt>
                <c:pt idx="1418">
                  <c:v>42233</c:v>
                </c:pt>
                <c:pt idx="1419">
                  <c:v>42234</c:v>
                </c:pt>
                <c:pt idx="1420">
                  <c:v>42235</c:v>
                </c:pt>
                <c:pt idx="1421">
                  <c:v>42236</c:v>
                </c:pt>
                <c:pt idx="1422">
                  <c:v>42237</c:v>
                </c:pt>
                <c:pt idx="1423">
                  <c:v>42240</c:v>
                </c:pt>
                <c:pt idx="1424">
                  <c:v>42241</c:v>
                </c:pt>
                <c:pt idx="1425">
                  <c:v>42242</c:v>
                </c:pt>
                <c:pt idx="1426">
                  <c:v>42243</c:v>
                </c:pt>
                <c:pt idx="1427">
                  <c:v>42244</c:v>
                </c:pt>
                <c:pt idx="1428">
                  <c:v>42248</c:v>
                </c:pt>
                <c:pt idx="1429">
                  <c:v>42249</c:v>
                </c:pt>
                <c:pt idx="1430">
                  <c:v>42250</c:v>
                </c:pt>
                <c:pt idx="1431">
                  <c:v>42251</c:v>
                </c:pt>
                <c:pt idx="1432">
                  <c:v>42254</c:v>
                </c:pt>
                <c:pt idx="1433">
                  <c:v>42255</c:v>
                </c:pt>
                <c:pt idx="1434">
                  <c:v>42256</c:v>
                </c:pt>
                <c:pt idx="1435">
                  <c:v>42257</c:v>
                </c:pt>
                <c:pt idx="1436">
                  <c:v>42258</c:v>
                </c:pt>
                <c:pt idx="1437">
                  <c:v>42261</c:v>
                </c:pt>
                <c:pt idx="1438">
                  <c:v>42262</c:v>
                </c:pt>
                <c:pt idx="1439">
                  <c:v>42263</c:v>
                </c:pt>
                <c:pt idx="1440">
                  <c:v>42264</c:v>
                </c:pt>
                <c:pt idx="1441">
                  <c:v>42265</c:v>
                </c:pt>
                <c:pt idx="1442">
                  <c:v>42268</c:v>
                </c:pt>
                <c:pt idx="1443">
                  <c:v>42269</c:v>
                </c:pt>
                <c:pt idx="1444">
                  <c:v>42270</c:v>
                </c:pt>
                <c:pt idx="1445">
                  <c:v>42271</c:v>
                </c:pt>
                <c:pt idx="1446">
                  <c:v>42272</c:v>
                </c:pt>
                <c:pt idx="1447">
                  <c:v>42275</c:v>
                </c:pt>
                <c:pt idx="1448">
                  <c:v>42276</c:v>
                </c:pt>
                <c:pt idx="1449">
                  <c:v>42277</c:v>
                </c:pt>
                <c:pt idx="1450">
                  <c:v>42278</c:v>
                </c:pt>
                <c:pt idx="1451">
                  <c:v>42279</c:v>
                </c:pt>
                <c:pt idx="1452">
                  <c:v>42282</c:v>
                </c:pt>
                <c:pt idx="1453">
                  <c:v>42283</c:v>
                </c:pt>
                <c:pt idx="1454">
                  <c:v>42284</c:v>
                </c:pt>
                <c:pt idx="1455">
                  <c:v>42285</c:v>
                </c:pt>
                <c:pt idx="1456">
                  <c:v>42286</c:v>
                </c:pt>
                <c:pt idx="1457">
                  <c:v>42289</c:v>
                </c:pt>
                <c:pt idx="1458">
                  <c:v>42290</c:v>
                </c:pt>
                <c:pt idx="1459">
                  <c:v>42291</c:v>
                </c:pt>
                <c:pt idx="1460">
                  <c:v>42292</c:v>
                </c:pt>
                <c:pt idx="1461">
                  <c:v>42293</c:v>
                </c:pt>
                <c:pt idx="1462">
                  <c:v>42296</c:v>
                </c:pt>
                <c:pt idx="1463">
                  <c:v>42297</c:v>
                </c:pt>
                <c:pt idx="1464">
                  <c:v>42298</c:v>
                </c:pt>
                <c:pt idx="1465">
                  <c:v>42299</c:v>
                </c:pt>
                <c:pt idx="1466">
                  <c:v>42300</c:v>
                </c:pt>
                <c:pt idx="1467">
                  <c:v>42303</c:v>
                </c:pt>
                <c:pt idx="1468">
                  <c:v>42304</c:v>
                </c:pt>
                <c:pt idx="1469">
                  <c:v>42305</c:v>
                </c:pt>
                <c:pt idx="1470">
                  <c:v>42306</c:v>
                </c:pt>
                <c:pt idx="1471">
                  <c:v>42307</c:v>
                </c:pt>
                <c:pt idx="1472">
                  <c:v>42310</c:v>
                </c:pt>
                <c:pt idx="1473">
                  <c:v>42311</c:v>
                </c:pt>
                <c:pt idx="1474">
                  <c:v>42312</c:v>
                </c:pt>
                <c:pt idx="1475">
                  <c:v>42313</c:v>
                </c:pt>
                <c:pt idx="1476">
                  <c:v>42314</c:v>
                </c:pt>
                <c:pt idx="1477">
                  <c:v>42317</c:v>
                </c:pt>
                <c:pt idx="1478">
                  <c:v>42318</c:v>
                </c:pt>
                <c:pt idx="1479">
                  <c:v>42319</c:v>
                </c:pt>
                <c:pt idx="1480">
                  <c:v>42320</c:v>
                </c:pt>
                <c:pt idx="1481">
                  <c:v>42321</c:v>
                </c:pt>
                <c:pt idx="1482">
                  <c:v>42324</c:v>
                </c:pt>
                <c:pt idx="1483">
                  <c:v>42325</c:v>
                </c:pt>
                <c:pt idx="1484">
                  <c:v>42326</c:v>
                </c:pt>
                <c:pt idx="1485">
                  <c:v>42327</c:v>
                </c:pt>
                <c:pt idx="1486">
                  <c:v>42328</c:v>
                </c:pt>
                <c:pt idx="1487">
                  <c:v>42331</c:v>
                </c:pt>
                <c:pt idx="1488">
                  <c:v>42332</c:v>
                </c:pt>
                <c:pt idx="1489">
                  <c:v>42333</c:v>
                </c:pt>
                <c:pt idx="1490">
                  <c:v>42334</c:v>
                </c:pt>
                <c:pt idx="1491">
                  <c:v>42335</c:v>
                </c:pt>
                <c:pt idx="1492">
                  <c:v>42338</c:v>
                </c:pt>
                <c:pt idx="1493">
                  <c:v>42339</c:v>
                </c:pt>
                <c:pt idx="1494">
                  <c:v>42340</c:v>
                </c:pt>
                <c:pt idx="1495">
                  <c:v>42341</c:v>
                </c:pt>
                <c:pt idx="1496">
                  <c:v>42342</c:v>
                </c:pt>
                <c:pt idx="1497">
                  <c:v>42345</c:v>
                </c:pt>
                <c:pt idx="1498">
                  <c:v>42346</c:v>
                </c:pt>
                <c:pt idx="1499">
                  <c:v>42347</c:v>
                </c:pt>
                <c:pt idx="1500">
                  <c:v>42348</c:v>
                </c:pt>
                <c:pt idx="1501">
                  <c:v>42349</c:v>
                </c:pt>
                <c:pt idx="1502">
                  <c:v>42352</c:v>
                </c:pt>
                <c:pt idx="1503">
                  <c:v>42353</c:v>
                </c:pt>
                <c:pt idx="1504">
                  <c:v>42354</c:v>
                </c:pt>
                <c:pt idx="1505">
                  <c:v>42355</c:v>
                </c:pt>
                <c:pt idx="1506">
                  <c:v>42356</c:v>
                </c:pt>
                <c:pt idx="1507">
                  <c:v>42359</c:v>
                </c:pt>
                <c:pt idx="1508">
                  <c:v>42360</c:v>
                </c:pt>
                <c:pt idx="1509">
                  <c:v>42361</c:v>
                </c:pt>
                <c:pt idx="1510">
                  <c:v>42362</c:v>
                </c:pt>
                <c:pt idx="1511">
                  <c:v>42367</c:v>
                </c:pt>
                <c:pt idx="1512">
                  <c:v>42368</c:v>
                </c:pt>
                <c:pt idx="1513">
                  <c:v>42369</c:v>
                </c:pt>
                <c:pt idx="1514">
                  <c:v>42373</c:v>
                </c:pt>
                <c:pt idx="1515">
                  <c:v>42374</c:v>
                </c:pt>
                <c:pt idx="1516">
                  <c:v>42375</c:v>
                </c:pt>
                <c:pt idx="1517">
                  <c:v>42376</c:v>
                </c:pt>
                <c:pt idx="1518">
                  <c:v>42377</c:v>
                </c:pt>
                <c:pt idx="1519">
                  <c:v>42380</c:v>
                </c:pt>
                <c:pt idx="1520">
                  <c:v>42381</c:v>
                </c:pt>
                <c:pt idx="1521">
                  <c:v>42382</c:v>
                </c:pt>
                <c:pt idx="1522">
                  <c:v>42383</c:v>
                </c:pt>
                <c:pt idx="1523">
                  <c:v>42384</c:v>
                </c:pt>
                <c:pt idx="1524">
                  <c:v>42387</c:v>
                </c:pt>
                <c:pt idx="1525">
                  <c:v>42388</c:v>
                </c:pt>
                <c:pt idx="1526">
                  <c:v>42389</c:v>
                </c:pt>
                <c:pt idx="1527">
                  <c:v>42390</c:v>
                </c:pt>
                <c:pt idx="1528">
                  <c:v>42391</c:v>
                </c:pt>
                <c:pt idx="1529">
                  <c:v>42394</c:v>
                </c:pt>
                <c:pt idx="1530">
                  <c:v>42395</c:v>
                </c:pt>
                <c:pt idx="1531">
                  <c:v>42396</c:v>
                </c:pt>
                <c:pt idx="1532">
                  <c:v>42397</c:v>
                </c:pt>
                <c:pt idx="1533">
                  <c:v>42398</c:v>
                </c:pt>
                <c:pt idx="1534">
                  <c:v>42401</c:v>
                </c:pt>
                <c:pt idx="1535">
                  <c:v>42402</c:v>
                </c:pt>
                <c:pt idx="1536">
                  <c:v>42403</c:v>
                </c:pt>
                <c:pt idx="1537">
                  <c:v>42404</c:v>
                </c:pt>
                <c:pt idx="1538">
                  <c:v>42405</c:v>
                </c:pt>
                <c:pt idx="1539">
                  <c:v>42408</c:v>
                </c:pt>
                <c:pt idx="1540">
                  <c:v>42409</c:v>
                </c:pt>
                <c:pt idx="1541">
                  <c:v>42410</c:v>
                </c:pt>
                <c:pt idx="1542">
                  <c:v>42411</c:v>
                </c:pt>
                <c:pt idx="1543">
                  <c:v>42412</c:v>
                </c:pt>
                <c:pt idx="1544">
                  <c:v>42415</c:v>
                </c:pt>
                <c:pt idx="1545">
                  <c:v>42416</c:v>
                </c:pt>
                <c:pt idx="1546">
                  <c:v>42417</c:v>
                </c:pt>
                <c:pt idx="1547">
                  <c:v>42418</c:v>
                </c:pt>
                <c:pt idx="1548">
                  <c:v>42419</c:v>
                </c:pt>
                <c:pt idx="1549">
                  <c:v>42422</c:v>
                </c:pt>
                <c:pt idx="1550">
                  <c:v>42423</c:v>
                </c:pt>
                <c:pt idx="1551">
                  <c:v>42424</c:v>
                </c:pt>
                <c:pt idx="1552">
                  <c:v>42425</c:v>
                </c:pt>
                <c:pt idx="1553">
                  <c:v>42426</c:v>
                </c:pt>
                <c:pt idx="1554">
                  <c:v>42429</c:v>
                </c:pt>
                <c:pt idx="1555">
                  <c:v>42430</c:v>
                </c:pt>
                <c:pt idx="1556">
                  <c:v>42431</c:v>
                </c:pt>
                <c:pt idx="1557">
                  <c:v>42432</c:v>
                </c:pt>
                <c:pt idx="1558">
                  <c:v>42433</c:v>
                </c:pt>
                <c:pt idx="1559">
                  <c:v>42436</c:v>
                </c:pt>
                <c:pt idx="1560">
                  <c:v>42437</c:v>
                </c:pt>
                <c:pt idx="1561">
                  <c:v>42438</c:v>
                </c:pt>
                <c:pt idx="1562">
                  <c:v>42439</c:v>
                </c:pt>
                <c:pt idx="1563">
                  <c:v>42440</c:v>
                </c:pt>
                <c:pt idx="1564">
                  <c:v>42443</c:v>
                </c:pt>
                <c:pt idx="1565">
                  <c:v>42444</c:v>
                </c:pt>
                <c:pt idx="1566">
                  <c:v>42445</c:v>
                </c:pt>
                <c:pt idx="1567">
                  <c:v>42446</c:v>
                </c:pt>
                <c:pt idx="1568">
                  <c:v>42447</c:v>
                </c:pt>
                <c:pt idx="1569">
                  <c:v>42450</c:v>
                </c:pt>
                <c:pt idx="1570">
                  <c:v>42451</c:v>
                </c:pt>
                <c:pt idx="1571">
                  <c:v>42452</c:v>
                </c:pt>
                <c:pt idx="1572">
                  <c:v>42453</c:v>
                </c:pt>
                <c:pt idx="1573">
                  <c:v>42458</c:v>
                </c:pt>
                <c:pt idx="1574">
                  <c:v>42459</c:v>
                </c:pt>
                <c:pt idx="1575">
                  <c:v>42460</c:v>
                </c:pt>
                <c:pt idx="1576">
                  <c:v>42461</c:v>
                </c:pt>
                <c:pt idx="1577">
                  <c:v>42464</c:v>
                </c:pt>
                <c:pt idx="1578">
                  <c:v>42465</c:v>
                </c:pt>
                <c:pt idx="1579">
                  <c:v>42466</c:v>
                </c:pt>
                <c:pt idx="1580">
                  <c:v>42467</c:v>
                </c:pt>
                <c:pt idx="1581">
                  <c:v>42468</c:v>
                </c:pt>
                <c:pt idx="1582">
                  <c:v>42471</c:v>
                </c:pt>
                <c:pt idx="1583">
                  <c:v>42472</c:v>
                </c:pt>
                <c:pt idx="1584">
                  <c:v>42473</c:v>
                </c:pt>
                <c:pt idx="1585">
                  <c:v>42474</c:v>
                </c:pt>
                <c:pt idx="1586">
                  <c:v>42475</c:v>
                </c:pt>
                <c:pt idx="1587">
                  <c:v>42478</c:v>
                </c:pt>
                <c:pt idx="1588">
                  <c:v>42479</c:v>
                </c:pt>
                <c:pt idx="1589">
                  <c:v>42480</c:v>
                </c:pt>
                <c:pt idx="1590">
                  <c:v>42481</c:v>
                </c:pt>
                <c:pt idx="1591">
                  <c:v>42482</c:v>
                </c:pt>
                <c:pt idx="1592">
                  <c:v>42485</c:v>
                </c:pt>
                <c:pt idx="1593">
                  <c:v>42486</c:v>
                </c:pt>
                <c:pt idx="1594">
                  <c:v>42487</c:v>
                </c:pt>
                <c:pt idx="1595">
                  <c:v>42488</c:v>
                </c:pt>
                <c:pt idx="1596">
                  <c:v>42489</c:v>
                </c:pt>
                <c:pt idx="1597">
                  <c:v>42493</c:v>
                </c:pt>
                <c:pt idx="1598">
                  <c:v>42494</c:v>
                </c:pt>
                <c:pt idx="1599">
                  <c:v>42495</c:v>
                </c:pt>
                <c:pt idx="1600">
                  <c:v>42496</c:v>
                </c:pt>
                <c:pt idx="1601">
                  <c:v>42499</c:v>
                </c:pt>
                <c:pt idx="1602">
                  <c:v>42500</c:v>
                </c:pt>
                <c:pt idx="1603">
                  <c:v>42501</c:v>
                </c:pt>
                <c:pt idx="1604">
                  <c:v>42502</c:v>
                </c:pt>
                <c:pt idx="1605">
                  <c:v>42503</c:v>
                </c:pt>
                <c:pt idx="1606">
                  <c:v>42506</c:v>
                </c:pt>
                <c:pt idx="1607">
                  <c:v>42507</c:v>
                </c:pt>
                <c:pt idx="1608">
                  <c:v>42508</c:v>
                </c:pt>
                <c:pt idx="1609">
                  <c:v>42509</c:v>
                </c:pt>
                <c:pt idx="1610">
                  <c:v>42510</c:v>
                </c:pt>
                <c:pt idx="1611">
                  <c:v>42513</c:v>
                </c:pt>
                <c:pt idx="1612">
                  <c:v>42514</c:v>
                </c:pt>
                <c:pt idx="1613">
                  <c:v>42515</c:v>
                </c:pt>
                <c:pt idx="1614">
                  <c:v>42516</c:v>
                </c:pt>
                <c:pt idx="1615">
                  <c:v>42517</c:v>
                </c:pt>
                <c:pt idx="1616">
                  <c:v>42521</c:v>
                </c:pt>
                <c:pt idx="1617">
                  <c:v>42522</c:v>
                </c:pt>
                <c:pt idx="1618">
                  <c:v>42523</c:v>
                </c:pt>
                <c:pt idx="1619">
                  <c:v>42524</c:v>
                </c:pt>
                <c:pt idx="1620">
                  <c:v>42527</c:v>
                </c:pt>
                <c:pt idx="1621">
                  <c:v>42528</c:v>
                </c:pt>
                <c:pt idx="1622">
                  <c:v>42529</c:v>
                </c:pt>
                <c:pt idx="1623">
                  <c:v>42530</c:v>
                </c:pt>
                <c:pt idx="1624">
                  <c:v>42531</c:v>
                </c:pt>
                <c:pt idx="1625">
                  <c:v>42534</c:v>
                </c:pt>
                <c:pt idx="1626">
                  <c:v>42535</c:v>
                </c:pt>
                <c:pt idx="1627">
                  <c:v>42536</c:v>
                </c:pt>
                <c:pt idx="1628">
                  <c:v>42537</c:v>
                </c:pt>
                <c:pt idx="1629">
                  <c:v>42538</c:v>
                </c:pt>
                <c:pt idx="1630">
                  <c:v>42541</c:v>
                </c:pt>
                <c:pt idx="1631">
                  <c:v>42542</c:v>
                </c:pt>
                <c:pt idx="1632">
                  <c:v>42543</c:v>
                </c:pt>
                <c:pt idx="1633">
                  <c:v>42544</c:v>
                </c:pt>
                <c:pt idx="1634">
                  <c:v>42545</c:v>
                </c:pt>
                <c:pt idx="1635">
                  <c:v>42548</c:v>
                </c:pt>
                <c:pt idx="1636">
                  <c:v>42549</c:v>
                </c:pt>
                <c:pt idx="1637">
                  <c:v>42550</c:v>
                </c:pt>
                <c:pt idx="1638">
                  <c:v>42551</c:v>
                </c:pt>
                <c:pt idx="1639">
                  <c:v>42552</c:v>
                </c:pt>
                <c:pt idx="1640">
                  <c:v>42555</c:v>
                </c:pt>
                <c:pt idx="1641">
                  <c:v>42556</c:v>
                </c:pt>
                <c:pt idx="1642">
                  <c:v>42557</c:v>
                </c:pt>
                <c:pt idx="1643">
                  <c:v>42558</c:v>
                </c:pt>
                <c:pt idx="1644">
                  <c:v>42559</c:v>
                </c:pt>
                <c:pt idx="1645">
                  <c:v>42562</c:v>
                </c:pt>
                <c:pt idx="1646">
                  <c:v>42563</c:v>
                </c:pt>
                <c:pt idx="1647">
                  <c:v>42564</c:v>
                </c:pt>
                <c:pt idx="1648">
                  <c:v>42565</c:v>
                </c:pt>
                <c:pt idx="1649">
                  <c:v>42566</c:v>
                </c:pt>
                <c:pt idx="1650">
                  <c:v>42569</c:v>
                </c:pt>
                <c:pt idx="1651">
                  <c:v>42570</c:v>
                </c:pt>
                <c:pt idx="1652">
                  <c:v>42571</c:v>
                </c:pt>
                <c:pt idx="1653">
                  <c:v>42572</c:v>
                </c:pt>
                <c:pt idx="1654">
                  <c:v>42573</c:v>
                </c:pt>
                <c:pt idx="1655">
                  <c:v>42576</c:v>
                </c:pt>
                <c:pt idx="1656">
                  <c:v>42577</c:v>
                </c:pt>
                <c:pt idx="1657">
                  <c:v>42578</c:v>
                </c:pt>
                <c:pt idx="1658">
                  <c:v>42579</c:v>
                </c:pt>
                <c:pt idx="1659">
                  <c:v>42580</c:v>
                </c:pt>
                <c:pt idx="1660">
                  <c:v>42583</c:v>
                </c:pt>
                <c:pt idx="1661">
                  <c:v>42584</c:v>
                </c:pt>
                <c:pt idx="1662">
                  <c:v>42585</c:v>
                </c:pt>
                <c:pt idx="1663">
                  <c:v>42586</c:v>
                </c:pt>
                <c:pt idx="1664">
                  <c:v>42587</c:v>
                </c:pt>
                <c:pt idx="1665">
                  <c:v>42590</c:v>
                </c:pt>
                <c:pt idx="1666">
                  <c:v>42591</c:v>
                </c:pt>
                <c:pt idx="1667">
                  <c:v>42592</c:v>
                </c:pt>
                <c:pt idx="1668">
                  <c:v>42593</c:v>
                </c:pt>
                <c:pt idx="1669">
                  <c:v>42594</c:v>
                </c:pt>
                <c:pt idx="1670">
                  <c:v>42597</c:v>
                </c:pt>
                <c:pt idx="1671">
                  <c:v>42598</c:v>
                </c:pt>
                <c:pt idx="1672">
                  <c:v>42599</c:v>
                </c:pt>
                <c:pt idx="1673">
                  <c:v>42600</c:v>
                </c:pt>
                <c:pt idx="1674">
                  <c:v>42601</c:v>
                </c:pt>
                <c:pt idx="1675">
                  <c:v>42604</c:v>
                </c:pt>
                <c:pt idx="1676">
                  <c:v>42605</c:v>
                </c:pt>
                <c:pt idx="1677">
                  <c:v>42606</c:v>
                </c:pt>
                <c:pt idx="1678">
                  <c:v>42607</c:v>
                </c:pt>
                <c:pt idx="1679">
                  <c:v>42608</c:v>
                </c:pt>
                <c:pt idx="1680">
                  <c:v>42612</c:v>
                </c:pt>
                <c:pt idx="1681">
                  <c:v>42613</c:v>
                </c:pt>
                <c:pt idx="1682">
                  <c:v>42614</c:v>
                </c:pt>
                <c:pt idx="1683">
                  <c:v>42615</c:v>
                </c:pt>
                <c:pt idx="1684">
                  <c:v>42619</c:v>
                </c:pt>
                <c:pt idx="1685">
                  <c:v>42620</c:v>
                </c:pt>
                <c:pt idx="1686">
                  <c:v>42621</c:v>
                </c:pt>
                <c:pt idx="1687">
                  <c:v>42622</c:v>
                </c:pt>
                <c:pt idx="1688">
                  <c:v>42625</c:v>
                </c:pt>
                <c:pt idx="1689">
                  <c:v>42626</c:v>
                </c:pt>
                <c:pt idx="1690">
                  <c:v>42627</c:v>
                </c:pt>
                <c:pt idx="1691">
                  <c:v>42628</c:v>
                </c:pt>
                <c:pt idx="1692">
                  <c:v>42629</c:v>
                </c:pt>
                <c:pt idx="1693">
                  <c:v>42632</c:v>
                </c:pt>
                <c:pt idx="1694">
                  <c:v>42633</c:v>
                </c:pt>
                <c:pt idx="1695">
                  <c:v>42634</c:v>
                </c:pt>
                <c:pt idx="1696">
                  <c:v>42635</c:v>
                </c:pt>
                <c:pt idx="1697">
                  <c:v>42636</c:v>
                </c:pt>
                <c:pt idx="1698">
                  <c:v>42639</c:v>
                </c:pt>
                <c:pt idx="1699">
                  <c:v>42640</c:v>
                </c:pt>
                <c:pt idx="1700">
                  <c:v>42641</c:v>
                </c:pt>
                <c:pt idx="1701">
                  <c:v>42642</c:v>
                </c:pt>
                <c:pt idx="1702">
                  <c:v>42643</c:v>
                </c:pt>
                <c:pt idx="1703">
                  <c:v>42646</c:v>
                </c:pt>
                <c:pt idx="1704">
                  <c:v>42647</c:v>
                </c:pt>
                <c:pt idx="1705">
                  <c:v>42648</c:v>
                </c:pt>
                <c:pt idx="1706">
                  <c:v>42649</c:v>
                </c:pt>
                <c:pt idx="1707">
                  <c:v>42650</c:v>
                </c:pt>
                <c:pt idx="1708">
                  <c:v>42653</c:v>
                </c:pt>
                <c:pt idx="1709">
                  <c:v>42654</c:v>
                </c:pt>
                <c:pt idx="1710">
                  <c:v>42655</c:v>
                </c:pt>
                <c:pt idx="1711">
                  <c:v>42656</c:v>
                </c:pt>
                <c:pt idx="1712">
                  <c:v>42657</c:v>
                </c:pt>
                <c:pt idx="1713">
                  <c:v>42660</c:v>
                </c:pt>
                <c:pt idx="1714">
                  <c:v>42661</c:v>
                </c:pt>
                <c:pt idx="1715">
                  <c:v>42662</c:v>
                </c:pt>
                <c:pt idx="1716">
                  <c:v>42663</c:v>
                </c:pt>
                <c:pt idx="1717">
                  <c:v>42664</c:v>
                </c:pt>
                <c:pt idx="1718">
                  <c:v>42667</c:v>
                </c:pt>
                <c:pt idx="1719">
                  <c:v>42668</c:v>
                </c:pt>
                <c:pt idx="1720">
                  <c:v>42669</c:v>
                </c:pt>
                <c:pt idx="1721">
                  <c:v>42670</c:v>
                </c:pt>
                <c:pt idx="1722">
                  <c:v>42671</c:v>
                </c:pt>
                <c:pt idx="1723">
                  <c:v>42674</c:v>
                </c:pt>
                <c:pt idx="1724">
                  <c:v>42675</c:v>
                </c:pt>
                <c:pt idx="1725">
                  <c:v>42676</c:v>
                </c:pt>
                <c:pt idx="1726">
                  <c:v>42677</c:v>
                </c:pt>
                <c:pt idx="1727">
                  <c:v>42678</c:v>
                </c:pt>
                <c:pt idx="1728">
                  <c:v>42681</c:v>
                </c:pt>
                <c:pt idx="1729">
                  <c:v>42682</c:v>
                </c:pt>
                <c:pt idx="1730">
                  <c:v>42683</c:v>
                </c:pt>
                <c:pt idx="1731">
                  <c:v>42684</c:v>
                </c:pt>
                <c:pt idx="1732">
                  <c:v>42685</c:v>
                </c:pt>
                <c:pt idx="1733">
                  <c:v>42688</c:v>
                </c:pt>
                <c:pt idx="1734">
                  <c:v>42689</c:v>
                </c:pt>
                <c:pt idx="1735">
                  <c:v>42690</c:v>
                </c:pt>
                <c:pt idx="1736">
                  <c:v>42691</c:v>
                </c:pt>
                <c:pt idx="1737">
                  <c:v>42692</c:v>
                </c:pt>
                <c:pt idx="1738">
                  <c:v>42695</c:v>
                </c:pt>
                <c:pt idx="1739">
                  <c:v>42696</c:v>
                </c:pt>
                <c:pt idx="1740">
                  <c:v>42697</c:v>
                </c:pt>
                <c:pt idx="1741">
                  <c:v>42698</c:v>
                </c:pt>
                <c:pt idx="1742">
                  <c:v>42699</c:v>
                </c:pt>
                <c:pt idx="1743">
                  <c:v>42702</c:v>
                </c:pt>
                <c:pt idx="1744">
                  <c:v>42703</c:v>
                </c:pt>
                <c:pt idx="1745">
                  <c:v>42704</c:v>
                </c:pt>
                <c:pt idx="1746">
                  <c:v>42705</c:v>
                </c:pt>
                <c:pt idx="1747">
                  <c:v>42706</c:v>
                </c:pt>
                <c:pt idx="1748">
                  <c:v>42709</c:v>
                </c:pt>
                <c:pt idx="1749">
                  <c:v>42710</c:v>
                </c:pt>
                <c:pt idx="1750">
                  <c:v>42711</c:v>
                </c:pt>
                <c:pt idx="1751">
                  <c:v>42712</c:v>
                </c:pt>
                <c:pt idx="1752">
                  <c:v>42713</c:v>
                </c:pt>
                <c:pt idx="1753">
                  <c:v>42716</c:v>
                </c:pt>
                <c:pt idx="1754">
                  <c:v>42717</c:v>
                </c:pt>
                <c:pt idx="1755">
                  <c:v>42718</c:v>
                </c:pt>
                <c:pt idx="1756">
                  <c:v>42719</c:v>
                </c:pt>
                <c:pt idx="1757">
                  <c:v>42720</c:v>
                </c:pt>
                <c:pt idx="1758">
                  <c:v>42723</c:v>
                </c:pt>
                <c:pt idx="1759">
                  <c:v>42724</c:v>
                </c:pt>
                <c:pt idx="1760">
                  <c:v>42725</c:v>
                </c:pt>
                <c:pt idx="1761">
                  <c:v>42726</c:v>
                </c:pt>
                <c:pt idx="1762">
                  <c:v>42727</c:v>
                </c:pt>
                <c:pt idx="1763">
                  <c:v>42732</c:v>
                </c:pt>
                <c:pt idx="1764">
                  <c:v>42733</c:v>
                </c:pt>
                <c:pt idx="1765">
                  <c:v>42734</c:v>
                </c:pt>
                <c:pt idx="1766">
                  <c:v>42738</c:v>
                </c:pt>
                <c:pt idx="1767">
                  <c:v>42739</c:v>
                </c:pt>
                <c:pt idx="1768">
                  <c:v>42740</c:v>
                </c:pt>
                <c:pt idx="1769">
                  <c:v>42741</c:v>
                </c:pt>
                <c:pt idx="1770">
                  <c:v>42744</c:v>
                </c:pt>
                <c:pt idx="1771">
                  <c:v>42745</c:v>
                </c:pt>
                <c:pt idx="1772">
                  <c:v>42746</c:v>
                </c:pt>
                <c:pt idx="1773">
                  <c:v>42747</c:v>
                </c:pt>
                <c:pt idx="1774">
                  <c:v>42748</c:v>
                </c:pt>
                <c:pt idx="1775">
                  <c:v>42751</c:v>
                </c:pt>
                <c:pt idx="1776">
                  <c:v>42752</c:v>
                </c:pt>
                <c:pt idx="1777">
                  <c:v>42753</c:v>
                </c:pt>
                <c:pt idx="1778">
                  <c:v>42754</c:v>
                </c:pt>
                <c:pt idx="1779">
                  <c:v>42755</c:v>
                </c:pt>
                <c:pt idx="1780">
                  <c:v>42758</c:v>
                </c:pt>
                <c:pt idx="1781">
                  <c:v>42759</c:v>
                </c:pt>
                <c:pt idx="1782">
                  <c:v>42760</c:v>
                </c:pt>
                <c:pt idx="1783">
                  <c:v>42761</c:v>
                </c:pt>
                <c:pt idx="1784">
                  <c:v>42762</c:v>
                </c:pt>
                <c:pt idx="1785">
                  <c:v>42765</c:v>
                </c:pt>
                <c:pt idx="1786">
                  <c:v>42766</c:v>
                </c:pt>
                <c:pt idx="1787">
                  <c:v>42767</c:v>
                </c:pt>
                <c:pt idx="1788">
                  <c:v>42768</c:v>
                </c:pt>
                <c:pt idx="1789">
                  <c:v>42769</c:v>
                </c:pt>
                <c:pt idx="1790">
                  <c:v>42772</c:v>
                </c:pt>
                <c:pt idx="1791">
                  <c:v>42773</c:v>
                </c:pt>
                <c:pt idx="1792">
                  <c:v>42774</c:v>
                </c:pt>
                <c:pt idx="1793">
                  <c:v>42775</c:v>
                </c:pt>
                <c:pt idx="1794">
                  <c:v>42776</c:v>
                </c:pt>
                <c:pt idx="1795">
                  <c:v>42779</c:v>
                </c:pt>
                <c:pt idx="1796">
                  <c:v>42780</c:v>
                </c:pt>
                <c:pt idx="1797">
                  <c:v>42781</c:v>
                </c:pt>
                <c:pt idx="1798">
                  <c:v>42782</c:v>
                </c:pt>
                <c:pt idx="1799">
                  <c:v>42783</c:v>
                </c:pt>
                <c:pt idx="1800">
                  <c:v>42786</c:v>
                </c:pt>
                <c:pt idx="1801">
                  <c:v>42787</c:v>
                </c:pt>
                <c:pt idx="1802">
                  <c:v>42788</c:v>
                </c:pt>
                <c:pt idx="1803">
                  <c:v>42789</c:v>
                </c:pt>
                <c:pt idx="1804">
                  <c:v>42790</c:v>
                </c:pt>
                <c:pt idx="1805">
                  <c:v>42793</c:v>
                </c:pt>
                <c:pt idx="1806">
                  <c:v>42794</c:v>
                </c:pt>
                <c:pt idx="1807">
                  <c:v>42795</c:v>
                </c:pt>
                <c:pt idx="1808">
                  <c:v>42796</c:v>
                </c:pt>
                <c:pt idx="1809">
                  <c:v>42797</c:v>
                </c:pt>
                <c:pt idx="1810">
                  <c:v>42800</c:v>
                </c:pt>
                <c:pt idx="1811">
                  <c:v>42801</c:v>
                </c:pt>
                <c:pt idx="1812">
                  <c:v>42802</c:v>
                </c:pt>
                <c:pt idx="1813">
                  <c:v>42803</c:v>
                </c:pt>
                <c:pt idx="1814">
                  <c:v>42804</c:v>
                </c:pt>
                <c:pt idx="1815">
                  <c:v>42807</c:v>
                </c:pt>
                <c:pt idx="1816">
                  <c:v>42808</c:v>
                </c:pt>
                <c:pt idx="1817">
                  <c:v>42809</c:v>
                </c:pt>
                <c:pt idx="1818">
                  <c:v>42810</c:v>
                </c:pt>
                <c:pt idx="1819">
                  <c:v>42811</c:v>
                </c:pt>
                <c:pt idx="1820">
                  <c:v>42814</c:v>
                </c:pt>
                <c:pt idx="1821">
                  <c:v>42815</c:v>
                </c:pt>
                <c:pt idx="1822">
                  <c:v>42816</c:v>
                </c:pt>
                <c:pt idx="1823">
                  <c:v>42817</c:v>
                </c:pt>
                <c:pt idx="1824">
                  <c:v>42818</c:v>
                </c:pt>
                <c:pt idx="1825">
                  <c:v>42821</c:v>
                </c:pt>
                <c:pt idx="1826">
                  <c:v>42822</c:v>
                </c:pt>
                <c:pt idx="1827">
                  <c:v>42823</c:v>
                </c:pt>
                <c:pt idx="1828">
                  <c:v>42824</c:v>
                </c:pt>
                <c:pt idx="1829">
                  <c:v>42825</c:v>
                </c:pt>
                <c:pt idx="1830">
                  <c:v>42828</c:v>
                </c:pt>
                <c:pt idx="1831">
                  <c:v>42829</c:v>
                </c:pt>
                <c:pt idx="1832">
                  <c:v>42830</c:v>
                </c:pt>
                <c:pt idx="1833">
                  <c:v>42831</c:v>
                </c:pt>
                <c:pt idx="1834">
                  <c:v>42832</c:v>
                </c:pt>
                <c:pt idx="1835">
                  <c:v>42835</c:v>
                </c:pt>
                <c:pt idx="1836">
                  <c:v>42836</c:v>
                </c:pt>
                <c:pt idx="1837">
                  <c:v>42837</c:v>
                </c:pt>
                <c:pt idx="1838">
                  <c:v>42838</c:v>
                </c:pt>
                <c:pt idx="1839">
                  <c:v>42843</c:v>
                </c:pt>
                <c:pt idx="1840">
                  <c:v>42844</c:v>
                </c:pt>
                <c:pt idx="1841">
                  <c:v>42845</c:v>
                </c:pt>
                <c:pt idx="1842">
                  <c:v>42846</c:v>
                </c:pt>
                <c:pt idx="1843">
                  <c:v>42849</c:v>
                </c:pt>
                <c:pt idx="1844">
                  <c:v>42850</c:v>
                </c:pt>
                <c:pt idx="1845">
                  <c:v>42851</c:v>
                </c:pt>
                <c:pt idx="1846">
                  <c:v>42852</c:v>
                </c:pt>
                <c:pt idx="1847">
                  <c:v>42853</c:v>
                </c:pt>
                <c:pt idx="1848">
                  <c:v>42857</c:v>
                </c:pt>
                <c:pt idx="1849">
                  <c:v>42858</c:v>
                </c:pt>
                <c:pt idx="1850">
                  <c:v>42859</c:v>
                </c:pt>
                <c:pt idx="1851">
                  <c:v>42860</c:v>
                </c:pt>
                <c:pt idx="1852">
                  <c:v>42863</c:v>
                </c:pt>
                <c:pt idx="1853">
                  <c:v>42864</c:v>
                </c:pt>
                <c:pt idx="1854">
                  <c:v>42865</c:v>
                </c:pt>
                <c:pt idx="1855">
                  <c:v>42866</c:v>
                </c:pt>
                <c:pt idx="1856">
                  <c:v>42867</c:v>
                </c:pt>
                <c:pt idx="1857">
                  <c:v>42870</c:v>
                </c:pt>
                <c:pt idx="1858">
                  <c:v>42871</c:v>
                </c:pt>
                <c:pt idx="1859">
                  <c:v>42872</c:v>
                </c:pt>
                <c:pt idx="1860">
                  <c:v>42873</c:v>
                </c:pt>
                <c:pt idx="1861">
                  <c:v>42874</c:v>
                </c:pt>
                <c:pt idx="1862">
                  <c:v>42877</c:v>
                </c:pt>
                <c:pt idx="1863">
                  <c:v>42878</c:v>
                </c:pt>
                <c:pt idx="1864">
                  <c:v>42879</c:v>
                </c:pt>
                <c:pt idx="1865">
                  <c:v>42880</c:v>
                </c:pt>
                <c:pt idx="1866">
                  <c:v>42881</c:v>
                </c:pt>
                <c:pt idx="1867">
                  <c:v>42885</c:v>
                </c:pt>
                <c:pt idx="1868">
                  <c:v>42886</c:v>
                </c:pt>
                <c:pt idx="1869">
                  <c:v>42887</c:v>
                </c:pt>
                <c:pt idx="1870">
                  <c:v>42888</c:v>
                </c:pt>
                <c:pt idx="1871">
                  <c:v>42891</c:v>
                </c:pt>
                <c:pt idx="1872">
                  <c:v>42892</c:v>
                </c:pt>
                <c:pt idx="1873">
                  <c:v>42893</c:v>
                </c:pt>
                <c:pt idx="1874">
                  <c:v>42894</c:v>
                </c:pt>
                <c:pt idx="1875">
                  <c:v>42895</c:v>
                </c:pt>
                <c:pt idx="1876">
                  <c:v>42898</c:v>
                </c:pt>
                <c:pt idx="1877">
                  <c:v>42899</c:v>
                </c:pt>
                <c:pt idx="1878">
                  <c:v>42900</c:v>
                </c:pt>
                <c:pt idx="1879">
                  <c:v>42901</c:v>
                </c:pt>
                <c:pt idx="1880">
                  <c:v>42902</c:v>
                </c:pt>
                <c:pt idx="1881">
                  <c:v>42905</c:v>
                </c:pt>
                <c:pt idx="1882">
                  <c:v>42906</c:v>
                </c:pt>
                <c:pt idx="1883">
                  <c:v>42907</c:v>
                </c:pt>
                <c:pt idx="1884">
                  <c:v>42908</c:v>
                </c:pt>
                <c:pt idx="1885">
                  <c:v>42909</c:v>
                </c:pt>
                <c:pt idx="1886">
                  <c:v>42912</c:v>
                </c:pt>
                <c:pt idx="1887">
                  <c:v>42913</c:v>
                </c:pt>
                <c:pt idx="1888">
                  <c:v>42914</c:v>
                </c:pt>
                <c:pt idx="1889">
                  <c:v>42915</c:v>
                </c:pt>
                <c:pt idx="1890">
                  <c:v>42916</c:v>
                </c:pt>
                <c:pt idx="1891">
                  <c:v>42919</c:v>
                </c:pt>
                <c:pt idx="1892">
                  <c:v>42920</c:v>
                </c:pt>
                <c:pt idx="1893">
                  <c:v>42921</c:v>
                </c:pt>
                <c:pt idx="1894">
                  <c:v>42922</c:v>
                </c:pt>
                <c:pt idx="1895">
                  <c:v>42923</c:v>
                </c:pt>
                <c:pt idx="1896">
                  <c:v>42926</c:v>
                </c:pt>
                <c:pt idx="1897">
                  <c:v>42927</c:v>
                </c:pt>
                <c:pt idx="1898">
                  <c:v>42928</c:v>
                </c:pt>
                <c:pt idx="1899">
                  <c:v>42929</c:v>
                </c:pt>
                <c:pt idx="1900">
                  <c:v>42930</c:v>
                </c:pt>
                <c:pt idx="1901">
                  <c:v>42933</c:v>
                </c:pt>
                <c:pt idx="1902">
                  <c:v>42934</c:v>
                </c:pt>
                <c:pt idx="1903">
                  <c:v>42935</c:v>
                </c:pt>
                <c:pt idx="1904">
                  <c:v>42936</c:v>
                </c:pt>
                <c:pt idx="1905">
                  <c:v>42937</c:v>
                </c:pt>
                <c:pt idx="1906">
                  <c:v>42940</c:v>
                </c:pt>
                <c:pt idx="1907">
                  <c:v>42941</c:v>
                </c:pt>
                <c:pt idx="1908">
                  <c:v>42942</c:v>
                </c:pt>
                <c:pt idx="1909">
                  <c:v>42943</c:v>
                </c:pt>
                <c:pt idx="1910">
                  <c:v>42944</c:v>
                </c:pt>
                <c:pt idx="1911">
                  <c:v>42947</c:v>
                </c:pt>
                <c:pt idx="1912">
                  <c:v>42948</c:v>
                </c:pt>
                <c:pt idx="1913">
                  <c:v>42949</c:v>
                </c:pt>
                <c:pt idx="1914">
                  <c:v>42950</c:v>
                </c:pt>
                <c:pt idx="1915">
                  <c:v>42951</c:v>
                </c:pt>
                <c:pt idx="1916">
                  <c:v>42954</c:v>
                </c:pt>
                <c:pt idx="1917">
                  <c:v>42955</c:v>
                </c:pt>
                <c:pt idx="1918">
                  <c:v>42956</c:v>
                </c:pt>
                <c:pt idx="1919">
                  <c:v>42957</c:v>
                </c:pt>
                <c:pt idx="1920">
                  <c:v>42958</c:v>
                </c:pt>
                <c:pt idx="1921">
                  <c:v>42961</c:v>
                </c:pt>
                <c:pt idx="1922">
                  <c:v>42962</c:v>
                </c:pt>
                <c:pt idx="1923">
                  <c:v>42963</c:v>
                </c:pt>
                <c:pt idx="1924">
                  <c:v>42964</c:v>
                </c:pt>
                <c:pt idx="1925">
                  <c:v>42965</c:v>
                </c:pt>
                <c:pt idx="1926">
                  <c:v>42968</c:v>
                </c:pt>
                <c:pt idx="1927">
                  <c:v>42969</c:v>
                </c:pt>
                <c:pt idx="1928">
                  <c:v>42970</c:v>
                </c:pt>
                <c:pt idx="1929">
                  <c:v>42971</c:v>
                </c:pt>
                <c:pt idx="1930">
                  <c:v>42972</c:v>
                </c:pt>
                <c:pt idx="1931">
                  <c:v>42976</c:v>
                </c:pt>
                <c:pt idx="1932">
                  <c:v>42977</c:v>
                </c:pt>
                <c:pt idx="1933">
                  <c:v>42978</c:v>
                </c:pt>
                <c:pt idx="1934">
                  <c:v>42979</c:v>
                </c:pt>
                <c:pt idx="1935">
                  <c:v>42982</c:v>
                </c:pt>
                <c:pt idx="1936">
                  <c:v>42983</c:v>
                </c:pt>
                <c:pt idx="1937">
                  <c:v>42984</c:v>
                </c:pt>
                <c:pt idx="1938">
                  <c:v>42985</c:v>
                </c:pt>
                <c:pt idx="1939">
                  <c:v>42986</c:v>
                </c:pt>
                <c:pt idx="1940">
                  <c:v>42989</c:v>
                </c:pt>
                <c:pt idx="1941">
                  <c:v>42990</c:v>
                </c:pt>
                <c:pt idx="1942">
                  <c:v>42991</c:v>
                </c:pt>
                <c:pt idx="1943">
                  <c:v>42992</c:v>
                </c:pt>
                <c:pt idx="1944">
                  <c:v>42993</c:v>
                </c:pt>
                <c:pt idx="1945">
                  <c:v>42996</c:v>
                </c:pt>
                <c:pt idx="1946">
                  <c:v>42997</c:v>
                </c:pt>
                <c:pt idx="1947">
                  <c:v>42998</c:v>
                </c:pt>
                <c:pt idx="1948">
                  <c:v>42999</c:v>
                </c:pt>
                <c:pt idx="1949">
                  <c:v>43000</c:v>
                </c:pt>
                <c:pt idx="1950">
                  <c:v>43003</c:v>
                </c:pt>
                <c:pt idx="1951">
                  <c:v>43004</c:v>
                </c:pt>
                <c:pt idx="1952">
                  <c:v>43005</c:v>
                </c:pt>
                <c:pt idx="1953">
                  <c:v>43006</c:v>
                </c:pt>
                <c:pt idx="1954">
                  <c:v>43007</c:v>
                </c:pt>
                <c:pt idx="1955">
                  <c:v>43010</c:v>
                </c:pt>
                <c:pt idx="1956">
                  <c:v>43011</c:v>
                </c:pt>
                <c:pt idx="1957">
                  <c:v>43012</c:v>
                </c:pt>
                <c:pt idx="1958">
                  <c:v>43013</c:v>
                </c:pt>
                <c:pt idx="1959">
                  <c:v>43014</c:v>
                </c:pt>
                <c:pt idx="1960">
                  <c:v>43017</c:v>
                </c:pt>
                <c:pt idx="1961">
                  <c:v>43018</c:v>
                </c:pt>
                <c:pt idx="1962">
                  <c:v>43019</c:v>
                </c:pt>
                <c:pt idx="1963">
                  <c:v>43020</c:v>
                </c:pt>
                <c:pt idx="1964">
                  <c:v>43021</c:v>
                </c:pt>
                <c:pt idx="1965">
                  <c:v>43024</c:v>
                </c:pt>
                <c:pt idx="1966">
                  <c:v>43025</c:v>
                </c:pt>
                <c:pt idx="1967">
                  <c:v>43026</c:v>
                </c:pt>
                <c:pt idx="1968">
                  <c:v>43027</c:v>
                </c:pt>
                <c:pt idx="1969">
                  <c:v>43028</c:v>
                </c:pt>
                <c:pt idx="1970">
                  <c:v>43031</c:v>
                </c:pt>
                <c:pt idx="1971">
                  <c:v>43032</c:v>
                </c:pt>
                <c:pt idx="1972">
                  <c:v>43033</c:v>
                </c:pt>
                <c:pt idx="1973">
                  <c:v>43034</c:v>
                </c:pt>
                <c:pt idx="1974">
                  <c:v>43035</c:v>
                </c:pt>
                <c:pt idx="1975">
                  <c:v>43038</c:v>
                </c:pt>
                <c:pt idx="1976">
                  <c:v>43039</c:v>
                </c:pt>
                <c:pt idx="1977">
                  <c:v>43040</c:v>
                </c:pt>
                <c:pt idx="1978">
                  <c:v>43041</c:v>
                </c:pt>
                <c:pt idx="1979">
                  <c:v>43042</c:v>
                </c:pt>
                <c:pt idx="1980">
                  <c:v>43045</c:v>
                </c:pt>
                <c:pt idx="1981">
                  <c:v>43046</c:v>
                </c:pt>
                <c:pt idx="1982">
                  <c:v>43047</c:v>
                </c:pt>
                <c:pt idx="1983">
                  <c:v>43048</c:v>
                </c:pt>
                <c:pt idx="1984">
                  <c:v>43049</c:v>
                </c:pt>
                <c:pt idx="1985">
                  <c:v>43052</c:v>
                </c:pt>
                <c:pt idx="1986">
                  <c:v>43053</c:v>
                </c:pt>
                <c:pt idx="1987">
                  <c:v>43054</c:v>
                </c:pt>
                <c:pt idx="1988">
                  <c:v>43055</c:v>
                </c:pt>
                <c:pt idx="1989">
                  <c:v>43056</c:v>
                </c:pt>
                <c:pt idx="1990">
                  <c:v>43059</c:v>
                </c:pt>
                <c:pt idx="1991">
                  <c:v>43060</c:v>
                </c:pt>
                <c:pt idx="1992">
                  <c:v>43061</c:v>
                </c:pt>
                <c:pt idx="1993">
                  <c:v>43062</c:v>
                </c:pt>
                <c:pt idx="1994">
                  <c:v>43063</c:v>
                </c:pt>
                <c:pt idx="1995">
                  <c:v>43066</c:v>
                </c:pt>
                <c:pt idx="1996">
                  <c:v>43067</c:v>
                </c:pt>
                <c:pt idx="1997">
                  <c:v>43068</c:v>
                </c:pt>
                <c:pt idx="1998">
                  <c:v>43069</c:v>
                </c:pt>
                <c:pt idx="1999">
                  <c:v>43070</c:v>
                </c:pt>
                <c:pt idx="2000">
                  <c:v>43073</c:v>
                </c:pt>
                <c:pt idx="2001">
                  <c:v>43074</c:v>
                </c:pt>
                <c:pt idx="2002">
                  <c:v>43075</c:v>
                </c:pt>
                <c:pt idx="2003">
                  <c:v>43076</c:v>
                </c:pt>
                <c:pt idx="2004">
                  <c:v>43077</c:v>
                </c:pt>
                <c:pt idx="2005">
                  <c:v>43080</c:v>
                </c:pt>
                <c:pt idx="2006">
                  <c:v>43081</c:v>
                </c:pt>
                <c:pt idx="2007">
                  <c:v>43082</c:v>
                </c:pt>
                <c:pt idx="2008">
                  <c:v>43083</c:v>
                </c:pt>
                <c:pt idx="2009">
                  <c:v>43084</c:v>
                </c:pt>
                <c:pt idx="2010">
                  <c:v>43087</c:v>
                </c:pt>
                <c:pt idx="2011">
                  <c:v>43088</c:v>
                </c:pt>
                <c:pt idx="2012">
                  <c:v>43089</c:v>
                </c:pt>
                <c:pt idx="2013">
                  <c:v>43090</c:v>
                </c:pt>
                <c:pt idx="2014">
                  <c:v>43091</c:v>
                </c:pt>
                <c:pt idx="2015">
                  <c:v>43096</c:v>
                </c:pt>
                <c:pt idx="2016">
                  <c:v>43097</c:v>
                </c:pt>
                <c:pt idx="2017">
                  <c:v>43098</c:v>
                </c:pt>
                <c:pt idx="2018">
                  <c:v>43102</c:v>
                </c:pt>
                <c:pt idx="2019">
                  <c:v>43103</c:v>
                </c:pt>
                <c:pt idx="2020">
                  <c:v>43104</c:v>
                </c:pt>
                <c:pt idx="2021">
                  <c:v>43105</c:v>
                </c:pt>
                <c:pt idx="2022">
                  <c:v>43108</c:v>
                </c:pt>
                <c:pt idx="2023">
                  <c:v>43109</c:v>
                </c:pt>
                <c:pt idx="2024">
                  <c:v>43110</c:v>
                </c:pt>
                <c:pt idx="2025">
                  <c:v>43111</c:v>
                </c:pt>
                <c:pt idx="2026">
                  <c:v>43112</c:v>
                </c:pt>
                <c:pt idx="2027">
                  <c:v>43115</c:v>
                </c:pt>
                <c:pt idx="2028">
                  <c:v>43116</c:v>
                </c:pt>
                <c:pt idx="2029">
                  <c:v>43117</c:v>
                </c:pt>
                <c:pt idx="2030">
                  <c:v>43118</c:v>
                </c:pt>
                <c:pt idx="2031">
                  <c:v>43119</c:v>
                </c:pt>
                <c:pt idx="2032">
                  <c:v>43122</c:v>
                </c:pt>
                <c:pt idx="2033">
                  <c:v>43123</c:v>
                </c:pt>
                <c:pt idx="2034">
                  <c:v>43124</c:v>
                </c:pt>
                <c:pt idx="2035">
                  <c:v>43125</c:v>
                </c:pt>
                <c:pt idx="2036">
                  <c:v>43126</c:v>
                </c:pt>
                <c:pt idx="2037">
                  <c:v>43129</c:v>
                </c:pt>
                <c:pt idx="2038">
                  <c:v>43130</c:v>
                </c:pt>
                <c:pt idx="2039">
                  <c:v>43131</c:v>
                </c:pt>
                <c:pt idx="2040">
                  <c:v>43132</c:v>
                </c:pt>
                <c:pt idx="2041">
                  <c:v>43133</c:v>
                </c:pt>
                <c:pt idx="2042">
                  <c:v>43136</c:v>
                </c:pt>
                <c:pt idx="2043">
                  <c:v>43137</c:v>
                </c:pt>
                <c:pt idx="2044">
                  <c:v>43138</c:v>
                </c:pt>
                <c:pt idx="2045">
                  <c:v>43139</c:v>
                </c:pt>
                <c:pt idx="2046">
                  <c:v>43140</c:v>
                </c:pt>
                <c:pt idx="2047">
                  <c:v>43143</c:v>
                </c:pt>
                <c:pt idx="2048">
                  <c:v>43144</c:v>
                </c:pt>
                <c:pt idx="2049">
                  <c:v>43145</c:v>
                </c:pt>
                <c:pt idx="2050">
                  <c:v>43146</c:v>
                </c:pt>
                <c:pt idx="2051">
                  <c:v>43147</c:v>
                </c:pt>
                <c:pt idx="2052">
                  <c:v>43150</c:v>
                </c:pt>
                <c:pt idx="2053">
                  <c:v>43151</c:v>
                </c:pt>
                <c:pt idx="2054">
                  <c:v>43152</c:v>
                </c:pt>
                <c:pt idx="2055">
                  <c:v>43153</c:v>
                </c:pt>
                <c:pt idx="2056">
                  <c:v>43154</c:v>
                </c:pt>
                <c:pt idx="2057">
                  <c:v>43157</c:v>
                </c:pt>
                <c:pt idx="2058">
                  <c:v>43158</c:v>
                </c:pt>
                <c:pt idx="2059">
                  <c:v>43159</c:v>
                </c:pt>
                <c:pt idx="2060">
                  <c:v>43160</c:v>
                </c:pt>
                <c:pt idx="2061">
                  <c:v>43161</c:v>
                </c:pt>
                <c:pt idx="2062">
                  <c:v>43164</c:v>
                </c:pt>
                <c:pt idx="2063">
                  <c:v>43165</c:v>
                </c:pt>
                <c:pt idx="2064">
                  <c:v>43166</c:v>
                </c:pt>
                <c:pt idx="2065">
                  <c:v>43167</c:v>
                </c:pt>
                <c:pt idx="2066">
                  <c:v>43168</c:v>
                </c:pt>
                <c:pt idx="2067">
                  <c:v>43171</c:v>
                </c:pt>
                <c:pt idx="2068">
                  <c:v>43172</c:v>
                </c:pt>
                <c:pt idx="2069">
                  <c:v>43173</c:v>
                </c:pt>
                <c:pt idx="2070">
                  <c:v>43174</c:v>
                </c:pt>
                <c:pt idx="2071">
                  <c:v>43175</c:v>
                </c:pt>
                <c:pt idx="2072">
                  <c:v>43178</c:v>
                </c:pt>
                <c:pt idx="2073">
                  <c:v>43179</c:v>
                </c:pt>
                <c:pt idx="2074">
                  <c:v>43180</c:v>
                </c:pt>
                <c:pt idx="2075">
                  <c:v>43181</c:v>
                </c:pt>
                <c:pt idx="2076">
                  <c:v>43182</c:v>
                </c:pt>
                <c:pt idx="2077">
                  <c:v>43185</c:v>
                </c:pt>
                <c:pt idx="2078">
                  <c:v>43186</c:v>
                </c:pt>
                <c:pt idx="2079">
                  <c:v>43187</c:v>
                </c:pt>
                <c:pt idx="2080">
                  <c:v>43188</c:v>
                </c:pt>
                <c:pt idx="2081">
                  <c:v>43193</c:v>
                </c:pt>
                <c:pt idx="2082">
                  <c:v>43194</c:v>
                </c:pt>
                <c:pt idx="2083">
                  <c:v>43195</c:v>
                </c:pt>
                <c:pt idx="2084">
                  <c:v>43196</c:v>
                </c:pt>
                <c:pt idx="2085">
                  <c:v>43199</c:v>
                </c:pt>
                <c:pt idx="2086">
                  <c:v>43200</c:v>
                </c:pt>
                <c:pt idx="2087">
                  <c:v>43201</c:v>
                </c:pt>
                <c:pt idx="2088">
                  <c:v>43202</c:v>
                </c:pt>
                <c:pt idx="2089">
                  <c:v>43203</c:v>
                </c:pt>
                <c:pt idx="2090">
                  <c:v>43206</c:v>
                </c:pt>
                <c:pt idx="2091">
                  <c:v>43207</c:v>
                </c:pt>
                <c:pt idx="2092">
                  <c:v>43208</c:v>
                </c:pt>
                <c:pt idx="2093">
                  <c:v>43209</c:v>
                </c:pt>
                <c:pt idx="2094">
                  <c:v>43210</c:v>
                </c:pt>
                <c:pt idx="2095">
                  <c:v>43213</c:v>
                </c:pt>
                <c:pt idx="2096">
                  <c:v>43214</c:v>
                </c:pt>
                <c:pt idx="2097">
                  <c:v>43215</c:v>
                </c:pt>
                <c:pt idx="2098">
                  <c:v>43216</c:v>
                </c:pt>
                <c:pt idx="2099">
                  <c:v>43217</c:v>
                </c:pt>
                <c:pt idx="2100">
                  <c:v>43220</c:v>
                </c:pt>
                <c:pt idx="2101">
                  <c:v>43221</c:v>
                </c:pt>
                <c:pt idx="2102">
                  <c:v>43222</c:v>
                </c:pt>
                <c:pt idx="2103">
                  <c:v>43223</c:v>
                </c:pt>
                <c:pt idx="2104">
                  <c:v>43224</c:v>
                </c:pt>
                <c:pt idx="2105">
                  <c:v>43228</c:v>
                </c:pt>
                <c:pt idx="2106">
                  <c:v>43229</c:v>
                </c:pt>
                <c:pt idx="2107">
                  <c:v>43230</c:v>
                </c:pt>
                <c:pt idx="2108">
                  <c:v>43231</c:v>
                </c:pt>
                <c:pt idx="2109">
                  <c:v>43234</c:v>
                </c:pt>
                <c:pt idx="2110">
                  <c:v>43235</c:v>
                </c:pt>
                <c:pt idx="2111">
                  <c:v>43236</c:v>
                </c:pt>
                <c:pt idx="2112">
                  <c:v>43237</c:v>
                </c:pt>
                <c:pt idx="2113">
                  <c:v>43238</c:v>
                </c:pt>
                <c:pt idx="2114">
                  <c:v>43241</c:v>
                </c:pt>
                <c:pt idx="2115">
                  <c:v>43242</c:v>
                </c:pt>
                <c:pt idx="2116">
                  <c:v>43243</c:v>
                </c:pt>
                <c:pt idx="2117">
                  <c:v>43244</c:v>
                </c:pt>
                <c:pt idx="2118">
                  <c:v>43245</c:v>
                </c:pt>
                <c:pt idx="2119">
                  <c:v>43249</c:v>
                </c:pt>
                <c:pt idx="2120">
                  <c:v>43250</c:v>
                </c:pt>
                <c:pt idx="2121">
                  <c:v>43251</c:v>
                </c:pt>
                <c:pt idx="2122">
                  <c:v>43252</c:v>
                </c:pt>
                <c:pt idx="2123">
                  <c:v>43255</c:v>
                </c:pt>
                <c:pt idx="2124">
                  <c:v>43256</c:v>
                </c:pt>
                <c:pt idx="2125">
                  <c:v>43257</c:v>
                </c:pt>
                <c:pt idx="2126">
                  <c:v>43258</c:v>
                </c:pt>
                <c:pt idx="2127">
                  <c:v>43259</c:v>
                </c:pt>
                <c:pt idx="2128">
                  <c:v>43262</c:v>
                </c:pt>
                <c:pt idx="2129">
                  <c:v>43263</c:v>
                </c:pt>
                <c:pt idx="2130">
                  <c:v>43264</c:v>
                </c:pt>
                <c:pt idx="2131">
                  <c:v>43265</c:v>
                </c:pt>
                <c:pt idx="2132">
                  <c:v>43266</c:v>
                </c:pt>
                <c:pt idx="2133">
                  <c:v>43269</c:v>
                </c:pt>
                <c:pt idx="2134">
                  <c:v>43270</c:v>
                </c:pt>
                <c:pt idx="2135">
                  <c:v>43271</c:v>
                </c:pt>
                <c:pt idx="2136">
                  <c:v>43272</c:v>
                </c:pt>
                <c:pt idx="2137">
                  <c:v>43273</c:v>
                </c:pt>
                <c:pt idx="2138">
                  <c:v>43276</c:v>
                </c:pt>
                <c:pt idx="2139">
                  <c:v>43277</c:v>
                </c:pt>
                <c:pt idx="2140">
                  <c:v>43278</c:v>
                </c:pt>
                <c:pt idx="2141">
                  <c:v>43279</c:v>
                </c:pt>
                <c:pt idx="2142">
                  <c:v>43280</c:v>
                </c:pt>
                <c:pt idx="2143">
                  <c:v>43283</c:v>
                </c:pt>
                <c:pt idx="2144">
                  <c:v>43284</c:v>
                </c:pt>
                <c:pt idx="2145">
                  <c:v>43285</c:v>
                </c:pt>
                <c:pt idx="2146">
                  <c:v>43286</c:v>
                </c:pt>
                <c:pt idx="2147">
                  <c:v>43287</c:v>
                </c:pt>
                <c:pt idx="2148">
                  <c:v>43290</c:v>
                </c:pt>
                <c:pt idx="2149">
                  <c:v>43291</c:v>
                </c:pt>
                <c:pt idx="2150">
                  <c:v>43292</c:v>
                </c:pt>
                <c:pt idx="2151">
                  <c:v>43293</c:v>
                </c:pt>
                <c:pt idx="2152">
                  <c:v>43294</c:v>
                </c:pt>
                <c:pt idx="2153">
                  <c:v>43297</c:v>
                </c:pt>
                <c:pt idx="2154">
                  <c:v>43298</c:v>
                </c:pt>
                <c:pt idx="2155">
                  <c:v>43299</c:v>
                </c:pt>
                <c:pt idx="2156">
                  <c:v>43300</c:v>
                </c:pt>
                <c:pt idx="2157">
                  <c:v>43301</c:v>
                </c:pt>
                <c:pt idx="2158">
                  <c:v>43304</c:v>
                </c:pt>
                <c:pt idx="2159">
                  <c:v>43305</c:v>
                </c:pt>
                <c:pt idx="2160">
                  <c:v>43306</c:v>
                </c:pt>
                <c:pt idx="2161">
                  <c:v>43307</c:v>
                </c:pt>
                <c:pt idx="2162">
                  <c:v>43308</c:v>
                </c:pt>
                <c:pt idx="2163">
                  <c:v>43311</c:v>
                </c:pt>
                <c:pt idx="2164">
                  <c:v>43312</c:v>
                </c:pt>
                <c:pt idx="2165">
                  <c:v>43313</c:v>
                </c:pt>
                <c:pt idx="2166">
                  <c:v>43314</c:v>
                </c:pt>
                <c:pt idx="2167">
                  <c:v>43315</c:v>
                </c:pt>
                <c:pt idx="2168">
                  <c:v>43318</c:v>
                </c:pt>
                <c:pt idx="2169">
                  <c:v>43319</c:v>
                </c:pt>
                <c:pt idx="2170">
                  <c:v>43320</c:v>
                </c:pt>
                <c:pt idx="2171">
                  <c:v>43321</c:v>
                </c:pt>
                <c:pt idx="2172">
                  <c:v>43322</c:v>
                </c:pt>
                <c:pt idx="2173">
                  <c:v>43325</c:v>
                </c:pt>
                <c:pt idx="2174">
                  <c:v>43326</c:v>
                </c:pt>
                <c:pt idx="2175">
                  <c:v>43327</c:v>
                </c:pt>
                <c:pt idx="2176">
                  <c:v>43328</c:v>
                </c:pt>
                <c:pt idx="2177">
                  <c:v>43329</c:v>
                </c:pt>
                <c:pt idx="2178">
                  <c:v>43332</c:v>
                </c:pt>
                <c:pt idx="2179">
                  <c:v>43333</c:v>
                </c:pt>
                <c:pt idx="2180">
                  <c:v>43334</c:v>
                </c:pt>
                <c:pt idx="2181">
                  <c:v>43335</c:v>
                </c:pt>
                <c:pt idx="2182">
                  <c:v>43336</c:v>
                </c:pt>
                <c:pt idx="2183">
                  <c:v>43340</c:v>
                </c:pt>
                <c:pt idx="2184">
                  <c:v>43341</c:v>
                </c:pt>
                <c:pt idx="2185">
                  <c:v>43342</c:v>
                </c:pt>
                <c:pt idx="2186">
                  <c:v>43343</c:v>
                </c:pt>
                <c:pt idx="2187">
                  <c:v>43346</c:v>
                </c:pt>
                <c:pt idx="2188">
                  <c:v>43347</c:v>
                </c:pt>
                <c:pt idx="2189">
                  <c:v>43348</c:v>
                </c:pt>
                <c:pt idx="2190">
                  <c:v>43349</c:v>
                </c:pt>
                <c:pt idx="2191">
                  <c:v>43350</c:v>
                </c:pt>
                <c:pt idx="2192">
                  <c:v>43353</c:v>
                </c:pt>
                <c:pt idx="2193">
                  <c:v>43354</c:v>
                </c:pt>
                <c:pt idx="2194">
                  <c:v>43355</c:v>
                </c:pt>
                <c:pt idx="2195">
                  <c:v>43356</c:v>
                </c:pt>
                <c:pt idx="2196">
                  <c:v>43357</c:v>
                </c:pt>
                <c:pt idx="2197">
                  <c:v>43360</c:v>
                </c:pt>
                <c:pt idx="2198">
                  <c:v>43361</c:v>
                </c:pt>
                <c:pt idx="2199">
                  <c:v>43362</c:v>
                </c:pt>
                <c:pt idx="2200">
                  <c:v>43363</c:v>
                </c:pt>
                <c:pt idx="2201">
                  <c:v>43364</c:v>
                </c:pt>
                <c:pt idx="2202">
                  <c:v>43367</c:v>
                </c:pt>
                <c:pt idx="2203">
                  <c:v>43368</c:v>
                </c:pt>
                <c:pt idx="2204">
                  <c:v>43369</c:v>
                </c:pt>
                <c:pt idx="2205">
                  <c:v>43370</c:v>
                </c:pt>
                <c:pt idx="2206">
                  <c:v>43371</c:v>
                </c:pt>
                <c:pt idx="2207">
                  <c:v>43374</c:v>
                </c:pt>
                <c:pt idx="2208">
                  <c:v>43375</c:v>
                </c:pt>
                <c:pt idx="2209">
                  <c:v>43376</c:v>
                </c:pt>
                <c:pt idx="2210">
                  <c:v>43377</c:v>
                </c:pt>
                <c:pt idx="2211">
                  <c:v>43378</c:v>
                </c:pt>
                <c:pt idx="2212">
                  <c:v>43381</c:v>
                </c:pt>
                <c:pt idx="2213">
                  <c:v>43382</c:v>
                </c:pt>
                <c:pt idx="2214">
                  <c:v>43383</c:v>
                </c:pt>
                <c:pt idx="2215">
                  <c:v>43384</c:v>
                </c:pt>
                <c:pt idx="2216">
                  <c:v>43385</c:v>
                </c:pt>
                <c:pt idx="2217">
                  <c:v>43388</c:v>
                </c:pt>
                <c:pt idx="2218">
                  <c:v>43389</c:v>
                </c:pt>
                <c:pt idx="2219">
                  <c:v>43390</c:v>
                </c:pt>
                <c:pt idx="2220">
                  <c:v>43391</c:v>
                </c:pt>
                <c:pt idx="2221">
                  <c:v>43392</c:v>
                </c:pt>
                <c:pt idx="2222">
                  <c:v>43395</c:v>
                </c:pt>
                <c:pt idx="2223">
                  <c:v>43396</c:v>
                </c:pt>
                <c:pt idx="2224">
                  <c:v>43397</c:v>
                </c:pt>
                <c:pt idx="2225">
                  <c:v>43398</c:v>
                </c:pt>
                <c:pt idx="2226">
                  <c:v>43399</c:v>
                </c:pt>
                <c:pt idx="2227">
                  <c:v>43402</c:v>
                </c:pt>
                <c:pt idx="2228">
                  <c:v>43403</c:v>
                </c:pt>
                <c:pt idx="2229">
                  <c:v>43404</c:v>
                </c:pt>
                <c:pt idx="2230">
                  <c:v>43405</c:v>
                </c:pt>
                <c:pt idx="2231">
                  <c:v>43406</c:v>
                </c:pt>
                <c:pt idx="2232">
                  <c:v>43409</c:v>
                </c:pt>
                <c:pt idx="2233">
                  <c:v>43410</c:v>
                </c:pt>
                <c:pt idx="2234">
                  <c:v>43411</c:v>
                </c:pt>
                <c:pt idx="2235">
                  <c:v>43412</c:v>
                </c:pt>
                <c:pt idx="2236">
                  <c:v>43413</c:v>
                </c:pt>
                <c:pt idx="2237">
                  <c:v>43416</c:v>
                </c:pt>
                <c:pt idx="2238">
                  <c:v>43417</c:v>
                </c:pt>
                <c:pt idx="2239">
                  <c:v>43418</c:v>
                </c:pt>
                <c:pt idx="2240">
                  <c:v>43419</c:v>
                </c:pt>
                <c:pt idx="2241">
                  <c:v>43420</c:v>
                </c:pt>
                <c:pt idx="2242">
                  <c:v>43423</c:v>
                </c:pt>
                <c:pt idx="2243">
                  <c:v>43424</c:v>
                </c:pt>
                <c:pt idx="2244">
                  <c:v>43425</c:v>
                </c:pt>
                <c:pt idx="2245">
                  <c:v>43426</c:v>
                </c:pt>
                <c:pt idx="2246">
                  <c:v>43427</c:v>
                </c:pt>
                <c:pt idx="2247">
                  <c:v>43430</c:v>
                </c:pt>
                <c:pt idx="2248">
                  <c:v>43431</c:v>
                </c:pt>
                <c:pt idx="2249">
                  <c:v>43432</c:v>
                </c:pt>
                <c:pt idx="2250">
                  <c:v>43433</c:v>
                </c:pt>
                <c:pt idx="2251">
                  <c:v>43434</c:v>
                </c:pt>
                <c:pt idx="2252">
                  <c:v>43437</c:v>
                </c:pt>
                <c:pt idx="2253">
                  <c:v>43438</c:v>
                </c:pt>
                <c:pt idx="2254">
                  <c:v>43439</c:v>
                </c:pt>
                <c:pt idx="2255">
                  <c:v>43440</c:v>
                </c:pt>
                <c:pt idx="2256">
                  <c:v>43441</c:v>
                </c:pt>
                <c:pt idx="2257">
                  <c:v>43444</c:v>
                </c:pt>
                <c:pt idx="2258">
                  <c:v>43445</c:v>
                </c:pt>
                <c:pt idx="2259">
                  <c:v>43446</c:v>
                </c:pt>
                <c:pt idx="2260">
                  <c:v>43447</c:v>
                </c:pt>
                <c:pt idx="2261">
                  <c:v>43448</c:v>
                </c:pt>
                <c:pt idx="2262">
                  <c:v>43451</c:v>
                </c:pt>
                <c:pt idx="2263">
                  <c:v>43452</c:v>
                </c:pt>
                <c:pt idx="2264">
                  <c:v>43453</c:v>
                </c:pt>
                <c:pt idx="2265">
                  <c:v>43454</c:v>
                </c:pt>
                <c:pt idx="2266">
                  <c:v>43455</c:v>
                </c:pt>
                <c:pt idx="2267">
                  <c:v>43458</c:v>
                </c:pt>
                <c:pt idx="2268">
                  <c:v>43461</c:v>
                </c:pt>
                <c:pt idx="2269">
                  <c:v>43462</c:v>
                </c:pt>
                <c:pt idx="2270">
                  <c:v>43465</c:v>
                </c:pt>
                <c:pt idx="2271">
                  <c:v>43467</c:v>
                </c:pt>
                <c:pt idx="2272">
                  <c:v>43468</c:v>
                </c:pt>
                <c:pt idx="2273">
                  <c:v>43469</c:v>
                </c:pt>
                <c:pt idx="2274">
                  <c:v>43472</c:v>
                </c:pt>
                <c:pt idx="2275">
                  <c:v>43473</c:v>
                </c:pt>
                <c:pt idx="2276">
                  <c:v>43474</c:v>
                </c:pt>
                <c:pt idx="2277">
                  <c:v>43475</c:v>
                </c:pt>
                <c:pt idx="2278">
                  <c:v>43476</c:v>
                </c:pt>
                <c:pt idx="2279">
                  <c:v>43479</c:v>
                </c:pt>
                <c:pt idx="2280">
                  <c:v>43480</c:v>
                </c:pt>
                <c:pt idx="2281">
                  <c:v>43481</c:v>
                </c:pt>
                <c:pt idx="2282">
                  <c:v>43482</c:v>
                </c:pt>
                <c:pt idx="2283">
                  <c:v>43483</c:v>
                </c:pt>
                <c:pt idx="2284">
                  <c:v>43486</c:v>
                </c:pt>
                <c:pt idx="2285">
                  <c:v>43487</c:v>
                </c:pt>
                <c:pt idx="2286">
                  <c:v>43488</c:v>
                </c:pt>
                <c:pt idx="2287">
                  <c:v>43489</c:v>
                </c:pt>
                <c:pt idx="2288">
                  <c:v>43490</c:v>
                </c:pt>
                <c:pt idx="2289">
                  <c:v>43493</c:v>
                </c:pt>
                <c:pt idx="2290">
                  <c:v>43494</c:v>
                </c:pt>
                <c:pt idx="2291">
                  <c:v>43495</c:v>
                </c:pt>
                <c:pt idx="2292">
                  <c:v>43496</c:v>
                </c:pt>
                <c:pt idx="2293">
                  <c:v>43497</c:v>
                </c:pt>
                <c:pt idx="2294">
                  <c:v>43500</c:v>
                </c:pt>
                <c:pt idx="2295">
                  <c:v>43501</c:v>
                </c:pt>
                <c:pt idx="2296">
                  <c:v>43502</c:v>
                </c:pt>
                <c:pt idx="2297">
                  <c:v>43503</c:v>
                </c:pt>
                <c:pt idx="2298">
                  <c:v>43504</c:v>
                </c:pt>
                <c:pt idx="2299">
                  <c:v>43507</c:v>
                </c:pt>
                <c:pt idx="2300">
                  <c:v>43508</c:v>
                </c:pt>
                <c:pt idx="2301">
                  <c:v>43509</c:v>
                </c:pt>
                <c:pt idx="2302">
                  <c:v>43510</c:v>
                </c:pt>
                <c:pt idx="2303">
                  <c:v>43511</c:v>
                </c:pt>
                <c:pt idx="2304">
                  <c:v>43514</c:v>
                </c:pt>
                <c:pt idx="2305">
                  <c:v>43515</c:v>
                </c:pt>
                <c:pt idx="2306">
                  <c:v>43516</c:v>
                </c:pt>
                <c:pt idx="2307">
                  <c:v>43517</c:v>
                </c:pt>
                <c:pt idx="2308">
                  <c:v>43518</c:v>
                </c:pt>
                <c:pt idx="2309">
                  <c:v>43521</c:v>
                </c:pt>
                <c:pt idx="2310">
                  <c:v>43522</c:v>
                </c:pt>
                <c:pt idx="2311">
                  <c:v>43523</c:v>
                </c:pt>
                <c:pt idx="2312">
                  <c:v>43524</c:v>
                </c:pt>
                <c:pt idx="2313">
                  <c:v>43525</c:v>
                </c:pt>
                <c:pt idx="2314">
                  <c:v>43528</c:v>
                </c:pt>
                <c:pt idx="2315">
                  <c:v>43529</c:v>
                </c:pt>
                <c:pt idx="2316">
                  <c:v>43530</c:v>
                </c:pt>
                <c:pt idx="2317">
                  <c:v>43531</c:v>
                </c:pt>
                <c:pt idx="2318">
                  <c:v>43532</c:v>
                </c:pt>
                <c:pt idx="2319">
                  <c:v>43535</c:v>
                </c:pt>
                <c:pt idx="2320">
                  <c:v>43536</c:v>
                </c:pt>
                <c:pt idx="2321">
                  <c:v>43537</c:v>
                </c:pt>
                <c:pt idx="2322">
                  <c:v>43538</c:v>
                </c:pt>
                <c:pt idx="2323">
                  <c:v>43539</c:v>
                </c:pt>
                <c:pt idx="2324">
                  <c:v>43542</c:v>
                </c:pt>
                <c:pt idx="2325">
                  <c:v>43543</c:v>
                </c:pt>
                <c:pt idx="2326">
                  <c:v>43544</c:v>
                </c:pt>
                <c:pt idx="2327">
                  <c:v>43545</c:v>
                </c:pt>
                <c:pt idx="2328">
                  <c:v>43546</c:v>
                </c:pt>
                <c:pt idx="2329">
                  <c:v>43549</c:v>
                </c:pt>
                <c:pt idx="2330">
                  <c:v>43550</c:v>
                </c:pt>
                <c:pt idx="2331">
                  <c:v>43551</c:v>
                </c:pt>
                <c:pt idx="2332">
                  <c:v>43552</c:v>
                </c:pt>
                <c:pt idx="2333">
                  <c:v>43553</c:v>
                </c:pt>
                <c:pt idx="2334">
                  <c:v>43556</c:v>
                </c:pt>
                <c:pt idx="2335">
                  <c:v>43557</c:v>
                </c:pt>
                <c:pt idx="2336">
                  <c:v>43558</c:v>
                </c:pt>
                <c:pt idx="2337">
                  <c:v>43559</c:v>
                </c:pt>
                <c:pt idx="2338">
                  <c:v>43560</c:v>
                </c:pt>
                <c:pt idx="2339">
                  <c:v>43563</c:v>
                </c:pt>
                <c:pt idx="2340">
                  <c:v>43564</c:v>
                </c:pt>
                <c:pt idx="2341">
                  <c:v>43565</c:v>
                </c:pt>
                <c:pt idx="2342">
                  <c:v>43566</c:v>
                </c:pt>
                <c:pt idx="2343">
                  <c:v>43567</c:v>
                </c:pt>
                <c:pt idx="2344">
                  <c:v>43570</c:v>
                </c:pt>
                <c:pt idx="2345">
                  <c:v>43571</c:v>
                </c:pt>
                <c:pt idx="2346">
                  <c:v>43572</c:v>
                </c:pt>
                <c:pt idx="2347">
                  <c:v>43573</c:v>
                </c:pt>
                <c:pt idx="2348">
                  <c:v>43578</c:v>
                </c:pt>
                <c:pt idx="2349">
                  <c:v>43579</c:v>
                </c:pt>
                <c:pt idx="2350">
                  <c:v>43580</c:v>
                </c:pt>
                <c:pt idx="2351">
                  <c:v>43581</c:v>
                </c:pt>
                <c:pt idx="2352">
                  <c:v>43584</c:v>
                </c:pt>
                <c:pt idx="2353">
                  <c:v>43585</c:v>
                </c:pt>
                <c:pt idx="2354">
                  <c:v>43586</c:v>
                </c:pt>
                <c:pt idx="2355">
                  <c:v>43587</c:v>
                </c:pt>
                <c:pt idx="2356">
                  <c:v>43588</c:v>
                </c:pt>
                <c:pt idx="2357">
                  <c:v>43592</c:v>
                </c:pt>
                <c:pt idx="2358">
                  <c:v>43593</c:v>
                </c:pt>
                <c:pt idx="2359">
                  <c:v>43594</c:v>
                </c:pt>
                <c:pt idx="2360">
                  <c:v>43595</c:v>
                </c:pt>
                <c:pt idx="2361">
                  <c:v>43598</c:v>
                </c:pt>
                <c:pt idx="2362">
                  <c:v>43599</c:v>
                </c:pt>
                <c:pt idx="2363">
                  <c:v>43600</c:v>
                </c:pt>
                <c:pt idx="2364">
                  <c:v>43601</c:v>
                </c:pt>
                <c:pt idx="2365">
                  <c:v>43602</c:v>
                </c:pt>
                <c:pt idx="2366">
                  <c:v>43605</c:v>
                </c:pt>
                <c:pt idx="2367">
                  <c:v>43606</c:v>
                </c:pt>
                <c:pt idx="2368">
                  <c:v>43607</c:v>
                </c:pt>
                <c:pt idx="2369">
                  <c:v>43608</c:v>
                </c:pt>
                <c:pt idx="2370">
                  <c:v>43609</c:v>
                </c:pt>
                <c:pt idx="2371">
                  <c:v>43613</c:v>
                </c:pt>
                <c:pt idx="2372">
                  <c:v>43614</c:v>
                </c:pt>
                <c:pt idx="2373">
                  <c:v>43615</c:v>
                </c:pt>
                <c:pt idx="2374">
                  <c:v>43616</c:v>
                </c:pt>
                <c:pt idx="2375">
                  <c:v>43619</c:v>
                </c:pt>
                <c:pt idx="2376">
                  <c:v>43620</c:v>
                </c:pt>
                <c:pt idx="2377">
                  <c:v>43621</c:v>
                </c:pt>
                <c:pt idx="2378">
                  <c:v>43622</c:v>
                </c:pt>
                <c:pt idx="2379">
                  <c:v>43623</c:v>
                </c:pt>
                <c:pt idx="2380">
                  <c:v>43626</c:v>
                </c:pt>
                <c:pt idx="2381">
                  <c:v>43627</c:v>
                </c:pt>
                <c:pt idx="2382">
                  <c:v>43628</c:v>
                </c:pt>
                <c:pt idx="2383">
                  <c:v>43629</c:v>
                </c:pt>
                <c:pt idx="2384">
                  <c:v>43630</c:v>
                </c:pt>
                <c:pt idx="2385">
                  <c:v>43633</c:v>
                </c:pt>
                <c:pt idx="2386">
                  <c:v>43634</c:v>
                </c:pt>
                <c:pt idx="2387">
                  <c:v>43635</c:v>
                </c:pt>
                <c:pt idx="2388">
                  <c:v>43636</c:v>
                </c:pt>
                <c:pt idx="2389">
                  <c:v>43637</c:v>
                </c:pt>
                <c:pt idx="2390">
                  <c:v>43640</c:v>
                </c:pt>
                <c:pt idx="2391">
                  <c:v>43641</c:v>
                </c:pt>
                <c:pt idx="2392">
                  <c:v>43642</c:v>
                </c:pt>
                <c:pt idx="2393">
                  <c:v>43643</c:v>
                </c:pt>
                <c:pt idx="2394">
                  <c:v>43644</c:v>
                </c:pt>
                <c:pt idx="2395">
                  <c:v>43647</c:v>
                </c:pt>
                <c:pt idx="2396">
                  <c:v>43648</c:v>
                </c:pt>
                <c:pt idx="2397">
                  <c:v>43649</c:v>
                </c:pt>
                <c:pt idx="2398">
                  <c:v>43650</c:v>
                </c:pt>
                <c:pt idx="2399">
                  <c:v>43651</c:v>
                </c:pt>
                <c:pt idx="2400">
                  <c:v>43654</c:v>
                </c:pt>
                <c:pt idx="2401">
                  <c:v>43655</c:v>
                </c:pt>
                <c:pt idx="2402">
                  <c:v>43656</c:v>
                </c:pt>
                <c:pt idx="2403">
                  <c:v>43657</c:v>
                </c:pt>
                <c:pt idx="2404">
                  <c:v>43658</c:v>
                </c:pt>
                <c:pt idx="2405">
                  <c:v>43661</c:v>
                </c:pt>
                <c:pt idx="2406">
                  <c:v>43662</c:v>
                </c:pt>
                <c:pt idx="2407">
                  <c:v>43663</c:v>
                </c:pt>
                <c:pt idx="2408">
                  <c:v>43664</c:v>
                </c:pt>
                <c:pt idx="2409">
                  <c:v>43665</c:v>
                </c:pt>
                <c:pt idx="2410">
                  <c:v>43668</c:v>
                </c:pt>
                <c:pt idx="2411">
                  <c:v>43669</c:v>
                </c:pt>
                <c:pt idx="2412">
                  <c:v>43670</c:v>
                </c:pt>
                <c:pt idx="2413">
                  <c:v>43671</c:v>
                </c:pt>
                <c:pt idx="2414">
                  <c:v>43672</c:v>
                </c:pt>
                <c:pt idx="2415">
                  <c:v>43675</c:v>
                </c:pt>
                <c:pt idx="2416">
                  <c:v>43676</c:v>
                </c:pt>
                <c:pt idx="2417">
                  <c:v>43677</c:v>
                </c:pt>
                <c:pt idx="2418">
                  <c:v>43678</c:v>
                </c:pt>
                <c:pt idx="2419">
                  <c:v>43679</c:v>
                </c:pt>
                <c:pt idx="2420">
                  <c:v>43682</c:v>
                </c:pt>
                <c:pt idx="2421">
                  <c:v>43683</c:v>
                </c:pt>
                <c:pt idx="2422">
                  <c:v>43684</c:v>
                </c:pt>
                <c:pt idx="2423">
                  <c:v>43685</c:v>
                </c:pt>
                <c:pt idx="2424">
                  <c:v>43686</c:v>
                </c:pt>
                <c:pt idx="2425">
                  <c:v>43689</c:v>
                </c:pt>
                <c:pt idx="2426">
                  <c:v>43690</c:v>
                </c:pt>
                <c:pt idx="2427">
                  <c:v>43691</c:v>
                </c:pt>
                <c:pt idx="2428">
                  <c:v>43692</c:v>
                </c:pt>
                <c:pt idx="2429">
                  <c:v>43693</c:v>
                </c:pt>
                <c:pt idx="2430">
                  <c:v>43696</c:v>
                </c:pt>
                <c:pt idx="2431">
                  <c:v>43697</c:v>
                </c:pt>
                <c:pt idx="2432">
                  <c:v>43698</c:v>
                </c:pt>
                <c:pt idx="2433">
                  <c:v>43699</c:v>
                </c:pt>
                <c:pt idx="2434">
                  <c:v>43700</c:v>
                </c:pt>
                <c:pt idx="2435">
                  <c:v>43704</c:v>
                </c:pt>
                <c:pt idx="2436">
                  <c:v>43705</c:v>
                </c:pt>
                <c:pt idx="2437">
                  <c:v>43706</c:v>
                </c:pt>
                <c:pt idx="2438">
                  <c:v>43707</c:v>
                </c:pt>
                <c:pt idx="2439">
                  <c:v>43710</c:v>
                </c:pt>
                <c:pt idx="2440">
                  <c:v>43711</c:v>
                </c:pt>
                <c:pt idx="2441">
                  <c:v>43712</c:v>
                </c:pt>
                <c:pt idx="2442">
                  <c:v>43713</c:v>
                </c:pt>
                <c:pt idx="2443">
                  <c:v>43714</c:v>
                </c:pt>
                <c:pt idx="2444">
                  <c:v>43717</c:v>
                </c:pt>
                <c:pt idx="2445">
                  <c:v>43718</c:v>
                </c:pt>
                <c:pt idx="2446">
                  <c:v>43719</c:v>
                </c:pt>
                <c:pt idx="2447">
                  <c:v>43720</c:v>
                </c:pt>
                <c:pt idx="2448">
                  <c:v>43721</c:v>
                </c:pt>
                <c:pt idx="2449">
                  <c:v>43724</c:v>
                </c:pt>
                <c:pt idx="2450">
                  <c:v>43725</c:v>
                </c:pt>
                <c:pt idx="2451">
                  <c:v>43726</c:v>
                </c:pt>
                <c:pt idx="2452">
                  <c:v>43727</c:v>
                </c:pt>
                <c:pt idx="2453">
                  <c:v>43728</c:v>
                </c:pt>
                <c:pt idx="2454">
                  <c:v>43731</c:v>
                </c:pt>
                <c:pt idx="2455">
                  <c:v>43732</c:v>
                </c:pt>
                <c:pt idx="2456">
                  <c:v>43733</c:v>
                </c:pt>
                <c:pt idx="2457">
                  <c:v>43734</c:v>
                </c:pt>
                <c:pt idx="2458">
                  <c:v>43735</c:v>
                </c:pt>
                <c:pt idx="2459">
                  <c:v>43738</c:v>
                </c:pt>
                <c:pt idx="2460">
                  <c:v>43739</c:v>
                </c:pt>
                <c:pt idx="2461">
                  <c:v>43740</c:v>
                </c:pt>
                <c:pt idx="2462">
                  <c:v>43741</c:v>
                </c:pt>
                <c:pt idx="2463">
                  <c:v>43742</c:v>
                </c:pt>
                <c:pt idx="2464">
                  <c:v>43745</c:v>
                </c:pt>
                <c:pt idx="2465">
                  <c:v>43746</c:v>
                </c:pt>
                <c:pt idx="2466">
                  <c:v>43747</c:v>
                </c:pt>
                <c:pt idx="2467">
                  <c:v>43748</c:v>
                </c:pt>
                <c:pt idx="2468">
                  <c:v>43749</c:v>
                </c:pt>
                <c:pt idx="2469">
                  <c:v>43752</c:v>
                </c:pt>
                <c:pt idx="2470">
                  <c:v>43753</c:v>
                </c:pt>
                <c:pt idx="2471">
                  <c:v>43754</c:v>
                </c:pt>
                <c:pt idx="2472">
                  <c:v>43755</c:v>
                </c:pt>
                <c:pt idx="2473">
                  <c:v>43756</c:v>
                </c:pt>
                <c:pt idx="2474">
                  <c:v>43759</c:v>
                </c:pt>
                <c:pt idx="2475">
                  <c:v>43760</c:v>
                </c:pt>
                <c:pt idx="2476">
                  <c:v>43761</c:v>
                </c:pt>
                <c:pt idx="2477">
                  <c:v>43762</c:v>
                </c:pt>
                <c:pt idx="2478">
                  <c:v>43763</c:v>
                </c:pt>
                <c:pt idx="2479">
                  <c:v>43766</c:v>
                </c:pt>
                <c:pt idx="2480">
                  <c:v>43767</c:v>
                </c:pt>
                <c:pt idx="2481">
                  <c:v>43768</c:v>
                </c:pt>
                <c:pt idx="2482">
                  <c:v>43769</c:v>
                </c:pt>
                <c:pt idx="2483">
                  <c:v>43770</c:v>
                </c:pt>
                <c:pt idx="2484">
                  <c:v>43773</c:v>
                </c:pt>
                <c:pt idx="2485">
                  <c:v>43774</c:v>
                </c:pt>
                <c:pt idx="2486">
                  <c:v>43775</c:v>
                </c:pt>
                <c:pt idx="2487">
                  <c:v>43776</c:v>
                </c:pt>
                <c:pt idx="2488">
                  <c:v>43777</c:v>
                </c:pt>
                <c:pt idx="2489">
                  <c:v>43780</c:v>
                </c:pt>
                <c:pt idx="2490">
                  <c:v>43781</c:v>
                </c:pt>
                <c:pt idx="2491">
                  <c:v>43782</c:v>
                </c:pt>
                <c:pt idx="2492">
                  <c:v>43783</c:v>
                </c:pt>
                <c:pt idx="2493">
                  <c:v>43784</c:v>
                </c:pt>
                <c:pt idx="2494">
                  <c:v>43787</c:v>
                </c:pt>
                <c:pt idx="2495">
                  <c:v>43788</c:v>
                </c:pt>
                <c:pt idx="2496">
                  <c:v>43789</c:v>
                </c:pt>
                <c:pt idx="2497">
                  <c:v>43790</c:v>
                </c:pt>
                <c:pt idx="2498">
                  <c:v>43791</c:v>
                </c:pt>
                <c:pt idx="2499">
                  <c:v>43794</c:v>
                </c:pt>
                <c:pt idx="2500">
                  <c:v>43795</c:v>
                </c:pt>
                <c:pt idx="2501">
                  <c:v>43796</c:v>
                </c:pt>
                <c:pt idx="2502">
                  <c:v>43797</c:v>
                </c:pt>
                <c:pt idx="2503">
                  <c:v>43798</c:v>
                </c:pt>
                <c:pt idx="2504">
                  <c:v>43801</c:v>
                </c:pt>
                <c:pt idx="2505">
                  <c:v>43802</c:v>
                </c:pt>
                <c:pt idx="2506">
                  <c:v>43803</c:v>
                </c:pt>
                <c:pt idx="2507">
                  <c:v>43804</c:v>
                </c:pt>
                <c:pt idx="2508">
                  <c:v>43805</c:v>
                </c:pt>
                <c:pt idx="2509">
                  <c:v>43808</c:v>
                </c:pt>
                <c:pt idx="2510">
                  <c:v>43809</c:v>
                </c:pt>
                <c:pt idx="2511">
                  <c:v>43810</c:v>
                </c:pt>
                <c:pt idx="2512">
                  <c:v>43811</c:v>
                </c:pt>
                <c:pt idx="2513">
                  <c:v>43812</c:v>
                </c:pt>
                <c:pt idx="2514">
                  <c:v>43815</c:v>
                </c:pt>
                <c:pt idx="2515">
                  <c:v>43816</c:v>
                </c:pt>
                <c:pt idx="2516">
                  <c:v>43817</c:v>
                </c:pt>
                <c:pt idx="2517">
                  <c:v>43818</c:v>
                </c:pt>
                <c:pt idx="2518">
                  <c:v>43819</c:v>
                </c:pt>
                <c:pt idx="2519">
                  <c:v>43822</c:v>
                </c:pt>
                <c:pt idx="2520">
                  <c:v>43823</c:v>
                </c:pt>
                <c:pt idx="2521">
                  <c:v>43826</c:v>
                </c:pt>
                <c:pt idx="2522">
                  <c:v>43829</c:v>
                </c:pt>
                <c:pt idx="2523">
                  <c:v>43830</c:v>
                </c:pt>
                <c:pt idx="2524">
                  <c:v>43832</c:v>
                </c:pt>
                <c:pt idx="2525">
                  <c:v>43833</c:v>
                </c:pt>
                <c:pt idx="2526">
                  <c:v>43836</c:v>
                </c:pt>
                <c:pt idx="2527">
                  <c:v>43837</c:v>
                </c:pt>
                <c:pt idx="2528">
                  <c:v>43838</c:v>
                </c:pt>
                <c:pt idx="2529">
                  <c:v>43839</c:v>
                </c:pt>
                <c:pt idx="2530">
                  <c:v>43840</c:v>
                </c:pt>
                <c:pt idx="2531">
                  <c:v>43843</c:v>
                </c:pt>
                <c:pt idx="2532">
                  <c:v>43844</c:v>
                </c:pt>
                <c:pt idx="2533">
                  <c:v>43845</c:v>
                </c:pt>
                <c:pt idx="2534">
                  <c:v>43846</c:v>
                </c:pt>
                <c:pt idx="2535">
                  <c:v>43847</c:v>
                </c:pt>
                <c:pt idx="2536">
                  <c:v>43850</c:v>
                </c:pt>
                <c:pt idx="2537">
                  <c:v>43851</c:v>
                </c:pt>
                <c:pt idx="2538">
                  <c:v>43852</c:v>
                </c:pt>
                <c:pt idx="2539">
                  <c:v>43853</c:v>
                </c:pt>
                <c:pt idx="2540">
                  <c:v>43854</c:v>
                </c:pt>
                <c:pt idx="2541">
                  <c:v>43857</c:v>
                </c:pt>
                <c:pt idx="2542">
                  <c:v>43858</c:v>
                </c:pt>
                <c:pt idx="2543">
                  <c:v>43859</c:v>
                </c:pt>
                <c:pt idx="2544">
                  <c:v>43860</c:v>
                </c:pt>
                <c:pt idx="2545">
                  <c:v>43861</c:v>
                </c:pt>
                <c:pt idx="2546">
                  <c:v>43864</c:v>
                </c:pt>
                <c:pt idx="2547">
                  <c:v>43865</c:v>
                </c:pt>
                <c:pt idx="2548">
                  <c:v>43866</c:v>
                </c:pt>
                <c:pt idx="2549">
                  <c:v>43867</c:v>
                </c:pt>
                <c:pt idx="2550">
                  <c:v>43868</c:v>
                </c:pt>
                <c:pt idx="2551">
                  <c:v>43871</c:v>
                </c:pt>
                <c:pt idx="2552">
                  <c:v>43872</c:v>
                </c:pt>
                <c:pt idx="2553">
                  <c:v>43873</c:v>
                </c:pt>
                <c:pt idx="2554">
                  <c:v>43874</c:v>
                </c:pt>
                <c:pt idx="2555">
                  <c:v>43875</c:v>
                </c:pt>
                <c:pt idx="2556">
                  <c:v>43878</c:v>
                </c:pt>
                <c:pt idx="2557">
                  <c:v>43879</c:v>
                </c:pt>
                <c:pt idx="2558">
                  <c:v>43880</c:v>
                </c:pt>
                <c:pt idx="2559">
                  <c:v>43881</c:v>
                </c:pt>
                <c:pt idx="2560">
                  <c:v>43882</c:v>
                </c:pt>
                <c:pt idx="2561">
                  <c:v>43885</c:v>
                </c:pt>
                <c:pt idx="2562">
                  <c:v>43886</c:v>
                </c:pt>
                <c:pt idx="2563">
                  <c:v>43887</c:v>
                </c:pt>
                <c:pt idx="2564">
                  <c:v>43888</c:v>
                </c:pt>
                <c:pt idx="2565">
                  <c:v>43889</c:v>
                </c:pt>
                <c:pt idx="2566">
                  <c:v>43892</c:v>
                </c:pt>
                <c:pt idx="2567">
                  <c:v>43893</c:v>
                </c:pt>
                <c:pt idx="2568">
                  <c:v>43894</c:v>
                </c:pt>
                <c:pt idx="2569">
                  <c:v>43895</c:v>
                </c:pt>
                <c:pt idx="2570">
                  <c:v>43896</c:v>
                </c:pt>
                <c:pt idx="2571">
                  <c:v>43899</c:v>
                </c:pt>
                <c:pt idx="2572">
                  <c:v>43900</c:v>
                </c:pt>
                <c:pt idx="2573">
                  <c:v>43901</c:v>
                </c:pt>
                <c:pt idx="2574">
                  <c:v>43902</c:v>
                </c:pt>
                <c:pt idx="2575">
                  <c:v>43903</c:v>
                </c:pt>
                <c:pt idx="2576">
                  <c:v>43906</c:v>
                </c:pt>
                <c:pt idx="2577">
                  <c:v>43907</c:v>
                </c:pt>
                <c:pt idx="2578">
                  <c:v>43908</c:v>
                </c:pt>
                <c:pt idx="2579">
                  <c:v>43909</c:v>
                </c:pt>
                <c:pt idx="2580">
                  <c:v>43910</c:v>
                </c:pt>
                <c:pt idx="2581">
                  <c:v>43913</c:v>
                </c:pt>
                <c:pt idx="2582">
                  <c:v>43914</c:v>
                </c:pt>
                <c:pt idx="2583">
                  <c:v>43915</c:v>
                </c:pt>
                <c:pt idx="2584">
                  <c:v>43916</c:v>
                </c:pt>
                <c:pt idx="2585">
                  <c:v>43917</c:v>
                </c:pt>
                <c:pt idx="2586">
                  <c:v>43920</c:v>
                </c:pt>
                <c:pt idx="2587">
                  <c:v>43921</c:v>
                </c:pt>
                <c:pt idx="2588">
                  <c:v>43922</c:v>
                </c:pt>
                <c:pt idx="2589">
                  <c:v>43923</c:v>
                </c:pt>
                <c:pt idx="2590">
                  <c:v>43924</c:v>
                </c:pt>
                <c:pt idx="2591">
                  <c:v>43927</c:v>
                </c:pt>
                <c:pt idx="2592">
                  <c:v>43928</c:v>
                </c:pt>
                <c:pt idx="2593">
                  <c:v>43929</c:v>
                </c:pt>
                <c:pt idx="2594">
                  <c:v>43930</c:v>
                </c:pt>
                <c:pt idx="2595">
                  <c:v>43935</c:v>
                </c:pt>
                <c:pt idx="2596">
                  <c:v>43936</c:v>
                </c:pt>
                <c:pt idx="2597">
                  <c:v>43937</c:v>
                </c:pt>
                <c:pt idx="2598">
                  <c:v>43938</c:v>
                </c:pt>
                <c:pt idx="2599">
                  <c:v>43941</c:v>
                </c:pt>
                <c:pt idx="2600">
                  <c:v>43942</c:v>
                </c:pt>
                <c:pt idx="2601">
                  <c:v>43943</c:v>
                </c:pt>
                <c:pt idx="2602">
                  <c:v>43944</c:v>
                </c:pt>
                <c:pt idx="2603">
                  <c:v>43945</c:v>
                </c:pt>
                <c:pt idx="2604">
                  <c:v>43948</c:v>
                </c:pt>
                <c:pt idx="2605">
                  <c:v>43949</c:v>
                </c:pt>
                <c:pt idx="2606">
                  <c:v>43950</c:v>
                </c:pt>
                <c:pt idx="2607">
                  <c:v>43951</c:v>
                </c:pt>
                <c:pt idx="2608">
                  <c:v>43952</c:v>
                </c:pt>
                <c:pt idx="2609">
                  <c:v>43955</c:v>
                </c:pt>
                <c:pt idx="2610">
                  <c:v>43956</c:v>
                </c:pt>
                <c:pt idx="2611">
                  <c:v>43957</c:v>
                </c:pt>
                <c:pt idx="2612">
                  <c:v>43958</c:v>
                </c:pt>
                <c:pt idx="2613">
                  <c:v>43962</c:v>
                </c:pt>
                <c:pt idx="2614">
                  <c:v>43963</c:v>
                </c:pt>
                <c:pt idx="2615">
                  <c:v>43964</c:v>
                </c:pt>
                <c:pt idx="2616">
                  <c:v>43965</c:v>
                </c:pt>
                <c:pt idx="2617">
                  <c:v>43966</c:v>
                </c:pt>
                <c:pt idx="2618">
                  <c:v>43969</c:v>
                </c:pt>
                <c:pt idx="2619">
                  <c:v>43970</c:v>
                </c:pt>
                <c:pt idx="2620">
                  <c:v>43971</c:v>
                </c:pt>
                <c:pt idx="2621">
                  <c:v>43972</c:v>
                </c:pt>
                <c:pt idx="2622">
                  <c:v>43973</c:v>
                </c:pt>
                <c:pt idx="2623">
                  <c:v>43977</c:v>
                </c:pt>
                <c:pt idx="2624">
                  <c:v>43978</c:v>
                </c:pt>
                <c:pt idx="2625">
                  <c:v>43979</c:v>
                </c:pt>
                <c:pt idx="2626">
                  <c:v>43980</c:v>
                </c:pt>
                <c:pt idx="2627">
                  <c:v>43983</c:v>
                </c:pt>
                <c:pt idx="2628">
                  <c:v>43984</c:v>
                </c:pt>
                <c:pt idx="2629">
                  <c:v>43985</c:v>
                </c:pt>
                <c:pt idx="2630">
                  <c:v>43986</c:v>
                </c:pt>
                <c:pt idx="2631">
                  <c:v>43987</c:v>
                </c:pt>
                <c:pt idx="2632">
                  <c:v>43990</c:v>
                </c:pt>
                <c:pt idx="2633">
                  <c:v>43991</c:v>
                </c:pt>
                <c:pt idx="2634">
                  <c:v>43992</c:v>
                </c:pt>
                <c:pt idx="2635">
                  <c:v>43993</c:v>
                </c:pt>
                <c:pt idx="2636">
                  <c:v>43994</c:v>
                </c:pt>
                <c:pt idx="2637">
                  <c:v>43997</c:v>
                </c:pt>
                <c:pt idx="2638">
                  <c:v>43998</c:v>
                </c:pt>
                <c:pt idx="2639">
                  <c:v>43999</c:v>
                </c:pt>
                <c:pt idx="2640">
                  <c:v>44000</c:v>
                </c:pt>
                <c:pt idx="2641">
                  <c:v>44001</c:v>
                </c:pt>
                <c:pt idx="2642">
                  <c:v>44004</c:v>
                </c:pt>
                <c:pt idx="2643">
                  <c:v>44005</c:v>
                </c:pt>
                <c:pt idx="2644">
                  <c:v>44006</c:v>
                </c:pt>
                <c:pt idx="2645">
                  <c:v>44007</c:v>
                </c:pt>
                <c:pt idx="2646">
                  <c:v>44008</c:v>
                </c:pt>
                <c:pt idx="2647">
                  <c:v>44011</c:v>
                </c:pt>
                <c:pt idx="2648">
                  <c:v>44012</c:v>
                </c:pt>
                <c:pt idx="2649">
                  <c:v>44013</c:v>
                </c:pt>
                <c:pt idx="2650">
                  <c:v>44014</c:v>
                </c:pt>
                <c:pt idx="2651">
                  <c:v>44015</c:v>
                </c:pt>
                <c:pt idx="2652">
                  <c:v>44018</c:v>
                </c:pt>
                <c:pt idx="2653">
                  <c:v>44019</c:v>
                </c:pt>
                <c:pt idx="2654">
                  <c:v>44020</c:v>
                </c:pt>
                <c:pt idx="2655">
                  <c:v>44021</c:v>
                </c:pt>
                <c:pt idx="2656">
                  <c:v>44022</c:v>
                </c:pt>
                <c:pt idx="2657">
                  <c:v>44025</c:v>
                </c:pt>
                <c:pt idx="2658">
                  <c:v>44026</c:v>
                </c:pt>
                <c:pt idx="2659">
                  <c:v>44027</c:v>
                </c:pt>
                <c:pt idx="2660">
                  <c:v>44028</c:v>
                </c:pt>
                <c:pt idx="2661">
                  <c:v>44029</c:v>
                </c:pt>
                <c:pt idx="2662">
                  <c:v>44032</c:v>
                </c:pt>
                <c:pt idx="2663">
                  <c:v>44033</c:v>
                </c:pt>
                <c:pt idx="2664">
                  <c:v>44034</c:v>
                </c:pt>
                <c:pt idx="2665">
                  <c:v>44035</c:v>
                </c:pt>
                <c:pt idx="2666">
                  <c:v>44036</c:v>
                </c:pt>
                <c:pt idx="2667">
                  <c:v>44039</c:v>
                </c:pt>
                <c:pt idx="2668">
                  <c:v>44040</c:v>
                </c:pt>
                <c:pt idx="2669">
                  <c:v>44041</c:v>
                </c:pt>
                <c:pt idx="2670">
                  <c:v>44042</c:v>
                </c:pt>
                <c:pt idx="2671">
                  <c:v>44043</c:v>
                </c:pt>
                <c:pt idx="2672">
                  <c:v>44046</c:v>
                </c:pt>
                <c:pt idx="2673">
                  <c:v>44047</c:v>
                </c:pt>
                <c:pt idx="2674">
                  <c:v>44048</c:v>
                </c:pt>
                <c:pt idx="2675">
                  <c:v>44049</c:v>
                </c:pt>
                <c:pt idx="2676">
                  <c:v>44050</c:v>
                </c:pt>
                <c:pt idx="2677">
                  <c:v>44053</c:v>
                </c:pt>
                <c:pt idx="2678">
                  <c:v>44054</c:v>
                </c:pt>
                <c:pt idx="2679">
                  <c:v>44055</c:v>
                </c:pt>
                <c:pt idx="2680">
                  <c:v>44056</c:v>
                </c:pt>
                <c:pt idx="2681">
                  <c:v>44057</c:v>
                </c:pt>
                <c:pt idx="2682">
                  <c:v>44060</c:v>
                </c:pt>
                <c:pt idx="2683">
                  <c:v>44061</c:v>
                </c:pt>
                <c:pt idx="2684">
                  <c:v>44062</c:v>
                </c:pt>
                <c:pt idx="2685">
                  <c:v>44063</c:v>
                </c:pt>
                <c:pt idx="2686">
                  <c:v>44064</c:v>
                </c:pt>
                <c:pt idx="2687">
                  <c:v>44067</c:v>
                </c:pt>
                <c:pt idx="2688">
                  <c:v>44068</c:v>
                </c:pt>
                <c:pt idx="2689">
                  <c:v>44069</c:v>
                </c:pt>
                <c:pt idx="2690">
                  <c:v>44070</c:v>
                </c:pt>
                <c:pt idx="2691">
                  <c:v>44071</c:v>
                </c:pt>
                <c:pt idx="2692">
                  <c:v>44075</c:v>
                </c:pt>
                <c:pt idx="2693">
                  <c:v>44076</c:v>
                </c:pt>
                <c:pt idx="2694">
                  <c:v>44077</c:v>
                </c:pt>
                <c:pt idx="2695">
                  <c:v>44078</c:v>
                </c:pt>
                <c:pt idx="2696">
                  <c:v>44081</c:v>
                </c:pt>
                <c:pt idx="2697">
                  <c:v>44082</c:v>
                </c:pt>
                <c:pt idx="2698">
                  <c:v>44083</c:v>
                </c:pt>
                <c:pt idx="2699">
                  <c:v>44084</c:v>
                </c:pt>
                <c:pt idx="2700">
                  <c:v>44085</c:v>
                </c:pt>
                <c:pt idx="2701">
                  <c:v>44088</c:v>
                </c:pt>
                <c:pt idx="2702">
                  <c:v>44089</c:v>
                </c:pt>
                <c:pt idx="2703">
                  <c:v>44090</c:v>
                </c:pt>
                <c:pt idx="2704">
                  <c:v>44091</c:v>
                </c:pt>
                <c:pt idx="2705">
                  <c:v>44092</c:v>
                </c:pt>
                <c:pt idx="2706">
                  <c:v>44095</c:v>
                </c:pt>
                <c:pt idx="2707">
                  <c:v>44096</c:v>
                </c:pt>
                <c:pt idx="2708">
                  <c:v>44097</c:v>
                </c:pt>
                <c:pt idx="2709">
                  <c:v>44098</c:v>
                </c:pt>
                <c:pt idx="2710">
                  <c:v>44099</c:v>
                </c:pt>
                <c:pt idx="2711">
                  <c:v>44102</c:v>
                </c:pt>
                <c:pt idx="2712">
                  <c:v>44103</c:v>
                </c:pt>
                <c:pt idx="2713">
                  <c:v>44104</c:v>
                </c:pt>
                <c:pt idx="2714">
                  <c:v>44105</c:v>
                </c:pt>
                <c:pt idx="2715">
                  <c:v>44106</c:v>
                </c:pt>
                <c:pt idx="2716">
                  <c:v>44109</c:v>
                </c:pt>
                <c:pt idx="2717">
                  <c:v>44110</c:v>
                </c:pt>
                <c:pt idx="2718">
                  <c:v>44111</c:v>
                </c:pt>
                <c:pt idx="2719">
                  <c:v>44112</c:v>
                </c:pt>
                <c:pt idx="2720">
                  <c:v>44113</c:v>
                </c:pt>
                <c:pt idx="2721">
                  <c:v>44116</c:v>
                </c:pt>
                <c:pt idx="2722">
                  <c:v>44117</c:v>
                </c:pt>
                <c:pt idx="2723">
                  <c:v>44118</c:v>
                </c:pt>
                <c:pt idx="2724">
                  <c:v>44119</c:v>
                </c:pt>
                <c:pt idx="2725">
                  <c:v>44120</c:v>
                </c:pt>
                <c:pt idx="2726">
                  <c:v>44123</c:v>
                </c:pt>
                <c:pt idx="2727">
                  <c:v>44124</c:v>
                </c:pt>
                <c:pt idx="2728">
                  <c:v>44125</c:v>
                </c:pt>
                <c:pt idx="2729">
                  <c:v>44126</c:v>
                </c:pt>
                <c:pt idx="2730">
                  <c:v>44127</c:v>
                </c:pt>
                <c:pt idx="2731">
                  <c:v>44130</c:v>
                </c:pt>
                <c:pt idx="2732">
                  <c:v>44131</c:v>
                </c:pt>
                <c:pt idx="2733">
                  <c:v>44132</c:v>
                </c:pt>
                <c:pt idx="2734">
                  <c:v>44133</c:v>
                </c:pt>
                <c:pt idx="2735">
                  <c:v>44134</c:v>
                </c:pt>
                <c:pt idx="2736">
                  <c:v>44137</c:v>
                </c:pt>
                <c:pt idx="2737">
                  <c:v>44138</c:v>
                </c:pt>
                <c:pt idx="2738">
                  <c:v>44139</c:v>
                </c:pt>
                <c:pt idx="2739">
                  <c:v>44140</c:v>
                </c:pt>
                <c:pt idx="2740">
                  <c:v>44141</c:v>
                </c:pt>
                <c:pt idx="2741">
                  <c:v>44144</c:v>
                </c:pt>
                <c:pt idx="2742">
                  <c:v>44145</c:v>
                </c:pt>
                <c:pt idx="2743">
                  <c:v>44146</c:v>
                </c:pt>
                <c:pt idx="2744">
                  <c:v>44147</c:v>
                </c:pt>
                <c:pt idx="2745">
                  <c:v>44148</c:v>
                </c:pt>
                <c:pt idx="2746">
                  <c:v>44151</c:v>
                </c:pt>
                <c:pt idx="2747">
                  <c:v>44152</c:v>
                </c:pt>
                <c:pt idx="2748">
                  <c:v>44153</c:v>
                </c:pt>
                <c:pt idx="2749">
                  <c:v>44154</c:v>
                </c:pt>
                <c:pt idx="2750">
                  <c:v>44155</c:v>
                </c:pt>
                <c:pt idx="2751">
                  <c:v>44158</c:v>
                </c:pt>
                <c:pt idx="2752">
                  <c:v>44159</c:v>
                </c:pt>
                <c:pt idx="2753">
                  <c:v>44160</c:v>
                </c:pt>
                <c:pt idx="2754">
                  <c:v>44161</c:v>
                </c:pt>
                <c:pt idx="2755">
                  <c:v>44162</c:v>
                </c:pt>
                <c:pt idx="2756">
                  <c:v>44165</c:v>
                </c:pt>
                <c:pt idx="2757">
                  <c:v>44166</c:v>
                </c:pt>
                <c:pt idx="2758">
                  <c:v>44167</c:v>
                </c:pt>
                <c:pt idx="2759">
                  <c:v>44168</c:v>
                </c:pt>
                <c:pt idx="2760">
                  <c:v>44169</c:v>
                </c:pt>
                <c:pt idx="2761">
                  <c:v>44172</c:v>
                </c:pt>
                <c:pt idx="2762">
                  <c:v>44173</c:v>
                </c:pt>
                <c:pt idx="2763">
                  <c:v>44174</c:v>
                </c:pt>
                <c:pt idx="2764">
                  <c:v>44175</c:v>
                </c:pt>
                <c:pt idx="2765">
                  <c:v>44176</c:v>
                </c:pt>
                <c:pt idx="2766">
                  <c:v>44179</c:v>
                </c:pt>
                <c:pt idx="2767">
                  <c:v>44180</c:v>
                </c:pt>
                <c:pt idx="2768">
                  <c:v>44181</c:v>
                </c:pt>
                <c:pt idx="2769">
                  <c:v>44182</c:v>
                </c:pt>
                <c:pt idx="2770">
                  <c:v>44183</c:v>
                </c:pt>
                <c:pt idx="2771">
                  <c:v>44186</c:v>
                </c:pt>
                <c:pt idx="2772">
                  <c:v>44187</c:v>
                </c:pt>
                <c:pt idx="2773">
                  <c:v>44188</c:v>
                </c:pt>
                <c:pt idx="2774">
                  <c:v>44189</c:v>
                </c:pt>
                <c:pt idx="2775">
                  <c:v>44194</c:v>
                </c:pt>
                <c:pt idx="2776">
                  <c:v>44195</c:v>
                </c:pt>
                <c:pt idx="2777">
                  <c:v>44196</c:v>
                </c:pt>
                <c:pt idx="2778">
                  <c:v>44200</c:v>
                </c:pt>
                <c:pt idx="2779">
                  <c:v>44201</c:v>
                </c:pt>
                <c:pt idx="2780">
                  <c:v>44202</c:v>
                </c:pt>
                <c:pt idx="2781">
                  <c:v>44203</c:v>
                </c:pt>
                <c:pt idx="2782">
                  <c:v>44204</c:v>
                </c:pt>
                <c:pt idx="2783">
                  <c:v>44207</c:v>
                </c:pt>
                <c:pt idx="2784">
                  <c:v>44208</c:v>
                </c:pt>
                <c:pt idx="2785">
                  <c:v>44209</c:v>
                </c:pt>
                <c:pt idx="2786">
                  <c:v>44210</c:v>
                </c:pt>
                <c:pt idx="2787">
                  <c:v>44211</c:v>
                </c:pt>
                <c:pt idx="2788">
                  <c:v>44214</c:v>
                </c:pt>
                <c:pt idx="2789">
                  <c:v>44215</c:v>
                </c:pt>
                <c:pt idx="2790">
                  <c:v>44216</c:v>
                </c:pt>
                <c:pt idx="2791">
                  <c:v>44217</c:v>
                </c:pt>
                <c:pt idx="2792">
                  <c:v>44218</c:v>
                </c:pt>
                <c:pt idx="2793">
                  <c:v>44221</c:v>
                </c:pt>
                <c:pt idx="2794">
                  <c:v>44222</c:v>
                </c:pt>
                <c:pt idx="2795">
                  <c:v>44223</c:v>
                </c:pt>
                <c:pt idx="2796">
                  <c:v>44224</c:v>
                </c:pt>
                <c:pt idx="2797">
                  <c:v>44225</c:v>
                </c:pt>
                <c:pt idx="2798">
                  <c:v>44228</c:v>
                </c:pt>
                <c:pt idx="2799">
                  <c:v>44229</c:v>
                </c:pt>
                <c:pt idx="2800">
                  <c:v>44230</c:v>
                </c:pt>
                <c:pt idx="2801">
                  <c:v>44231</c:v>
                </c:pt>
                <c:pt idx="2802">
                  <c:v>44232</c:v>
                </c:pt>
                <c:pt idx="2803">
                  <c:v>44235</c:v>
                </c:pt>
                <c:pt idx="2804">
                  <c:v>44236</c:v>
                </c:pt>
                <c:pt idx="2805">
                  <c:v>44237</c:v>
                </c:pt>
                <c:pt idx="2806">
                  <c:v>44238</c:v>
                </c:pt>
                <c:pt idx="2807">
                  <c:v>44239</c:v>
                </c:pt>
                <c:pt idx="2808">
                  <c:v>44242</c:v>
                </c:pt>
                <c:pt idx="2809">
                  <c:v>44243</c:v>
                </c:pt>
                <c:pt idx="2810">
                  <c:v>44244</c:v>
                </c:pt>
                <c:pt idx="2811">
                  <c:v>44245</c:v>
                </c:pt>
                <c:pt idx="2812">
                  <c:v>44246</c:v>
                </c:pt>
                <c:pt idx="2813">
                  <c:v>44249</c:v>
                </c:pt>
                <c:pt idx="2814">
                  <c:v>44250</c:v>
                </c:pt>
                <c:pt idx="2815">
                  <c:v>44251</c:v>
                </c:pt>
                <c:pt idx="2816">
                  <c:v>44252</c:v>
                </c:pt>
                <c:pt idx="2817">
                  <c:v>44253</c:v>
                </c:pt>
                <c:pt idx="2818">
                  <c:v>44256</c:v>
                </c:pt>
                <c:pt idx="2819">
                  <c:v>44257</c:v>
                </c:pt>
                <c:pt idx="2820">
                  <c:v>44258</c:v>
                </c:pt>
                <c:pt idx="2821">
                  <c:v>44259</c:v>
                </c:pt>
                <c:pt idx="2822">
                  <c:v>44260</c:v>
                </c:pt>
                <c:pt idx="2823">
                  <c:v>44263</c:v>
                </c:pt>
                <c:pt idx="2824">
                  <c:v>44264</c:v>
                </c:pt>
                <c:pt idx="2825">
                  <c:v>44265</c:v>
                </c:pt>
                <c:pt idx="2826">
                  <c:v>44266</c:v>
                </c:pt>
                <c:pt idx="2827">
                  <c:v>44267</c:v>
                </c:pt>
                <c:pt idx="2828">
                  <c:v>44270</c:v>
                </c:pt>
                <c:pt idx="2829">
                  <c:v>44271</c:v>
                </c:pt>
                <c:pt idx="2830">
                  <c:v>44272</c:v>
                </c:pt>
                <c:pt idx="2831">
                  <c:v>44273</c:v>
                </c:pt>
                <c:pt idx="2832">
                  <c:v>44274</c:v>
                </c:pt>
                <c:pt idx="2833">
                  <c:v>44277</c:v>
                </c:pt>
                <c:pt idx="2834">
                  <c:v>44278</c:v>
                </c:pt>
                <c:pt idx="2835">
                  <c:v>44279</c:v>
                </c:pt>
                <c:pt idx="2836">
                  <c:v>44280</c:v>
                </c:pt>
                <c:pt idx="2837">
                  <c:v>44281</c:v>
                </c:pt>
                <c:pt idx="2838">
                  <c:v>44284</c:v>
                </c:pt>
                <c:pt idx="2839">
                  <c:v>44285</c:v>
                </c:pt>
                <c:pt idx="2840">
                  <c:v>44286</c:v>
                </c:pt>
                <c:pt idx="2841">
                  <c:v>44287</c:v>
                </c:pt>
                <c:pt idx="2842">
                  <c:v>44292</c:v>
                </c:pt>
                <c:pt idx="2843">
                  <c:v>44293</c:v>
                </c:pt>
                <c:pt idx="2844">
                  <c:v>44294</c:v>
                </c:pt>
                <c:pt idx="2845">
                  <c:v>44295</c:v>
                </c:pt>
                <c:pt idx="2846">
                  <c:v>44298</c:v>
                </c:pt>
                <c:pt idx="2847">
                  <c:v>44299</c:v>
                </c:pt>
                <c:pt idx="2848">
                  <c:v>44300</c:v>
                </c:pt>
                <c:pt idx="2849">
                  <c:v>44301</c:v>
                </c:pt>
                <c:pt idx="2850">
                  <c:v>44302</c:v>
                </c:pt>
                <c:pt idx="2851">
                  <c:v>44305</c:v>
                </c:pt>
                <c:pt idx="2852">
                  <c:v>44306</c:v>
                </c:pt>
                <c:pt idx="2853">
                  <c:v>44307</c:v>
                </c:pt>
                <c:pt idx="2854">
                  <c:v>44308</c:v>
                </c:pt>
                <c:pt idx="2855">
                  <c:v>44309</c:v>
                </c:pt>
                <c:pt idx="2856">
                  <c:v>44312</c:v>
                </c:pt>
                <c:pt idx="2857">
                  <c:v>44313</c:v>
                </c:pt>
                <c:pt idx="2858">
                  <c:v>44314</c:v>
                </c:pt>
                <c:pt idx="2859">
                  <c:v>44315</c:v>
                </c:pt>
                <c:pt idx="2860">
                  <c:v>44316</c:v>
                </c:pt>
                <c:pt idx="2861">
                  <c:v>44320</c:v>
                </c:pt>
                <c:pt idx="2862">
                  <c:v>44321</c:v>
                </c:pt>
                <c:pt idx="2863">
                  <c:v>44322</c:v>
                </c:pt>
                <c:pt idx="2864">
                  <c:v>44323</c:v>
                </c:pt>
                <c:pt idx="2865">
                  <c:v>44326</c:v>
                </c:pt>
                <c:pt idx="2866">
                  <c:v>44327</c:v>
                </c:pt>
                <c:pt idx="2867">
                  <c:v>44328</c:v>
                </c:pt>
                <c:pt idx="2868">
                  <c:v>44329</c:v>
                </c:pt>
                <c:pt idx="2869">
                  <c:v>44330</c:v>
                </c:pt>
                <c:pt idx="2870">
                  <c:v>44333</c:v>
                </c:pt>
                <c:pt idx="2871">
                  <c:v>44334</c:v>
                </c:pt>
                <c:pt idx="2872">
                  <c:v>44335</c:v>
                </c:pt>
                <c:pt idx="2873">
                  <c:v>44336</c:v>
                </c:pt>
                <c:pt idx="2874">
                  <c:v>44337</c:v>
                </c:pt>
                <c:pt idx="2875">
                  <c:v>44340</c:v>
                </c:pt>
                <c:pt idx="2876">
                  <c:v>44341</c:v>
                </c:pt>
                <c:pt idx="2877">
                  <c:v>44342</c:v>
                </c:pt>
                <c:pt idx="2878">
                  <c:v>44343</c:v>
                </c:pt>
                <c:pt idx="2879">
                  <c:v>44344</c:v>
                </c:pt>
                <c:pt idx="2880">
                  <c:v>44348</c:v>
                </c:pt>
                <c:pt idx="2881">
                  <c:v>44349</c:v>
                </c:pt>
                <c:pt idx="2882">
                  <c:v>44350</c:v>
                </c:pt>
                <c:pt idx="2883">
                  <c:v>44351</c:v>
                </c:pt>
                <c:pt idx="2884">
                  <c:v>44354</c:v>
                </c:pt>
                <c:pt idx="2885">
                  <c:v>44355</c:v>
                </c:pt>
                <c:pt idx="2886">
                  <c:v>44356</c:v>
                </c:pt>
                <c:pt idx="2887">
                  <c:v>44357</c:v>
                </c:pt>
                <c:pt idx="2888">
                  <c:v>44358</c:v>
                </c:pt>
                <c:pt idx="2889">
                  <c:v>44361</c:v>
                </c:pt>
                <c:pt idx="2890">
                  <c:v>44362</c:v>
                </c:pt>
                <c:pt idx="2891">
                  <c:v>44363</c:v>
                </c:pt>
                <c:pt idx="2892">
                  <c:v>44364</c:v>
                </c:pt>
                <c:pt idx="2893">
                  <c:v>44365</c:v>
                </c:pt>
                <c:pt idx="2894">
                  <c:v>44368</c:v>
                </c:pt>
                <c:pt idx="2895">
                  <c:v>44369</c:v>
                </c:pt>
                <c:pt idx="2896">
                  <c:v>44370</c:v>
                </c:pt>
                <c:pt idx="2897">
                  <c:v>44371</c:v>
                </c:pt>
                <c:pt idx="2898">
                  <c:v>44372</c:v>
                </c:pt>
                <c:pt idx="2899">
                  <c:v>44375</c:v>
                </c:pt>
                <c:pt idx="2900">
                  <c:v>44376</c:v>
                </c:pt>
                <c:pt idx="2901">
                  <c:v>44377</c:v>
                </c:pt>
                <c:pt idx="2902">
                  <c:v>44378</c:v>
                </c:pt>
                <c:pt idx="2903">
                  <c:v>44379</c:v>
                </c:pt>
                <c:pt idx="2904">
                  <c:v>44382</c:v>
                </c:pt>
                <c:pt idx="2905">
                  <c:v>44383</c:v>
                </c:pt>
                <c:pt idx="2906">
                  <c:v>44384</c:v>
                </c:pt>
                <c:pt idx="2907">
                  <c:v>44385</c:v>
                </c:pt>
                <c:pt idx="2908">
                  <c:v>44386</c:v>
                </c:pt>
                <c:pt idx="2909">
                  <c:v>44389</c:v>
                </c:pt>
                <c:pt idx="2910">
                  <c:v>44390</c:v>
                </c:pt>
                <c:pt idx="2911">
                  <c:v>44391</c:v>
                </c:pt>
                <c:pt idx="2912">
                  <c:v>44392</c:v>
                </c:pt>
                <c:pt idx="2913">
                  <c:v>44393</c:v>
                </c:pt>
                <c:pt idx="2914">
                  <c:v>44396</c:v>
                </c:pt>
                <c:pt idx="2915">
                  <c:v>44397</c:v>
                </c:pt>
                <c:pt idx="2916">
                  <c:v>44398</c:v>
                </c:pt>
                <c:pt idx="2917">
                  <c:v>44399</c:v>
                </c:pt>
                <c:pt idx="2918">
                  <c:v>44400</c:v>
                </c:pt>
                <c:pt idx="2919">
                  <c:v>44403</c:v>
                </c:pt>
                <c:pt idx="2920">
                  <c:v>44404</c:v>
                </c:pt>
                <c:pt idx="2921">
                  <c:v>44405</c:v>
                </c:pt>
                <c:pt idx="2922">
                  <c:v>44406</c:v>
                </c:pt>
                <c:pt idx="2923">
                  <c:v>44407</c:v>
                </c:pt>
                <c:pt idx="2924">
                  <c:v>44410</c:v>
                </c:pt>
                <c:pt idx="2925">
                  <c:v>44411</c:v>
                </c:pt>
                <c:pt idx="2926">
                  <c:v>44412</c:v>
                </c:pt>
                <c:pt idx="2927">
                  <c:v>44413</c:v>
                </c:pt>
                <c:pt idx="2928">
                  <c:v>44414</c:v>
                </c:pt>
                <c:pt idx="2929">
                  <c:v>44417</c:v>
                </c:pt>
                <c:pt idx="2930">
                  <c:v>44418</c:v>
                </c:pt>
                <c:pt idx="2931">
                  <c:v>44419</c:v>
                </c:pt>
                <c:pt idx="2932">
                  <c:v>44420</c:v>
                </c:pt>
                <c:pt idx="2933">
                  <c:v>44421</c:v>
                </c:pt>
                <c:pt idx="2934">
                  <c:v>44424</c:v>
                </c:pt>
                <c:pt idx="2935">
                  <c:v>44425</c:v>
                </c:pt>
                <c:pt idx="2936">
                  <c:v>44426</c:v>
                </c:pt>
                <c:pt idx="2937">
                  <c:v>44427</c:v>
                </c:pt>
                <c:pt idx="2938">
                  <c:v>44428</c:v>
                </c:pt>
                <c:pt idx="2939">
                  <c:v>44431</c:v>
                </c:pt>
                <c:pt idx="2940">
                  <c:v>44432</c:v>
                </c:pt>
                <c:pt idx="2941">
                  <c:v>44433</c:v>
                </c:pt>
                <c:pt idx="2942">
                  <c:v>44434</c:v>
                </c:pt>
                <c:pt idx="2943">
                  <c:v>44435</c:v>
                </c:pt>
                <c:pt idx="2944">
                  <c:v>44439</c:v>
                </c:pt>
                <c:pt idx="2945">
                  <c:v>44440</c:v>
                </c:pt>
                <c:pt idx="2946">
                  <c:v>44441</c:v>
                </c:pt>
                <c:pt idx="2947">
                  <c:v>44442</c:v>
                </c:pt>
                <c:pt idx="2948">
                  <c:v>44445</c:v>
                </c:pt>
                <c:pt idx="2949">
                  <c:v>44446</c:v>
                </c:pt>
                <c:pt idx="2950">
                  <c:v>44447</c:v>
                </c:pt>
                <c:pt idx="2951">
                  <c:v>44448</c:v>
                </c:pt>
                <c:pt idx="2952">
                  <c:v>44449</c:v>
                </c:pt>
                <c:pt idx="2953">
                  <c:v>44452</c:v>
                </c:pt>
                <c:pt idx="2954">
                  <c:v>44453</c:v>
                </c:pt>
                <c:pt idx="2955">
                  <c:v>44454</c:v>
                </c:pt>
                <c:pt idx="2956">
                  <c:v>44455</c:v>
                </c:pt>
                <c:pt idx="2957">
                  <c:v>44456</c:v>
                </c:pt>
                <c:pt idx="2958">
                  <c:v>44459</c:v>
                </c:pt>
                <c:pt idx="2959">
                  <c:v>44460</c:v>
                </c:pt>
                <c:pt idx="2960">
                  <c:v>44461</c:v>
                </c:pt>
                <c:pt idx="2961">
                  <c:v>44462</c:v>
                </c:pt>
                <c:pt idx="2962">
                  <c:v>44463</c:v>
                </c:pt>
                <c:pt idx="2963">
                  <c:v>44466</c:v>
                </c:pt>
                <c:pt idx="2964">
                  <c:v>44467</c:v>
                </c:pt>
                <c:pt idx="2965">
                  <c:v>44468</c:v>
                </c:pt>
                <c:pt idx="2966">
                  <c:v>44469</c:v>
                </c:pt>
                <c:pt idx="2967">
                  <c:v>44470</c:v>
                </c:pt>
                <c:pt idx="2968">
                  <c:v>44473</c:v>
                </c:pt>
                <c:pt idx="2969">
                  <c:v>44474</c:v>
                </c:pt>
                <c:pt idx="2970">
                  <c:v>44475</c:v>
                </c:pt>
                <c:pt idx="2971">
                  <c:v>44476</c:v>
                </c:pt>
                <c:pt idx="2972">
                  <c:v>44477</c:v>
                </c:pt>
                <c:pt idx="2973">
                  <c:v>44480</c:v>
                </c:pt>
                <c:pt idx="2974">
                  <c:v>44481</c:v>
                </c:pt>
                <c:pt idx="2975">
                  <c:v>44482</c:v>
                </c:pt>
                <c:pt idx="2976">
                  <c:v>44483</c:v>
                </c:pt>
                <c:pt idx="2977">
                  <c:v>44484</c:v>
                </c:pt>
                <c:pt idx="2978">
                  <c:v>44487</c:v>
                </c:pt>
                <c:pt idx="2979">
                  <c:v>44488</c:v>
                </c:pt>
                <c:pt idx="2980">
                  <c:v>44489</c:v>
                </c:pt>
                <c:pt idx="2981">
                  <c:v>44490</c:v>
                </c:pt>
                <c:pt idx="2982">
                  <c:v>44491</c:v>
                </c:pt>
                <c:pt idx="2983">
                  <c:v>44494</c:v>
                </c:pt>
                <c:pt idx="2984">
                  <c:v>44495</c:v>
                </c:pt>
                <c:pt idx="2985">
                  <c:v>44496</c:v>
                </c:pt>
                <c:pt idx="2986">
                  <c:v>44497</c:v>
                </c:pt>
                <c:pt idx="2987">
                  <c:v>44498</c:v>
                </c:pt>
                <c:pt idx="2988">
                  <c:v>44501</c:v>
                </c:pt>
                <c:pt idx="2989">
                  <c:v>44502</c:v>
                </c:pt>
                <c:pt idx="2990">
                  <c:v>44503</c:v>
                </c:pt>
                <c:pt idx="2991">
                  <c:v>44504</c:v>
                </c:pt>
                <c:pt idx="2992">
                  <c:v>44505</c:v>
                </c:pt>
                <c:pt idx="2993">
                  <c:v>44508</c:v>
                </c:pt>
                <c:pt idx="2994">
                  <c:v>44509</c:v>
                </c:pt>
                <c:pt idx="2995">
                  <c:v>44510</c:v>
                </c:pt>
                <c:pt idx="2996">
                  <c:v>44511</c:v>
                </c:pt>
                <c:pt idx="2997">
                  <c:v>44512</c:v>
                </c:pt>
                <c:pt idx="2998">
                  <c:v>44515</c:v>
                </c:pt>
                <c:pt idx="2999">
                  <c:v>44516</c:v>
                </c:pt>
                <c:pt idx="3000">
                  <c:v>44517</c:v>
                </c:pt>
                <c:pt idx="3001">
                  <c:v>44518</c:v>
                </c:pt>
                <c:pt idx="3002">
                  <c:v>44519</c:v>
                </c:pt>
                <c:pt idx="3003">
                  <c:v>44522</c:v>
                </c:pt>
                <c:pt idx="3004">
                  <c:v>44523</c:v>
                </c:pt>
                <c:pt idx="3005">
                  <c:v>44524</c:v>
                </c:pt>
                <c:pt idx="3006">
                  <c:v>44525</c:v>
                </c:pt>
                <c:pt idx="3007">
                  <c:v>44526</c:v>
                </c:pt>
                <c:pt idx="3008">
                  <c:v>44529</c:v>
                </c:pt>
                <c:pt idx="3009">
                  <c:v>44530</c:v>
                </c:pt>
                <c:pt idx="3010">
                  <c:v>44531</c:v>
                </c:pt>
                <c:pt idx="3011">
                  <c:v>44532</c:v>
                </c:pt>
                <c:pt idx="3012">
                  <c:v>44533</c:v>
                </c:pt>
                <c:pt idx="3013">
                  <c:v>44536</c:v>
                </c:pt>
                <c:pt idx="3014">
                  <c:v>44537</c:v>
                </c:pt>
                <c:pt idx="3015">
                  <c:v>44538</c:v>
                </c:pt>
                <c:pt idx="3016">
                  <c:v>44539</c:v>
                </c:pt>
                <c:pt idx="3017">
                  <c:v>44540</c:v>
                </c:pt>
                <c:pt idx="3018">
                  <c:v>44543</c:v>
                </c:pt>
                <c:pt idx="3019">
                  <c:v>44544</c:v>
                </c:pt>
                <c:pt idx="3020">
                  <c:v>44545</c:v>
                </c:pt>
                <c:pt idx="3021">
                  <c:v>44546</c:v>
                </c:pt>
                <c:pt idx="3022">
                  <c:v>44547</c:v>
                </c:pt>
                <c:pt idx="3023">
                  <c:v>44550</c:v>
                </c:pt>
                <c:pt idx="3024">
                  <c:v>44551</c:v>
                </c:pt>
                <c:pt idx="3025">
                  <c:v>44552</c:v>
                </c:pt>
                <c:pt idx="3026">
                  <c:v>44553</c:v>
                </c:pt>
                <c:pt idx="3027">
                  <c:v>44554</c:v>
                </c:pt>
                <c:pt idx="3028">
                  <c:v>44559</c:v>
                </c:pt>
                <c:pt idx="3029">
                  <c:v>44560</c:v>
                </c:pt>
                <c:pt idx="3030">
                  <c:v>44561</c:v>
                </c:pt>
                <c:pt idx="3031">
                  <c:v>44565</c:v>
                </c:pt>
                <c:pt idx="3032">
                  <c:v>44566</c:v>
                </c:pt>
                <c:pt idx="3033">
                  <c:v>44567</c:v>
                </c:pt>
                <c:pt idx="3034">
                  <c:v>44568</c:v>
                </c:pt>
                <c:pt idx="3035">
                  <c:v>44571</c:v>
                </c:pt>
                <c:pt idx="3036">
                  <c:v>44572</c:v>
                </c:pt>
                <c:pt idx="3037">
                  <c:v>44573</c:v>
                </c:pt>
                <c:pt idx="3038">
                  <c:v>44574</c:v>
                </c:pt>
                <c:pt idx="3039">
                  <c:v>44575</c:v>
                </c:pt>
                <c:pt idx="3040">
                  <c:v>44578</c:v>
                </c:pt>
                <c:pt idx="3041">
                  <c:v>44579</c:v>
                </c:pt>
                <c:pt idx="3042">
                  <c:v>44580</c:v>
                </c:pt>
                <c:pt idx="3043">
                  <c:v>44581</c:v>
                </c:pt>
                <c:pt idx="3044">
                  <c:v>44582</c:v>
                </c:pt>
                <c:pt idx="3045">
                  <c:v>44585</c:v>
                </c:pt>
                <c:pt idx="3046">
                  <c:v>44586</c:v>
                </c:pt>
                <c:pt idx="3047">
                  <c:v>44587</c:v>
                </c:pt>
                <c:pt idx="3048">
                  <c:v>44588</c:v>
                </c:pt>
                <c:pt idx="3049">
                  <c:v>44589</c:v>
                </c:pt>
                <c:pt idx="3050">
                  <c:v>44592</c:v>
                </c:pt>
                <c:pt idx="3051">
                  <c:v>44593</c:v>
                </c:pt>
                <c:pt idx="3052">
                  <c:v>44594</c:v>
                </c:pt>
                <c:pt idx="3053">
                  <c:v>44595</c:v>
                </c:pt>
                <c:pt idx="3054">
                  <c:v>44596</c:v>
                </c:pt>
                <c:pt idx="3055">
                  <c:v>44599</c:v>
                </c:pt>
                <c:pt idx="3056">
                  <c:v>44600</c:v>
                </c:pt>
                <c:pt idx="3057">
                  <c:v>44601</c:v>
                </c:pt>
                <c:pt idx="3058">
                  <c:v>44602</c:v>
                </c:pt>
                <c:pt idx="3059">
                  <c:v>44603</c:v>
                </c:pt>
                <c:pt idx="3060">
                  <c:v>44606</c:v>
                </c:pt>
                <c:pt idx="3061">
                  <c:v>44607</c:v>
                </c:pt>
                <c:pt idx="3062">
                  <c:v>44608</c:v>
                </c:pt>
                <c:pt idx="3063">
                  <c:v>44609</c:v>
                </c:pt>
                <c:pt idx="3064">
                  <c:v>44610</c:v>
                </c:pt>
                <c:pt idx="3065">
                  <c:v>44613</c:v>
                </c:pt>
                <c:pt idx="3066">
                  <c:v>44614</c:v>
                </c:pt>
                <c:pt idx="3067">
                  <c:v>44615</c:v>
                </c:pt>
                <c:pt idx="3068">
                  <c:v>44616</c:v>
                </c:pt>
                <c:pt idx="3069">
                  <c:v>44617</c:v>
                </c:pt>
                <c:pt idx="3070">
                  <c:v>44620</c:v>
                </c:pt>
                <c:pt idx="3071">
                  <c:v>44621</c:v>
                </c:pt>
                <c:pt idx="3072">
                  <c:v>44622</c:v>
                </c:pt>
                <c:pt idx="3073">
                  <c:v>44623</c:v>
                </c:pt>
                <c:pt idx="3074">
                  <c:v>44624</c:v>
                </c:pt>
                <c:pt idx="3075">
                  <c:v>44627</c:v>
                </c:pt>
                <c:pt idx="3076">
                  <c:v>44628</c:v>
                </c:pt>
                <c:pt idx="3077">
                  <c:v>44629</c:v>
                </c:pt>
                <c:pt idx="3078">
                  <c:v>44630</c:v>
                </c:pt>
                <c:pt idx="3079">
                  <c:v>44631</c:v>
                </c:pt>
                <c:pt idx="3080">
                  <c:v>44634</c:v>
                </c:pt>
                <c:pt idx="3081">
                  <c:v>44635</c:v>
                </c:pt>
                <c:pt idx="3082">
                  <c:v>44636</c:v>
                </c:pt>
                <c:pt idx="3083">
                  <c:v>44637</c:v>
                </c:pt>
                <c:pt idx="3084">
                  <c:v>44638</c:v>
                </c:pt>
                <c:pt idx="3085">
                  <c:v>44641</c:v>
                </c:pt>
                <c:pt idx="3086">
                  <c:v>44642</c:v>
                </c:pt>
                <c:pt idx="3087">
                  <c:v>44643</c:v>
                </c:pt>
                <c:pt idx="3088">
                  <c:v>44644</c:v>
                </c:pt>
                <c:pt idx="3089">
                  <c:v>44645</c:v>
                </c:pt>
                <c:pt idx="3090">
                  <c:v>44648</c:v>
                </c:pt>
                <c:pt idx="3091">
                  <c:v>44649</c:v>
                </c:pt>
                <c:pt idx="3092">
                  <c:v>44650</c:v>
                </c:pt>
                <c:pt idx="3093">
                  <c:v>44651</c:v>
                </c:pt>
                <c:pt idx="3094">
                  <c:v>44652</c:v>
                </c:pt>
                <c:pt idx="3095">
                  <c:v>44655</c:v>
                </c:pt>
                <c:pt idx="3096">
                  <c:v>44656</c:v>
                </c:pt>
                <c:pt idx="3097">
                  <c:v>44657</c:v>
                </c:pt>
                <c:pt idx="3098">
                  <c:v>44658</c:v>
                </c:pt>
                <c:pt idx="3099">
                  <c:v>44659</c:v>
                </c:pt>
                <c:pt idx="3100">
                  <c:v>44662</c:v>
                </c:pt>
                <c:pt idx="3101">
                  <c:v>44663</c:v>
                </c:pt>
                <c:pt idx="3102">
                  <c:v>44664</c:v>
                </c:pt>
                <c:pt idx="3103">
                  <c:v>44665</c:v>
                </c:pt>
                <c:pt idx="3104">
                  <c:v>44670</c:v>
                </c:pt>
                <c:pt idx="3105">
                  <c:v>44671</c:v>
                </c:pt>
                <c:pt idx="3106">
                  <c:v>44672</c:v>
                </c:pt>
                <c:pt idx="3107">
                  <c:v>44673</c:v>
                </c:pt>
                <c:pt idx="3108">
                  <c:v>44676</c:v>
                </c:pt>
                <c:pt idx="3109">
                  <c:v>44677</c:v>
                </c:pt>
                <c:pt idx="3110">
                  <c:v>44678</c:v>
                </c:pt>
                <c:pt idx="3111">
                  <c:v>44679</c:v>
                </c:pt>
                <c:pt idx="3112">
                  <c:v>44680</c:v>
                </c:pt>
                <c:pt idx="3113">
                  <c:v>44684</c:v>
                </c:pt>
                <c:pt idx="3114">
                  <c:v>44685</c:v>
                </c:pt>
                <c:pt idx="3115">
                  <c:v>44686</c:v>
                </c:pt>
                <c:pt idx="3116">
                  <c:v>44687</c:v>
                </c:pt>
                <c:pt idx="3117">
                  <c:v>44690</c:v>
                </c:pt>
                <c:pt idx="3118">
                  <c:v>44691</c:v>
                </c:pt>
                <c:pt idx="3119">
                  <c:v>44692</c:v>
                </c:pt>
                <c:pt idx="3120">
                  <c:v>44693</c:v>
                </c:pt>
                <c:pt idx="3121">
                  <c:v>44694</c:v>
                </c:pt>
                <c:pt idx="3122">
                  <c:v>44697</c:v>
                </c:pt>
                <c:pt idx="3123">
                  <c:v>44698</c:v>
                </c:pt>
                <c:pt idx="3124">
                  <c:v>44699</c:v>
                </c:pt>
                <c:pt idx="3125">
                  <c:v>44700</c:v>
                </c:pt>
                <c:pt idx="3126">
                  <c:v>44701</c:v>
                </c:pt>
                <c:pt idx="3127">
                  <c:v>44704</c:v>
                </c:pt>
                <c:pt idx="3128">
                  <c:v>44705</c:v>
                </c:pt>
                <c:pt idx="3129">
                  <c:v>44706</c:v>
                </c:pt>
                <c:pt idx="3130">
                  <c:v>44707</c:v>
                </c:pt>
                <c:pt idx="3131">
                  <c:v>44708</c:v>
                </c:pt>
                <c:pt idx="3132">
                  <c:v>44711</c:v>
                </c:pt>
                <c:pt idx="3133">
                  <c:v>44712</c:v>
                </c:pt>
                <c:pt idx="3134">
                  <c:v>44713</c:v>
                </c:pt>
                <c:pt idx="3135">
                  <c:v>44718</c:v>
                </c:pt>
                <c:pt idx="3136">
                  <c:v>44719</c:v>
                </c:pt>
                <c:pt idx="3137">
                  <c:v>44720</c:v>
                </c:pt>
                <c:pt idx="3138">
                  <c:v>44721</c:v>
                </c:pt>
                <c:pt idx="3139">
                  <c:v>44722</c:v>
                </c:pt>
                <c:pt idx="3140">
                  <c:v>44725</c:v>
                </c:pt>
                <c:pt idx="3141">
                  <c:v>44726</c:v>
                </c:pt>
                <c:pt idx="3142">
                  <c:v>44727</c:v>
                </c:pt>
                <c:pt idx="3143">
                  <c:v>44728</c:v>
                </c:pt>
                <c:pt idx="3144">
                  <c:v>44729</c:v>
                </c:pt>
                <c:pt idx="3145">
                  <c:v>44733</c:v>
                </c:pt>
                <c:pt idx="3146">
                  <c:v>44734</c:v>
                </c:pt>
                <c:pt idx="3147">
                  <c:v>44735</c:v>
                </c:pt>
                <c:pt idx="3148">
                  <c:v>44736</c:v>
                </c:pt>
                <c:pt idx="3149">
                  <c:v>44739</c:v>
                </c:pt>
                <c:pt idx="3150">
                  <c:v>44740</c:v>
                </c:pt>
                <c:pt idx="3151">
                  <c:v>44741</c:v>
                </c:pt>
                <c:pt idx="3152">
                  <c:v>44742</c:v>
                </c:pt>
              </c:numCache>
            </c:numRef>
          </c:cat>
          <c:val>
            <c:numRef>
              <c:f>Sheet1!$H$3:$H$3155</c:f>
              <c:numCache>
                <c:formatCode>General</c:formatCode>
                <c:ptCount val="3153"/>
                <c:pt idx="0">
                  <c:v>8.8630000000000013</c:v>
                </c:pt>
                <c:pt idx="1">
                  <c:v>9.2379999999999995</c:v>
                </c:pt>
                <c:pt idx="2">
                  <c:v>9.75</c:v>
                </c:pt>
                <c:pt idx="3">
                  <c:v>10.4</c:v>
                </c:pt>
                <c:pt idx="4">
                  <c:v>10.438000000000001</c:v>
                </c:pt>
                <c:pt idx="5">
                  <c:v>10.824999999999999</c:v>
                </c:pt>
                <c:pt idx="6">
                  <c:v>10.824999999999999</c:v>
                </c:pt>
                <c:pt idx="7">
                  <c:v>10.974999999999998</c:v>
                </c:pt>
                <c:pt idx="8">
                  <c:v>10.424999999999999</c:v>
                </c:pt>
                <c:pt idx="9">
                  <c:v>10.824999999999999</c:v>
                </c:pt>
                <c:pt idx="10">
                  <c:v>11.324999999999996</c:v>
                </c:pt>
                <c:pt idx="11">
                  <c:v>10.775000000000002</c:v>
                </c:pt>
                <c:pt idx="12">
                  <c:v>10.750000000000002</c:v>
                </c:pt>
                <c:pt idx="13">
                  <c:v>10.788</c:v>
                </c:pt>
                <c:pt idx="14">
                  <c:v>10.588000000000001</c:v>
                </c:pt>
                <c:pt idx="15">
                  <c:v>10.406000000000001</c:v>
                </c:pt>
                <c:pt idx="16">
                  <c:v>10.175000000000001</c:v>
                </c:pt>
                <c:pt idx="17">
                  <c:v>10.475000000000001</c:v>
                </c:pt>
                <c:pt idx="18">
                  <c:v>10.145000000000001</c:v>
                </c:pt>
                <c:pt idx="19">
                  <c:v>9.875</c:v>
                </c:pt>
                <c:pt idx="20">
                  <c:v>10.506000000000002</c:v>
                </c:pt>
                <c:pt idx="21">
                  <c:v>10.406000000000001</c:v>
                </c:pt>
                <c:pt idx="22">
                  <c:v>10.130999999999998</c:v>
                </c:pt>
                <c:pt idx="23">
                  <c:v>9.6059999999999999</c:v>
                </c:pt>
                <c:pt idx="24">
                  <c:v>9.875</c:v>
                </c:pt>
                <c:pt idx="25">
                  <c:v>10.169</c:v>
                </c:pt>
                <c:pt idx="26">
                  <c:v>9.6</c:v>
                </c:pt>
                <c:pt idx="27">
                  <c:v>9.8000000000000007</c:v>
                </c:pt>
                <c:pt idx="28">
                  <c:v>10</c:v>
                </c:pt>
                <c:pt idx="29">
                  <c:v>10</c:v>
                </c:pt>
                <c:pt idx="30">
                  <c:v>9.6</c:v>
                </c:pt>
                <c:pt idx="31">
                  <c:v>9.7000000000000011</c:v>
                </c:pt>
                <c:pt idx="32">
                  <c:v>10.3</c:v>
                </c:pt>
                <c:pt idx="33">
                  <c:v>9.8130000000000024</c:v>
                </c:pt>
                <c:pt idx="34">
                  <c:v>8.6749999999999972</c:v>
                </c:pt>
                <c:pt idx="35">
                  <c:v>8.493999999999998</c:v>
                </c:pt>
                <c:pt idx="36">
                  <c:v>9.1190000000000015</c:v>
                </c:pt>
                <c:pt idx="37">
                  <c:v>8.7939999999999987</c:v>
                </c:pt>
                <c:pt idx="38">
                  <c:v>9.2939999999999987</c:v>
                </c:pt>
                <c:pt idx="39">
                  <c:v>9.3940000000000001</c:v>
                </c:pt>
                <c:pt idx="40">
                  <c:v>9.1690000000000023</c:v>
                </c:pt>
                <c:pt idx="41">
                  <c:v>9.5690000000000026</c:v>
                </c:pt>
                <c:pt idx="42">
                  <c:v>9.9939999999999998</c:v>
                </c:pt>
                <c:pt idx="43">
                  <c:v>9.4939999999999998</c:v>
                </c:pt>
                <c:pt idx="44">
                  <c:v>7.469000000000003</c:v>
                </c:pt>
                <c:pt idx="45">
                  <c:v>7.0630000000000024</c:v>
                </c:pt>
                <c:pt idx="46">
                  <c:v>7.0749999999999975</c:v>
                </c:pt>
                <c:pt idx="47">
                  <c:v>7.9500000000000011</c:v>
                </c:pt>
                <c:pt idx="48">
                  <c:v>7.6630000000000029</c:v>
                </c:pt>
                <c:pt idx="49">
                  <c:v>7.3029999999999982</c:v>
                </c:pt>
                <c:pt idx="50">
                  <c:v>6.1189999999999962</c:v>
                </c:pt>
                <c:pt idx="51">
                  <c:v>5.9630000000000019</c:v>
                </c:pt>
                <c:pt idx="52">
                  <c:v>6.1879999999999988</c:v>
                </c:pt>
                <c:pt idx="53">
                  <c:v>7.2379999999999995</c:v>
                </c:pt>
                <c:pt idx="54">
                  <c:v>6.1000000000000023</c:v>
                </c:pt>
                <c:pt idx="55">
                  <c:v>6.2500000000000027</c:v>
                </c:pt>
                <c:pt idx="56">
                  <c:v>8.1880000000000006</c:v>
                </c:pt>
                <c:pt idx="57">
                  <c:v>8.552999999999999</c:v>
                </c:pt>
                <c:pt idx="58">
                  <c:v>8.0910000000000011</c:v>
                </c:pt>
                <c:pt idx="59">
                  <c:v>8.2810000000000024</c:v>
                </c:pt>
                <c:pt idx="60">
                  <c:v>8.2750000000000021</c:v>
                </c:pt>
                <c:pt idx="61">
                  <c:v>8.9129999999999985</c:v>
                </c:pt>
                <c:pt idx="62">
                  <c:v>8.838000000000001</c:v>
                </c:pt>
                <c:pt idx="63">
                  <c:v>8.8999999999999968</c:v>
                </c:pt>
                <c:pt idx="64">
                  <c:v>8.7199999999999971</c:v>
                </c:pt>
                <c:pt idx="65">
                  <c:v>8.2379999999999978</c:v>
                </c:pt>
                <c:pt idx="66">
                  <c:v>8.2750000000000021</c:v>
                </c:pt>
                <c:pt idx="67">
                  <c:v>7.9999999999999991</c:v>
                </c:pt>
                <c:pt idx="68">
                  <c:v>8.2810000000000024</c:v>
                </c:pt>
                <c:pt idx="69">
                  <c:v>8.0410000000000004</c:v>
                </c:pt>
                <c:pt idx="70">
                  <c:v>8.2810000000000024</c:v>
                </c:pt>
                <c:pt idx="71">
                  <c:v>8.0750000000000011</c:v>
                </c:pt>
                <c:pt idx="72">
                  <c:v>8.0879999999999974</c:v>
                </c:pt>
                <c:pt idx="73">
                  <c:v>8.631000000000002</c:v>
                </c:pt>
                <c:pt idx="74">
                  <c:v>8.5310000000000024</c:v>
                </c:pt>
                <c:pt idx="75">
                  <c:v>8.2190000000000012</c:v>
                </c:pt>
                <c:pt idx="76">
                  <c:v>8.8809999999999967</c:v>
                </c:pt>
                <c:pt idx="77">
                  <c:v>8.9779999999999998</c:v>
                </c:pt>
                <c:pt idx="78">
                  <c:v>8.8630000000000013</c:v>
                </c:pt>
                <c:pt idx="79">
                  <c:v>9.3749999999999964</c:v>
                </c:pt>
                <c:pt idx="80">
                  <c:v>10.080999999999998</c:v>
                </c:pt>
                <c:pt idx="81">
                  <c:v>11.180999999999999</c:v>
                </c:pt>
                <c:pt idx="82">
                  <c:v>11.588000000000001</c:v>
                </c:pt>
                <c:pt idx="83">
                  <c:v>11.405999999999997</c:v>
                </c:pt>
                <c:pt idx="84">
                  <c:v>11.663</c:v>
                </c:pt>
                <c:pt idx="85">
                  <c:v>12.315999999999999</c:v>
                </c:pt>
                <c:pt idx="86">
                  <c:v>12.158999999999997</c:v>
                </c:pt>
                <c:pt idx="87">
                  <c:v>18.113</c:v>
                </c:pt>
                <c:pt idx="88">
                  <c:v>18.925000000000001</c:v>
                </c:pt>
                <c:pt idx="89">
                  <c:v>19.181000000000001</c:v>
                </c:pt>
                <c:pt idx="90">
                  <c:v>20.819000000000003</c:v>
                </c:pt>
                <c:pt idx="91">
                  <c:v>21.187999999999999</c:v>
                </c:pt>
                <c:pt idx="92">
                  <c:v>22.606000000000002</c:v>
                </c:pt>
                <c:pt idx="93">
                  <c:v>24.200000000000003</c:v>
                </c:pt>
                <c:pt idx="94">
                  <c:v>23.668999999999997</c:v>
                </c:pt>
                <c:pt idx="95">
                  <c:v>24.65</c:v>
                </c:pt>
                <c:pt idx="96">
                  <c:v>25.205999999999996</c:v>
                </c:pt>
                <c:pt idx="97">
                  <c:v>26.988</c:v>
                </c:pt>
                <c:pt idx="98">
                  <c:v>28.418999999999993</c:v>
                </c:pt>
                <c:pt idx="99">
                  <c:v>31.225000000000001</c:v>
                </c:pt>
                <c:pt idx="100">
                  <c:v>30.681000000000004</c:v>
                </c:pt>
                <c:pt idx="101">
                  <c:v>30.844000000000005</c:v>
                </c:pt>
                <c:pt idx="102">
                  <c:v>30.025000000000002</c:v>
                </c:pt>
                <c:pt idx="103">
                  <c:v>31.074999999999996</c:v>
                </c:pt>
                <c:pt idx="104">
                  <c:v>30.85</c:v>
                </c:pt>
                <c:pt idx="105">
                  <c:v>30.681000000000004</c:v>
                </c:pt>
                <c:pt idx="106">
                  <c:v>31.206</c:v>
                </c:pt>
                <c:pt idx="107">
                  <c:v>32.218999999999994</c:v>
                </c:pt>
                <c:pt idx="108">
                  <c:v>32.088000000000008</c:v>
                </c:pt>
                <c:pt idx="109">
                  <c:v>32.056000000000004</c:v>
                </c:pt>
                <c:pt idx="110">
                  <c:v>32.844000000000008</c:v>
                </c:pt>
                <c:pt idx="111">
                  <c:v>32.426000000000002</c:v>
                </c:pt>
                <c:pt idx="112">
                  <c:v>32.606000000000002</c:v>
                </c:pt>
                <c:pt idx="113">
                  <c:v>32.293999999999997</c:v>
                </c:pt>
                <c:pt idx="114">
                  <c:v>32.494</c:v>
                </c:pt>
                <c:pt idx="115">
                  <c:v>32.225000000000001</c:v>
                </c:pt>
                <c:pt idx="116">
                  <c:v>32.518999999999998</c:v>
                </c:pt>
                <c:pt idx="117">
                  <c:v>32.738</c:v>
                </c:pt>
                <c:pt idx="118">
                  <c:v>32.375</c:v>
                </c:pt>
                <c:pt idx="119">
                  <c:v>33.025000000000006</c:v>
                </c:pt>
                <c:pt idx="120">
                  <c:v>33.219000000000001</c:v>
                </c:pt>
                <c:pt idx="121">
                  <c:v>33.768999999999998</c:v>
                </c:pt>
                <c:pt idx="122">
                  <c:v>33.744</c:v>
                </c:pt>
                <c:pt idx="123">
                  <c:v>32.75</c:v>
                </c:pt>
                <c:pt idx="124">
                  <c:v>33.314</c:v>
                </c:pt>
                <c:pt idx="125">
                  <c:v>32.930999999999997</c:v>
                </c:pt>
                <c:pt idx="126">
                  <c:v>33.863000000000007</c:v>
                </c:pt>
                <c:pt idx="127">
                  <c:v>33.424999999999997</c:v>
                </c:pt>
                <c:pt idx="128">
                  <c:v>33.312999999999995</c:v>
                </c:pt>
                <c:pt idx="129">
                  <c:v>33.788000000000004</c:v>
                </c:pt>
                <c:pt idx="130">
                  <c:v>32.949999999999996</c:v>
                </c:pt>
                <c:pt idx="131">
                  <c:v>33.381</c:v>
                </c:pt>
                <c:pt idx="132">
                  <c:v>33.406000000000006</c:v>
                </c:pt>
                <c:pt idx="133">
                  <c:v>33.493999999999993</c:v>
                </c:pt>
                <c:pt idx="134">
                  <c:v>33.713000000000001</c:v>
                </c:pt>
                <c:pt idx="135">
                  <c:v>34.119</c:v>
                </c:pt>
                <c:pt idx="136">
                  <c:v>33.524999999999999</c:v>
                </c:pt>
                <c:pt idx="137">
                  <c:v>32.881</c:v>
                </c:pt>
                <c:pt idx="138">
                  <c:v>32.749999999999993</c:v>
                </c:pt>
                <c:pt idx="139">
                  <c:v>32.524999999999999</c:v>
                </c:pt>
                <c:pt idx="140">
                  <c:v>31.280999999999999</c:v>
                </c:pt>
                <c:pt idx="141">
                  <c:v>30.913</c:v>
                </c:pt>
                <c:pt idx="142">
                  <c:v>30.169999999999998</c:v>
                </c:pt>
                <c:pt idx="143">
                  <c:v>29.025000000000002</c:v>
                </c:pt>
                <c:pt idx="144">
                  <c:v>28.769999999999996</c:v>
                </c:pt>
                <c:pt idx="145">
                  <c:v>27.162999999999997</c:v>
                </c:pt>
                <c:pt idx="146">
                  <c:v>26.074999999999999</c:v>
                </c:pt>
                <c:pt idx="147">
                  <c:v>25.768999999999998</c:v>
                </c:pt>
                <c:pt idx="148">
                  <c:v>25.638999999999999</c:v>
                </c:pt>
                <c:pt idx="149">
                  <c:v>24.706</c:v>
                </c:pt>
                <c:pt idx="150">
                  <c:v>24.163</c:v>
                </c:pt>
                <c:pt idx="151">
                  <c:v>23.675000000000001</c:v>
                </c:pt>
                <c:pt idx="152">
                  <c:v>23.238000000000003</c:v>
                </c:pt>
                <c:pt idx="153">
                  <c:v>22.181000000000001</c:v>
                </c:pt>
                <c:pt idx="154">
                  <c:v>21.038</c:v>
                </c:pt>
                <c:pt idx="155">
                  <c:v>20.324999999999999</c:v>
                </c:pt>
                <c:pt idx="156">
                  <c:v>20.037999999999997</c:v>
                </c:pt>
                <c:pt idx="157">
                  <c:v>19.007999999999996</c:v>
                </c:pt>
                <c:pt idx="158">
                  <c:v>17.469000000000001</c:v>
                </c:pt>
                <c:pt idx="159">
                  <c:v>16.947000000000003</c:v>
                </c:pt>
                <c:pt idx="160">
                  <c:v>16.605999999999998</c:v>
                </c:pt>
                <c:pt idx="161">
                  <c:v>15.322000000000003</c:v>
                </c:pt>
                <c:pt idx="162">
                  <c:v>14.05</c:v>
                </c:pt>
                <c:pt idx="163">
                  <c:v>12.950000000000001</c:v>
                </c:pt>
                <c:pt idx="164">
                  <c:v>12.675000000000002</c:v>
                </c:pt>
                <c:pt idx="165">
                  <c:v>12.757999999999997</c:v>
                </c:pt>
                <c:pt idx="166">
                  <c:v>11.557999999999998</c:v>
                </c:pt>
                <c:pt idx="167">
                  <c:v>10.833</c:v>
                </c:pt>
                <c:pt idx="168">
                  <c:v>11.063000000000001</c:v>
                </c:pt>
                <c:pt idx="169">
                  <c:v>11.137999999999998</c:v>
                </c:pt>
                <c:pt idx="170">
                  <c:v>10.731000000000002</c:v>
                </c:pt>
                <c:pt idx="171">
                  <c:v>10.819000000000001</c:v>
                </c:pt>
                <c:pt idx="172">
                  <c:v>10.387999999999998</c:v>
                </c:pt>
                <c:pt idx="173">
                  <c:v>10.249999999999998</c:v>
                </c:pt>
                <c:pt idx="174">
                  <c:v>10.349999999999998</c:v>
                </c:pt>
                <c:pt idx="175">
                  <c:v>9.6690000000000005</c:v>
                </c:pt>
                <c:pt idx="176">
                  <c:v>10.719000000000001</c:v>
                </c:pt>
                <c:pt idx="177">
                  <c:v>10.687999999999997</c:v>
                </c:pt>
                <c:pt idx="178">
                  <c:v>10.503000000000002</c:v>
                </c:pt>
                <c:pt idx="179">
                  <c:v>10.341000000000001</c:v>
                </c:pt>
                <c:pt idx="180">
                  <c:v>10.355999999999998</c:v>
                </c:pt>
                <c:pt idx="181">
                  <c:v>9.9810000000000016</c:v>
                </c:pt>
                <c:pt idx="182">
                  <c:v>10.169</c:v>
                </c:pt>
                <c:pt idx="183">
                  <c:v>10.138000000000002</c:v>
                </c:pt>
                <c:pt idx="184">
                  <c:v>10.138000000000002</c:v>
                </c:pt>
                <c:pt idx="185">
                  <c:v>9.9880000000000031</c:v>
                </c:pt>
                <c:pt idx="186">
                  <c:v>10.108000000000002</c:v>
                </c:pt>
                <c:pt idx="187">
                  <c:v>10.558000000000003</c:v>
                </c:pt>
                <c:pt idx="188">
                  <c:v>10.849999999999998</c:v>
                </c:pt>
                <c:pt idx="189">
                  <c:v>10.749999999999998</c:v>
                </c:pt>
                <c:pt idx="190">
                  <c:v>10.483000000000001</c:v>
                </c:pt>
                <c:pt idx="191">
                  <c:v>10.663</c:v>
                </c:pt>
                <c:pt idx="192">
                  <c:v>11.069999999999999</c:v>
                </c:pt>
                <c:pt idx="193">
                  <c:v>11.219000000000001</c:v>
                </c:pt>
                <c:pt idx="194">
                  <c:v>11.525999999999998</c:v>
                </c:pt>
                <c:pt idx="195">
                  <c:v>11.805999999999997</c:v>
                </c:pt>
                <c:pt idx="196">
                  <c:v>11.905999999999997</c:v>
                </c:pt>
                <c:pt idx="197">
                  <c:v>11.375999999999998</c:v>
                </c:pt>
                <c:pt idx="198">
                  <c:v>12.205999999999998</c:v>
                </c:pt>
                <c:pt idx="199">
                  <c:v>11.925999999999998</c:v>
                </c:pt>
                <c:pt idx="200">
                  <c:v>11.655999999999999</c:v>
                </c:pt>
                <c:pt idx="201">
                  <c:v>11.606</c:v>
                </c:pt>
                <c:pt idx="202">
                  <c:v>11.655999999999999</c:v>
                </c:pt>
                <c:pt idx="203">
                  <c:v>11.743999999999996</c:v>
                </c:pt>
                <c:pt idx="204">
                  <c:v>11.943999999999996</c:v>
                </c:pt>
                <c:pt idx="205">
                  <c:v>11.293999999999999</c:v>
                </c:pt>
                <c:pt idx="206">
                  <c:v>11.863999999999997</c:v>
                </c:pt>
                <c:pt idx="207">
                  <c:v>11.443999999999999</c:v>
                </c:pt>
                <c:pt idx="208">
                  <c:v>10.763</c:v>
                </c:pt>
                <c:pt idx="209">
                  <c:v>11.158000000000001</c:v>
                </c:pt>
                <c:pt idx="210">
                  <c:v>11.064000000000002</c:v>
                </c:pt>
                <c:pt idx="211">
                  <c:v>11.144000000000004</c:v>
                </c:pt>
                <c:pt idx="212">
                  <c:v>11.114000000000001</c:v>
                </c:pt>
                <c:pt idx="213">
                  <c:v>10.414000000000003</c:v>
                </c:pt>
                <c:pt idx="214">
                  <c:v>10.932999999999998</c:v>
                </c:pt>
                <c:pt idx="215">
                  <c:v>10.133000000000001</c:v>
                </c:pt>
                <c:pt idx="216">
                  <c:v>10.463000000000001</c:v>
                </c:pt>
                <c:pt idx="217">
                  <c:v>11.113000000000001</c:v>
                </c:pt>
                <c:pt idx="218">
                  <c:v>11.163</c:v>
                </c:pt>
                <c:pt idx="219">
                  <c:v>10.863</c:v>
                </c:pt>
                <c:pt idx="220">
                  <c:v>10.538000000000004</c:v>
                </c:pt>
                <c:pt idx="221">
                  <c:v>10.488000000000003</c:v>
                </c:pt>
                <c:pt idx="222">
                  <c:v>10.338000000000003</c:v>
                </c:pt>
                <c:pt idx="223">
                  <c:v>10.388000000000003</c:v>
                </c:pt>
                <c:pt idx="224">
                  <c:v>10.438000000000002</c:v>
                </c:pt>
                <c:pt idx="225">
                  <c:v>10.288000000000002</c:v>
                </c:pt>
                <c:pt idx="226">
                  <c:v>9.9580000000000037</c:v>
                </c:pt>
                <c:pt idx="227">
                  <c:v>9.8880000000000017</c:v>
                </c:pt>
                <c:pt idx="228">
                  <c:v>10.399999999999999</c:v>
                </c:pt>
                <c:pt idx="229">
                  <c:v>10.087999999999997</c:v>
                </c:pt>
                <c:pt idx="230">
                  <c:v>9.987999999999996</c:v>
                </c:pt>
                <c:pt idx="231">
                  <c:v>10.793999999999999</c:v>
                </c:pt>
                <c:pt idx="232">
                  <c:v>10.531000000000002</c:v>
                </c:pt>
                <c:pt idx="233">
                  <c:v>10.843999999999998</c:v>
                </c:pt>
                <c:pt idx="234">
                  <c:v>10.743999999999998</c:v>
                </c:pt>
                <c:pt idx="235">
                  <c:v>11.643999999999998</c:v>
                </c:pt>
                <c:pt idx="236">
                  <c:v>12.394</c:v>
                </c:pt>
                <c:pt idx="237">
                  <c:v>12.219000000000001</c:v>
                </c:pt>
                <c:pt idx="238">
                  <c:v>12.269000000000002</c:v>
                </c:pt>
                <c:pt idx="239">
                  <c:v>12.619000000000003</c:v>
                </c:pt>
                <c:pt idx="240">
                  <c:v>12.556000000000001</c:v>
                </c:pt>
                <c:pt idx="241">
                  <c:v>12.756</c:v>
                </c:pt>
                <c:pt idx="242">
                  <c:v>12.187999999999999</c:v>
                </c:pt>
                <c:pt idx="243">
                  <c:v>12.137999999999998</c:v>
                </c:pt>
                <c:pt idx="244">
                  <c:v>12.375000000000004</c:v>
                </c:pt>
                <c:pt idx="245">
                  <c:v>12.475000000000003</c:v>
                </c:pt>
                <c:pt idx="246">
                  <c:v>12.281000000000002</c:v>
                </c:pt>
                <c:pt idx="247">
                  <c:v>11.731000000000002</c:v>
                </c:pt>
                <c:pt idx="248">
                  <c:v>11.981000000000003</c:v>
                </c:pt>
                <c:pt idx="249">
                  <c:v>12.081000000000003</c:v>
                </c:pt>
                <c:pt idx="250">
                  <c:v>12.281000000000002</c:v>
                </c:pt>
                <c:pt idx="251">
                  <c:v>14.181000000000003</c:v>
                </c:pt>
                <c:pt idx="252">
                  <c:v>11.931000000000003</c:v>
                </c:pt>
                <c:pt idx="253">
                  <c:v>11.981000000000003</c:v>
                </c:pt>
                <c:pt idx="254">
                  <c:v>12.181000000000003</c:v>
                </c:pt>
                <c:pt idx="255">
                  <c:v>12.331000000000003</c:v>
                </c:pt>
                <c:pt idx="256">
                  <c:v>12.083000000000002</c:v>
                </c:pt>
                <c:pt idx="257">
                  <c:v>12.463000000000001</c:v>
                </c:pt>
                <c:pt idx="258">
                  <c:v>12.763000000000002</c:v>
                </c:pt>
                <c:pt idx="259">
                  <c:v>13.063000000000002</c:v>
                </c:pt>
                <c:pt idx="260">
                  <c:v>13.063000000000002</c:v>
                </c:pt>
                <c:pt idx="261">
                  <c:v>13.363</c:v>
                </c:pt>
                <c:pt idx="262">
                  <c:v>13.663</c:v>
                </c:pt>
                <c:pt idx="263">
                  <c:v>13.533000000000001</c:v>
                </c:pt>
                <c:pt idx="264">
                  <c:v>13.563000000000001</c:v>
                </c:pt>
                <c:pt idx="265">
                  <c:v>13.763</c:v>
                </c:pt>
                <c:pt idx="266">
                  <c:v>13.763</c:v>
                </c:pt>
                <c:pt idx="267">
                  <c:v>14.033000000000001</c:v>
                </c:pt>
                <c:pt idx="268">
                  <c:v>14.063000000000001</c:v>
                </c:pt>
                <c:pt idx="269">
                  <c:v>14.087999999999997</c:v>
                </c:pt>
                <c:pt idx="270">
                  <c:v>13.987999999999998</c:v>
                </c:pt>
                <c:pt idx="271">
                  <c:v>14.487999999999998</c:v>
                </c:pt>
                <c:pt idx="272">
                  <c:v>14.887999999999998</c:v>
                </c:pt>
                <c:pt idx="273">
                  <c:v>14.587999999999997</c:v>
                </c:pt>
                <c:pt idx="274">
                  <c:v>14.899999999999999</c:v>
                </c:pt>
                <c:pt idx="275">
                  <c:v>15.1</c:v>
                </c:pt>
                <c:pt idx="276">
                  <c:v>14.92</c:v>
                </c:pt>
                <c:pt idx="277">
                  <c:v>15</c:v>
                </c:pt>
                <c:pt idx="278">
                  <c:v>14.92</c:v>
                </c:pt>
                <c:pt idx="279">
                  <c:v>15.15</c:v>
                </c:pt>
                <c:pt idx="280">
                  <c:v>15.15</c:v>
                </c:pt>
                <c:pt idx="281">
                  <c:v>15.45</c:v>
                </c:pt>
                <c:pt idx="282">
                  <c:v>16.150000000000002</c:v>
                </c:pt>
                <c:pt idx="283">
                  <c:v>16.05</c:v>
                </c:pt>
                <c:pt idx="284">
                  <c:v>16.100000000000001</c:v>
                </c:pt>
                <c:pt idx="285">
                  <c:v>16.5</c:v>
                </c:pt>
                <c:pt idx="286">
                  <c:v>16.7</c:v>
                </c:pt>
                <c:pt idx="287">
                  <c:v>16.8</c:v>
                </c:pt>
                <c:pt idx="288">
                  <c:v>16.650000000000002</c:v>
                </c:pt>
                <c:pt idx="289">
                  <c:v>17</c:v>
                </c:pt>
                <c:pt idx="290">
                  <c:v>16.900000000000002</c:v>
                </c:pt>
                <c:pt idx="291">
                  <c:v>16.900000000000002</c:v>
                </c:pt>
                <c:pt idx="292">
                  <c:v>16.5</c:v>
                </c:pt>
                <c:pt idx="293">
                  <c:v>16.7</c:v>
                </c:pt>
                <c:pt idx="294">
                  <c:v>16.600000000000001</c:v>
                </c:pt>
                <c:pt idx="295">
                  <c:v>16.600000000000001</c:v>
                </c:pt>
                <c:pt idx="296">
                  <c:v>16.600000000000001</c:v>
                </c:pt>
                <c:pt idx="297">
                  <c:v>16.600000000000001</c:v>
                </c:pt>
                <c:pt idx="298">
                  <c:v>16.7</c:v>
                </c:pt>
                <c:pt idx="299">
                  <c:v>17</c:v>
                </c:pt>
                <c:pt idx="300">
                  <c:v>17</c:v>
                </c:pt>
                <c:pt idx="301">
                  <c:v>17.299999999999997</c:v>
                </c:pt>
                <c:pt idx="302">
                  <c:v>17.299999999999997</c:v>
                </c:pt>
                <c:pt idx="303">
                  <c:v>17.149999999999999</c:v>
                </c:pt>
                <c:pt idx="304">
                  <c:v>17.149999999999999</c:v>
                </c:pt>
                <c:pt idx="305">
                  <c:v>17.049999999999997</c:v>
                </c:pt>
                <c:pt idx="306">
                  <c:v>16.95</c:v>
                </c:pt>
                <c:pt idx="307">
                  <c:v>16.8</c:v>
                </c:pt>
                <c:pt idx="308">
                  <c:v>16.5</c:v>
                </c:pt>
                <c:pt idx="309">
                  <c:v>16.25</c:v>
                </c:pt>
                <c:pt idx="310">
                  <c:v>15.85</c:v>
                </c:pt>
                <c:pt idx="311">
                  <c:v>16.400000000000002</c:v>
                </c:pt>
                <c:pt idx="312">
                  <c:v>16.799999999999997</c:v>
                </c:pt>
                <c:pt idx="313">
                  <c:v>16.75</c:v>
                </c:pt>
                <c:pt idx="314">
                  <c:v>17.549999999999997</c:v>
                </c:pt>
                <c:pt idx="315">
                  <c:v>17.47</c:v>
                </c:pt>
                <c:pt idx="316">
                  <c:v>17.149999999999999</c:v>
                </c:pt>
                <c:pt idx="317">
                  <c:v>17.8</c:v>
                </c:pt>
                <c:pt idx="318">
                  <c:v>17.725000000000001</c:v>
                </c:pt>
                <c:pt idx="319">
                  <c:v>16.875</c:v>
                </c:pt>
                <c:pt idx="320">
                  <c:v>17.663</c:v>
                </c:pt>
                <c:pt idx="321">
                  <c:v>16.599999999999998</c:v>
                </c:pt>
                <c:pt idx="322">
                  <c:v>16.625</c:v>
                </c:pt>
                <c:pt idx="323">
                  <c:v>15.925000000000001</c:v>
                </c:pt>
                <c:pt idx="324">
                  <c:v>16.425000000000001</c:v>
                </c:pt>
                <c:pt idx="325">
                  <c:v>16.700000000000003</c:v>
                </c:pt>
                <c:pt idx="326">
                  <c:v>16.500000000000004</c:v>
                </c:pt>
                <c:pt idx="327">
                  <c:v>16.275000000000002</c:v>
                </c:pt>
                <c:pt idx="328">
                  <c:v>15.650000000000002</c:v>
                </c:pt>
                <c:pt idx="329">
                  <c:v>15.675000000000001</c:v>
                </c:pt>
                <c:pt idx="330">
                  <c:v>15.574999999999999</c:v>
                </c:pt>
                <c:pt idx="331">
                  <c:v>15.074999999999999</c:v>
                </c:pt>
                <c:pt idx="332">
                  <c:v>15.375</c:v>
                </c:pt>
                <c:pt idx="333">
                  <c:v>15.475</c:v>
                </c:pt>
                <c:pt idx="334">
                  <c:v>15.350000000000003</c:v>
                </c:pt>
                <c:pt idx="335">
                  <c:v>16.525000000000002</c:v>
                </c:pt>
                <c:pt idx="336">
                  <c:v>16.924999999999997</c:v>
                </c:pt>
                <c:pt idx="337">
                  <c:v>16.625</c:v>
                </c:pt>
                <c:pt idx="338">
                  <c:v>16.000000000000004</c:v>
                </c:pt>
                <c:pt idx="339">
                  <c:v>16.375</c:v>
                </c:pt>
                <c:pt idx="340">
                  <c:v>16.45</c:v>
                </c:pt>
                <c:pt idx="341">
                  <c:v>16.224999999999998</c:v>
                </c:pt>
                <c:pt idx="342">
                  <c:v>15.994999999999997</c:v>
                </c:pt>
                <c:pt idx="343">
                  <c:v>16</c:v>
                </c:pt>
                <c:pt idx="344">
                  <c:v>16</c:v>
                </c:pt>
                <c:pt idx="345">
                  <c:v>16.124999999999996</c:v>
                </c:pt>
                <c:pt idx="346">
                  <c:v>15.400000000000002</c:v>
                </c:pt>
                <c:pt idx="347">
                  <c:v>15.650000000000002</c:v>
                </c:pt>
                <c:pt idx="348">
                  <c:v>15.550000000000002</c:v>
                </c:pt>
                <c:pt idx="349">
                  <c:v>15.324999999999999</c:v>
                </c:pt>
                <c:pt idx="350">
                  <c:v>14.650000000000002</c:v>
                </c:pt>
                <c:pt idx="351">
                  <c:v>13.950000000000001</c:v>
                </c:pt>
                <c:pt idx="352">
                  <c:v>14.800000000000002</c:v>
                </c:pt>
                <c:pt idx="353">
                  <c:v>14.188000000000001</c:v>
                </c:pt>
                <c:pt idx="354">
                  <c:v>14.538</c:v>
                </c:pt>
                <c:pt idx="355">
                  <c:v>14.288</c:v>
                </c:pt>
                <c:pt idx="356">
                  <c:v>14.3</c:v>
                </c:pt>
                <c:pt idx="357">
                  <c:v>14.250000000000002</c:v>
                </c:pt>
                <c:pt idx="358">
                  <c:v>14.124999999999998</c:v>
                </c:pt>
                <c:pt idx="359">
                  <c:v>13.974999999999998</c:v>
                </c:pt>
                <c:pt idx="360">
                  <c:v>13.824999999999999</c:v>
                </c:pt>
                <c:pt idx="361">
                  <c:v>13.700000000000001</c:v>
                </c:pt>
                <c:pt idx="362">
                  <c:v>13.700000000000001</c:v>
                </c:pt>
                <c:pt idx="363">
                  <c:v>13.15</c:v>
                </c:pt>
                <c:pt idx="364">
                  <c:v>13.174999999999997</c:v>
                </c:pt>
                <c:pt idx="365">
                  <c:v>12.85</c:v>
                </c:pt>
                <c:pt idx="366">
                  <c:v>12.55</c:v>
                </c:pt>
                <c:pt idx="367">
                  <c:v>12.4</c:v>
                </c:pt>
                <c:pt idx="368">
                  <c:v>12.8</c:v>
                </c:pt>
                <c:pt idx="369">
                  <c:v>12.45</c:v>
                </c:pt>
                <c:pt idx="370">
                  <c:v>12.8</c:v>
                </c:pt>
                <c:pt idx="371">
                  <c:v>13.3</c:v>
                </c:pt>
                <c:pt idx="372">
                  <c:v>13.374999999999998</c:v>
                </c:pt>
                <c:pt idx="373">
                  <c:v>13.224999999999998</c:v>
                </c:pt>
                <c:pt idx="374">
                  <c:v>12.574999999999999</c:v>
                </c:pt>
                <c:pt idx="375">
                  <c:v>12.625</c:v>
                </c:pt>
                <c:pt idx="376">
                  <c:v>12.574999999999999</c:v>
                </c:pt>
                <c:pt idx="377">
                  <c:v>12.525</c:v>
                </c:pt>
                <c:pt idx="378">
                  <c:v>12.675000000000001</c:v>
                </c:pt>
                <c:pt idx="379">
                  <c:v>12.825000000000001</c:v>
                </c:pt>
                <c:pt idx="380">
                  <c:v>13.424999999999997</c:v>
                </c:pt>
                <c:pt idx="381">
                  <c:v>13.455</c:v>
                </c:pt>
                <c:pt idx="382">
                  <c:v>13.855</c:v>
                </c:pt>
                <c:pt idx="383">
                  <c:v>14.055000000000001</c:v>
                </c:pt>
                <c:pt idx="384">
                  <c:v>14.05</c:v>
                </c:pt>
                <c:pt idx="385">
                  <c:v>14.975</c:v>
                </c:pt>
                <c:pt idx="386">
                  <c:v>15.525</c:v>
                </c:pt>
                <c:pt idx="387">
                  <c:v>15.525</c:v>
                </c:pt>
                <c:pt idx="388">
                  <c:v>15.874999999999998</c:v>
                </c:pt>
                <c:pt idx="389">
                  <c:v>14.750000000000002</c:v>
                </c:pt>
                <c:pt idx="390">
                  <c:v>14.950000000000003</c:v>
                </c:pt>
                <c:pt idx="391">
                  <c:v>14.650000000000002</c:v>
                </c:pt>
                <c:pt idx="392">
                  <c:v>15.050000000000002</c:v>
                </c:pt>
                <c:pt idx="393">
                  <c:v>15.059999999999999</c:v>
                </c:pt>
                <c:pt idx="394">
                  <c:v>14.46</c:v>
                </c:pt>
                <c:pt idx="395">
                  <c:v>13.485000000000003</c:v>
                </c:pt>
                <c:pt idx="396">
                  <c:v>13.245000000000001</c:v>
                </c:pt>
                <c:pt idx="397">
                  <c:v>12.9</c:v>
                </c:pt>
                <c:pt idx="398">
                  <c:v>12.571999999999999</c:v>
                </c:pt>
                <c:pt idx="399">
                  <c:v>15.094000000000001</c:v>
                </c:pt>
                <c:pt idx="400">
                  <c:v>16.178000000000004</c:v>
                </c:pt>
                <c:pt idx="401">
                  <c:v>19.189</c:v>
                </c:pt>
                <c:pt idx="402">
                  <c:v>18.361000000000001</c:v>
                </c:pt>
                <c:pt idx="403">
                  <c:v>18.828000000000003</c:v>
                </c:pt>
                <c:pt idx="404">
                  <c:v>19.339000000000002</c:v>
                </c:pt>
                <c:pt idx="405">
                  <c:v>19.411000000000005</c:v>
                </c:pt>
                <c:pt idx="406">
                  <c:v>19.366999999999997</c:v>
                </c:pt>
                <c:pt idx="407">
                  <c:v>18.956</c:v>
                </c:pt>
                <c:pt idx="408">
                  <c:v>19.471999999999998</c:v>
                </c:pt>
                <c:pt idx="409">
                  <c:v>19.732999999999997</c:v>
                </c:pt>
                <c:pt idx="410">
                  <c:v>20.038999999999998</c:v>
                </c:pt>
                <c:pt idx="411">
                  <c:v>21.327999999999996</c:v>
                </c:pt>
                <c:pt idx="412">
                  <c:v>21.4</c:v>
                </c:pt>
                <c:pt idx="413">
                  <c:v>22.143999999999998</c:v>
                </c:pt>
                <c:pt idx="414">
                  <c:v>22.428000000000001</c:v>
                </c:pt>
                <c:pt idx="415">
                  <c:v>22.728000000000002</c:v>
                </c:pt>
                <c:pt idx="416">
                  <c:v>23.549999999999997</c:v>
                </c:pt>
                <c:pt idx="417">
                  <c:v>24.428000000000001</c:v>
                </c:pt>
                <c:pt idx="418">
                  <c:v>23.956000000000003</c:v>
                </c:pt>
                <c:pt idx="419">
                  <c:v>23.872</c:v>
                </c:pt>
                <c:pt idx="420">
                  <c:v>24.094000000000001</c:v>
                </c:pt>
                <c:pt idx="421">
                  <c:v>24.306000000000001</c:v>
                </c:pt>
                <c:pt idx="422">
                  <c:v>24.578000000000003</c:v>
                </c:pt>
                <c:pt idx="423">
                  <c:v>24.961000000000002</c:v>
                </c:pt>
                <c:pt idx="424">
                  <c:v>25.033000000000005</c:v>
                </c:pt>
                <c:pt idx="425">
                  <c:v>25.783000000000001</c:v>
                </c:pt>
                <c:pt idx="426">
                  <c:v>25.894000000000002</c:v>
                </c:pt>
                <c:pt idx="427">
                  <c:v>25.838999999999995</c:v>
                </c:pt>
                <c:pt idx="428">
                  <c:v>26.910999999999994</c:v>
                </c:pt>
                <c:pt idx="429">
                  <c:v>27.610999999999997</c:v>
                </c:pt>
                <c:pt idx="430">
                  <c:v>28.171999999999997</c:v>
                </c:pt>
                <c:pt idx="431">
                  <c:v>28.332999999999998</c:v>
                </c:pt>
                <c:pt idx="432">
                  <c:v>28.7</c:v>
                </c:pt>
                <c:pt idx="433">
                  <c:v>28.549999999999997</c:v>
                </c:pt>
                <c:pt idx="434">
                  <c:v>26.505999999999997</c:v>
                </c:pt>
                <c:pt idx="435">
                  <c:v>27.005999999999997</c:v>
                </c:pt>
                <c:pt idx="436">
                  <c:v>27.122</c:v>
                </c:pt>
                <c:pt idx="437">
                  <c:v>27.427999999999997</c:v>
                </c:pt>
                <c:pt idx="438">
                  <c:v>27.471999999999998</c:v>
                </c:pt>
                <c:pt idx="439">
                  <c:v>27.956000000000003</c:v>
                </c:pt>
                <c:pt idx="440">
                  <c:v>28.561000000000003</c:v>
                </c:pt>
                <c:pt idx="441">
                  <c:v>28.532999999999998</c:v>
                </c:pt>
                <c:pt idx="442">
                  <c:v>28.610999999999997</c:v>
                </c:pt>
                <c:pt idx="443">
                  <c:v>29.244000000000003</c:v>
                </c:pt>
                <c:pt idx="444">
                  <c:v>29.461000000000006</c:v>
                </c:pt>
                <c:pt idx="445">
                  <c:v>29.927999999999997</c:v>
                </c:pt>
                <c:pt idx="446">
                  <c:v>30.161000000000005</c:v>
                </c:pt>
                <c:pt idx="447">
                  <c:v>30.617000000000004</c:v>
                </c:pt>
                <c:pt idx="448">
                  <c:v>31.3</c:v>
                </c:pt>
                <c:pt idx="449">
                  <c:v>31.832999999999998</c:v>
                </c:pt>
                <c:pt idx="450">
                  <c:v>32.055999999999997</c:v>
                </c:pt>
                <c:pt idx="451">
                  <c:v>32.222000000000001</c:v>
                </c:pt>
                <c:pt idx="452">
                  <c:v>32.433</c:v>
                </c:pt>
                <c:pt idx="453">
                  <c:v>32.866999999999997</c:v>
                </c:pt>
                <c:pt idx="454">
                  <c:v>32.916999999999994</c:v>
                </c:pt>
                <c:pt idx="455">
                  <c:v>33.305999999999997</c:v>
                </c:pt>
                <c:pt idx="456">
                  <c:v>33.332999999999998</c:v>
                </c:pt>
                <c:pt idx="457">
                  <c:v>33.977999999999994</c:v>
                </c:pt>
                <c:pt idx="458">
                  <c:v>34.071999999999996</c:v>
                </c:pt>
                <c:pt idx="459">
                  <c:v>34.171999999999997</c:v>
                </c:pt>
                <c:pt idx="460">
                  <c:v>34.055999999999997</c:v>
                </c:pt>
                <c:pt idx="461">
                  <c:v>34.393999999999998</c:v>
                </c:pt>
                <c:pt idx="462">
                  <c:v>34.593999999999994</c:v>
                </c:pt>
                <c:pt idx="463">
                  <c:v>34.567</c:v>
                </c:pt>
                <c:pt idx="464">
                  <c:v>34.756</c:v>
                </c:pt>
                <c:pt idx="465">
                  <c:v>34.85</c:v>
                </c:pt>
                <c:pt idx="466">
                  <c:v>35</c:v>
                </c:pt>
                <c:pt idx="467">
                  <c:v>35.389000000000003</c:v>
                </c:pt>
                <c:pt idx="468">
                  <c:v>35.667000000000002</c:v>
                </c:pt>
                <c:pt idx="469">
                  <c:v>36.417000000000002</c:v>
                </c:pt>
                <c:pt idx="470">
                  <c:v>36.728000000000002</c:v>
                </c:pt>
                <c:pt idx="471">
                  <c:v>37.021999999999998</c:v>
                </c:pt>
                <c:pt idx="472">
                  <c:v>37.306000000000004</c:v>
                </c:pt>
                <c:pt idx="473">
                  <c:v>37.905999999999992</c:v>
                </c:pt>
                <c:pt idx="474">
                  <c:v>38.110999999999997</c:v>
                </c:pt>
                <c:pt idx="475">
                  <c:v>37.793999999999997</c:v>
                </c:pt>
                <c:pt idx="476">
                  <c:v>38.878</c:v>
                </c:pt>
                <c:pt idx="477">
                  <c:v>39.349999999999994</c:v>
                </c:pt>
                <c:pt idx="478">
                  <c:v>40.027999999999999</c:v>
                </c:pt>
                <c:pt idx="479">
                  <c:v>40.360999999999997</c:v>
                </c:pt>
                <c:pt idx="480">
                  <c:v>40.766999999999996</c:v>
                </c:pt>
                <c:pt idx="481">
                  <c:v>40.405999999999999</c:v>
                </c:pt>
                <c:pt idx="482">
                  <c:v>41.555999999999997</c:v>
                </c:pt>
                <c:pt idx="483">
                  <c:v>42.193999999999996</c:v>
                </c:pt>
                <c:pt idx="484">
                  <c:v>42.338999999999999</c:v>
                </c:pt>
                <c:pt idx="485">
                  <c:v>42.972000000000001</c:v>
                </c:pt>
                <c:pt idx="486">
                  <c:v>43.132999999999996</c:v>
                </c:pt>
                <c:pt idx="487">
                  <c:v>43.64</c:v>
                </c:pt>
                <c:pt idx="488">
                  <c:v>44.274999999999999</c:v>
                </c:pt>
                <c:pt idx="489">
                  <c:v>45.050000000000004</c:v>
                </c:pt>
                <c:pt idx="490">
                  <c:v>44.800000000000004</c:v>
                </c:pt>
                <c:pt idx="491">
                  <c:v>45.124999999999993</c:v>
                </c:pt>
                <c:pt idx="492">
                  <c:v>45.35</c:v>
                </c:pt>
                <c:pt idx="493">
                  <c:v>45.774999999999999</c:v>
                </c:pt>
                <c:pt idx="494">
                  <c:v>46.625000000000007</c:v>
                </c:pt>
                <c:pt idx="495">
                  <c:v>47.164999999999999</c:v>
                </c:pt>
                <c:pt idx="496">
                  <c:v>47.765000000000001</c:v>
                </c:pt>
                <c:pt idx="497">
                  <c:v>47.795000000000002</c:v>
                </c:pt>
                <c:pt idx="498">
                  <c:v>48.224999999999994</c:v>
                </c:pt>
                <c:pt idx="499">
                  <c:v>48.675000000000004</c:v>
                </c:pt>
                <c:pt idx="500">
                  <c:v>48.724999999999994</c:v>
                </c:pt>
                <c:pt idx="501">
                  <c:v>48.875</c:v>
                </c:pt>
                <c:pt idx="502">
                  <c:v>49.275000000000006</c:v>
                </c:pt>
                <c:pt idx="503">
                  <c:v>49.4</c:v>
                </c:pt>
                <c:pt idx="504">
                  <c:v>49.699999999999996</c:v>
                </c:pt>
                <c:pt idx="505">
                  <c:v>49.9</c:v>
                </c:pt>
                <c:pt idx="506">
                  <c:v>50.1</c:v>
                </c:pt>
                <c:pt idx="507">
                  <c:v>50.350000000000009</c:v>
                </c:pt>
                <c:pt idx="508">
                  <c:v>50.050000000000004</c:v>
                </c:pt>
                <c:pt idx="509">
                  <c:v>50</c:v>
                </c:pt>
                <c:pt idx="510">
                  <c:v>49.82</c:v>
                </c:pt>
                <c:pt idx="511">
                  <c:v>49.6</c:v>
                </c:pt>
                <c:pt idx="512">
                  <c:v>48.75</c:v>
                </c:pt>
                <c:pt idx="513">
                  <c:v>48.349999999999994</c:v>
                </c:pt>
                <c:pt idx="514">
                  <c:v>48.239999999999995</c:v>
                </c:pt>
                <c:pt idx="515">
                  <c:v>47.73</c:v>
                </c:pt>
                <c:pt idx="516">
                  <c:v>47.17</c:v>
                </c:pt>
                <c:pt idx="517">
                  <c:v>47.370000000000005</c:v>
                </c:pt>
                <c:pt idx="518">
                  <c:v>46.96</c:v>
                </c:pt>
                <c:pt idx="519">
                  <c:v>47.110000000000007</c:v>
                </c:pt>
                <c:pt idx="520">
                  <c:v>46.760000000000005</c:v>
                </c:pt>
                <c:pt idx="521">
                  <c:v>46.41</c:v>
                </c:pt>
                <c:pt idx="522">
                  <c:v>46.410000000000004</c:v>
                </c:pt>
                <c:pt idx="523">
                  <c:v>46.06</c:v>
                </c:pt>
                <c:pt idx="524">
                  <c:v>45.434999999999995</c:v>
                </c:pt>
                <c:pt idx="525">
                  <c:v>44.684999999999995</c:v>
                </c:pt>
                <c:pt idx="526">
                  <c:v>43.260000000000005</c:v>
                </c:pt>
                <c:pt idx="527">
                  <c:v>42.21</c:v>
                </c:pt>
                <c:pt idx="528">
                  <c:v>41.550000000000004</c:v>
                </c:pt>
                <c:pt idx="529">
                  <c:v>41.075000000000003</c:v>
                </c:pt>
                <c:pt idx="530">
                  <c:v>40.85</c:v>
                </c:pt>
                <c:pt idx="531">
                  <c:v>39.975000000000001</c:v>
                </c:pt>
                <c:pt idx="532">
                  <c:v>38.85</c:v>
                </c:pt>
                <c:pt idx="533">
                  <c:v>37.6</c:v>
                </c:pt>
                <c:pt idx="534">
                  <c:v>37.010000000000005</c:v>
                </c:pt>
                <c:pt idx="535">
                  <c:v>36.809999999999995</c:v>
                </c:pt>
                <c:pt idx="536">
                  <c:v>37.26</c:v>
                </c:pt>
                <c:pt idx="537">
                  <c:v>36.96</c:v>
                </c:pt>
                <c:pt idx="538">
                  <c:v>38.06</c:v>
                </c:pt>
                <c:pt idx="539">
                  <c:v>37.81</c:v>
                </c:pt>
                <c:pt idx="540">
                  <c:v>38.26</c:v>
                </c:pt>
                <c:pt idx="541">
                  <c:v>37.81</c:v>
                </c:pt>
                <c:pt idx="542">
                  <c:v>37.31</c:v>
                </c:pt>
                <c:pt idx="543">
                  <c:v>37.46</c:v>
                </c:pt>
                <c:pt idx="544">
                  <c:v>37.01</c:v>
                </c:pt>
                <c:pt idx="545">
                  <c:v>37.1</c:v>
                </c:pt>
                <c:pt idx="546">
                  <c:v>36.675000000000004</c:v>
                </c:pt>
                <c:pt idx="547">
                  <c:v>36.620000000000005</c:v>
                </c:pt>
                <c:pt idx="548">
                  <c:v>36.425000000000004</c:v>
                </c:pt>
                <c:pt idx="549">
                  <c:v>36.205000000000005</c:v>
                </c:pt>
                <c:pt idx="550">
                  <c:v>36.205000000000005</c:v>
                </c:pt>
                <c:pt idx="551">
                  <c:v>35.855000000000004</c:v>
                </c:pt>
                <c:pt idx="552">
                  <c:v>35.455000000000005</c:v>
                </c:pt>
                <c:pt idx="553">
                  <c:v>35.205000000000005</c:v>
                </c:pt>
                <c:pt idx="554">
                  <c:v>34.855000000000004</c:v>
                </c:pt>
                <c:pt idx="555">
                  <c:v>34.515000000000001</c:v>
                </c:pt>
                <c:pt idx="556">
                  <c:v>34.115000000000002</c:v>
                </c:pt>
                <c:pt idx="557">
                  <c:v>33.914999999999999</c:v>
                </c:pt>
                <c:pt idx="558">
                  <c:v>34.015000000000001</c:v>
                </c:pt>
                <c:pt idx="559">
                  <c:v>33.615000000000002</c:v>
                </c:pt>
                <c:pt idx="560">
                  <c:v>32.664999999999999</c:v>
                </c:pt>
                <c:pt idx="561">
                  <c:v>33.564999999999998</c:v>
                </c:pt>
                <c:pt idx="562">
                  <c:v>33.814999999999998</c:v>
                </c:pt>
                <c:pt idx="563">
                  <c:v>33.715000000000003</c:v>
                </c:pt>
                <c:pt idx="564">
                  <c:v>33.865000000000002</c:v>
                </c:pt>
                <c:pt idx="565">
                  <c:v>34.015000000000001</c:v>
                </c:pt>
                <c:pt idx="566">
                  <c:v>33.914999999999999</c:v>
                </c:pt>
                <c:pt idx="567">
                  <c:v>33.715000000000003</c:v>
                </c:pt>
                <c:pt idx="568">
                  <c:v>34.064999999999998</c:v>
                </c:pt>
                <c:pt idx="569">
                  <c:v>33.615000000000002</c:v>
                </c:pt>
                <c:pt idx="570">
                  <c:v>32.914999999999999</c:v>
                </c:pt>
                <c:pt idx="571">
                  <c:v>32.715000000000003</c:v>
                </c:pt>
                <c:pt idx="572">
                  <c:v>32.564999999999998</c:v>
                </c:pt>
                <c:pt idx="573">
                  <c:v>32.564999999999998</c:v>
                </c:pt>
                <c:pt idx="574">
                  <c:v>32.564999999999998</c:v>
                </c:pt>
                <c:pt idx="575">
                  <c:v>32.365000000000002</c:v>
                </c:pt>
                <c:pt idx="576">
                  <c:v>32.365000000000002</c:v>
                </c:pt>
                <c:pt idx="577">
                  <c:v>32.415000000000006</c:v>
                </c:pt>
                <c:pt idx="578">
                  <c:v>32.415000000000006</c:v>
                </c:pt>
                <c:pt idx="579">
                  <c:v>32.415000000000006</c:v>
                </c:pt>
                <c:pt idx="580">
                  <c:v>32.714999999999996</c:v>
                </c:pt>
                <c:pt idx="581">
                  <c:v>32.914999999999999</c:v>
                </c:pt>
                <c:pt idx="582">
                  <c:v>33.414999999999999</c:v>
                </c:pt>
                <c:pt idx="583">
                  <c:v>32.984999999999999</c:v>
                </c:pt>
                <c:pt idx="584">
                  <c:v>32.934999999999995</c:v>
                </c:pt>
                <c:pt idx="585">
                  <c:v>32.734999999999999</c:v>
                </c:pt>
                <c:pt idx="586">
                  <c:v>32.984999999999999</c:v>
                </c:pt>
                <c:pt idx="587">
                  <c:v>32.884999999999998</c:v>
                </c:pt>
                <c:pt idx="588">
                  <c:v>32.384999999999998</c:v>
                </c:pt>
                <c:pt idx="589">
                  <c:v>32.384999999999998</c:v>
                </c:pt>
                <c:pt idx="590">
                  <c:v>32.184999999999995</c:v>
                </c:pt>
                <c:pt idx="591">
                  <c:v>32.184999999999995</c:v>
                </c:pt>
                <c:pt idx="592">
                  <c:v>31.584999999999997</c:v>
                </c:pt>
                <c:pt idx="593">
                  <c:v>31.835000000000001</c:v>
                </c:pt>
                <c:pt idx="594">
                  <c:v>31.784999999999997</c:v>
                </c:pt>
                <c:pt idx="595">
                  <c:v>31.384999999999998</c:v>
                </c:pt>
                <c:pt idx="596">
                  <c:v>30.884999999999994</c:v>
                </c:pt>
                <c:pt idx="597">
                  <c:v>30.734999999999999</c:v>
                </c:pt>
                <c:pt idx="598">
                  <c:v>30.484999999999996</c:v>
                </c:pt>
                <c:pt idx="599">
                  <c:v>29.884999999999994</c:v>
                </c:pt>
                <c:pt idx="600">
                  <c:v>30.035</c:v>
                </c:pt>
                <c:pt idx="601">
                  <c:v>30.234999999999999</c:v>
                </c:pt>
                <c:pt idx="602">
                  <c:v>30.584999999999994</c:v>
                </c:pt>
                <c:pt idx="603">
                  <c:v>30.835000000000001</c:v>
                </c:pt>
                <c:pt idx="604">
                  <c:v>30.784999999999997</c:v>
                </c:pt>
                <c:pt idx="605">
                  <c:v>30.284999999999997</c:v>
                </c:pt>
                <c:pt idx="606">
                  <c:v>30.484999999999996</c:v>
                </c:pt>
                <c:pt idx="607">
                  <c:v>30.335000000000001</c:v>
                </c:pt>
                <c:pt idx="608">
                  <c:v>30.535</c:v>
                </c:pt>
                <c:pt idx="609">
                  <c:v>30.484999999999996</c:v>
                </c:pt>
                <c:pt idx="610">
                  <c:v>31.035</c:v>
                </c:pt>
                <c:pt idx="611">
                  <c:v>30.835000000000001</c:v>
                </c:pt>
                <c:pt idx="612">
                  <c:v>30.935000000000002</c:v>
                </c:pt>
                <c:pt idx="613">
                  <c:v>30.784999999999997</c:v>
                </c:pt>
                <c:pt idx="614">
                  <c:v>29.835000000000001</c:v>
                </c:pt>
                <c:pt idx="615">
                  <c:v>29.535</c:v>
                </c:pt>
                <c:pt idx="616">
                  <c:v>29.635000000000002</c:v>
                </c:pt>
                <c:pt idx="617">
                  <c:v>29.734999999999999</c:v>
                </c:pt>
                <c:pt idx="618">
                  <c:v>30.584999999999994</c:v>
                </c:pt>
                <c:pt idx="619">
                  <c:v>30.684999999999995</c:v>
                </c:pt>
                <c:pt idx="620">
                  <c:v>30.035</c:v>
                </c:pt>
                <c:pt idx="621">
                  <c:v>29.610000000000003</c:v>
                </c:pt>
                <c:pt idx="622">
                  <c:v>29.26</c:v>
                </c:pt>
                <c:pt idx="623">
                  <c:v>28.410000000000004</c:v>
                </c:pt>
                <c:pt idx="624">
                  <c:v>28.46</c:v>
                </c:pt>
                <c:pt idx="625">
                  <c:v>28.26</c:v>
                </c:pt>
                <c:pt idx="626">
                  <c:v>28.360000000000003</c:v>
                </c:pt>
                <c:pt idx="627">
                  <c:v>28.310000000000002</c:v>
                </c:pt>
                <c:pt idx="628">
                  <c:v>28.360000000000003</c:v>
                </c:pt>
                <c:pt idx="629">
                  <c:v>28.51</c:v>
                </c:pt>
                <c:pt idx="630">
                  <c:v>28.16</c:v>
                </c:pt>
                <c:pt idx="631">
                  <c:v>28.060000000000002</c:v>
                </c:pt>
                <c:pt idx="632">
                  <c:v>28.410000000000004</c:v>
                </c:pt>
                <c:pt idx="633">
                  <c:v>29.110000000000003</c:v>
                </c:pt>
                <c:pt idx="634">
                  <c:v>29.059999999999995</c:v>
                </c:pt>
                <c:pt idx="635">
                  <c:v>29.110000000000003</c:v>
                </c:pt>
                <c:pt idx="636">
                  <c:v>29.359999999999996</c:v>
                </c:pt>
                <c:pt idx="637">
                  <c:v>29.459999999999997</c:v>
                </c:pt>
                <c:pt idx="638">
                  <c:v>30.810000000000002</c:v>
                </c:pt>
                <c:pt idx="639">
                  <c:v>30.259999999999998</c:v>
                </c:pt>
                <c:pt idx="640">
                  <c:v>30.010000000000005</c:v>
                </c:pt>
                <c:pt idx="641">
                  <c:v>31.010000000000005</c:v>
                </c:pt>
                <c:pt idx="642">
                  <c:v>31.16</c:v>
                </c:pt>
                <c:pt idx="643">
                  <c:v>30.86</c:v>
                </c:pt>
                <c:pt idx="644">
                  <c:v>30.810000000000002</c:v>
                </c:pt>
                <c:pt idx="645">
                  <c:v>30.459999999999997</c:v>
                </c:pt>
                <c:pt idx="646">
                  <c:v>30.56</c:v>
                </c:pt>
                <c:pt idx="647">
                  <c:v>30.010000000000005</c:v>
                </c:pt>
                <c:pt idx="648">
                  <c:v>30.159999999999997</c:v>
                </c:pt>
                <c:pt idx="649">
                  <c:v>31.06</c:v>
                </c:pt>
                <c:pt idx="650">
                  <c:v>30.61</c:v>
                </c:pt>
                <c:pt idx="651">
                  <c:v>29.56</c:v>
                </c:pt>
                <c:pt idx="652">
                  <c:v>30.285</c:v>
                </c:pt>
                <c:pt idx="653">
                  <c:v>29.485000000000007</c:v>
                </c:pt>
                <c:pt idx="654">
                  <c:v>29.635000000000002</c:v>
                </c:pt>
                <c:pt idx="655">
                  <c:v>29.635000000000002</c:v>
                </c:pt>
                <c:pt idx="656">
                  <c:v>29.075000000000006</c:v>
                </c:pt>
                <c:pt idx="657">
                  <c:v>29.25</c:v>
                </c:pt>
                <c:pt idx="658">
                  <c:v>29.300000000000004</c:v>
                </c:pt>
                <c:pt idx="659">
                  <c:v>29.15</c:v>
                </c:pt>
                <c:pt idx="660">
                  <c:v>29.7</c:v>
                </c:pt>
                <c:pt idx="661">
                  <c:v>29.200000000000003</c:v>
                </c:pt>
                <c:pt idx="662">
                  <c:v>29.200000000000003</c:v>
                </c:pt>
                <c:pt idx="663">
                  <c:v>29.200000000000003</c:v>
                </c:pt>
                <c:pt idx="664">
                  <c:v>29.200000000000003</c:v>
                </c:pt>
                <c:pt idx="665">
                  <c:v>29.049999999999997</c:v>
                </c:pt>
                <c:pt idx="666">
                  <c:v>29.125</c:v>
                </c:pt>
                <c:pt idx="667">
                  <c:v>29.035</c:v>
                </c:pt>
                <c:pt idx="668">
                  <c:v>29.234999999999999</c:v>
                </c:pt>
                <c:pt idx="669">
                  <c:v>28.775000000000002</c:v>
                </c:pt>
                <c:pt idx="670">
                  <c:v>29.074999999999999</c:v>
                </c:pt>
                <c:pt idx="671">
                  <c:v>29.025000000000002</c:v>
                </c:pt>
                <c:pt idx="672">
                  <c:v>29.375</c:v>
                </c:pt>
                <c:pt idx="673">
                  <c:v>28.734999999999999</c:v>
                </c:pt>
                <c:pt idx="674">
                  <c:v>28.934999999999999</c:v>
                </c:pt>
                <c:pt idx="675">
                  <c:v>28.335000000000001</c:v>
                </c:pt>
                <c:pt idx="676">
                  <c:v>27.584999999999997</c:v>
                </c:pt>
                <c:pt idx="677">
                  <c:v>27.675000000000001</c:v>
                </c:pt>
                <c:pt idx="678">
                  <c:v>27.574999999999999</c:v>
                </c:pt>
                <c:pt idx="679">
                  <c:v>27.244999999999997</c:v>
                </c:pt>
                <c:pt idx="680">
                  <c:v>26.544999999999995</c:v>
                </c:pt>
                <c:pt idx="681">
                  <c:v>26.024999999999999</c:v>
                </c:pt>
                <c:pt idx="682">
                  <c:v>24.874999999999996</c:v>
                </c:pt>
                <c:pt idx="683">
                  <c:v>24.524999999999999</c:v>
                </c:pt>
                <c:pt idx="684">
                  <c:v>23.874999999999996</c:v>
                </c:pt>
                <c:pt idx="685">
                  <c:v>23.125</c:v>
                </c:pt>
                <c:pt idx="686">
                  <c:v>23.349999999999998</c:v>
                </c:pt>
                <c:pt idx="687">
                  <c:v>23.175000000000001</c:v>
                </c:pt>
                <c:pt idx="688">
                  <c:v>22.975000000000001</c:v>
                </c:pt>
                <c:pt idx="689">
                  <c:v>22.4</c:v>
                </c:pt>
                <c:pt idx="690">
                  <c:v>22.025000000000002</c:v>
                </c:pt>
                <c:pt idx="691">
                  <c:v>22.074999999999999</c:v>
                </c:pt>
                <c:pt idx="692">
                  <c:v>22.199999999999996</c:v>
                </c:pt>
                <c:pt idx="693">
                  <c:v>21.675000000000001</c:v>
                </c:pt>
                <c:pt idx="694">
                  <c:v>21.65</c:v>
                </c:pt>
                <c:pt idx="695">
                  <c:v>21.499999999999996</c:v>
                </c:pt>
                <c:pt idx="696">
                  <c:v>21.274999999999999</c:v>
                </c:pt>
                <c:pt idx="697">
                  <c:v>21.074999999999999</c:v>
                </c:pt>
                <c:pt idx="698">
                  <c:v>20.825000000000003</c:v>
                </c:pt>
                <c:pt idx="699">
                  <c:v>20.625</c:v>
                </c:pt>
                <c:pt idx="700">
                  <c:v>20.224999999999998</c:v>
                </c:pt>
                <c:pt idx="701">
                  <c:v>20.224999999999998</c:v>
                </c:pt>
                <c:pt idx="702">
                  <c:v>19.474999999999998</c:v>
                </c:pt>
                <c:pt idx="703">
                  <c:v>18.875</c:v>
                </c:pt>
                <c:pt idx="704">
                  <c:v>17.925000000000001</c:v>
                </c:pt>
                <c:pt idx="705">
                  <c:v>17.424999999999997</c:v>
                </c:pt>
                <c:pt idx="706">
                  <c:v>17.324999999999999</c:v>
                </c:pt>
                <c:pt idx="707">
                  <c:v>17.674999999999997</c:v>
                </c:pt>
                <c:pt idx="708">
                  <c:v>17.324999999999999</c:v>
                </c:pt>
                <c:pt idx="709">
                  <c:v>17.274999999999999</c:v>
                </c:pt>
                <c:pt idx="710">
                  <c:v>16.624999999999996</c:v>
                </c:pt>
                <c:pt idx="711">
                  <c:v>15.524999999999997</c:v>
                </c:pt>
                <c:pt idx="712">
                  <c:v>16.174999999999997</c:v>
                </c:pt>
                <c:pt idx="713">
                  <c:v>15.974999999999998</c:v>
                </c:pt>
                <c:pt idx="714">
                  <c:v>16.024999999999999</c:v>
                </c:pt>
                <c:pt idx="715">
                  <c:v>16.074999999999999</c:v>
                </c:pt>
                <c:pt idx="716">
                  <c:v>15.674999999999997</c:v>
                </c:pt>
                <c:pt idx="717">
                  <c:v>16.024999999999999</c:v>
                </c:pt>
                <c:pt idx="718">
                  <c:v>16.025000000000002</c:v>
                </c:pt>
                <c:pt idx="719">
                  <c:v>15.825000000000003</c:v>
                </c:pt>
                <c:pt idx="720">
                  <c:v>16.100000000000001</c:v>
                </c:pt>
                <c:pt idx="721">
                  <c:v>16.650000000000002</c:v>
                </c:pt>
                <c:pt idx="722">
                  <c:v>16.400000000000002</c:v>
                </c:pt>
                <c:pt idx="723">
                  <c:v>16.150000000000002</c:v>
                </c:pt>
                <c:pt idx="724">
                  <c:v>16.350000000000001</c:v>
                </c:pt>
                <c:pt idx="725">
                  <c:v>16.350000000000001</c:v>
                </c:pt>
                <c:pt idx="726">
                  <c:v>16.150000000000002</c:v>
                </c:pt>
                <c:pt idx="727">
                  <c:v>16.3</c:v>
                </c:pt>
                <c:pt idx="728">
                  <c:v>16.75</c:v>
                </c:pt>
                <c:pt idx="729">
                  <c:v>16.5</c:v>
                </c:pt>
                <c:pt idx="730">
                  <c:v>16.5</c:v>
                </c:pt>
                <c:pt idx="731">
                  <c:v>16.350000000000001</c:v>
                </c:pt>
                <c:pt idx="732">
                  <c:v>16.5</c:v>
                </c:pt>
                <c:pt idx="733">
                  <c:v>16.2</c:v>
                </c:pt>
                <c:pt idx="734">
                  <c:v>16.3</c:v>
                </c:pt>
                <c:pt idx="735">
                  <c:v>16.100000000000001</c:v>
                </c:pt>
                <c:pt idx="736">
                  <c:v>16.3</c:v>
                </c:pt>
                <c:pt idx="737">
                  <c:v>16.25</c:v>
                </c:pt>
                <c:pt idx="738">
                  <c:v>16.3</c:v>
                </c:pt>
                <c:pt idx="739">
                  <c:v>16.75</c:v>
                </c:pt>
                <c:pt idx="740">
                  <c:v>16.2</c:v>
                </c:pt>
                <c:pt idx="741">
                  <c:v>16.55</c:v>
                </c:pt>
                <c:pt idx="742">
                  <c:v>16.580000000000002</c:v>
                </c:pt>
                <c:pt idx="743">
                  <c:v>16.650000000000002</c:v>
                </c:pt>
                <c:pt idx="744">
                  <c:v>16.600000000000001</c:v>
                </c:pt>
                <c:pt idx="745">
                  <c:v>16.600000000000001</c:v>
                </c:pt>
                <c:pt idx="746">
                  <c:v>16.650000000000002</c:v>
                </c:pt>
                <c:pt idx="747">
                  <c:v>16.75</c:v>
                </c:pt>
                <c:pt idx="748">
                  <c:v>16.7</c:v>
                </c:pt>
                <c:pt idx="749">
                  <c:v>15.2</c:v>
                </c:pt>
                <c:pt idx="750">
                  <c:v>15.299999999999999</c:v>
                </c:pt>
                <c:pt idx="751">
                  <c:v>15.85</c:v>
                </c:pt>
                <c:pt idx="752">
                  <c:v>15.55</c:v>
                </c:pt>
                <c:pt idx="753">
                  <c:v>15.6</c:v>
                </c:pt>
                <c:pt idx="754">
                  <c:v>15.8</c:v>
                </c:pt>
                <c:pt idx="755">
                  <c:v>15.7</c:v>
                </c:pt>
                <c:pt idx="756">
                  <c:v>15.9</c:v>
                </c:pt>
                <c:pt idx="757">
                  <c:v>15.8</c:v>
                </c:pt>
                <c:pt idx="758">
                  <c:v>15.950000000000001</c:v>
                </c:pt>
                <c:pt idx="759">
                  <c:v>15.950000000000001</c:v>
                </c:pt>
                <c:pt idx="760">
                  <c:v>16.150000000000002</c:v>
                </c:pt>
                <c:pt idx="761">
                  <c:v>16.150000000000002</c:v>
                </c:pt>
                <c:pt idx="762">
                  <c:v>16.549999999999997</c:v>
                </c:pt>
                <c:pt idx="763">
                  <c:v>17.099999999999998</c:v>
                </c:pt>
                <c:pt idx="764">
                  <c:v>16.95</c:v>
                </c:pt>
                <c:pt idx="765">
                  <c:v>16.7</c:v>
                </c:pt>
                <c:pt idx="766">
                  <c:v>16.299999999999997</c:v>
                </c:pt>
                <c:pt idx="767">
                  <c:v>16.349999999999998</c:v>
                </c:pt>
                <c:pt idx="768">
                  <c:v>16.100000000000001</c:v>
                </c:pt>
                <c:pt idx="769">
                  <c:v>16.849999999999998</c:v>
                </c:pt>
                <c:pt idx="770">
                  <c:v>16.299999999999997</c:v>
                </c:pt>
                <c:pt idx="771">
                  <c:v>17.599999999999998</c:v>
                </c:pt>
                <c:pt idx="772">
                  <c:v>17.299999999999997</c:v>
                </c:pt>
                <c:pt idx="773">
                  <c:v>16.849999999999998</c:v>
                </c:pt>
                <c:pt idx="774">
                  <c:v>16.349999999999998</c:v>
                </c:pt>
                <c:pt idx="775">
                  <c:v>16.599999999999998</c:v>
                </c:pt>
                <c:pt idx="776">
                  <c:v>16.899999999999999</c:v>
                </c:pt>
                <c:pt idx="777">
                  <c:v>16.75</c:v>
                </c:pt>
                <c:pt idx="778">
                  <c:v>16.7</c:v>
                </c:pt>
                <c:pt idx="779">
                  <c:v>16.549999999999997</c:v>
                </c:pt>
                <c:pt idx="780">
                  <c:v>16.299999999999997</c:v>
                </c:pt>
                <c:pt idx="781">
                  <c:v>16.649999999999999</c:v>
                </c:pt>
                <c:pt idx="782">
                  <c:v>16.249999999999996</c:v>
                </c:pt>
                <c:pt idx="783">
                  <c:v>15.749999999999996</c:v>
                </c:pt>
                <c:pt idx="784">
                  <c:v>15.749999999999996</c:v>
                </c:pt>
                <c:pt idx="785">
                  <c:v>15.660000000000002</c:v>
                </c:pt>
                <c:pt idx="786">
                  <c:v>15.160000000000002</c:v>
                </c:pt>
                <c:pt idx="787">
                  <c:v>14.96</c:v>
                </c:pt>
                <c:pt idx="788">
                  <c:v>15.160000000000002</c:v>
                </c:pt>
                <c:pt idx="789">
                  <c:v>14.710000000000004</c:v>
                </c:pt>
                <c:pt idx="790">
                  <c:v>14.510000000000003</c:v>
                </c:pt>
                <c:pt idx="791">
                  <c:v>14.460000000000003</c:v>
                </c:pt>
                <c:pt idx="792">
                  <c:v>14.550000000000002</c:v>
                </c:pt>
                <c:pt idx="793">
                  <c:v>14.430000000000001</c:v>
                </c:pt>
                <c:pt idx="794">
                  <c:v>14.510000000000003</c:v>
                </c:pt>
                <c:pt idx="795">
                  <c:v>14.570000000000002</c:v>
                </c:pt>
                <c:pt idx="796">
                  <c:v>14.570000000000002</c:v>
                </c:pt>
                <c:pt idx="797">
                  <c:v>14.670000000000002</c:v>
                </c:pt>
                <c:pt idx="798">
                  <c:v>15.010000000000002</c:v>
                </c:pt>
                <c:pt idx="799">
                  <c:v>14.610000000000001</c:v>
                </c:pt>
                <c:pt idx="800">
                  <c:v>14.510000000000002</c:v>
                </c:pt>
                <c:pt idx="801">
                  <c:v>14.31</c:v>
                </c:pt>
                <c:pt idx="802">
                  <c:v>13.760000000000003</c:v>
                </c:pt>
                <c:pt idx="803">
                  <c:v>13.960000000000003</c:v>
                </c:pt>
                <c:pt idx="804">
                  <c:v>13.810000000000002</c:v>
                </c:pt>
                <c:pt idx="805">
                  <c:v>13.940000000000003</c:v>
                </c:pt>
                <c:pt idx="806">
                  <c:v>14.510000000000002</c:v>
                </c:pt>
                <c:pt idx="807">
                  <c:v>14.200000000000001</c:v>
                </c:pt>
                <c:pt idx="808">
                  <c:v>14.41</c:v>
                </c:pt>
                <c:pt idx="809">
                  <c:v>14.190000000000003</c:v>
                </c:pt>
                <c:pt idx="810">
                  <c:v>14.21</c:v>
                </c:pt>
                <c:pt idx="811">
                  <c:v>13.910000000000004</c:v>
                </c:pt>
                <c:pt idx="812">
                  <c:v>14.260000000000003</c:v>
                </c:pt>
                <c:pt idx="813">
                  <c:v>14.210000000000003</c:v>
                </c:pt>
                <c:pt idx="814">
                  <c:v>14.260000000000003</c:v>
                </c:pt>
                <c:pt idx="815">
                  <c:v>13.860000000000003</c:v>
                </c:pt>
                <c:pt idx="816">
                  <c:v>14.260000000000003</c:v>
                </c:pt>
                <c:pt idx="817">
                  <c:v>14.31</c:v>
                </c:pt>
                <c:pt idx="818">
                  <c:v>14.26</c:v>
                </c:pt>
                <c:pt idx="819">
                  <c:v>14.400000000000002</c:v>
                </c:pt>
                <c:pt idx="820">
                  <c:v>14.610000000000001</c:v>
                </c:pt>
                <c:pt idx="821">
                  <c:v>14.839999999999998</c:v>
                </c:pt>
                <c:pt idx="822">
                  <c:v>14.739999999999998</c:v>
                </c:pt>
                <c:pt idx="823">
                  <c:v>14.839999999999998</c:v>
                </c:pt>
                <c:pt idx="824">
                  <c:v>14.650000000000002</c:v>
                </c:pt>
                <c:pt idx="825">
                  <c:v>14.610000000000001</c:v>
                </c:pt>
                <c:pt idx="826">
                  <c:v>14.510000000000002</c:v>
                </c:pt>
                <c:pt idx="827">
                  <c:v>14.760000000000002</c:v>
                </c:pt>
                <c:pt idx="828">
                  <c:v>14.71</c:v>
                </c:pt>
                <c:pt idx="829">
                  <c:v>14.510000000000002</c:v>
                </c:pt>
                <c:pt idx="830">
                  <c:v>14.34</c:v>
                </c:pt>
                <c:pt idx="831">
                  <c:v>14.360000000000001</c:v>
                </c:pt>
                <c:pt idx="832">
                  <c:v>14.21</c:v>
                </c:pt>
                <c:pt idx="833">
                  <c:v>14.510000000000002</c:v>
                </c:pt>
                <c:pt idx="834">
                  <c:v>14.23</c:v>
                </c:pt>
                <c:pt idx="835">
                  <c:v>14.21</c:v>
                </c:pt>
                <c:pt idx="836">
                  <c:v>14.46</c:v>
                </c:pt>
                <c:pt idx="837">
                  <c:v>14.71</c:v>
                </c:pt>
                <c:pt idx="838">
                  <c:v>15.21</c:v>
                </c:pt>
                <c:pt idx="839">
                  <c:v>15.06</c:v>
                </c:pt>
                <c:pt idx="840">
                  <c:v>15.000000000000002</c:v>
                </c:pt>
                <c:pt idx="841">
                  <c:v>14.71</c:v>
                </c:pt>
                <c:pt idx="842">
                  <c:v>15.06</c:v>
                </c:pt>
                <c:pt idx="843">
                  <c:v>15.260000000000002</c:v>
                </c:pt>
                <c:pt idx="844">
                  <c:v>15.260000000000002</c:v>
                </c:pt>
                <c:pt idx="845">
                  <c:v>15.21</c:v>
                </c:pt>
                <c:pt idx="846">
                  <c:v>15.160000000000002</c:v>
                </c:pt>
                <c:pt idx="847">
                  <c:v>15.310000000000002</c:v>
                </c:pt>
                <c:pt idx="848">
                  <c:v>15.110000000000001</c:v>
                </c:pt>
                <c:pt idx="849">
                  <c:v>15.010000000000002</c:v>
                </c:pt>
                <c:pt idx="850">
                  <c:v>15.410000000000002</c:v>
                </c:pt>
                <c:pt idx="851">
                  <c:v>15.260000000000002</c:v>
                </c:pt>
                <c:pt idx="852">
                  <c:v>16.110000000000003</c:v>
                </c:pt>
                <c:pt idx="853">
                  <c:v>16.220000000000002</c:v>
                </c:pt>
                <c:pt idx="854">
                  <c:v>16.074999999999999</c:v>
                </c:pt>
                <c:pt idx="855">
                  <c:v>16.074999999999999</c:v>
                </c:pt>
                <c:pt idx="856">
                  <c:v>16.175000000000001</c:v>
                </c:pt>
                <c:pt idx="857">
                  <c:v>15.775</c:v>
                </c:pt>
                <c:pt idx="858">
                  <c:v>16.475000000000001</c:v>
                </c:pt>
                <c:pt idx="859">
                  <c:v>16.844999999999999</c:v>
                </c:pt>
                <c:pt idx="860">
                  <c:v>16.405000000000001</c:v>
                </c:pt>
                <c:pt idx="861">
                  <c:v>16.525000000000002</c:v>
                </c:pt>
                <c:pt idx="862">
                  <c:v>16.585000000000001</c:v>
                </c:pt>
                <c:pt idx="863">
                  <c:v>16.545000000000005</c:v>
                </c:pt>
                <c:pt idx="864">
                  <c:v>16.564999999999998</c:v>
                </c:pt>
                <c:pt idx="865">
                  <c:v>16.594999999999999</c:v>
                </c:pt>
                <c:pt idx="866">
                  <c:v>16.785</c:v>
                </c:pt>
                <c:pt idx="867">
                  <c:v>16.625</c:v>
                </c:pt>
                <c:pt idx="868">
                  <c:v>16.395</c:v>
                </c:pt>
                <c:pt idx="869">
                  <c:v>16.825000000000003</c:v>
                </c:pt>
                <c:pt idx="870">
                  <c:v>16.804999999999996</c:v>
                </c:pt>
                <c:pt idx="871">
                  <c:v>16.425000000000001</c:v>
                </c:pt>
                <c:pt idx="872">
                  <c:v>16.055</c:v>
                </c:pt>
                <c:pt idx="873">
                  <c:v>15.875</c:v>
                </c:pt>
                <c:pt idx="874">
                  <c:v>15.405000000000001</c:v>
                </c:pt>
                <c:pt idx="875">
                  <c:v>15.174999999999999</c:v>
                </c:pt>
                <c:pt idx="876">
                  <c:v>14.975</c:v>
                </c:pt>
                <c:pt idx="877">
                  <c:v>15.21</c:v>
                </c:pt>
                <c:pt idx="878">
                  <c:v>15.560000000000002</c:v>
                </c:pt>
                <c:pt idx="879">
                  <c:v>15.600000000000003</c:v>
                </c:pt>
                <c:pt idx="880">
                  <c:v>15.810000000000002</c:v>
                </c:pt>
                <c:pt idx="881">
                  <c:v>16.27</c:v>
                </c:pt>
                <c:pt idx="882">
                  <c:v>16.489999999999998</c:v>
                </c:pt>
                <c:pt idx="883">
                  <c:v>16.29</c:v>
                </c:pt>
                <c:pt idx="884">
                  <c:v>16.09</c:v>
                </c:pt>
                <c:pt idx="885">
                  <c:v>15.79</c:v>
                </c:pt>
                <c:pt idx="886">
                  <c:v>15.78</c:v>
                </c:pt>
                <c:pt idx="887">
                  <c:v>15.7</c:v>
                </c:pt>
                <c:pt idx="888">
                  <c:v>15.71</c:v>
                </c:pt>
                <c:pt idx="889">
                  <c:v>15.960000000000003</c:v>
                </c:pt>
                <c:pt idx="890">
                  <c:v>15.870000000000001</c:v>
                </c:pt>
                <c:pt idx="891">
                  <c:v>15.910000000000002</c:v>
                </c:pt>
                <c:pt idx="892">
                  <c:v>15.989999999999998</c:v>
                </c:pt>
                <c:pt idx="893">
                  <c:v>16.049999999999997</c:v>
                </c:pt>
                <c:pt idx="894">
                  <c:v>16.02</c:v>
                </c:pt>
                <c:pt idx="895">
                  <c:v>16.220000000000002</c:v>
                </c:pt>
                <c:pt idx="896">
                  <c:v>15.849999999999998</c:v>
                </c:pt>
                <c:pt idx="897">
                  <c:v>16.090000000000003</c:v>
                </c:pt>
                <c:pt idx="898">
                  <c:v>15.73</c:v>
                </c:pt>
                <c:pt idx="899">
                  <c:v>16.18</c:v>
                </c:pt>
                <c:pt idx="900">
                  <c:v>16.12</c:v>
                </c:pt>
                <c:pt idx="901">
                  <c:v>16.350000000000005</c:v>
                </c:pt>
                <c:pt idx="902">
                  <c:v>16.100000000000001</c:v>
                </c:pt>
                <c:pt idx="903">
                  <c:v>16.150000000000002</c:v>
                </c:pt>
                <c:pt idx="904">
                  <c:v>16.060000000000002</c:v>
                </c:pt>
                <c:pt idx="905">
                  <c:v>16.809999999999999</c:v>
                </c:pt>
                <c:pt idx="906">
                  <c:v>16.440000000000001</c:v>
                </c:pt>
                <c:pt idx="907">
                  <c:v>16.64</c:v>
                </c:pt>
                <c:pt idx="908">
                  <c:v>16.64</c:v>
                </c:pt>
                <c:pt idx="909">
                  <c:v>16.509999999999998</c:v>
                </c:pt>
                <c:pt idx="910">
                  <c:v>16.489999999999998</c:v>
                </c:pt>
                <c:pt idx="911">
                  <c:v>16.689999999999998</c:v>
                </c:pt>
                <c:pt idx="912">
                  <c:v>16.48</c:v>
                </c:pt>
                <c:pt idx="913">
                  <c:v>16.419999999999998</c:v>
                </c:pt>
                <c:pt idx="914">
                  <c:v>16.16</c:v>
                </c:pt>
                <c:pt idx="915">
                  <c:v>16.32</c:v>
                </c:pt>
                <c:pt idx="916">
                  <c:v>16.259999999999998</c:v>
                </c:pt>
                <c:pt idx="917">
                  <c:v>16.11</c:v>
                </c:pt>
                <c:pt idx="918">
                  <c:v>15.760000000000002</c:v>
                </c:pt>
                <c:pt idx="919">
                  <c:v>15.610000000000001</c:v>
                </c:pt>
                <c:pt idx="920">
                  <c:v>15.910000000000002</c:v>
                </c:pt>
                <c:pt idx="921">
                  <c:v>15.740000000000004</c:v>
                </c:pt>
                <c:pt idx="922">
                  <c:v>16</c:v>
                </c:pt>
                <c:pt idx="923">
                  <c:v>16.419999999999998</c:v>
                </c:pt>
                <c:pt idx="924">
                  <c:v>16.3</c:v>
                </c:pt>
                <c:pt idx="925">
                  <c:v>16.3</c:v>
                </c:pt>
                <c:pt idx="926">
                  <c:v>16.05</c:v>
                </c:pt>
                <c:pt idx="927">
                  <c:v>16.09</c:v>
                </c:pt>
                <c:pt idx="928">
                  <c:v>15.98</c:v>
                </c:pt>
                <c:pt idx="929">
                  <c:v>16.240000000000002</c:v>
                </c:pt>
                <c:pt idx="930">
                  <c:v>16.290000000000003</c:v>
                </c:pt>
                <c:pt idx="931">
                  <c:v>16.39</c:v>
                </c:pt>
                <c:pt idx="932">
                  <c:v>16.290000000000003</c:v>
                </c:pt>
                <c:pt idx="933">
                  <c:v>16.240000000000002</c:v>
                </c:pt>
                <c:pt idx="934">
                  <c:v>16.040000000000003</c:v>
                </c:pt>
                <c:pt idx="935">
                  <c:v>15.885000000000002</c:v>
                </c:pt>
                <c:pt idx="936">
                  <c:v>15.895000000000001</c:v>
                </c:pt>
                <c:pt idx="937">
                  <c:v>15.945</c:v>
                </c:pt>
                <c:pt idx="938">
                  <c:v>15.769999999999998</c:v>
                </c:pt>
                <c:pt idx="939">
                  <c:v>15.259999999999998</c:v>
                </c:pt>
                <c:pt idx="940">
                  <c:v>15.509999999999998</c:v>
                </c:pt>
                <c:pt idx="941">
                  <c:v>15.319999999999997</c:v>
                </c:pt>
                <c:pt idx="942">
                  <c:v>15.159999999999998</c:v>
                </c:pt>
                <c:pt idx="943">
                  <c:v>14.610000000000001</c:v>
                </c:pt>
                <c:pt idx="944">
                  <c:v>14.644999999999996</c:v>
                </c:pt>
                <c:pt idx="945">
                  <c:v>14.734999999999998</c:v>
                </c:pt>
                <c:pt idx="946">
                  <c:v>14.735000000000001</c:v>
                </c:pt>
                <c:pt idx="947">
                  <c:v>14.935</c:v>
                </c:pt>
                <c:pt idx="948">
                  <c:v>14.635000000000002</c:v>
                </c:pt>
                <c:pt idx="949">
                  <c:v>14.285</c:v>
                </c:pt>
                <c:pt idx="950">
                  <c:v>14.235000000000001</c:v>
                </c:pt>
                <c:pt idx="951">
                  <c:v>12.959999999999999</c:v>
                </c:pt>
                <c:pt idx="952">
                  <c:v>13.26</c:v>
                </c:pt>
                <c:pt idx="953">
                  <c:v>14.41</c:v>
                </c:pt>
                <c:pt idx="954">
                  <c:v>13.86</c:v>
                </c:pt>
                <c:pt idx="955">
                  <c:v>14.029999999999998</c:v>
                </c:pt>
                <c:pt idx="956">
                  <c:v>14.155000000000001</c:v>
                </c:pt>
                <c:pt idx="957">
                  <c:v>14.754999999999999</c:v>
                </c:pt>
                <c:pt idx="958">
                  <c:v>14.904999999999999</c:v>
                </c:pt>
                <c:pt idx="959">
                  <c:v>15.055000000000001</c:v>
                </c:pt>
                <c:pt idx="960">
                  <c:v>14.860000000000001</c:v>
                </c:pt>
                <c:pt idx="961">
                  <c:v>15.035000000000002</c:v>
                </c:pt>
                <c:pt idx="962">
                  <c:v>15.434999999999999</c:v>
                </c:pt>
                <c:pt idx="963">
                  <c:v>15.190000000000001</c:v>
                </c:pt>
                <c:pt idx="964">
                  <c:v>15.065000000000001</c:v>
                </c:pt>
                <c:pt idx="965">
                  <c:v>14.885000000000002</c:v>
                </c:pt>
                <c:pt idx="966">
                  <c:v>14.945</c:v>
                </c:pt>
                <c:pt idx="967">
                  <c:v>15.5</c:v>
                </c:pt>
                <c:pt idx="968">
                  <c:v>15.4</c:v>
                </c:pt>
                <c:pt idx="969">
                  <c:v>15.174999999999999</c:v>
                </c:pt>
                <c:pt idx="970">
                  <c:v>15.21</c:v>
                </c:pt>
                <c:pt idx="971">
                  <c:v>15.17</c:v>
                </c:pt>
                <c:pt idx="972">
                  <c:v>15.165000000000001</c:v>
                </c:pt>
                <c:pt idx="973">
                  <c:v>15.190000000000001</c:v>
                </c:pt>
                <c:pt idx="974">
                  <c:v>15.340000000000002</c:v>
                </c:pt>
                <c:pt idx="975">
                  <c:v>15.324999999999999</c:v>
                </c:pt>
                <c:pt idx="976">
                  <c:v>14.865</c:v>
                </c:pt>
                <c:pt idx="977">
                  <c:v>15.46</c:v>
                </c:pt>
                <c:pt idx="978">
                  <c:v>15.344999999999997</c:v>
                </c:pt>
                <c:pt idx="979">
                  <c:v>15.310000000000002</c:v>
                </c:pt>
                <c:pt idx="980">
                  <c:v>15.035000000000002</c:v>
                </c:pt>
                <c:pt idx="981">
                  <c:v>15.110000000000001</c:v>
                </c:pt>
                <c:pt idx="982">
                  <c:v>15.510000000000002</c:v>
                </c:pt>
                <c:pt idx="983">
                  <c:v>15.560000000000002</c:v>
                </c:pt>
                <c:pt idx="984">
                  <c:v>15.46</c:v>
                </c:pt>
                <c:pt idx="985">
                  <c:v>15.084999999999999</c:v>
                </c:pt>
                <c:pt idx="986">
                  <c:v>14.860000000000001</c:v>
                </c:pt>
                <c:pt idx="987">
                  <c:v>14.96</c:v>
                </c:pt>
                <c:pt idx="988">
                  <c:v>15.110000000000001</c:v>
                </c:pt>
                <c:pt idx="989">
                  <c:v>15.310000000000002</c:v>
                </c:pt>
                <c:pt idx="990">
                  <c:v>15.035000000000002</c:v>
                </c:pt>
                <c:pt idx="991">
                  <c:v>14.879999999999999</c:v>
                </c:pt>
                <c:pt idx="992">
                  <c:v>15.235000000000001</c:v>
                </c:pt>
                <c:pt idx="993">
                  <c:v>15.46</c:v>
                </c:pt>
                <c:pt idx="994">
                  <c:v>15.085000000000001</c:v>
                </c:pt>
                <c:pt idx="995">
                  <c:v>15.46</c:v>
                </c:pt>
                <c:pt idx="996">
                  <c:v>15.485000000000001</c:v>
                </c:pt>
                <c:pt idx="997">
                  <c:v>15.785000000000002</c:v>
                </c:pt>
                <c:pt idx="998">
                  <c:v>15.585000000000001</c:v>
                </c:pt>
                <c:pt idx="999">
                  <c:v>15.685000000000002</c:v>
                </c:pt>
                <c:pt idx="1000">
                  <c:v>15.385000000000002</c:v>
                </c:pt>
                <c:pt idx="1001">
                  <c:v>15.585000000000001</c:v>
                </c:pt>
                <c:pt idx="1002">
                  <c:v>15.310000000000002</c:v>
                </c:pt>
                <c:pt idx="1003">
                  <c:v>14.985000000000001</c:v>
                </c:pt>
                <c:pt idx="1004">
                  <c:v>15.534999999999998</c:v>
                </c:pt>
                <c:pt idx="1005">
                  <c:v>15.185</c:v>
                </c:pt>
                <c:pt idx="1006">
                  <c:v>15.185</c:v>
                </c:pt>
                <c:pt idx="1007">
                  <c:v>15.510000000000002</c:v>
                </c:pt>
                <c:pt idx="1008">
                  <c:v>15.260000000000002</c:v>
                </c:pt>
                <c:pt idx="1009">
                  <c:v>15.510000000000002</c:v>
                </c:pt>
                <c:pt idx="1010">
                  <c:v>14.785</c:v>
                </c:pt>
                <c:pt idx="1011">
                  <c:v>14.674999999999999</c:v>
                </c:pt>
                <c:pt idx="1012">
                  <c:v>14.585000000000001</c:v>
                </c:pt>
                <c:pt idx="1013">
                  <c:v>15.010000000000002</c:v>
                </c:pt>
                <c:pt idx="1014">
                  <c:v>14.89</c:v>
                </c:pt>
                <c:pt idx="1015">
                  <c:v>15.065000000000001</c:v>
                </c:pt>
                <c:pt idx="1016">
                  <c:v>15.265000000000001</c:v>
                </c:pt>
                <c:pt idx="1017">
                  <c:v>15.24</c:v>
                </c:pt>
                <c:pt idx="1018">
                  <c:v>14.875</c:v>
                </c:pt>
                <c:pt idx="1019">
                  <c:v>15.135000000000002</c:v>
                </c:pt>
                <c:pt idx="1020">
                  <c:v>14.935</c:v>
                </c:pt>
                <c:pt idx="1021">
                  <c:v>15.310000000000002</c:v>
                </c:pt>
                <c:pt idx="1022">
                  <c:v>15.21</c:v>
                </c:pt>
                <c:pt idx="1023">
                  <c:v>15.160000000000002</c:v>
                </c:pt>
                <c:pt idx="1024">
                  <c:v>15.260000000000002</c:v>
                </c:pt>
                <c:pt idx="1025">
                  <c:v>15.46</c:v>
                </c:pt>
                <c:pt idx="1026">
                  <c:v>14.835000000000001</c:v>
                </c:pt>
                <c:pt idx="1027">
                  <c:v>15.010000000000002</c:v>
                </c:pt>
                <c:pt idx="1028">
                  <c:v>15.110000000000001</c:v>
                </c:pt>
                <c:pt idx="1029">
                  <c:v>14.96</c:v>
                </c:pt>
                <c:pt idx="1030">
                  <c:v>15.32</c:v>
                </c:pt>
                <c:pt idx="1031">
                  <c:v>15.360000000000001</c:v>
                </c:pt>
                <c:pt idx="1032">
                  <c:v>15.21</c:v>
                </c:pt>
                <c:pt idx="1033">
                  <c:v>15.244999999999997</c:v>
                </c:pt>
                <c:pt idx="1034">
                  <c:v>15.334999999999999</c:v>
                </c:pt>
                <c:pt idx="1035">
                  <c:v>15.134999999999998</c:v>
                </c:pt>
                <c:pt idx="1036">
                  <c:v>15.284999999999998</c:v>
                </c:pt>
                <c:pt idx="1037">
                  <c:v>15.284999999999998</c:v>
                </c:pt>
                <c:pt idx="1038">
                  <c:v>15.71</c:v>
                </c:pt>
                <c:pt idx="1039">
                  <c:v>15.910000000000002</c:v>
                </c:pt>
                <c:pt idx="1040">
                  <c:v>16.085000000000001</c:v>
                </c:pt>
                <c:pt idx="1041">
                  <c:v>16.024999999999999</c:v>
                </c:pt>
                <c:pt idx="1042">
                  <c:v>16.010000000000002</c:v>
                </c:pt>
                <c:pt idx="1043">
                  <c:v>16.105000000000004</c:v>
                </c:pt>
                <c:pt idx="1044">
                  <c:v>16.060000000000002</c:v>
                </c:pt>
                <c:pt idx="1045">
                  <c:v>16.160000000000004</c:v>
                </c:pt>
                <c:pt idx="1046">
                  <c:v>16.184999999999999</c:v>
                </c:pt>
                <c:pt idx="1047">
                  <c:v>16.035</c:v>
                </c:pt>
                <c:pt idx="1048">
                  <c:v>15.860000000000001</c:v>
                </c:pt>
                <c:pt idx="1049">
                  <c:v>15.73</c:v>
                </c:pt>
                <c:pt idx="1050">
                  <c:v>15.920000000000002</c:v>
                </c:pt>
                <c:pt idx="1051">
                  <c:v>15.915000000000001</c:v>
                </c:pt>
                <c:pt idx="1052">
                  <c:v>16.015000000000001</c:v>
                </c:pt>
                <c:pt idx="1053">
                  <c:v>16.035</c:v>
                </c:pt>
                <c:pt idx="1054">
                  <c:v>15.739999999999998</c:v>
                </c:pt>
                <c:pt idx="1055">
                  <c:v>15.510000000000002</c:v>
                </c:pt>
                <c:pt idx="1056">
                  <c:v>15.415000000000001</c:v>
                </c:pt>
                <c:pt idx="1057">
                  <c:v>15.184999999999999</c:v>
                </c:pt>
                <c:pt idx="1058">
                  <c:v>15.329999999999998</c:v>
                </c:pt>
                <c:pt idx="1059">
                  <c:v>15.310000000000002</c:v>
                </c:pt>
                <c:pt idx="1060">
                  <c:v>15.184999999999999</c:v>
                </c:pt>
                <c:pt idx="1061">
                  <c:v>15.115</c:v>
                </c:pt>
                <c:pt idx="1062">
                  <c:v>14.944999999999997</c:v>
                </c:pt>
                <c:pt idx="1063">
                  <c:v>14.934999999999999</c:v>
                </c:pt>
                <c:pt idx="1064">
                  <c:v>14.785</c:v>
                </c:pt>
                <c:pt idx="1065">
                  <c:v>14.49</c:v>
                </c:pt>
                <c:pt idx="1066">
                  <c:v>14.285</c:v>
                </c:pt>
                <c:pt idx="1067">
                  <c:v>14.760000000000002</c:v>
                </c:pt>
                <c:pt idx="1068">
                  <c:v>14.565</c:v>
                </c:pt>
                <c:pt idx="1069">
                  <c:v>14.535</c:v>
                </c:pt>
                <c:pt idx="1070">
                  <c:v>14.71</c:v>
                </c:pt>
                <c:pt idx="1071">
                  <c:v>14.585000000000001</c:v>
                </c:pt>
                <c:pt idx="1072">
                  <c:v>14.91</c:v>
                </c:pt>
                <c:pt idx="1073">
                  <c:v>14.56</c:v>
                </c:pt>
                <c:pt idx="1074">
                  <c:v>14.71</c:v>
                </c:pt>
                <c:pt idx="1075">
                  <c:v>14.435</c:v>
                </c:pt>
                <c:pt idx="1076">
                  <c:v>14.56</c:v>
                </c:pt>
                <c:pt idx="1077">
                  <c:v>14.634999999999998</c:v>
                </c:pt>
                <c:pt idx="1078">
                  <c:v>14.379999999999999</c:v>
                </c:pt>
                <c:pt idx="1079">
                  <c:v>14.655000000000001</c:v>
                </c:pt>
                <c:pt idx="1080">
                  <c:v>14.705000000000002</c:v>
                </c:pt>
                <c:pt idx="1081">
                  <c:v>14.445000000000002</c:v>
                </c:pt>
                <c:pt idx="1082">
                  <c:v>14.615</c:v>
                </c:pt>
                <c:pt idx="1083">
                  <c:v>14.284999999999998</c:v>
                </c:pt>
                <c:pt idx="1084">
                  <c:v>14.185</c:v>
                </c:pt>
                <c:pt idx="1085">
                  <c:v>13.785</c:v>
                </c:pt>
                <c:pt idx="1086">
                  <c:v>14.11</c:v>
                </c:pt>
                <c:pt idx="1087">
                  <c:v>13.825000000000001</c:v>
                </c:pt>
                <c:pt idx="1088">
                  <c:v>13.334999999999999</c:v>
                </c:pt>
                <c:pt idx="1089">
                  <c:v>13.26</c:v>
                </c:pt>
                <c:pt idx="1090">
                  <c:v>13.285</c:v>
                </c:pt>
                <c:pt idx="1091">
                  <c:v>13.135</c:v>
                </c:pt>
                <c:pt idx="1092">
                  <c:v>12.834999999999999</c:v>
                </c:pt>
                <c:pt idx="1093">
                  <c:v>13.035</c:v>
                </c:pt>
                <c:pt idx="1094">
                  <c:v>13.035</c:v>
                </c:pt>
                <c:pt idx="1095">
                  <c:v>13.184999999999999</c:v>
                </c:pt>
                <c:pt idx="1096">
                  <c:v>12.945</c:v>
                </c:pt>
                <c:pt idx="1097">
                  <c:v>12.934999999999999</c:v>
                </c:pt>
                <c:pt idx="1098">
                  <c:v>13.11</c:v>
                </c:pt>
                <c:pt idx="1099">
                  <c:v>13.209999999999999</c:v>
                </c:pt>
                <c:pt idx="1100">
                  <c:v>13.084999999999999</c:v>
                </c:pt>
                <c:pt idx="1101">
                  <c:v>13.234999999999999</c:v>
                </c:pt>
                <c:pt idx="1102">
                  <c:v>13.465</c:v>
                </c:pt>
                <c:pt idx="1103">
                  <c:v>13.66</c:v>
                </c:pt>
                <c:pt idx="1104">
                  <c:v>13.495000000000001</c:v>
                </c:pt>
                <c:pt idx="1105">
                  <c:v>13.56</c:v>
                </c:pt>
                <c:pt idx="1106">
                  <c:v>13.435</c:v>
                </c:pt>
                <c:pt idx="1107">
                  <c:v>13.364999999999998</c:v>
                </c:pt>
                <c:pt idx="1108">
                  <c:v>13.484999999999999</c:v>
                </c:pt>
                <c:pt idx="1109">
                  <c:v>13.334999999999999</c:v>
                </c:pt>
                <c:pt idx="1110">
                  <c:v>13.26</c:v>
                </c:pt>
                <c:pt idx="1111">
                  <c:v>13.084999999999999</c:v>
                </c:pt>
                <c:pt idx="1112">
                  <c:v>13.44</c:v>
                </c:pt>
                <c:pt idx="1113">
                  <c:v>13.264999999999999</c:v>
                </c:pt>
                <c:pt idx="1114">
                  <c:v>13.139999999999999</c:v>
                </c:pt>
                <c:pt idx="1115">
                  <c:v>13.25</c:v>
                </c:pt>
                <c:pt idx="1116">
                  <c:v>13.43</c:v>
                </c:pt>
                <c:pt idx="1117">
                  <c:v>13.08</c:v>
                </c:pt>
                <c:pt idx="1118">
                  <c:v>13.175000000000001</c:v>
                </c:pt>
                <c:pt idx="1119">
                  <c:v>13.63</c:v>
                </c:pt>
                <c:pt idx="1120">
                  <c:v>13.23</c:v>
                </c:pt>
                <c:pt idx="1121">
                  <c:v>13.190000000000001</c:v>
                </c:pt>
                <c:pt idx="1122">
                  <c:v>12.959999999999999</c:v>
                </c:pt>
                <c:pt idx="1123">
                  <c:v>12.709999999999999</c:v>
                </c:pt>
                <c:pt idx="1124">
                  <c:v>12.8</c:v>
                </c:pt>
                <c:pt idx="1125">
                  <c:v>12.5</c:v>
                </c:pt>
                <c:pt idx="1126">
                  <c:v>12.76</c:v>
                </c:pt>
                <c:pt idx="1127">
                  <c:v>12.86</c:v>
                </c:pt>
                <c:pt idx="1128">
                  <c:v>13.01</c:v>
                </c:pt>
                <c:pt idx="1129">
                  <c:v>13.059999999999999</c:v>
                </c:pt>
                <c:pt idx="1130">
                  <c:v>13.255000000000001</c:v>
                </c:pt>
                <c:pt idx="1131">
                  <c:v>12.809999999999999</c:v>
                </c:pt>
                <c:pt idx="1132">
                  <c:v>13.08</c:v>
                </c:pt>
                <c:pt idx="1133">
                  <c:v>12.569999999999999</c:v>
                </c:pt>
                <c:pt idx="1134">
                  <c:v>12.580000000000002</c:v>
                </c:pt>
                <c:pt idx="1135">
                  <c:v>13.16</c:v>
                </c:pt>
                <c:pt idx="1136">
                  <c:v>12.91</c:v>
                </c:pt>
                <c:pt idx="1137">
                  <c:v>13.16</c:v>
                </c:pt>
                <c:pt idx="1138">
                  <c:v>13.16</c:v>
                </c:pt>
                <c:pt idx="1139">
                  <c:v>13.56</c:v>
                </c:pt>
                <c:pt idx="1140">
                  <c:v>13.740000000000002</c:v>
                </c:pt>
                <c:pt idx="1141">
                  <c:v>13.81</c:v>
                </c:pt>
                <c:pt idx="1142">
                  <c:v>13.71</c:v>
                </c:pt>
                <c:pt idx="1143">
                  <c:v>13.76</c:v>
                </c:pt>
                <c:pt idx="1144">
                  <c:v>13.740000000000002</c:v>
                </c:pt>
                <c:pt idx="1145">
                  <c:v>13.81</c:v>
                </c:pt>
                <c:pt idx="1146">
                  <c:v>13.41</c:v>
                </c:pt>
                <c:pt idx="1147">
                  <c:v>13.66</c:v>
                </c:pt>
                <c:pt idx="1148">
                  <c:v>13.51</c:v>
                </c:pt>
                <c:pt idx="1149">
                  <c:v>13.76</c:v>
                </c:pt>
                <c:pt idx="1150">
                  <c:v>13.76</c:v>
                </c:pt>
                <c:pt idx="1151">
                  <c:v>13.71</c:v>
                </c:pt>
                <c:pt idx="1152">
                  <c:v>14.06</c:v>
                </c:pt>
                <c:pt idx="1153">
                  <c:v>14.21</c:v>
                </c:pt>
                <c:pt idx="1154">
                  <c:v>14.27</c:v>
                </c:pt>
                <c:pt idx="1155">
                  <c:v>14.290000000000003</c:v>
                </c:pt>
                <c:pt idx="1156">
                  <c:v>14.360000000000001</c:v>
                </c:pt>
                <c:pt idx="1157">
                  <c:v>14.11</c:v>
                </c:pt>
                <c:pt idx="1158">
                  <c:v>14.11</c:v>
                </c:pt>
                <c:pt idx="1159">
                  <c:v>13.919999999999998</c:v>
                </c:pt>
                <c:pt idx="1160">
                  <c:v>14.01</c:v>
                </c:pt>
                <c:pt idx="1161">
                  <c:v>14.21</c:v>
                </c:pt>
                <c:pt idx="1162">
                  <c:v>14.08</c:v>
                </c:pt>
                <c:pt idx="1163">
                  <c:v>14.06</c:v>
                </c:pt>
                <c:pt idx="1164">
                  <c:v>14.11</c:v>
                </c:pt>
                <c:pt idx="1165">
                  <c:v>13.81</c:v>
                </c:pt>
                <c:pt idx="1166">
                  <c:v>14.01</c:v>
                </c:pt>
                <c:pt idx="1167">
                  <c:v>13.91</c:v>
                </c:pt>
                <c:pt idx="1168">
                  <c:v>14.14</c:v>
                </c:pt>
                <c:pt idx="1169">
                  <c:v>13.99</c:v>
                </c:pt>
                <c:pt idx="1170">
                  <c:v>13.99</c:v>
                </c:pt>
                <c:pt idx="1171">
                  <c:v>14.34</c:v>
                </c:pt>
                <c:pt idx="1172">
                  <c:v>14.510000000000002</c:v>
                </c:pt>
                <c:pt idx="1173">
                  <c:v>14.360000000000001</c:v>
                </c:pt>
                <c:pt idx="1174">
                  <c:v>13.99</c:v>
                </c:pt>
                <c:pt idx="1175">
                  <c:v>14.16</c:v>
                </c:pt>
                <c:pt idx="1176">
                  <c:v>14.11</c:v>
                </c:pt>
                <c:pt idx="1177">
                  <c:v>14.16</c:v>
                </c:pt>
                <c:pt idx="1178">
                  <c:v>14.06</c:v>
                </c:pt>
                <c:pt idx="1179">
                  <c:v>13.83</c:v>
                </c:pt>
                <c:pt idx="1180">
                  <c:v>13.96</c:v>
                </c:pt>
                <c:pt idx="1181">
                  <c:v>13.96</c:v>
                </c:pt>
                <c:pt idx="1182">
                  <c:v>14.06</c:v>
                </c:pt>
                <c:pt idx="1183">
                  <c:v>13.91</c:v>
                </c:pt>
                <c:pt idx="1184">
                  <c:v>14.06</c:v>
                </c:pt>
                <c:pt idx="1185">
                  <c:v>14.46</c:v>
                </c:pt>
                <c:pt idx="1186">
                  <c:v>14.24</c:v>
                </c:pt>
                <c:pt idx="1187">
                  <c:v>14.11</c:v>
                </c:pt>
                <c:pt idx="1188">
                  <c:v>14.21</c:v>
                </c:pt>
                <c:pt idx="1189">
                  <c:v>14.41</c:v>
                </c:pt>
                <c:pt idx="1190">
                  <c:v>14.44</c:v>
                </c:pt>
                <c:pt idx="1191">
                  <c:v>14.510000000000002</c:v>
                </c:pt>
                <c:pt idx="1192">
                  <c:v>14.510000000000002</c:v>
                </c:pt>
                <c:pt idx="1193">
                  <c:v>14.66</c:v>
                </c:pt>
                <c:pt idx="1194">
                  <c:v>14.760000000000002</c:v>
                </c:pt>
                <c:pt idx="1195">
                  <c:v>14.91</c:v>
                </c:pt>
                <c:pt idx="1196">
                  <c:v>15.010000000000002</c:v>
                </c:pt>
                <c:pt idx="1197">
                  <c:v>15.160000000000002</c:v>
                </c:pt>
                <c:pt idx="1198">
                  <c:v>14.62</c:v>
                </c:pt>
                <c:pt idx="1199">
                  <c:v>14.56</c:v>
                </c:pt>
                <c:pt idx="1200">
                  <c:v>14.66</c:v>
                </c:pt>
                <c:pt idx="1201">
                  <c:v>14.56</c:v>
                </c:pt>
                <c:pt idx="1202">
                  <c:v>14.46</c:v>
                </c:pt>
                <c:pt idx="1203">
                  <c:v>14.41</c:v>
                </c:pt>
                <c:pt idx="1204">
                  <c:v>14.400000000000002</c:v>
                </c:pt>
                <c:pt idx="1205">
                  <c:v>14.56</c:v>
                </c:pt>
                <c:pt idx="1206">
                  <c:v>14.26</c:v>
                </c:pt>
                <c:pt idx="1207">
                  <c:v>14.01</c:v>
                </c:pt>
                <c:pt idx="1208">
                  <c:v>14.275000000000002</c:v>
                </c:pt>
                <c:pt idx="1209">
                  <c:v>14.435</c:v>
                </c:pt>
                <c:pt idx="1210">
                  <c:v>14.510000000000002</c:v>
                </c:pt>
                <c:pt idx="1211">
                  <c:v>14.26</c:v>
                </c:pt>
                <c:pt idx="1212">
                  <c:v>14.530000000000001</c:v>
                </c:pt>
                <c:pt idx="1213">
                  <c:v>14.56</c:v>
                </c:pt>
                <c:pt idx="1214">
                  <c:v>14.41</c:v>
                </c:pt>
                <c:pt idx="1215">
                  <c:v>14.510000000000002</c:v>
                </c:pt>
                <c:pt idx="1216">
                  <c:v>14.46</c:v>
                </c:pt>
                <c:pt idx="1217">
                  <c:v>13.41</c:v>
                </c:pt>
                <c:pt idx="1218">
                  <c:v>13.535</c:v>
                </c:pt>
                <c:pt idx="1219">
                  <c:v>13.459999999999999</c:v>
                </c:pt>
                <c:pt idx="1220">
                  <c:v>13.614999999999998</c:v>
                </c:pt>
                <c:pt idx="1221">
                  <c:v>13.484999999999999</c:v>
                </c:pt>
                <c:pt idx="1222">
                  <c:v>13.285</c:v>
                </c:pt>
                <c:pt idx="1223">
                  <c:v>13.41</c:v>
                </c:pt>
                <c:pt idx="1224">
                  <c:v>13.56</c:v>
                </c:pt>
                <c:pt idx="1225">
                  <c:v>13.309999999999999</c:v>
                </c:pt>
                <c:pt idx="1226">
                  <c:v>13.419999999999998</c:v>
                </c:pt>
                <c:pt idx="1227">
                  <c:v>13.119999999999997</c:v>
                </c:pt>
                <c:pt idx="1228">
                  <c:v>12.809999999999999</c:v>
                </c:pt>
                <c:pt idx="1229">
                  <c:v>12.91</c:v>
                </c:pt>
                <c:pt idx="1230">
                  <c:v>12.885000000000002</c:v>
                </c:pt>
                <c:pt idx="1231">
                  <c:v>12.585000000000001</c:v>
                </c:pt>
                <c:pt idx="1232">
                  <c:v>11.81</c:v>
                </c:pt>
                <c:pt idx="1233">
                  <c:v>12.09</c:v>
                </c:pt>
                <c:pt idx="1234">
                  <c:v>12.234999999999999</c:v>
                </c:pt>
                <c:pt idx="1235">
                  <c:v>12.305000000000001</c:v>
                </c:pt>
                <c:pt idx="1236">
                  <c:v>12.36</c:v>
                </c:pt>
                <c:pt idx="1237">
                  <c:v>12.46</c:v>
                </c:pt>
                <c:pt idx="1238">
                  <c:v>12.36</c:v>
                </c:pt>
                <c:pt idx="1239">
                  <c:v>12.26</c:v>
                </c:pt>
                <c:pt idx="1240">
                  <c:v>12.21</c:v>
                </c:pt>
                <c:pt idx="1241">
                  <c:v>11.86</c:v>
                </c:pt>
                <c:pt idx="1242">
                  <c:v>11.785</c:v>
                </c:pt>
                <c:pt idx="1243">
                  <c:v>12.035</c:v>
                </c:pt>
                <c:pt idx="1244">
                  <c:v>11.86</c:v>
                </c:pt>
                <c:pt idx="1245">
                  <c:v>12.26</c:v>
                </c:pt>
                <c:pt idx="1246">
                  <c:v>12.484999999999999</c:v>
                </c:pt>
                <c:pt idx="1247">
                  <c:v>12.790000000000001</c:v>
                </c:pt>
                <c:pt idx="1248">
                  <c:v>12.76</c:v>
                </c:pt>
                <c:pt idx="1249">
                  <c:v>12.985000000000003</c:v>
                </c:pt>
                <c:pt idx="1250">
                  <c:v>13.26</c:v>
                </c:pt>
                <c:pt idx="1251">
                  <c:v>12.7</c:v>
                </c:pt>
                <c:pt idx="1252">
                  <c:v>13.035000000000002</c:v>
                </c:pt>
                <c:pt idx="1253">
                  <c:v>12.209999999999999</c:v>
                </c:pt>
                <c:pt idx="1254">
                  <c:v>12.709999999999999</c:v>
                </c:pt>
                <c:pt idx="1255">
                  <c:v>13.01</c:v>
                </c:pt>
                <c:pt idx="1256">
                  <c:v>13.16</c:v>
                </c:pt>
                <c:pt idx="1257">
                  <c:v>13.16</c:v>
                </c:pt>
                <c:pt idx="1258">
                  <c:v>12.91</c:v>
                </c:pt>
                <c:pt idx="1259">
                  <c:v>13.37</c:v>
                </c:pt>
                <c:pt idx="1260">
                  <c:v>13.66</c:v>
                </c:pt>
                <c:pt idx="1261">
                  <c:v>13.679999999999998</c:v>
                </c:pt>
                <c:pt idx="1262">
                  <c:v>13.56</c:v>
                </c:pt>
                <c:pt idx="1263">
                  <c:v>13.41</c:v>
                </c:pt>
                <c:pt idx="1264">
                  <c:v>13.26</c:v>
                </c:pt>
                <c:pt idx="1265">
                  <c:v>13.11</c:v>
                </c:pt>
                <c:pt idx="1266">
                  <c:v>13.350000000000001</c:v>
                </c:pt>
                <c:pt idx="1267">
                  <c:v>13.180000000000003</c:v>
                </c:pt>
                <c:pt idx="1268">
                  <c:v>13.130000000000003</c:v>
                </c:pt>
                <c:pt idx="1269">
                  <c:v>13.26</c:v>
                </c:pt>
                <c:pt idx="1270">
                  <c:v>13.36</c:v>
                </c:pt>
                <c:pt idx="1271">
                  <c:v>13.16</c:v>
                </c:pt>
                <c:pt idx="1272">
                  <c:v>13.319999999999999</c:v>
                </c:pt>
                <c:pt idx="1273">
                  <c:v>12.769999999999998</c:v>
                </c:pt>
                <c:pt idx="1274">
                  <c:v>13.01</c:v>
                </c:pt>
                <c:pt idx="1275">
                  <c:v>12.959999999999999</c:v>
                </c:pt>
                <c:pt idx="1276">
                  <c:v>12.91</c:v>
                </c:pt>
                <c:pt idx="1277">
                  <c:v>12.809999999999999</c:v>
                </c:pt>
                <c:pt idx="1278">
                  <c:v>12.259999999999998</c:v>
                </c:pt>
                <c:pt idx="1279">
                  <c:v>12.659999999999998</c:v>
                </c:pt>
                <c:pt idx="1280">
                  <c:v>12.559999999999999</c:v>
                </c:pt>
                <c:pt idx="1281">
                  <c:v>12.309999999999999</c:v>
                </c:pt>
                <c:pt idx="1282">
                  <c:v>12.459999999999999</c:v>
                </c:pt>
                <c:pt idx="1283">
                  <c:v>12.76</c:v>
                </c:pt>
                <c:pt idx="1284">
                  <c:v>12.309999999999999</c:v>
                </c:pt>
                <c:pt idx="1285">
                  <c:v>12.659999999999998</c:v>
                </c:pt>
                <c:pt idx="1286">
                  <c:v>12.559999999999999</c:v>
                </c:pt>
                <c:pt idx="1287">
                  <c:v>12.935000000000002</c:v>
                </c:pt>
                <c:pt idx="1288">
                  <c:v>12.809999999999999</c:v>
                </c:pt>
                <c:pt idx="1289">
                  <c:v>12.809999999999999</c:v>
                </c:pt>
                <c:pt idx="1290">
                  <c:v>13.01</c:v>
                </c:pt>
                <c:pt idx="1291">
                  <c:v>12.959999999999999</c:v>
                </c:pt>
                <c:pt idx="1292">
                  <c:v>13.019999999999998</c:v>
                </c:pt>
                <c:pt idx="1293">
                  <c:v>12.61</c:v>
                </c:pt>
                <c:pt idx="1294">
                  <c:v>13.120000000000001</c:v>
                </c:pt>
                <c:pt idx="1295">
                  <c:v>13.350000000000001</c:v>
                </c:pt>
                <c:pt idx="1296">
                  <c:v>13.459999999999999</c:v>
                </c:pt>
                <c:pt idx="1297">
                  <c:v>13.309999999999999</c:v>
                </c:pt>
                <c:pt idx="1298">
                  <c:v>13.61</c:v>
                </c:pt>
                <c:pt idx="1299">
                  <c:v>13.690000000000001</c:v>
                </c:pt>
                <c:pt idx="1300">
                  <c:v>13.56</c:v>
                </c:pt>
                <c:pt idx="1301">
                  <c:v>13.485000000000003</c:v>
                </c:pt>
                <c:pt idx="1302">
                  <c:v>13.645000000000001</c:v>
                </c:pt>
                <c:pt idx="1303">
                  <c:v>14.015000000000001</c:v>
                </c:pt>
                <c:pt idx="1304">
                  <c:v>13.81</c:v>
                </c:pt>
                <c:pt idx="1305">
                  <c:v>13.73</c:v>
                </c:pt>
                <c:pt idx="1306">
                  <c:v>13.76</c:v>
                </c:pt>
                <c:pt idx="1307">
                  <c:v>13.459999999999999</c:v>
                </c:pt>
                <c:pt idx="1308">
                  <c:v>13.969999999999999</c:v>
                </c:pt>
                <c:pt idx="1309">
                  <c:v>13.989999999999997</c:v>
                </c:pt>
                <c:pt idx="1310">
                  <c:v>13.66</c:v>
                </c:pt>
                <c:pt idx="1311">
                  <c:v>13.865</c:v>
                </c:pt>
                <c:pt idx="1312">
                  <c:v>13.414999999999999</c:v>
                </c:pt>
                <c:pt idx="1313">
                  <c:v>13.534999999999997</c:v>
                </c:pt>
                <c:pt idx="1314">
                  <c:v>14.429999999999998</c:v>
                </c:pt>
                <c:pt idx="1315">
                  <c:v>13.355</c:v>
                </c:pt>
                <c:pt idx="1316">
                  <c:v>13.779999999999998</c:v>
                </c:pt>
                <c:pt idx="1317">
                  <c:v>13.679999999999998</c:v>
                </c:pt>
                <c:pt idx="1318">
                  <c:v>14.134999999999998</c:v>
                </c:pt>
                <c:pt idx="1319">
                  <c:v>14.155000000000001</c:v>
                </c:pt>
                <c:pt idx="1320">
                  <c:v>14.405000000000001</c:v>
                </c:pt>
                <c:pt idx="1321">
                  <c:v>14.839999999999998</c:v>
                </c:pt>
                <c:pt idx="1322">
                  <c:v>14.535</c:v>
                </c:pt>
                <c:pt idx="1323">
                  <c:v>14.124999999999998</c:v>
                </c:pt>
                <c:pt idx="1324">
                  <c:v>14.135</c:v>
                </c:pt>
                <c:pt idx="1325">
                  <c:v>14.324999999999999</c:v>
                </c:pt>
                <c:pt idx="1326">
                  <c:v>14.524999999999999</c:v>
                </c:pt>
                <c:pt idx="1327">
                  <c:v>13.919999999999998</c:v>
                </c:pt>
                <c:pt idx="1328">
                  <c:v>14.289999999999997</c:v>
                </c:pt>
                <c:pt idx="1329">
                  <c:v>14.200000000000001</c:v>
                </c:pt>
                <c:pt idx="1330">
                  <c:v>14.229999999999999</c:v>
                </c:pt>
                <c:pt idx="1331">
                  <c:v>14.505000000000001</c:v>
                </c:pt>
                <c:pt idx="1332">
                  <c:v>14.234999999999998</c:v>
                </c:pt>
                <c:pt idx="1333">
                  <c:v>14.320000000000002</c:v>
                </c:pt>
                <c:pt idx="1334">
                  <c:v>14.274999999999999</c:v>
                </c:pt>
                <c:pt idx="1335">
                  <c:v>14.400000000000002</c:v>
                </c:pt>
                <c:pt idx="1336">
                  <c:v>14.524999999999999</c:v>
                </c:pt>
                <c:pt idx="1337">
                  <c:v>14.000000000000002</c:v>
                </c:pt>
                <c:pt idx="1338">
                  <c:v>14.200000000000001</c:v>
                </c:pt>
                <c:pt idx="1339">
                  <c:v>14.400000000000002</c:v>
                </c:pt>
                <c:pt idx="1340">
                  <c:v>14.520000000000003</c:v>
                </c:pt>
                <c:pt idx="1341">
                  <c:v>14.414999999999999</c:v>
                </c:pt>
                <c:pt idx="1342">
                  <c:v>14.315</c:v>
                </c:pt>
                <c:pt idx="1343">
                  <c:v>14.024999999999999</c:v>
                </c:pt>
                <c:pt idx="1344">
                  <c:v>14.024999999999999</c:v>
                </c:pt>
                <c:pt idx="1345">
                  <c:v>13.389999999999999</c:v>
                </c:pt>
                <c:pt idx="1346">
                  <c:v>13.400000000000004</c:v>
                </c:pt>
                <c:pt idx="1347">
                  <c:v>13.685</c:v>
                </c:pt>
                <c:pt idx="1348">
                  <c:v>14.184999999999997</c:v>
                </c:pt>
                <c:pt idx="1349">
                  <c:v>13.66</c:v>
                </c:pt>
                <c:pt idx="1350">
                  <c:v>13.560000000000002</c:v>
                </c:pt>
                <c:pt idx="1351">
                  <c:v>13.689999999999996</c:v>
                </c:pt>
                <c:pt idx="1352">
                  <c:v>13.850000000000001</c:v>
                </c:pt>
                <c:pt idx="1353">
                  <c:v>14.05</c:v>
                </c:pt>
                <c:pt idx="1354">
                  <c:v>13.900000000000002</c:v>
                </c:pt>
                <c:pt idx="1355">
                  <c:v>14.400000000000002</c:v>
                </c:pt>
                <c:pt idx="1356">
                  <c:v>14.399999999999997</c:v>
                </c:pt>
                <c:pt idx="1357">
                  <c:v>14.499999999999996</c:v>
                </c:pt>
                <c:pt idx="1358">
                  <c:v>14.049999999999999</c:v>
                </c:pt>
                <c:pt idx="1359">
                  <c:v>14.385</c:v>
                </c:pt>
                <c:pt idx="1360">
                  <c:v>14.249999999999998</c:v>
                </c:pt>
                <c:pt idx="1361">
                  <c:v>13.875000000000002</c:v>
                </c:pt>
                <c:pt idx="1362">
                  <c:v>14.125000000000002</c:v>
                </c:pt>
                <c:pt idx="1363">
                  <c:v>14.049999999999999</c:v>
                </c:pt>
                <c:pt idx="1364">
                  <c:v>13.570000000000002</c:v>
                </c:pt>
                <c:pt idx="1365">
                  <c:v>13.420000000000002</c:v>
                </c:pt>
                <c:pt idx="1366">
                  <c:v>13.489999999999998</c:v>
                </c:pt>
                <c:pt idx="1367">
                  <c:v>13.22</c:v>
                </c:pt>
                <c:pt idx="1368">
                  <c:v>13.420000000000002</c:v>
                </c:pt>
                <c:pt idx="1369">
                  <c:v>13.95</c:v>
                </c:pt>
                <c:pt idx="1370">
                  <c:v>13.785</c:v>
                </c:pt>
                <c:pt idx="1371">
                  <c:v>13.774999999999999</c:v>
                </c:pt>
                <c:pt idx="1372">
                  <c:v>13.805000000000003</c:v>
                </c:pt>
                <c:pt idx="1373">
                  <c:v>13.725000000000001</c:v>
                </c:pt>
                <c:pt idx="1374">
                  <c:v>13.725000000000001</c:v>
                </c:pt>
                <c:pt idx="1375">
                  <c:v>14.370000000000003</c:v>
                </c:pt>
                <c:pt idx="1376">
                  <c:v>13.780000000000001</c:v>
                </c:pt>
                <c:pt idx="1377">
                  <c:v>13.83</c:v>
                </c:pt>
                <c:pt idx="1378">
                  <c:v>13.925000000000001</c:v>
                </c:pt>
                <c:pt idx="1379">
                  <c:v>13.375</c:v>
                </c:pt>
                <c:pt idx="1380">
                  <c:v>13.675000000000001</c:v>
                </c:pt>
                <c:pt idx="1381">
                  <c:v>13.399999999999999</c:v>
                </c:pt>
                <c:pt idx="1382">
                  <c:v>13.675000000000001</c:v>
                </c:pt>
                <c:pt idx="1383">
                  <c:v>13.970000000000002</c:v>
                </c:pt>
                <c:pt idx="1384">
                  <c:v>13.820000000000002</c:v>
                </c:pt>
                <c:pt idx="1385">
                  <c:v>13.360000000000003</c:v>
                </c:pt>
                <c:pt idx="1386">
                  <c:v>13.549999999999999</c:v>
                </c:pt>
                <c:pt idx="1387">
                  <c:v>13.63</c:v>
                </c:pt>
                <c:pt idx="1388">
                  <c:v>13.775</c:v>
                </c:pt>
                <c:pt idx="1389">
                  <c:v>13.825000000000001</c:v>
                </c:pt>
                <c:pt idx="1390">
                  <c:v>13.944999999999999</c:v>
                </c:pt>
                <c:pt idx="1391">
                  <c:v>13.849999999999998</c:v>
                </c:pt>
                <c:pt idx="1392">
                  <c:v>13.18</c:v>
                </c:pt>
                <c:pt idx="1393">
                  <c:v>13.28</c:v>
                </c:pt>
                <c:pt idx="1394">
                  <c:v>13.549999999999999</c:v>
                </c:pt>
                <c:pt idx="1395">
                  <c:v>13.049999999999997</c:v>
                </c:pt>
                <c:pt idx="1396">
                  <c:v>12.249999999999996</c:v>
                </c:pt>
                <c:pt idx="1397">
                  <c:v>12.375</c:v>
                </c:pt>
                <c:pt idx="1398">
                  <c:v>12.399999999999997</c:v>
                </c:pt>
                <c:pt idx="1399">
                  <c:v>12.509999999999996</c:v>
                </c:pt>
                <c:pt idx="1400">
                  <c:v>12.099999999999996</c:v>
                </c:pt>
                <c:pt idx="1401">
                  <c:v>12.159999999999998</c:v>
                </c:pt>
                <c:pt idx="1402">
                  <c:v>11.960000000000004</c:v>
                </c:pt>
                <c:pt idx="1403">
                  <c:v>11.909999999999998</c:v>
                </c:pt>
                <c:pt idx="1404">
                  <c:v>11.980000000000002</c:v>
                </c:pt>
                <c:pt idx="1405">
                  <c:v>12.180000000000001</c:v>
                </c:pt>
                <c:pt idx="1406">
                  <c:v>11.009999999999998</c:v>
                </c:pt>
                <c:pt idx="1407">
                  <c:v>12.91</c:v>
                </c:pt>
                <c:pt idx="1408">
                  <c:v>12.370000000000003</c:v>
                </c:pt>
                <c:pt idx="1409">
                  <c:v>10.459999999999997</c:v>
                </c:pt>
                <c:pt idx="1410">
                  <c:v>10.690000000000003</c:v>
                </c:pt>
                <c:pt idx="1411">
                  <c:v>10.84</c:v>
                </c:pt>
                <c:pt idx="1412">
                  <c:v>9.5599999999999987</c:v>
                </c:pt>
                <c:pt idx="1413">
                  <c:v>10.269999999999998</c:v>
                </c:pt>
                <c:pt idx="1414">
                  <c:v>11.055000000000001</c:v>
                </c:pt>
                <c:pt idx="1415">
                  <c:v>10.780000000000001</c:v>
                </c:pt>
                <c:pt idx="1416">
                  <c:v>10.600000000000001</c:v>
                </c:pt>
                <c:pt idx="1417">
                  <c:v>10.695000000000002</c:v>
                </c:pt>
                <c:pt idx="1418">
                  <c:v>11.684999999999999</c:v>
                </c:pt>
                <c:pt idx="1419">
                  <c:v>11.284999999999998</c:v>
                </c:pt>
                <c:pt idx="1420">
                  <c:v>13.684999999999997</c:v>
                </c:pt>
                <c:pt idx="1421">
                  <c:v>13.16</c:v>
                </c:pt>
                <c:pt idx="1422">
                  <c:v>13.26</c:v>
                </c:pt>
                <c:pt idx="1423">
                  <c:v>15.560000000000002</c:v>
                </c:pt>
                <c:pt idx="1424">
                  <c:v>14.3</c:v>
                </c:pt>
                <c:pt idx="1425">
                  <c:v>13.719999999999999</c:v>
                </c:pt>
                <c:pt idx="1426">
                  <c:v>12.540000000000001</c:v>
                </c:pt>
                <c:pt idx="1427">
                  <c:v>11.000000000000002</c:v>
                </c:pt>
                <c:pt idx="1428">
                  <c:v>12.000000000000002</c:v>
                </c:pt>
                <c:pt idx="1429">
                  <c:v>12.450000000000003</c:v>
                </c:pt>
                <c:pt idx="1430">
                  <c:v>12.300000000000002</c:v>
                </c:pt>
                <c:pt idx="1431">
                  <c:v>11.500000000000002</c:v>
                </c:pt>
                <c:pt idx="1432">
                  <c:v>11.600000000000001</c:v>
                </c:pt>
                <c:pt idx="1433">
                  <c:v>12.400000000000002</c:v>
                </c:pt>
                <c:pt idx="1434">
                  <c:v>12.100000000000003</c:v>
                </c:pt>
                <c:pt idx="1435">
                  <c:v>12.200000000000003</c:v>
                </c:pt>
                <c:pt idx="1436">
                  <c:v>11.92</c:v>
                </c:pt>
                <c:pt idx="1437">
                  <c:v>12.150000000000002</c:v>
                </c:pt>
                <c:pt idx="1438">
                  <c:v>11.024999999999999</c:v>
                </c:pt>
                <c:pt idx="1439">
                  <c:v>10.96</c:v>
                </c:pt>
                <c:pt idx="1440">
                  <c:v>17.810000000000002</c:v>
                </c:pt>
                <c:pt idx="1441">
                  <c:v>15.819999999999999</c:v>
                </c:pt>
                <c:pt idx="1442">
                  <c:v>16.100000000000001</c:v>
                </c:pt>
                <c:pt idx="1443">
                  <c:v>16.45</c:v>
                </c:pt>
                <c:pt idx="1444">
                  <c:v>15.6</c:v>
                </c:pt>
                <c:pt idx="1445">
                  <c:v>15.990000000000002</c:v>
                </c:pt>
                <c:pt idx="1446">
                  <c:v>15.709999999999999</c:v>
                </c:pt>
                <c:pt idx="1447">
                  <c:v>15.86</c:v>
                </c:pt>
                <c:pt idx="1448">
                  <c:v>15.75</c:v>
                </c:pt>
                <c:pt idx="1449">
                  <c:v>15.4</c:v>
                </c:pt>
                <c:pt idx="1450">
                  <c:v>15.000000000000002</c:v>
                </c:pt>
                <c:pt idx="1451">
                  <c:v>17.059999999999999</c:v>
                </c:pt>
                <c:pt idx="1452">
                  <c:v>16.22</c:v>
                </c:pt>
                <c:pt idx="1453">
                  <c:v>15.950000000000001</c:v>
                </c:pt>
                <c:pt idx="1454">
                  <c:v>15.459999999999999</c:v>
                </c:pt>
                <c:pt idx="1455">
                  <c:v>15.109999999999998</c:v>
                </c:pt>
                <c:pt idx="1456">
                  <c:v>15.159999999999998</c:v>
                </c:pt>
                <c:pt idx="1457">
                  <c:v>15.074999999999998</c:v>
                </c:pt>
                <c:pt idx="1458">
                  <c:v>15.55</c:v>
                </c:pt>
                <c:pt idx="1459">
                  <c:v>16.004999999999999</c:v>
                </c:pt>
                <c:pt idx="1460">
                  <c:v>15.214999999999998</c:v>
                </c:pt>
                <c:pt idx="1461">
                  <c:v>15.364999999999998</c:v>
                </c:pt>
                <c:pt idx="1462">
                  <c:v>15.264999999999999</c:v>
                </c:pt>
                <c:pt idx="1463">
                  <c:v>15.24</c:v>
                </c:pt>
                <c:pt idx="1464">
                  <c:v>14.89</c:v>
                </c:pt>
                <c:pt idx="1465">
                  <c:v>15.040000000000001</c:v>
                </c:pt>
                <c:pt idx="1466">
                  <c:v>14.590000000000003</c:v>
                </c:pt>
                <c:pt idx="1467">
                  <c:v>14.715</c:v>
                </c:pt>
                <c:pt idx="1468">
                  <c:v>15.290000000000001</c:v>
                </c:pt>
                <c:pt idx="1469">
                  <c:v>13.540000000000003</c:v>
                </c:pt>
                <c:pt idx="1470">
                  <c:v>13.440000000000001</c:v>
                </c:pt>
                <c:pt idx="1471">
                  <c:v>13.91</c:v>
                </c:pt>
                <c:pt idx="1472">
                  <c:v>13.81</c:v>
                </c:pt>
                <c:pt idx="1473">
                  <c:v>13.56</c:v>
                </c:pt>
                <c:pt idx="1474">
                  <c:v>12.46</c:v>
                </c:pt>
                <c:pt idx="1475">
                  <c:v>12.989999999999998</c:v>
                </c:pt>
                <c:pt idx="1476">
                  <c:v>10.889999999999997</c:v>
                </c:pt>
                <c:pt idx="1477">
                  <c:v>12.060000000000004</c:v>
                </c:pt>
                <c:pt idx="1478">
                  <c:v>11.960000000000004</c:v>
                </c:pt>
                <c:pt idx="1479">
                  <c:v>12.009999999999998</c:v>
                </c:pt>
                <c:pt idx="1480">
                  <c:v>12.309999999999999</c:v>
                </c:pt>
                <c:pt idx="1481">
                  <c:v>12.659999999999998</c:v>
                </c:pt>
                <c:pt idx="1482">
                  <c:v>12.159999999999998</c:v>
                </c:pt>
                <c:pt idx="1483">
                  <c:v>12.309999999999999</c:v>
                </c:pt>
                <c:pt idx="1484">
                  <c:v>11.909999999999998</c:v>
                </c:pt>
                <c:pt idx="1485">
                  <c:v>12.059999999999999</c:v>
                </c:pt>
                <c:pt idx="1486">
                  <c:v>12.009999999999998</c:v>
                </c:pt>
                <c:pt idx="1487">
                  <c:v>12.119999999999997</c:v>
                </c:pt>
                <c:pt idx="1488">
                  <c:v>12.229999999999997</c:v>
                </c:pt>
                <c:pt idx="1489">
                  <c:v>12.070000000000004</c:v>
                </c:pt>
                <c:pt idx="1490">
                  <c:v>12.620000000000003</c:v>
                </c:pt>
                <c:pt idx="1491">
                  <c:v>12.820000000000004</c:v>
                </c:pt>
                <c:pt idx="1492">
                  <c:v>12.420000000000003</c:v>
                </c:pt>
                <c:pt idx="1493">
                  <c:v>13.420000000000003</c:v>
                </c:pt>
                <c:pt idx="1494">
                  <c:v>14.3</c:v>
                </c:pt>
                <c:pt idx="1495">
                  <c:v>14.950000000000003</c:v>
                </c:pt>
                <c:pt idx="1496">
                  <c:v>15.150000000000002</c:v>
                </c:pt>
                <c:pt idx="1497">
                  <c:v>15.949999999999998</c:v>
                </c:pt>
                <c:pt idx="1498">
                  <c:v>15.949999999999998</c:v>
                </c:pt>
                <c:pt idx="1499">
                  <c:v>16.899999999999999</c:v>
                </c:pt>
                <c:pt idx="1500">
                  <c:v>17.099999999999998</c:v>
                </c:pt>
                <c:pt idx="1501">
                  <c:v>19.149999999999999</c:v>
                </c:pt>
                <c:pt idx="1502">
                  <c:v>19.025000000000002</c:v>
                </c:pt>
                <c:pt idx="1503">
                  <c:v>19.675000000000004</c:v>
                </c:pt>
                <c:pt idx="1504">
                  <c:v>18.45</c:v>
                </c:pt>
                <c:pt idx="1505">
                  <c:v>20.85</c:v>
                </c:pt>
                <c:pt idx="1506">
                  <c:v>21.950000000000003</c:v>
                </c:pt>
                <c:pt idx="1507">
                  <c:v>23.109999999999996</c:v>
                </c:pt>
                <c:pt idx="1508">
                  <c:v>22.835000000000004</c:v>
                </c:pt>
                <c:pt idx="1509">
                  <c:v>23.209999999999997</c:v>
                </c:pt>
                <c:pt idx="1510">
                  <c:v>23.209999999999997</c:v>
                </c:pt>
                <c:pt idx="1511">
                  <c:v>22.970000000000002</c:v>
                </c:pt>
                <c:pt idx="1512">
                  <c:v>22.619999999999997</c:v>
                </c:pt>
                <c:pt idx="1513">
                  <c:v>22.970000000000002</c:v>
                </c:pt>
                <c:pt idx="1514">
                  <c:v>22.970000000000002</c:v>
                </c:pt>
                <c:pt idx="1515">
                  <c:v>23.409999999999997</c:v>
                </c:pt>
                <c:pt idx="1516">
                  <c:v>23.709999999999997</c:v>
                </c:pt>
                <c:pt idx="1517">
                  <c:v>23.484999999999999</c:v>
                </c:pt>
                <c:pt idx="1518">
                  <c:v>23.61</c:v>
                </c:pt>
                <c:pt idx="1519">
                  <c:v>23.459999999999997</c:v>
                </c:pt>
                <c:pt idx="1520">
                  <c:v>23.660000000000004</c:v>
                </c:pt>
                <c:pt idx="1521">
                  <c:v>23.349999999999998</c:v>
                </c:pt>
                <c:pt idx="1522">
                  <c:v>23.56</c:v>
                </c:pt>
                <c:pt idx="1523">
                  <c:v>24.160000000000004</c:v>
                </c:pt>
                <c:pt idx="1524">
                  <c:v>24.28</c:v>
                </c:pt>
                <c:pt idx="1525">
                  <c:v>23.629999999999995</c:v>
                </c:pt>
                <c:pt idx="1526">
                  <c:v>24.429999999999996</c:v>
                </c:pt>
                <c:pt idx="1527">
                  <c:v>24.010000000000005</c:v>
                </c:pt>
                <c:pt idx="1528">
                  <c:v>22.909999999999997</c:v>
                </c:pt>
                <c:pt idx="1529">
                  <c:v>22.729999999999993</c:v>
                </c:pt>
                <c:pt idx="1530">
                  <c:v>22.809999999999995</c:v>
                </c:pt>
                <c:pt idx="1531">
                  <c:v>22.909999999999997</c:v>
                </c:pt>
                <c:pt idx="1532">
                  <c:v>22.860000000000003</c:v>
                </c:pt>
                <c:pt idx="1533">
                  <c:v>22.410000000000004</c:v>
                </c:pt>
                <c:pt idx="1534">
                  <c:v>21.96</c:v>
                </c:pt>
                <c:pt idx="1535">
                  <c:v>23.419999999999995</c:v>
                </c:pt>
                <c:pt idx="1536">
                  <c:v>22.96</c:v>
                </c:pt>
                <c:pt idx="1537">
                  <c:v>23.219999999999995</c:v>
                </c:pt>
                <c:pt idx="1538">
                  <c:v>22.970000000000002</c:v>
                </c:pt>
                <c:pt idx="1539">
                  <c:v>24.5</c:v>
                </c:pt>
                <c:pt idx="1540">
                  <c:v>24.500000000000004</c:v>
                </c:pt>
                <c:pt idx="1541">
                  <c:v>23.960000000000004</c:v>
                </c:pt>
                <c:pt idx="1542">
                  <c:v>24.569999999999997</c:v>
                </c:pt>
                <c:pt idx="1543">
                  <c:v>24.369999999999997</c:v>
                </c:pt>
                <c:pt idx="1544">
                  <c:v>24.019999999999996</c:v>
                </c:pt>
                <c:pt idx="1545">
                  <c:v>23.919999999999998</c:v>
                </c:pt>
                <c:pt idx="1546">
                  <c:v>23.139999999999993</c:v>
                </c:pt>
                <c:pt idx="1547">
                  <c:v>23.319999999999997</c:v>
                </c:pt>
                <c:pt idx="1548">
                  <c:v>22.869999999999997</c:v>
                </c:pt>
                <c:pt idx="1549">
                  <c:v>23.060000000000002</c:v>
                </c:pt>
                <c:pt idx="1550">
                  <c:v>23.209999999999997</c:v>
                </c:pt>
                <c:pt idx="1551">
                  <c:v>23.760000000000005</c:v>
                </c:pt>
                <c:pt idx="1552">
                  <c:v>23.560000000000002</c:v>
                </c:pt>
                <c:pt idx="1553">
                  <c:v>22.959999999999997</c:v>
                </c:pt>
                <c:pt idx="1554">
                  <c:v>23.259999999999998</c:v>
                </c:pt>
                <c:pt idx="1555">
                  <c:v>22.360000000000007</c:v>
                </c:pt>
                <c:pt idx="1556">
                  <c:v>22.385000000000005</c:v>
                </c:pt>
                <c:pt idx="1557">
                  <c:v>23.460000000000004</c:v>
                </c:pt>
                <c:pt idx="1558">
                  <c:v>23.149999999999991</c:v>
                </c:pt>
                <c:pt idx="1559">
                  <c:v>22.96</c:v>
                </c:pt>
                <c:pt idx="1560">
                  <c:v>23.614999999999998</c:v>
                </c:pt>
                <c:pt idx="1561">
                  <c:v>23.460000000000004</c:v>
                </c:pt>
                <c:pt idx="1562">
                  <c:v>22.934999999999995</c:v>
                </c:pt>
                <c:pt idx="1563">
                  <c:v>22.485000000000007</c:v>
                </c:pt>
                <c:pt idx="1564">
                  <c:v>22.354999999999997</c:v>
                </c:pt>
                <c:pt idx="1565">
                  <c:v>23.195000000000004</c:v>
                </c:pt>
                <c:pt idx="1566">
                  <c:v>25.8</c:v>
                </c:pt>
                <c:pt idx="1567">
                  <c:v>24.289999999999996</c:v>
                </c:pt>
                <c:pt idx="1568">
                  <c:v>24.029999999999994</c:v>
                </c:pt>
                <c:pt idx="1569">
                  <c:v>23.110000000000003</c:v>
                </c:pt>
                <c:pt idx="1570">
                  <c:v>23.534999999999997</c:v>
                </c:pt>
                <c:pt idx="1571">
                  <c:v>23.409999999999997</c:v>
                </c:pt>
                <c:pt idx="1572">
                  <c:v>23.060000000000002</c:v>
                </c:pt>
                <c:pt idx="1573">
                  <c:v>24.885000000000002</c:v>
                </c:pt>
                <c:pt idx="1574">
                  <c:v>24.409999999999997</c:v>
                </c:pt>
                <c:pt idx="1575">
                  <c:v>24.660000000000004</c:v>
                </c:pt>
                <c:pt idx="1576">
                  <c:v>24.509999999999998</c:v>
                </c:pt>
                <c:pt idx="1577">
                  <c:v>24.91</c:v>
                </c:pt>
                <c:pt idx="1578">
                  <c:v>24.960000000000004</c:v>
                </c:pt>
                <c:pt idx="1579">
                  <c:v>25.110000000000003</c:v>
                </c:pt>
                <c:pt idx="1580">
                  <c:v>25.180000000000003</c:v>
                </c:pt>
                <c:pt idx="1581">
                  <c:v>25.03</c:v>
                </c:pt>
                <c:pt idx="1582">
                  <c:v>25.135000000000002</c:v>
                </c:pt>
                <c:pt idx="1583">
                  <c:v>24.860000000000003</c:v>
                </c:pt>
                <c:pt idx="1584">
                  <c:v>24.734999999999996</c:v>
                </c:pt>
                <c:pt idx="1585">
                  <c:v>25.235000000000003</c:v>
                </c:pt>
                <c:pt idx="1586">
                  <c:v>25.36</c:v>
                </c:pt>
                <c:pt idx="1587">
                  <c:v>25.434999999999995</c:v>
                </c:pt>
                <c:pt idx="1588">
                  <c:v>25.135000000000002</c:v>
                </c:pt>
                <c:pt idx="1589">
                  <c:v>24.759999999999998</c:v>
                </c:pt>
                <c:pt idx="1590">
                  <c:v>24.86</c:v>
                </c:pt>
                <c:pt idx="1591">
                  <c:v>24.635000000000002</c:v>
                </c:pt>
                <c:pt idx="1592">
                  <c:v>24.335000000000001</c:v>
                </c:pt>
                <c:pt idx="1593">
                  <c:v>24.284999999999997</c:v>
                </c:pt>
                <c:pt idx="1594">
                  <c:v>25.384999999999998</c:v>
                </c:pt>
                <c:pt idx="1595">
                  <c:v>25.210000000000004</c:v>
                </c:pt>
                <c:pt idx="1596">
                  <c:v>25.160000000000004</c:v>
                </c:pt>
                <c:pt idx="1597">
                  <c:v>24.84</c:v>
                </c:pt>
                <c:pt idx="1598">
                  <c:v>24.759999999999998</c:v>
                </c:pt>
                <c:pt idx="1599">
                  <c:v>24.550000000000004</c:v>
                </c:pt>
                <c:pt idx="1600">
                  <c:v>24.410000000000004</c:v>
                </c:pt>
                <c:pt idx="1601">
                  <c:v>24.980000000000004</c:v>
                </c:pt>
                <c:pt idx="1602">
                  <c:v>24.53</c:v>
                </c:pt>
                <c:pt idx="1603">
                  <c:v>24.510000000000005</c:v>
                </c:pt>
                <c:pt idx="1604">
                  <c:v>24.159999999999997</c:v>
                </c:pt>
                <c:pt idx="1605">
                  <c:v>24.610000000000003</c:v>
                </c:pt>
                <c:pt idx="1606">
                  <c:v>24.009999999999998</c:v>
                </c:pt>
                <c:pt idx="1607">
                  <c:v>22.109999999999996</c:v>
                </c:pt>
                <c:pt idx="1608">
                  <c:v>19.260000000000005</c:v>
                </c:pt>
                <c:pt idx="1609">
                  <c:v>20.990000000000002</c:v>
                </c:pt>
                <c:pt idx="1610">
                  <c:v>22.03</c:v>
                </c:pt>
                <c:pt idx="1611">
                  <c:v>20.979999999999997</c:v>
                </c:pt>
                <c:pt idx="1612">
                  <c:v>20.38</c:v>
                </c:pt>
                <c:pt idx="1613">
                  <c:v>20.465</c:v>
                </c:pt>
                <c:pt idx="1614">
                  <c:v>21.905000000000001</c:v>
                </c:pt>
                <c:pt idx="1615">
                  <c:v>19.705000000000005</c:v>
                </c:pt>
                <c:pt idx="1616">
                  <c:v>23.029999999999994</c:v>
                </c:pt>
                <c:pt idx="1617">
                  <c:v>22.43</c:v>
                </c:pt>
                <c:pt idx="1618">
                  <c:v>21.920000000000005</c:v>
                </c:pt>
                <c:pt idx="1619">
                  <c:v>27.625000000000004</c:v>
                </c:pt>
                <c:pt idx="1620">
                  <c:v>26.314999999999994</c:v>
                </c:pt>
                <c:pt idx="1621">
                  <c:v>26.409999999999993</c:v>
                </c:pt>
                <c:pt idx="1622">
                  <c:v>26.25</c:v>
                </c:pt>
                <c:pt idx="1623">
                  <c:v>25.855</c:v>
                </c:pt>
                <c:pt idx="1624">
                  <c:v>26.309999999999995</c:v>
                </c:pt>
                <c:pt idx="1625">
                  <c:v>26.459999999999994</c:v>
                </c:pt>
                <c:pt idx="1626">
                  <c:v>26.520000000000003</c:v>
                </c:pt>
                <c:pt idx="1627">
                  <c:v>28.125</c:v>
                </c:pt>
                <c:pt idx="1628">
                  <c:v>26.459999999999994</c:v>
                </c:pt>
                <c:pt idx="1629">
                  <c:v>26.189999999999998</c:v>
                </c:pt>
                <c:pt idx="1630">
                  <c:v>26.099999999999994</c:v>
                </c:pt>
                <c:pt idx="1631">
                  <c:v>25.235000000000003</c:v>
                </c:pt>
                <c:pt idx="1632">
                  <c:v>25.39</c:v>
                </c:pt>
                <c:pt idx="1633">
                  <c:v>24.56</c:v>
                </c:pt>
                <c:pt idx="1634">
                  <c:v>27.270000000000007</c:v>
                </c:pt>
                <c:pt idx="1635">
                  <c:v>26.76</c:v>
                </c:pt>
                <c:pt idx="1636">
                  <c:v>25.86</c:v>
                </c:pt>
                <c:pt idx="1637">
                  <c:v>26.900000000000002</c:v>
                </c:pt>
                <c:pt idx="1638">
                  <c:v>27.96</c:v>
                </c:pt>
                <c:pt idx="1639">
                  <c:v>27.534999999999997</c:v>
                </c:pt>
                <c:pt idx="1640">
                  <c:v>28.184999999999999</c:v>
                </c:pt>
                <c:pt idx="1641">
                  <c:v>28.21</c:v>
                </c:pt>
                <c:pt idx="1642">
                  <c:v>28.310000000000002</c:v>
                </c:pt>
                <c:pt idx="1643">
                  <c:v>28.359999999999996</c:v>
                </c:pt>
                <c:pt idx="1644">
                  <c:v>27.96</c:v>
                </c:pt>
                <c:pt idx="1645">
                  <c:v>27.860000000000003</c:v>
                </c:pt>
                <c:pt idx="1646">
                  <c:v>27.905000000000001</c:v>
                </c:pt>
                <c:pt idx="1647">
                  <c:v>28.810000000000002</c:v>
                </c:pt>
                <c:pt idx="1648">
                  <c:v>28.01</c:v>
                </c:pt>
                <c:pt idx="1649">
                  <c:v>28.584999999999994</c:v>
                </c:pt>
                <c:pt idx="1650">
                  <c:v>29.459999999999997</c:v>
                </c:pt>
                <c:pt idx="1651">
                  <c:v>29.190000000000005</c:v>
                </c:pt>
                <c:pt idx="1652">
                  <c:v>29.360000000000003</c:v>
                </c:pt>
                <c:pt idx="1653">
                  <c:v>30.14</c:v>
                </c:pt>
                <c:pt idx="1654">
                  <c:v>31</c:v>
                </c:pt>
                <c:pt idx="1655">
                  <c:v>31.920000000000005</c:v>
                </c:pt>
                <c:pt idx="1656">
                  <c:v>32.35</c:v>
                </c:pt>
                <c:pt idx="1657">
                  <c:v>33.75</c:v>
                </c:pt>
                <c:pt idx="1658">
                  <c:v>34.049999999999997</c:v>
                </c:pt>
                <c:pt idx="1659">
                  <c:v>35.370000000000005</c:v>
                </c:pt>
                <c:pt idx="1660">
                  <c:v>35.28</c:v>
                </c:pt>
                <c:pt idx="1661">
                  <c:v>35.599999999999994</c:v>
                </c:pt>
                <c:pt idx="1662">
                  <c:v>36.409999999999997</c:v>
                </c:pt>
                <c:pt idx="1663">
                  <c:v>37.46</c:v>
                </c:pt>
                <c:pt idx="1664">
                  <c:v>36.984999999999999</c:v>
                </c:pt>
                <c:pt idx="1665">
                  <c:v>38.5</c:v>
                </c:pt>
                <c:pt idx="1666">
                  <c:v>39.75</c:v>
                </c:pt>
                <c:pt idx="1667">
                  <c:v>40.510000000000005</c:v>
                </c:pt>
                <c:pt idx="1668">
                  <c:v>39.699999999999996</c:v>
                </c:pt>
                <c:pt idx="1669">
                  <c:v>40.775000000000006</c:v>
                </c:pt>
                <c:pt idx="1670">
                  <c:v>39.140999999999998</c:v>
                </c:pt>
                <c:pt idx="1671">
                  <c:v>37.978000000000002</c:v>
                </c:pt>
                <c:pt idx="1672">
                  <c:v>38.607999999999997</c:v>
                </c:pt>
                <c:pt idx="1673">
                  <c:v>38.95000000000001</c:v>
                </c:pt>
                <c:pt idx="1674">
                  <c:v>39.011000000000003</c:v>
                </c:pt>
                <c:pt idx="1675">
                  <c:v>39.393999999999998</c:v>
                </c:pt>
                <c:pt idx="1676">
                  <c:v>39.143999999999998</c:v>
                </c:pt>
                <c:pt idx="1677">
                  <c:v>38.743999999999993</c:v>
                </c:pt>
                <c:pt idx="1678">
                  <c:v>38.433</c:v>
                </c:pt>
                <c:pt idx="1679">
                  <c:v>36.793999999999997</c:v>
                </c:pt>
                <c:pt idx="1680">
                  <c:v>38.911000000000001</c:v>
                </c:pt>
                <c:pt idx="1681">
                  <c:v>38.133000000000003</c:v>
                </c:pt>
                <c:pt idx="1682">
                  <c:v>37.866999999999997</c:v>
                </c:pt>
                <c:pt idx="1683">
                  <c:v>38.411000000000001</c:v>
                </c:pt>
                <c:pt idx="1684">
                  <c:v>40.467000000000006</c:v>
                </c:pt>
                <c:pt idx="1685">
                  <c:v>40.175999999999995</c:v>
                </c:pt>
                <c:pt idx="1686">
                  <c:v>39.793999999999997</c:v>
                </c:pt>
                <c:pt idx="1687">
                  <c:v>40.071999999999996</c:v>
                </c:pt>
                <c:pt idx="1688">
                  <c:v>41.927999999999997</c:v>
                </c:pt>
                <c:pt idx="1689">
                  <c:v>41.278000000000006</c:v>
                </c:pt>
                <c:pt idx="1690">
                  <c:v>41.689000000000007</c:v>
                </c:pt>
                <c:pt idx="1691">
                  <c:v>42.075999999999993</c:v>
                </c:pt>
                <c:pt idx="1692">
                  <c:v>41.420999999999999</c:v>
                </c:pt>
                <c:pt idx="1693">
                  <c:v>41.597000000000008</c:v>
                </c:pt>
                <c:pt idx="1694">
                  <c:v>41.539000000000001</c:v>
                </c:pt>
                <c:pt idx="1695">
                  <c:v>43.733000000000004</c:v>
                </c:pt>
                <c:pt idx="1696">
                  <c:v>42.972000000000001</c:v>
                </c:pt>
                <c:pt idx="1697">
                  <c:v>42.463999999999999</c:v>
                </c:pt>
                <c:pt idx="1698">
                  <c:v>42.994000000000007</c:v>
                </c:pt>
                <c:pt idx="1699">
                  <c:v>43.297999999999995</c:v>
                </c:pt>
                <c:pt idx="1700">
                  <c:v>41.069000000000003</c:v>
                </c:pt>
                <c:pt idx="1701">
                  <c:v>41.710999999999999</c:v>
                </c:pt>
                <c:pt idx="1702">
                  <c:v>41.967000000000006</c:v>
                </c:pt>
                <c:pt idx="1703">
                  <c:v>41.879000000000005</c:v>
                </c:pt>
                <c:pt idx="1704">
                  <c:v>41.923000000000002</c:v>
                </c:pt>
                <c:pt idx="1705">
                  <c:v>41.094000000000001</c:v>
                </c:pt>
                <c:pt idx="1706">
                  <c:v>40.985999999999997</c:v>
                </c:pt>
                <c:pt idx="1707">
                  <c:v>42.255999999999993</c:v>
                </c:pt>
                <c:pt idx="1708">
                  <c:v>41.588999999999992</c:v>
                </c:pt>
                <c:pt idx="1709">
                  <c:v>41.639999999999993</c:v>
                </c:pt>
                <c:pt idx="1710">
                  <c:v>41.510999999999996</c:v>
                </c:pt>
                <c:pt idx="1711">
                  <c:v>41.410000000000004</c:v>
                </c:pt>
                <c:pt idx="1712">
                  <c:v>41.466999999999992</c:v>
                </c:pt>
                <c:pt idx="1713">
                  <c:v>41.010999999999996</c:v>
                </c:pt>
                <c:pt idx="1714">
                  <c:v>41.571999999999996</c:v>
                </c:pt>
                <c:pt idx="1715">
                  <c:v>41.016999999999996</c:v>
                </c:pt>
                <c:pt idx="1716">
                  <c:v>40.028000000000006</c:v>
                </c:pt>
                <c:pt idx="1717">
                  <c:v>39.678000000000004</c:v>
                </c:pt>
                <c:pt idx="1718">
                  <c:v>39.311999999999998</c:v>
                </c:pt>
                <c:pt idx="1719">
                  <c:v>38.946999999999996</c:v>
                </c:pt>
                <c:pt idx="1720">
                  <c:v>39.239000000000004</c:v>
                </c:pt>
                <c:pt idx="1721">
                  <c:v>38.283000000000001</c:v>
                </c:pt>
                <c:pt idx="1722">
                  <c:v>38.564</c:v>
                </c:pt>
                <c:pt idx="1723">
                  <c:v>38.287999999999997</c:v>
                </c:pt>
                <c:pt idx="1724">
                  <c:v>37.993999999999993</c:v>
                </c:pt>
                <c:pt idx="1725">
                  <c:v>37.616999999999997</c:v>
                </c:pt>
                <c:pt idx="1726">
                  <c:v>38.013999999999996</c:v>
                </c:pt>
                <c:pt idx="1727">
                  <c:v>38.061</c:v>
                </c:pt>
                <c:pt idx="1728">
                  <c:v>37.528000000000006</c:v>
                </c:pt>
                <c:pt idx="1729">
                  <c:v>36.132999999999996</c:v>
                </c:pt>
                <c:pt idx="1730">
                  <c:v>35.9</c:v>
                </c:pt>
                <c:pt idx="1731">
                  <c:v>37.805999999999997</c:v>
                </c:pt>
                <c:pt idx="1732">
                  <c:v>37.866999999999997</c:v>
                </c:pt>
                <c:pt idx="1733">
                  <c:v>36.622</c:v>
                </c:pt>
                <c:pt idx="1734">
                  <c:v>35.622</c:v>
                </c:pt>
                <c:pt idx="1735">
                  <c:v>35.271999999999991</c:v>
                </c:pt>
                <c:pt idx="1736">
                  <c:v>34.722000000000008</c:v>
                </c:pt>
                <c:pt idx="1737">
                  <c:v>34.722000000000008</c:v>
                </c:pt>
                <c:pt idx="1738">
                  <c:v>34.483000000000011</c:v>
                </c:pt>
                <c:pt idx="1739">
                  <c:v>34.183000000000007</c:v>
                </c:pt>
                <c:pt idx="1740">
                  <c:v>33.511000000000003</c:v>
                </c:pt>
                <c:pt idx="1741">
                  <c:v>33.806000000000004</c:v>
                </c:pt>
                <c:pt idx="1742">
                  <c:v>33.832999999999998</c:v>
                </c:pt>
                <c:pt idx="1743">
                  <c:v>33.760999999999996</c:v>
                </c:pt>
                <c:pt idx="1744">
                  <c:v>33.067</c:v>
                </c:pt>
                <c:pt idx="1745">
                  <c:v>32.716999999999999</c:v>
                </c:pt>
                <c:pt idx="1746">
                  <c:v>32.367000000000004</c:v>
                </c:pt>
                <c:pt idx="1747">
                  <c:v>32.938999999999993</c:v>
                </c:pt>
                <c:pt idx="1748">
                  <c:v>32.405999999999999</c:v>
                </c:pt>
                <c:pt idx="1749">
                  <c:v>32.433</c:v>
                </c:pt>
                <c:pt idx="1750">
                  <c:v>32.282999999999994</c:v>
                </c:pt>
                <c:pt idx="1751">
                  <c:v>31.306000000000001</c:v>
                </c:pt>
                <c:pt idx="1752">
                  <c:v>31.35</c:v>
                </c:pt>
                <c:pt idx="1753">
                  <c:v>31.372</c:v>
                </c:pt>
                <c:pt idx="1754">
                  <c:v>31.294</c:v>
                </c:pt>
                <c:pt idx="1755">
                  <c:v>31.718999999999998</c:v>
                </c:pt>
                <c:pt idx="1756">
                  <c:v>33.817</c:v>
                </c:pt>
                <c:pt idx="1757">
                  <c:v>34.633000000000003</c:v>
                </c:pt>
                <c:pt idx="1758">
                  <c:v>34.328000000000003</c:v>
                </c:pt>
                <c:pt idx="1759">
                  <c:v>34.221999999999994</c:v>
                </c:pt>
                <c:pt idx="1760">
                  <c:v>34.460999999999999</c:v>
                </c:pt>
                <c:pt idx="1761">
                  <c:v>34.065999999999995</c:v>
                </c:pt>
                <c:pt idx="1762">
                  <c:v>34.095999999999989</c:v>
                </c:pt>
                <c:pt idx="1763">
                  <c:v>33.947000000000003</c:v>
                </c:pt>
                <c:pt idx="1764">
                  <c:v>33.439000000000007</c:v>
                </c:pt>
                <c:pt idx="1765">
                  <c:v>33.289000000000001</c:v>
                </c:pt>
                <c:pt idx="1766">
                  <c:v>32.771999999999998</c:v>
                </c:pt>
                <c:pt idx="1767">
                  <c:v>33.360999999999997</c:v>
                </c:pt>
                <c:pt idx="1768">
                  <c:v>33.878</c:v>
                </c:pt>
                <c:pt idx="1769">
                  <c:v>33.611000000000004</c:v>
                </c:pt>
                <c:pt idx="1770">
                  <c:v>34.182999999999986</c:v>
                </c:pt>
                <c:pt idx="1771">
                  <c:v>34.48899999999999</c:v>
                </c:pt>
                <c:pt idx="1772">
                  <c:v>34.877999999999986</c:v>
                </c:pt>
                <c:pt idx="1773">
                  <c:v>34.777999999999984</c:v>
                </c:pt>
                <c:pt idx="1774">
                  <c:v>34.666999999999994</c:v>
                </c:pt>
                <c:pt idx="1775">
                  <c:v>34.871999999999993</c:v>
                </c:pt>
                <c:pt idx="1776">
                  <c:v>35.132999999999996</c:v>
                </c:pt>
                <c:pt idx="1777">
                  <c:v>34.751000000000012</c:v>
                </c:pt>
                <c:pt idx="1778">
                  <c:v>35.172000000000004</c:v>
                </c:pt>
                <c:pt idx="1779">
                  <c:v>36.093999999999994</c:v>
                </c:pt>
                <c:pt idx="1780">
                  <c:v>35.688999999999993</c:v>
                </c:pt>
                <c:pt idx="1781">
                  <c:v>34.378</c:v>
                </c:pt>
                <c:pt idx="1782">
                  <c:v>34.533000000000015</c:v>
                </c:pt>
                <c:pt idx="1783">
                  <c:v>34.4</c:v>
                </c:pt>
                <c:pt idx="1784">
                  <c:v>34.699999999999996</c:v>
                </c:pt>
                <c:pt idx="1785">
                  <c:v>34.400000000000006</c:v>
                </c:pt>
                <c:pt idx="1786">
                  <c:v>34.256</c:v>
                </c:pt>
                <c:pt idx="1787">
                  <c:v>34.855999999999987</c:v>
                </c:pt>
                <c:pt idx="1788">
                  <c:v>34.382000000000005</c:v>
                </c:pt>
                <c:pt idx="1789">
                  <c:v>34.950000000000003</c:v>
                </c:pt>
                <c:pt idx="1790">
                  <c:v>36.114000000000004</c:v>
                </c:pt>
                <c:pt idx="1791">
                  <c:v>35.616999999999997</c:v>
                </c:pt>
                <c:pt idx="1792">
                  <c:v>35.351999999999997</c:v>
                </c:pt>
                <c:pt idx="1793">
                  <c:v>34.392000000000003</c:v>
                </c:pt>
                <c:pt idx="1794">
                  <c:v>34.122</c:v>
                </c:pt>
                <c:pt idx="1795">
                  <c:v>34.249999999999993</c:v>
                </c:pt>
                <c:pt idx="1796">
                  <c:v>33.13300000000001</c:v>
                </c:pt>
                <c:pt idx="1797">
                  <c:v>31.577999999999996</c:v>
                </c:pt>
                <c:pt idx="1798">
                  <c:v>33.75</c:v>
                </c:pt>
                <c:pt idx="1799">
                  <c:v>33.782999999999994</c:v>
                </c:pt>
                <c:pt idx="1800">
                  <c:v>33.611000000000011</c:v>
                </c:pt>
                <c:pt idx="1801">
                  <c:v>32.943999999999996</c:v>
                </c:pt>
                <c:pt idx="1802">
                  <c:v>33.000000000000007</c:v>
                </c:pt>
                <c:pt idx="1803">
                  <c:v>31.632999999999999</c:v>
                </c:pt>
                <c:pt idx="1804">
                  <c:v>31.400000000000006</c:v>
                </c:pt>
                <c:pt idx="1805">
                  <c:v>29.455999999999992</c:v>
                </c:pt>
                <c:pt idx="1806">
                  <c:v>25.39</c:v>
                </c:pt>
                <c:pt idx="1807">
                  <c:v>27.378000000000014</c:v>
                </c:pt>
                <c:pt idx="1808">
                  <c:v>25.570000000000004</c:v>
                </c:pt>
                <c:pt idx="1809">
                  <c:v>24.916999999999987</c:v>
                </c:pt>
                <c:pt idx="1810">
                  <c:v>24.521999999999998</c:v>
                </c:pt>
                <c:pt idx="1811">
                  <c:v>24.221999999999998</c:v>
                </c:pt>
                <c:pt idx="1812">
                  <c:v>23.549999999999994</c:v>
                </c:pt>
                <c:pt idx="1813">
                  <c:v>23.505999999999993</c:v>
                </c:pt>
                <c:pt idx="1814">
                  <c:v>23.202000000000012</c:v>
                </c:pt>
                <c:pt idx="1815">
                  <c:v>23.621999999999986</c:v>
                </c:pt>
                <c:pt idx="1816">
                  <c:v>23.832999999999991</c:v>
                </c:pt>
                <c:pt idx="1817">
                  <c:v>24.31699999999999</c:v>
                </c:pt>
                <c:pt idx="1818">
                  <c:v>24.178000000000001</c:v>
                </c:pt>
                <c:pt idx="1819">
                  <c:v>24.077999999999999</c:v>
                </c:pt>
                <c:pt idx="1820">
                  <c:v>24.422000000000001</c:v>
                </c:pt>
                <c:pt idx="1821">
                  <c:v>24.321999999999999</c:v>
                </c:pt>
                <c:pt idx="1822">
                  <c:v>24.077999999999989</c:v>
                </c:pt>
                <c:pt idx="1823">
                  <c:v>23.388999999999992</c:v>
                </c:pt>
                <c:pt idx="1824">
                  <c:v>23.228000000000005</c:v>
                </c:pt>
                <c:pt idx="1825">
                  <c:v>23.289000000000005</c:v>
                </c:pt>
                <c:pt idx="1826">
                  <c:v>22.921999999999997</c:v>
                </c:pt>
                <c:pt idx="1827">
                  <c:v>22.527999999999992</c:v>
                </c:pt>
                <c:pt idx="1828">
                  <c:v>21.950999999999997</c:v>
                </c:pt>
                <c:pt idx="1829">
                  <c:v>21.855999999999987</c:v>
                </c:pt>
                <c:pt idx="1830">
                  <c:v>21.882999999999985</c:v>
                </c:pt>
                <c:pt idx="1831">
                  <c:v>21.482999999999986</c:v>
                </c:pt>
                <c:pt idx="1832">
                  <c:v>21.139000000000006</c:v>
                </c:pt>
                <c:pt idx="1833">
                  <c:v>20.798999999999989</c:v>
                </c:pt>
                <c:pt idx="1834">
                  <c:v>20.911000000000001</c:v>
                </c:pt>
                <c:pt idx="1835">
                  <c:v>20.716999999999995</c:v>
                </c:pt>
                <c:pt idx="1836">
                  <c:v>21.011000000000013</c:v>
                </c:pt>
                <c:pt idx="1837">
                  <c:v>21.443999999999996</c:v>
                </c:pt>
                <c:pt idx="1838">
                  <c:v>21.243999999999996</c:v>
                </c:pt>
                <c:pt idx="1839">
                  <c:v>22.072000000000003</c:v>
                </c:pt>
                <c:pt idx="1840">
                  <c:v>21.067000000000004</c:v>
                </c:pt>
                <c:pt idx="1841">
                  <c:v>19.427000000000007</c:v>
                </c:pt>
                <c:pt idx="1842">
                  <c:v>20.322000000000006</c:v>
                </c:pt>
                <c:pt idx="1843">
                  <c:v>19.300000000000004</c:v>
                </c:pt>
                <c:pt idx="1844">
                  <c:v>18.939000000000007</c:v>
                </c:pt>
                <c:pt idx="1845">
                  <c:v>18.878000000000007</c:v>
                </c:pt>
                <c:pt idx="1846">
                  <c:v>18.00599999999999</c:v>
                </c:pt>
                <c:pt idx="1847">
                  <c:v>17.883000000000003</c:v>
                </c:pt>
                <c:pt idx="1848">
                  <c:v>18.172000000000011</c:v>
                </c:pt>
                <c:pt idx="1849">
                  <c:v>16.521999999999991</c:v>
                </c:pt>
                <c:pt idx="1850">
                  <c:v>16.527999999999988</c:v>
                </c:pt>
                <c:pt idx="1851">
                  <c:v>15.639000000000003</c:v>
                </c:pt>
                <c:pt idx="1852">
                  <c:v>14.956000000000014</c:v>
                </c:pt>
                <c:pt idx="1853">
                  <c:v>14.749999999999996</c:v>
                </c:pt>
                <c:pt idx="1854">
                  <c:v>14.094000000000007</c:v>
                </c:pt>
                <c:pt idx="1855">
                  <c:v>13.978000000000002</c:v>
                </c:pt>
                <c:pt idx="1856">
                  <c:v>14.755999999999991</c:v>
                </c:pt>
                <c:pt idx="1857">
                  <c:v>14.544</c:v>
                </c:pt>
                <c:pt idx="1858">
                  <c:v>14.556999999999999</c:v>
                </c:pt>
                <c:pt idx="1859">
                  <c:v>16.339000000000013</c:v>
                </c:pt>
                <c:pt idx="1860">
                  <c:v>13.022</c:v>
                </c:pt>
                <c:pt idx="1861">
                  <c:v>13.944000000000001</c:v>
                </c:pt>
                <c:pt idx="1862">
                  <c:v>13.599999999999991</c:v>
                </c:pt>
                <c:pt idx="1863">
                  <c:v>12.167000000000016</c:v>
                </c:pt>
                <c:pt idx="1864">
                  <c:v>13.461000000000013</c:v>
                </c:pt>
                <c:pt idx="1865">
                  <c:v>11.838999999999999</c:v>
                </c:pt>
                <c:pt idx="1866">
                  <c:v>12.178000000000001</c:v>
                </c:pt>
                <c:pt idx="1867">
                  <c:v>11.088000000000008</c:v>
                </c:pt>
                <c:pt idx="1868">
                  <c:v>11.149999999999993</c:v>
                </c:pt>
                <c:pt idx="1869">
                  <c:v>10.705999999999992</c:v>
                </c:pt>
                <c:pt idx="1870">
                  <c:v>10.649999999999981</c:v>
                </c:pt>
                <c:pt idx="1871">
                  <c:v>9.9559999999999871</c:v>
                </c:pt>
                <c:pt idx="1872">
                  <c:v>9.6999999999999975</c:v>
                </c:pt>
                <c:pt idx="1873">
                  <c:v>9.4000000000000092</c:v>
                </c:pt>
                <c:pt idx="1874">
                  <c:v>9.4110000000000138</c:v>
                </c:pt>
                <c:pt idx="1875">
                  <c:v>9.5439999999999969</c:v>
                </c:pt>
                <c:pt idx="1876">
                  <c:v>9.7670000000000137</c:v>
                </c:pt>
                <c:pt idx="1877">
                  <c:v>9.8559999999999981</c:v>
                </c:pt>
                <c:pt idx="1878">
                  <c:v>9.782999999999987</c:v>
                </c:pt>
                <c:pt idx="1879">
                  <c:v>11.094000000000005</c:v>
                </c:pt>
                <c:pt idx="1880">
                  <c:v>11.756000000000011</c:v>
                </c:pt>
                <c:pt idx="1881">
                  <c:v>12.422000000000001</c:v>
                </c:pt>
                <c:pt idx="1882">
                  <c:v>13.022</c:v>
                </c:pt>
                <c:pt idx="1883">
                  <c:v>13.144</c:v>
                </c:pt>
                <c:pt idx="1884">
                  <c:v>13.806000000000008</c:v>
                </c:pt>
                <c:pt idx="1885">
                  <c:v>13.627999999999997</c:v>
                </c:pt>
                <c:pt idx="1886">
                  <c:v>13.58299999999999</c:v>
                </c:pt>
                <c:pt idx="1887">
                  <c:v>13.505999999999997</c:v>
                </c:pt>
                <c:pt idx="1888">
                  <c:v>13.538999999999991</c:v>
                </c:pt>
                <c:pt idx="1889">
                  <c:v>13.761000000000001</c:v>
                </c:pt>
                <c:pt idx="1890">
                  <c:v>13.61699999999999</c:v>
                </c:pt>
                <c:pt idx="1891">
                  <c:v>13.422000000000001</c:v>
                </c:pt>
                <c:pt idx="1892">
                  <c:v>13.610999999999995</c:v>
                </c:pt>
                <c:pt idx="1893">
                  <c:v>13.39999999999999</c:v>
                </c:pt>
                <c:pt idx="1894">
                  <c:v>13.711000000000006</c:v>
                </c:pt>
                <c:pt idx="1895">
                  <c:v>13.922000000000011</c:v>
                </c:pt>
                <c:pt idx="1896">
                  <c:v>13.761000000000001</c:v>
                </c:pt>
                <c:pt idx="1897">
                  <c:v>13.850000000000007</c:v>
                </c:pt>
                <c:pt idx="1898">
                  <c:v>13.839000000000002</c:v>
                </c:pt>
                <c:pt idx="1899">
                  <c:v>13.761000000000001</c:v>
                </c:pt>
                <c:pt idx="1900">
                  <c:v>13.910999999999984</c:v>
                </c:pt>
                <c:pt idx="1901">
                  <c:v>14.26099999999999</c:v>
                </c:pt>
                <c:pt idx="1902">
                  <c:v>14.393999999999995</c:v>
                </c:pt>
                <c:pt idx="1903">
                  <c:v>14.122000000000012</c:v>
                </c:pt>
                <c:pt idx="1904">
                  <c:v>14.850000000000009</c:v>
                </c:pt>
                <c:pt idx="1905">
                  <c:v>15.144000000000002</c:v>
                </c:pt>
                <c:pt idx="1906">
                  <c:v>14.73899999999999</c:v>
                </c:pt>
                <c:pt idx="1907">
                  <c:v>14.966999999999997</c:v>
                </c:pt>
                <c:pt idx="1908">
                  <c:v>15.088999999999997</c:v>
                </c:pt>
                <c:pt idx="1909">
                  <c:v>14.911000000000008</c:v>
                </c:pt>
                <c:pt idx="1910">
                  <c:v>15.005999999999986</c:v>
                </c:pt>
                <c:pt idx="1911">
                  <c:v>14.955999999999992</c:v>
                </c:pt>
                <c:pt idx="1912">
                  <c:v>15.056000000000003</c:v>
                </c:pt>
                <c:pt idx="1913">
                  <c:v>15.078000000000014</c:v>
                </c:pt>
                <c:pt idx="1914">
                  <c:v>15.016999999999992</c:v>
                </c:pt>
                <c:pt idx="1915">
                  <c:v>15.093999999999985</c:v>
                </c:pt>
                <c:pt idx="1916">
                  <c:v>14.839000000000002</c:v>
                </c:pt>
                <c:pt idx="1917">
                  <c:v>14.643999999999991</c:v>
                </c:pt>
                <c:pt idx="1918">
                  <c:v>14.666999999999986</c:v>
                </c:pt>
                <c:pt idx="1919">
                  <c:v>14.86099999999999</c:v>
                </c:pt>
                <c:pt idx="1920">
                  <c:v>15.500000000000004</c:v>
                </c:pt>
                <c:pt idx="1921">
                  <c:v>15.467000000000009</c:v>
                </c:pt>
                <c:pt idx="1922">
                  <c:v>15.317000000000004</c:v>
                </c:pt>
                <c:pt idx="1923">
                  <c:v>15.667000000000009</c:v>
                </c:pt>
                <c:pt idx="1924">
                  <c:v>15.738999999999992</c:v>
                </c:pt>
                <c:pt idx="1925">
                  <c:v>15.671999999999997</c:v>
                </c:pt>
                <c:pt idx="1926">
                  <c:v>15.644000000000013</c:v>
                </c:pt>
                <c:pt idx="1927">
                  <c:v>15.822000000000003</c:v>
                </c:pt>
                <c:pt idx="1928">
                  <c:v>15.671999999999997</c:v>
                </c:pt>
                <c:pt idx="1929">
                  <c:v>15.471999999999998</c:v>
                </c:pt>
                <c:pt idx="1930">
                  <c:v>15.578000000000003</c:v>
                </c:pt>
                <c:pt idx="1931">
                  <c:v>15.744000000000003</c:v>
                </c:pt>
                <c:pt idx="1932">
                  <c:v>15.611000000000018</c:v>
                </c:pt>
                <c:pt idx="1933">
                  <c:v>15.927999999999987</c:v>
                </c:pt>
                <c:pt idx="1934">
                  <c:v>15.511000000000008</c:v>
                </c:pt>
                <c:pt idx="1935">
                  <c:v>15.611000000000018</c:v>
                </c:pt>
                <c:pt idx="1936">
                  <c:v>16.122000000000014</c:v>
                </c:pt>
                <c:pt idx="1937">
                  <c:v>16.122000000000014</c:v>
                </c:pt>
                <c:pt idx="1938">
                  <c:v>16.122000000000014</c:v>
                </c:pt>
                <c:pt idx="1939">
                  <c:v>15.732999999999997</c:v>
                </c:pt>
                <c:pt idx="1940">
                  <c:v>15.966999999999999</c:v>
                </c:pt>
                <c:pt idx="1941">
                  <c:v>16.216999999999992</c:v>
                </c:pt>
                <c:pt idx="1942">
                  <c:v>16.149999999999999</c:v>
                </c:pt>
                <c:pt idx="1943">
                  <c:v>15.711000000000009</c:v>
                </c:pt>
                <c:pt idx="1944">
                  <c:v>15.738999999999992</c:v>
                </c:pt>
                <c:pt idx="1945">
                  <c:v>15.599999999999991</c:v>
                </c:pt>
                <c:pt idx="1946">
                  <c:v>15.310999999999986</c:v>
                </c:pt>
                <c:pt idx="1947">
                  <c:v>14.905999999999997</c:v>
                </c:pt>
                <c:pt idx="1948">
                  <c:v>14.683000000000002</c:v>
                </c:pt>
                <c:pt idx="1949">
                  <c:v>14.744000000000002</c:v>
                </c:pt>
                <c:pt idx="1950">
                  <c:v>14.92199999999999</c:v>
                </c:pt>
                <c:pt idx="1951">
                  <c:v>14.782999999999991</c:v>
                </c:pt>
                <c:pt idx="1952">
                  <c:v>14.578000000000003</c:v>
                </c:pt>
                <c:pt idx="1953">
                  <c:v>14.599999999999991</c:v>
                </c:pt>
                <c:pt idx="1954">
                  <c:v>14.088999999999995</c:v>
                </c:pt>
                <c:pt idx="1955">
                  <c:v>14.056000000000001</c:v>
                </c:pt>
                <c:pt idx="1956">
                  <c:v>14.600000000000012</c:v>
                </c:pt>
                <c:pt idx="1957">
                  <c:v>14.417000000000012</c:v>
                </c:pt>
                <c:pt idx="1958">
                  <c:v>13.86099999999999</c:v>
                </c:pt>
                <c:pt idx="1959">
                  <c:v>13.527999999999984</c:v>
                </c:pt>
                <c:pt idx="1960">
                  <c:v>14.039000000000001</c:v>
                </c:pt>
                <c:pt idx="1961">
                  <c:v>13.966999999999995</c:v>
                </c:pt>
                <c:pt idx="1962">
                  <c:v>13.561</c:v>
                </c:pt>
                <c:pt idx="1963">
                  <c:v>13.517000000000001</c:v>
                </c:pt>
                <c:pt idx="1964">
                  <c:v>13.032999999999983</c:v>
                </c:pt>
                <c:pt idx="1965">
                  <c:v>12.239000000000001</c:v>
                </c:pt>
                <c:pt idx="1966">
                  <c:v>12.132999999999994</c:v>
                </c:pt>
                <c:pt idx="1967">
                  <c:v>12.26100000000001</c:v>
                </c:pt>
                <c:pt idx="1968">
                  <c:v>12.050000000000004</c:v>
                </c:pt>
                <c:pt idx="1969">
                  <c:v>11.475999999999997</c:v>
                </c:pt>
                <c:pt idx="1970">
                  <c:v>11.442000000000018</c:v>
                </c:pt>
                <c:pt idx="1971">
                  <c:v>11.364000000000019</c:v>
                </c:pt>
                <c:pt idx="1972">
                  <c:v>11.346000000000011</c:v>
                </c:pt>
                <c:pt idx="1973">
                  <c:v>11.196000000000005</c:v>
                </c:pt>
                <c:pt idx="1974">
                  <c:v>11.159000000000008</c:v>
                </c:pt>
                <c:pt idx="1975">
                  <c:v>10.77800000000002</c:v>
                </c:pt>
                <c:pt idx="1976">
                  <c:v>10.821999999999999</c:v>
                </c:pt>
                <c:pt idx="1977">
                  <c:v>10.583000000000009</c:v>
                </c:pt>
                <c:pt idx="1978">
                  <c:v>10.638999999999999</c:v>
                </c:pt>
                <c:pt idx="1979">
                  <c:v>10.193999999999992</c:v>
                </c:pt>
                <c:pt idx="1980">
                  <c:v>10.403000000000006</c:v>
                </c:pt>
                <c:pt idx="1981">
                  <c:v>10.45799999999999</c:v>
                </c:pt>
                <c:pt idx="1982">
                  <c:v>10.380999999999997</c:v>
                </c:pt>
                <c:pt idx="1983">
                  <c:v>10.488999999999994</c:v>
                </c:pt>
                <c:pt idx="1984">
                  <c:v>10.088999999999992</c:v>
                </c:pt>
                <c:pt idx="1985">
                  <c:v>10.085999999999995</c:v>
                </c:pt>
                <c:pt idx="1986">
                  <c:v>10.448999999999998</c:v>
                </c:pt>
                <c:pt idx="1987">
                  <c:v>9.8899999999999988</c:v>
                </c:pt>
                <c:pt idx="1988">
                  <c:v>10.467000000000004</c:v>
                </c:pt>
                <c:pt idx="1989">
                  <c:v>10.707000000000001</c:v>
                </c:pt>
                <c:pt idx="1990">
                  <c:v>10.83400000000001</c:v>
                </c:pt>
                <c:pt idx="1991">
                  <c:v>10.999999999999988</c:v>
                </c:pt>
                <c:pt idx="1992">
                  <c:v>11.223000000000006</c:v>
                </c:pt>
                <c:pt idx="1993">
                  <c:v>11.206000000000005</c:v>
                </c:pt>
                <c:pt idx="1994">
                  <c:v>11.463000000000001</c:v>
                </c:pt>
                <c:pt idx="1995">
                  <c:v>12.175000000000002</c:v>
                </c:pt>
                <c:pt idx="1996">
                  <c:v>12.091999999999992</c:v>
                </c:pt>
                <c:pt idx="1997">
                  <c:v>11.993000000000009</c:v>
                </c:pt>
                <c:pt idx="1998">
                  <c:v>11.507999999999985</c:v>
                </c:pt>
                <c:pt idx="1999">
                  <c:v>12.522999999999996</c:v>
                </c:pt>
                <c:pt idx="2000">
                  <c:v>13.169000000000008</c:v>
                </c:pt>
                <c:pt idx="2001">
                  <c:v>13.332000000000011</c:v>
                </c:pt>
                <c:pt idx="2002">
                  <c:v>13.893000000000001</c:v>
                </c:pt>
                <c:pt idx="2003">
                  <c:v>14.505999999999997</c:v>
                </c:pt>
                <c:pt idx="2004">
                  <c:v>15.457999999999995</c:v>
                </c:pt>
                <c:pt idx="2005">
                  <c:v>16.307000000000006</c:v>
                </c:pt>
                <c:pt idx="2006">
                  <c:v>16.952000000000012</c:v>
                </c:pt>
                <c:pt idx="2007">
                  <c:v>18.388999999999989</c:v>
                </c:pt>
                <c:pt idx="2008">
                  <c:v>19.242000000000004</c:v>
                </c:pt>
                <c:pt idx="2009">
                  <c:v>20.811</c:v>
                </c:pt>
                <c:pt idx="2010">
                  <c:v>22.018000000000004</c:v>
                </c:pt>
                <c:pt idx="2011">
                  <c:v>23.303000000000008</c:v>
                </c:pt>
                <c:pt idx="2012">
                  <c:v>24.892999999999986</c:v>
                </c:pt>
                <c:pt idx="2013">
                  <c:v>25.814000000000004</c:v>
                </c:pt>
                <c:pt idx="2014">
                  <c:v>26.876999999999995</c:v>
                </c:pt>
                <c:pt idx="2015">
                  <c:v>27.139000000000003</c:v>
                </c:pt>
                <c:pt idx="2016">
                  <c:v>26.564999999999994</c:v>
                </c:pt>
                <c:pt idx="2017">
                  <c:v>26.327999999999996</c:v>
                </c:pt>
                <c:pt idx="2018">
                  <c:v>25.973000000000003</c:v>
                </c:pt>
                <c:pt idx="2019">
                  <c:v>25.393000000000022</c:v>
                </c:pt>
                <c:pt idx="2020">
                  <c:v>24.951000000000011</c:v>
                </c:pt>
                <c:pt idx="2021">
                  <c:v>24.963000000000001</c:v>
                </c:pt>
                <c:pt idx="2022">
                  <c:v>25.251999999999985</c:v>
                </c:pt>
                <c:pt idx="2023">
                  <c:v>24.516999999999989</c:v>
                </c:pt>
                <c:pt idx="2024">
                  <c:v>24.670999999999999</c:v>
                </c:pt>
                <c:pt idx="2025">
                  <c:v>24.919000000000004</c:v>
                </c:pt>
                <c:pt idx="2026">
                  <c:v>24.241999999999987</c:v>
                </c:pt>
                <c:pt idx="2027">
                  <c:v>25.133000000000006</c:v>
                </c:pt>
                <c:pt idx="2028">
                  <c:v>25.038000000000004</c:v>
                </c:pt>
                <c:pt idx="2029">
                  <c:v>25.417999999999985</c:v>
                </c:pt>
                <c:pt idx="2030">
                  <c:v>25.419999999999998</c:v>
                </c:pt>
                <c:pt idx="2031">
                  <c:v>24.946999999999985</c:v>
                </c:pt>
                <c:pt idx="2032">
                  <c:v>24.429999999999975</c:v>
                </c:pt>
                <c:pt idx="2033">
                  <c:v>24.619999999999997</c:v>
                </c:pt>
                <c:pt idx="2034">
                  <c:v>24.746000000000024</c:v>
                </c:pt>
                <c:pt idx="2035">
                  <c:v>24.231000000000002</c:v>
                </c:pt>
                <c:pt idx="2036">
                  <c:v>24.650000000000016</c:v>
                </c:pt>
                <c:pt idx="2037">
                  <c:v>25.225000000000009</c:v>
                </c:pt>
                <c:pt idx="2038">
                  <c:v>24.940000000000005</c:v>
                </c:pt>
                <c:pt idx="2039">
                  <c:v>25.226999999999975</c:v>
                </c:pt>
                <c:pt idx="2040">
                  <c:v>25.157999999999991</c:v>
                </c:pt>
                <c:pt idx="2041">
                  <c:v>25.602000000000015</c:v>
                </c:pt>
                <c:pt idx="2042">
                  <c:v>27.445000000000007</c:v>
                </c:pt>
                <c:pt idx="2043">
                  <c:v>26.269999999999992</c:v>
                </c:pt>
                <c:pt idx="2044">
                  <c:v>26.388999999999996</c:v>
                </c:pt>
                <c:pt idx="2045">
                  <c:v>26.849999999999994</c:v>
                </c:pt>
                <c:pt idx="2046">
                  <c:v>27.29999999999999</c:v>
                </c:pt>
                <c:pt idx="2047">
                  <c:v>28.327999999999996</c:v>
                </c:pt>
                <c:pt idx="2048">
                  <c:v>28.475000000000005</c:v>
                </c:pt>
                <c:pt idx="2049">
                  <c:v>28.300000000000015</c:v>
                </c:pt>
                <c:pt idx="2050">
                  <c:v>29.069999999999997</c:v>
                </c:pt>
                <c:pt idx="2051">
                  <c:v>30.043999999999983</c:v>
                </c:pt>
                <c:pt idx="2052">
                  <c:v>30.91299999999999</c:v>
                </c:pt>
                <c:pt idx="2053">
                  <c:v>31.503999999999998</c:v>
                </c:pt>
                <c:pt idx="2054">
                  <c:v>33.065000000000012</c:v>
                </c:pt>
                <c:pt idx="2055">
                  <c:v>34.063000000000002</c:v>
                </c:pt>
                <c:pt idx="2056">
                  <c:v>35.024999999999991</c:v>
                </c:pt>
                <c:pt idx="2057">
                  <c:v>37.618999999999978</c:v>
                </c:pt>
                <c:pt idx="2058">
                  <c:v>39.545000000000009</c:v>
                </c:pt>
                <c:pt idx="2059">
                  <c:v>40.418999999999983</c:v>
                </c:pt>
                <c:pt idx="2060">
                  <c:v>41.157000000000025</c:v>
                </c:pt>
                <c:pt idx="2061">
                  <c:v>40.818999999999981</c:v>
                </c:pt>
                <c:pt idx="2062">
                  <c:v>40.779999999999994</c:v>
                </c:pt>
                <c:pt idx="2063">
                  <c:v>41.768000000000029</c:v>
                </c:pt>
                <c:pt idx="2064">
                  <c:v>42.214999999999982</c:v>
                </c:pt>
                <c:pt idx="2065">
                  <c:v>42.910000000000004</c:v>
                </c:pt>
                <c:pt idx="2066">
                  <c:v>44.125000000000014</c:v>
                </c:pt>
                <c:pt idx="2067">
                  <c:v>45.507999999999996</c:v>
                </c:pt>
                <c:pt idx="2068">
                  <c:v>46.659999999999989</c:v>
                </c:pt>
                <c:pt idx="2069">
                  <c:v>47.8</c:v>
                </c:pt>
                <c:pt idx="2070">
                  <c:v>49.620000000000019</c:v>
                </c:pt>
                <c:pt idx="2071">
                  <c:v>51.275000000000006</c:v>
                </c:pt>
                <c:pt idx="2072">
                  <c:v>52.749000000000002</c:v>
                </c:pt>
                <c:pt idx="2073">
                  <c:v>54.613999999999983</c:v>
                </c:pt>
                <c:pt idx="2074">
                  <c:v>55.757999999999996</c:v>
                </c:pt>
                <c:pt idx="2075">
                  <c:v>57.246999999999979</c:v>
                </c:pt>
                <c:pt idx="2076">
                  <c:v>58.155000000000001</c:v>
                </c:pt>
                <c:pt idx="2077">
                  <c:v>57.906000000000013</c:v>
                </c:pt>
                <c:pt idx="2078">
                  <c:v>58.950000000000017</c:v>
                </c:pt>
                <c:pt idx="2079">
                  <c:v>59.399999999999984</c:v>
                </c:pt>
                <c:pt idx="2080">
                  <c:v>59.074999999999989</c:v>
                </c:pt>
                <c:pt idx="2081">
                  <c:v>59.234000000000009</c:v>
                </c:pt>
                <c:pt idx="2082">
                  <c:v>58.990999999999993</c:v>
                </c:pt>
                <c:pt idx="2083">
                  <c:v>58.693000000000019</c:v>
                </c:pt>
                <c:pt idx="2084">
                  <c:v>59.686000000000014</c:v>
                </c:pt>
                <c:pt idx="2085">
                  <c:v>59.139999999999993</c:v>
                </c:pt>
                <c:pt idx="2086">
                  <c:v>58.60300000000003</c:v>
                </c:pt>
                <c:pt idx="2087">
                  <c:v>58.632999999999981</c:v>
                </c:pt>
                <c:pt idx="2088">
                  <c:v>58.269000000000013</c:v>
                </c:pt>
                <c:pt idx="2089">
                  <c:v>58.48099999999998</c:v>
                </c:pt>
                <c:pt idx="2090">
                  <c:v>58.439000000000021</c:v>
                </c:pt>
                <c:pt idx="2091">
                  <c:v>57.738999999999983</c:v>
                </c:pt>
                <c:pt idx="2092">
                  <c:v>57.335999999999984</c:v>
                </c:pt>
                <c:pt idx="2093">
                  <c:v>57.055999999999997</c:v>
                </c:pt>
                <c:pt idx="2094">
                  <c:v>56.443000000000019</c:v>
                </c:pt>
                <c:pt idx="2095">
                  <c:v>55.573999999999991</c:v>
                </c:pt>
                <c:pt idx="2096">
                  <c:v>55.46700000000002</c:v>
                </c:pt>
                <c:pt idx="2097">
                  <c:v>55.081000000000024</c:v>
                </c:pt>
                <c:pt idx="2098">
                  <c:v>53.487999999999978</c:v>
                </c:pt>
                <c:pt idx="2099">
                  <c:v>53.105000000000004</c:v>
                </c:pt>
                <c:pt idx="2100">
                  <c:v>52.994000000000007</c:v>
                </c:pt>
                <c:pt idx="2101">
                  <c:v>51.824999999999989</c:v>
                </c:pt>
                <c:pt idx="2102">
                  <c:v>52.394000000000005</c:v>
                </c:pt>
                <c:pt idx="2103">
                  <c:v>52.213000000000001</c:v>
                </c:pt>
                <c:pt idx="2104">
                  <c:v>52.006000000000022</c:v>
                </c:pt>
                <c:pt idx="2105">
                  <c:v>49.550000000000004</c:v>
                </c:pt>
                <c:pt idx="2106">
                  <c:v>49.075000000000003</c:v>
                </c:pt>
                <c:pt idx="2107">
                  <c:v>48.499999999999986</c:v>
                </c:pt>
                <c:pt idx="2108">
                  <c:v>47.10000000000003</c:v>
                </c:pt>
                <c:pt idx="2109">
                  <c:v>45.330000000000005</c:v>
                </c:pt>
                <c:pt idx="2110">
                  <c:v>43.962999999999994</c:v>
                </c:pt>
                <c:pt idx="2111">
                  <c:v>44.062999999999988</c:v>
                </c:pt>
                <c:pt idx="2112">
                  <c:v>44.004999999999981</c:v>
                </c:pt>
                <c:pt idx="2113">
                  <c:v>43.778000000000006</c:v>
                </c:pt>
                <c:pt idx="2114">
                  <c:v>43.300000000000004</c:v>
                </c:pt>
                <c:pt idx="2115">
                  <c:v>43.300000000000004</c:v>
                </c:pt>
                <c:pt idx="2116">
                  <c:v>45.500000000000007</c:v>
                </c:pt>
                <c:pt idx="2117">
                  <c:v>42.83799999999998</c:v>
                </c:pt>
                <c:pt idx="2118">
                  <c:v>43.313000000000002</c:v>
                </c:pt>
                <c:pt idx="2119">
                  <c:v>44.818999999999988</c:v>
                </c:pt>
                <c:pt idx="2120">
                  <c:v>41.631000000000014</c:v>
                </c:pt>
                <c:pt idx="2121">
                  <c:v>43.525000000000013</c:v>
                </c:pt>
                <c:pt idx="2122">
                  <c:v>42.071000000000012</c:v>
                </c:pt>
                <c:pt idx="2123">
                  <c:v>40.981000000000023</c:v>
                </c:pt>
                <c:pt idx="2124">
                  <c:v>41.318999999999996</c:v>
                </c:pt>
                <c:pt idx="2125">
                  <c:v>40.987999999999978</c:v>
                </c:pt>
                <c:pt idx="2126">
                  <c:v>41.582999999999991</c:v>
                </c:pt>
                <c:pt idx="2127">
                  <c:v>41.230999999999995</c:v>
                </c:pt>
                <c:pt idx="2128">
                  <c:v>41.313000000000002</c:v>
                </c:pt>
                <c:pt idx="2129">
                  <c:v>40.983000000000011</c:v>
                </c:pt>
                <c:pt idx="2130">
                  <c:v>42.162999999999997</c:v>
                </c:pt>
                <c:pt idx="2131">
                  <c:v>41.649000000000022</c:v>
                </c:pt>
                <c:pt idx="2132">
                  <c:v>40.874000000000009</c:v>
                </c:pt>
                <c:pt idx="2133">
                  <c:v>40.869</c:v>
                </c:pt>
                <c:pt idx="2134">
                  <c:v>41.225000000000001</c:v>
                </c:pt>
                <c:pt idx="2135">
                  <c:v>39.588000000000001</c:v>
                </c:pt>
                <c:pt idx="2136">
                  <c:v>39.615999999999985</c:v>
                </c:pt>
                <c:pt idx="2137">
                  <c:v>40.058000000000014</c:v>
                </c:pt>
                <c:pt idx="2138">
                  <c:v>40.400000000000013</c:v>
                </c:pt>
                <c:pt idx="2139">
                  <c:v>40.103000000000002</c:v>
                </c:pt>
                <c:pt idx="2140">
                  <c:v>40.198</c:v>
                </c:pt>
                <c:pt idx="2141">
                  <c:v>39.89800000000001</c:v>
                </c:pt>
                <c:pt idx="2142">
                  <c:v>39.474999999999994</c:v>
                </c:pt>
                <c:pt idx="2143">
                  <c:v>39.890000000000029</c:v>
                </c:pt>
                <c:pt idx="2144">
                  <c:v>38.725000000000009</c:v>
                </c:pt>
                <c:pt idx="2145">
                  <c:v>38.830999999999996</c:v>
                </c:pt>
                <c:pt idx="2146">
                  <c:v>38.783000000000015</c:v>
                </c:pt>
                <c:pt idx="2147">
                  <c:v>38.044000000000011</c:v>
                </c:pt>
                <c:pt idx="2148">
                  <c:v>38.013000000000005</c:v>
                </c:pt>
                <c:pt idx="2149">
                  <c:v>38.324000000000005</c:v>
                </c:pt>
                <c:pt idx="2150">
                  <c:v>37.700000000000024</c:v>
                </c:pt>
                <c:pt idx="2151">
                  <c:v>37.618999999999978</c:v>
                </c:pt>
                <c:pt idx="2152">
                  <c:v>37.029999999999987</c:v>
                </c:pt>
                <c:pt idx="2153">
                  <c:v>35.863</c:v>
                </c:pt>
                <c:pt idx="2154">
                  <c:v>36.01400000000001</c:v>
                </c:pt>
                <c:pt idx="2155">
                  <c:v>36.050000000000004</c:v>
                </c:pt>
                <c:pt idx="2156">
                  <c:v>35.755999999999986</c:v>
                </c:pt>
                <c:pt idx="2157">
                  <c:v>35.155999999999985</c:v>
                </c:pt>
                <c:pt idx="2158">
                  <c:v>34.130999999999979</c:v>
                </c:pt>
                <c:pt idx="2159">
                  <c:v>33.938000000000002</c:v>
                </c:pt>
                <c:pt idx="2160">
                  <c:v>33.437999999999988</c:v>
                </c:pt>
                <c:pt idx="2161">
                  <c:v>33.187999999999995</c:v>
                </c:pt>
                <c:pt idx="2162">
                  <c:v>33.437999999999988</c:v>
                </c:pt>
                <c:pt idx="2163">
                  <c:v>33.013000000000005</c:v>
                </c:pt>
                <c:pt idx="2164">
                  <c:v>33.456000000000017</c:v>
                </c:pt>
                <c:pt idx="2165">
                  <c:v>33.125000000000028</c:v>
                </c:pt>
                <c:pt idx="2166">
                  <c:v>32.049999999999997</c:v>
                </c:pt>
                <c:pt idx="2167">
                  <c:v>32.100000000000016</c:v>
                </c:pt>
                <c:pt idx="2168">
                  <c:v>32.02499999999997</c:v>
                </c:pt>
                <c:pt idx="2169">
                  <c:v>31.443999999999981</c:v>
                </c:pt>
                <c:pt idx="2170">
                  <c:v>30.750000000000011</c:v>
                </c:pt>
                <c:pt idx="2171">
                  <c:v>30.250000000000021</c:v>
                </c:pt>
                <c:pt idx="2172">
                  <c:v>28.524999999999999</c:v>
                </c:pt>
                <c:pt idx="2173">
                  <c:v>27.674999999999983</c:v>
                </c:pt>
                <c:pt idx="2174">
                  <c:v>27.218999999999973</c:v>
                </c:pt>
                <c:pt idx="2175">
                  <c:v>26.575000000000017</c:v>
                </c:pt>
                <c:pt idx="2176">
                  <c:v>26.524999999999999</c:v>
                </c:pt>
                <c:pt idx="2177">
                  <c:v>25.287999999999975</c:v>
                </c:pt>
                <c:pt idx="2178">
                  <c:v>25.062999999999967</c:v>
                </c:pt>
                <c:pt idx="2179">
                  <c:v>24.624999999999986</c:v>
                </c:pt>
                <c:pt idx="2180">
                  <c:v>24.175000000000011</c:v>
                </c:pt>
                <c:pt idx="2181">
                  <c:v>22.937999999999992</c:v>
                </c:pt>
                <c:pt idx="2182">
                  <c:v>23.324999999999996</c:v>
                </c:pt>
                <c:pt idx="2183">
                  <c:v>22.274999999999999</c:v>
                </c:pt>
                <c:pt idx="2184">
                  <c:v>21.86300000000001</c:v>
                </c:pt>
                <c:pt idx="2185">
                  <c:v>21.625000000000007</c:v>
                </c:pt>
                <c:pt idx="2186">
                  <c:v>21.574999999999989</c:v>
                </c:pt>
                <c:pt idx="2187">
                  <c:v>20.862999999999985</c:v>
                </c:pt>
                <c:pt idx="2188">
                  <c:v>21.375000000000011</c:v>
                </c:pt>
                <c:pt idx="2189">
                  <c:v>20.480999999999973</c:v>
                </c:pt>
                <c:pt idx="2190">
                  <c:v>20.705999999999982</c:v>
                </c:pt>
                <c:pt idx="2191">
                  <c:v>20.774999999999988</c:v>
                </c:pt>
                <c:pt idx="2192">
                  <c:v>20.874999999999979</c:v>
                </c:pt>
                <c:pt idx="2193">
                  <c:v>20.425000000000004</c:v>
                </c:pt>
                <c:pt idx="2194">
                  <c:v>19.350000000000023</c:v>
                </c:pt>
                <c:pt idx="2195">
                  <c:v>19.012999999999991</c:v>
                </c:pt>
                <c:pt idx="2196">
                  <c:v>19.113000000000024</c:v>
                </c:pt>
                <c:pt idx="2197">
                  <c:v>18.92499999999999</c:v>
                </c:pt>
                <c:pt idx="2198">
                  <c:v>18.04999999999999</c:v>
                </c:pt>
                <c:pt idx="2199">
                  <c:v>18.838000000000001</c:v>
                </c:pt>
                <c:pt idx="2200">
                  <c:v>18.637999999999977</c:v>
                </c:pt>
                <c:pt idx="2201">
                  <c:v>18.612999999999992</c:v>
                </c:pt>
                <c:pt idx="2202">
                  <c:v>18.562999999999974</c:v>
                </c:pt>
                <c:pt idx="2203">
                  <c:v>18.750000000000043</c:v>
                </c:pt>
                <c:pt idx="2204">
                  <c:v>17.913000000000025</c:v>
                </c:pt>
                <c:pt idx="2205">
                  <c:v>18.39999999999997</c:v>
                </c:pt>
                <c:pt idx="2206">
                  <c:v>18.53799999999999</c:v>
                </c:pt>
                <c:pt idx="2207">
                  <c:v>17.913000000000025</c:v>
                </c:pt>
                <c:pt idx="2208">
                  <c:v>18.349999999999955</c:v>
                </c:pt>
                <c:pt idx="2209">
                  <c:v>17.674999999999976</c:v>
                </c:pt>
                <c:pt idx="2210">
                  <c:v>17.112999999999978</c:v>
                </c:pt>
                <c:pt idx="2211">
                  <c:v>16.805999999999965</c:v>
                </c:pt>
                <c:pt idx="2212">
                  <c:v>17.225000000000001</c:v>
                </c:pt>
                <c:pt idx="2213">
                  <c:v>17.793999999999997</c:v>
                </c:pt>
                <c:pt idx="2214">
                  <c:v>18.369000000000035</c:v>
                </c:pt>
                <c:pt idx="2215">
                  <c:v>19.230999999999952</c:v>
                </c:pt>
                <c:pt idx="2216">
                  <c:v>18.544000000000025</c:v>
                </c:pt>
                <c:pt idx="2217">
                  <c:v>19.681000000000015</c:v>
                </c:pt>
                <c:pt idx="2218">
                  <c:v>19.256000000000029</c:v>
                </c:pt>
                <c:pt idx="2219">
                  <c:v>18.563000000000017</c:v>
                </c:pt>
                <c:pt idx="2220">
                  <c:v>19.55</c:v>
                </c:pt>
                <c:pt idx="2221">
                  <c:v>19.619000000000007</c:v>
                </c:pt>
                <c:pt idx="2222">
                  <c:v>20.438000000000002</c:v>
                </c:pt>
                <c:pt idx="2223">
                  <c:v>21.087999999999994</c:v>
                </c:pt>
                <c:pt idx="2224">
                  <c:v>23</c:v>
                </c:pt>
                <c:pt idx="2225">
                  <c:v>22.524999999999995</c:v>
                </c:pt>
                <c:pt idx="2226">
                  <c:v>24.087999999999976</c:v>
                </c:pt>
                <c:pt idx="2227">
                  <c:v>24.212999999999994</c:v>
                </c:pt>
                <c:pt idx="2228">
                  <c:v>25.099999999999987</c:v>
                </c:pt>
                <c:pt idx="2229">
                  <c:v>25.850000000000016</c:v>
                </c:pt>
                <c:pt idx="2230">
                  <c:v>28.150000000000031</c:v>
                </c:pt>
                <c:pt idx="2231">
                  <c:v>28.438000000000009</c:v>
                </c:pt>
                <c:pt idx="2232">
                  <c:v>28.074999999999982</c:v>
                </c:pt>
                <c:pt idx="2233">
                  <c:v>27.925000000000022</c:v>
                </c:pt>
                <c:pt idx="2234">
                  <c:v>28.012999999999977</c:v>
                </c:pt>
                <c:pt idx="2235">
                  <c:v>28.263000000000016</c:v>
                </c:pt>
                <c:pt idx="2236">
                  <c:v>28.213000000000001</c:v>
                </c:pt>
                <c:pt idx="2237">
                  <c:v>27.412999999999997</c:v>
                </c:pt>
                <c:pt idx="2238">
                  <c:v>28.413000000000022</c:v>
                </c:pt>
                <c:pt idx="2239">
                  <c:v>29.749999999999986</c:v>
                </c:pt>
                <c:pt idx="2240">
                  <c:v>30.600000000000005</c:v>
                </c:pt>
                <c:pt idx="2241">
                  <c:v>31.549999999999969</c:v>
                </c:pt>
                <c:pt idx="2242">
                  <c:v>31.300999999999981</c:v>
                </c:pt>
                <c:pt idx="2243">
                  <c:v>31.112999999999992</c:v>
                </c:pt>
                <c:pt idx="2244">
                  <c:v>32.79399999999999</c:v>
                </c:pt>
                <c:pt idx="2245">
                  <c:v>33.224999999999973</c:v>
                </c:pt>
                <c:pt idx="2246">
                  <c:v>33.618999999999978</c:v>
                </c:pt>
                <c:pt idx="2247">
                  <c:v>34.420999999999992</c:v>
                </c:pt>
                <c:pt idx="2248">
                  <c:v>33.9</c:v>
                </c:pt>
                <c:pt idx="2249">
                  <c:v>33.643000000000001</c:v>
                </c:pt>
                <c:pt idx="2250">
                  <c:v>36.512999999999977</c:v>
                </c:pt>
                <c:pt idx="2251">
                  <c:v>36.613000000000007</c:v>
                </c:pt>
                <c:pt idx="2252">
                  <c:v>37.244999999999976</c:v>
                </c:pt>
                <c:pt idx="2253">
                  <c:v>36.538000000000004</c:v>
                </c:pt>
                <c:pt idx="2254">
                  <c:v>39.274999999999991</c:v>
                </c:pt>
                <c:pt idx="2255">
                  <c:v>39.592999999999989</c:v>
                </c:pt>
                <c:pt idx="2256">
                  <c:v>40.105999999999973</c:v>
                </c:pt>
                <c:pt idx="2257">
                  <c:v>40.393999999999998</c:v>
                </c:pt>
                <c:pt idx="2258">
                  <c:v>39.900000000000006</c:v>
                </c:pt>
                <c:pt idx="2259">
                  <c:v>39.1</c:v>
                </c:pt>
                <c:pt idx="2260">
                  <c:v>39.419000000000004</c:v>
                </c:pt>
                <c:pt idx="2261">
                  <c:v>41.008999999999986</c:v>
                </c:pt>
                <c:pt idx="2262">
                  <c:v>42.513000000000019</c:v>
                </c:pt>
                <c:pt idx="2263">
                  <c:v>41.349999999999994</c:v>
                </c:pt>
                <c:pt idx="2264">
                  <c:v>37.81299999999996</c:v>
                </c:pt>
                <c:pt idx="2265">
                  <c:v>40.97499999999998</c:v>
                </c:pt>
                <c:pt idx="2266">
                  <c:v>41.46299999999998</c:v>
                </c:pt>
                <c:pt idx="2267">
                  <c:v>41.344000000000001</c:v>
                </c:pt>
                <c:pt idx="2268">
                  <c:v>39.820000000000007</c:v>
                </c:pt>
                <c:pt idx="2269">
                  <c:v>38.90000000000002</c:v>
                </c:pt>
                <c:pt idx="2270">
                  <c:v>40.063000000000002</c:v>
                </c:pt>
                <c:pt idx="2271">
                  <c:v>38.888000000000034</c:v>
                </c:pt>
                <c:pt idx="2272">
                  <c:v>40.200000000000017</c:v>
                </c:pt>
                <c:pt idx="2273">
                  <c:v>40.007999999999996</c:v>
                </c:pt>
                <c:pt idx="2274">
                  <c:v>38.930999999999962</c:v>
                </c:pt>
                <c:pt idx="2275">
                  <c:v>36.949999999999996</c:v>
                </c:pt>
                <c:pt idx="2276">
                  <c:v>38.988000000000021</c:v>
                </c:pt>
                <c:pt idx="2277">
                  <c:v>38.394000000000041</c:v>
                </c:pt>
                <c:pt idx="2278">
                  <c:v>37.730999999999959</c:v>
                </c:pt>
                <c:pt idx="2279">
                  <c:v>37.094000000000008</c:v>
                </c:pt>
                <c:pt idx="2280">
                  <c:v>36.643999999999991</c:v>
                </c:pt>
                <c:pt idx="2281">
                  <c:v>37.531000000000027</c:v>
                </c:pt>
                <c:pt idx="2282">
                  <c:v>36.724999999999987</c:v>
                </c:pt>
                <c:pt idx="2283">
                  <c:v>35.000000000000007</c:v>
                </c:pt>
                <c:pt idx="2284">
                  <c:v>36.138000000000005</c:v>
                </c:pt>
                <c:pt idx="2285">
                  <c:v>36.984999999999999</c:v>
                </c:pt>
                <c:pt idx="2286">
                  <c:v>35.662999999999997</c:v>
                </c:pt>
                <c:pt idx="2287">
                  <c:v>35.175000000000047</c:v>
                </c:pt>
                <c:pt idx="2288">
                  <c:v>33.662999999999997</c:v>
                </c:pt>
                <c:pt idx="2289">
                  <c:v>34.089999999999954</c:v>
                </c:pt>
                <c:pt idx="2290">
                  <c:v>33.437999999999988</c:v>
                </c:pt>
                <c:pt idx="2291">
                  <c:v>32.825000000000017</c:v>
                </c:pt>
                <c:pt idx="2292">
                  <c:v>33.14999999999997</c:v>
                </c:pt>
                <c:pt idx="2293">
                  <c:v>32.763000000000005</c:v>
                </c:pt>
                <c:pt idx="2294">
                  <c:v>32.787999999999997</c:v>
                </c:pt>
                <c:pt idx="2295">
                  <c:v>33.350000000000037</c:v>
                </c:pt>
                <c:pt idx="2296">
                  <c:v>32.873000000000019</c:v>
                </c:pt>
                <c:pt idx="2297">
                  <c:v>29.450000000000021</c:v>
                </c:pt>
                <c:pt idx="2298">
                  <c:v>29.574999999999996</c:v>
                </c:pt>
                <c:pt idx="2299">
                  <c:v>28.499999999999972</c:v>
                </c:pt>
                <c:pt idx="2300">
                  <c:v>28.917999999999999</c:v>
                </c:pt>
                <c:pt idx="2301">
                  <c:v>27.875000000000007</c:v>
                </c:pt>
                <c:pt idx="2302">
                  <c:v>29.017999999999986</c:v>
                </c:pt>
                <c:pt idx="2303">
                  <c:v>27.888000000000002</c:v>
                </c:pt>
                <c:pt idx="2304">
                  <c:v>23.963000000000001</c:v>
                </c:pt>
                <c:pt idx="2305">
                  <c:v>23.77499999999997</c:v>
                </c:pt>
                <c:pt idx="2306">
                  <c:v>25.967999999999989</c:v>
                </c:pt>
                <c:pt idx="2307">
                  <c:v>24.349999999999959</c:v>
                </c:pt>
                <c:pt idx="2308">
                  <c:v>23.975000000000037</c:v>
                </c:pt>
                <c:pt idx="2309">
                  <c:v>23.012999999999995</c:v>
                </c:pt>
                <c:pt idx="2310">
                  <c:v>21.988000000000028</c:v>
                </c:pt>
                <c:pt idx="2311">
                  <c:v>21.812999999999995</c:v>
                </c:pt>
                <c:pt idx="2312">
                  <c:v>20.612999999999992</c:v>
                </c:pt>
                <c:pt idx="2313">
                  <c:v>18.699999999999982</c:v>
                </c:pt>
                <c:pt idx="2314">
                  <c:v>19.662999999999986</c:v>
                </c:pt>
                <c:pt idx="2315">
                  <c:v>19.562999999999995</c:v>
                </c:pt>
                <c:pt idx="2316">
                  <c:v>18.500000000000007</c:v>
                </c:pt>
                <c:pt idx="2317">
                  <c:v>19.51299999999998</c:v>
                </c:pt>
                <c:pt idx="2318">
                  <c:v>19.163000000000039</c:v>
                </c:pt>
                <c:pt idx="2319">
                  <c:v>20.124999999999993</c:v>
                </c:pt>
                <c:pt idx="2320">
                  <c:v>18.67500000000004</c:v>
                </c:pt>
                <c:pt idx="2321">
                  <c:v>20.487999999999971</c:v>
                </c:pt>
                <c:pt idx="2322">
                  <c:v>20.963000000000022</c:v>
                </c:pt>
                <c:pt idx="2323">
                  <c:v>22.324999999999974</c:v>
                </c:pt>
                <c:pt idx="2324">
                  <c:v>22.862999999999989</c:v>
                </c:pt>
                <c:pt idx="2325">
                  <c:v>20.775000000000034</c:v>
                </c:pt>
                <c:pt idx="2326">
                  <c:v>20.200000000000038</c:v>
                </c:pt>
                <c:pt idx="2327">
                  <c:v>18.999999999999993</c:v>
                </c:pt>
                <c:pt idx="2328">
                  <c:v>20.367999999999988</c:v>
                </c:pt>
                <c:pt idx="2329">
                  <c:v>21.27500000000002</c:v>
                </c:pt>
                <c:pt idx="2330">
                  <c:v>19.788000000000004</c:v>
                </c:pt>
                <c:pt idx="2331">
                  <c:v>21.050000000000011</c:v>
                </c:pt>
                <c:pt idx="2332">
                  <c:v>19.875000000000043</c:v>
                </c:pt>
                <c:pt idx="2333">
                  <c:v>20.375000000000032</c:v>
                </c:pt>
                <c:pt idx="2334">
                  <c:v>19.34999999999998</c:v>
                </c:pt>
                <c:pt idx="2335">
                  <c:v>20.238000000000021</c:v>
                </c:pt>
                <c:pt idx="2336">
                  <c:v>19.465000000000021</c:v>
                </c:pt>
                <c:pt idx="2337">
                  <c:v>18.563000000000017</c:v>
                </c:pt>
                <c:pt idx="2338">
                  <c:v>18.813000000000013</c:v>
                </c:pt>
                <c:pt idx="2339">
                  <c:v>17.900000000000027</c:v>
                </c:pt>
                <c:pt idx="2340">
                  <c:v>17.824999999999982</c:v>
                </c:pt>
                <c:pt idx="2341">
                  <c:v>20.04999999999999</c:v>
                </c:pt>
                <c:pt idx="2342">
                  <c:v>18.975000000000009</c:v>
                </c:pt>
                <c:pt idx="2343">
                  <c:v>19.34999999999998</c:v>
                </c:pt>
                <c:pt idx="2344">
                  <c:v>17.850000000000009</c:v>
                </c:pt>
                <c:pt idx="2345">
                  <c:v>19.138000000000012</c:v>
                </c:pt>
                <c:pt idx="2346">
                  <c:v>17.599999999999973</c:v>
                </c:pt>
                <c:pt idx="2347">
                  <c:v>16.413000000000011</c:v>
                </c:pt>
                <c:pt idx="2348">
                  <c:v>16.935000000000009</c:v>
                </c:pt>
                <c:pt idx="2349">
                  <c:v>18.437999999999999</c:v>
                </c:pt>
                <c:pt idx="2350">
                  <c:v>17.43800000000002</c:v>
                </c:pt>
                <c:pt idx="2351">
                  <c:v>17.924999999999969</c:v>
                </c:pt>
                <c:pt idx="2352">
                  <c:v>17.499999999999982</c:v>
                </c:pt>
                <c:pt idx="2353">
                  <c:v>17.362999999999971</c:v>
                </c:pt>
                <c:pt idx="2354">
                  <c:v>18.389999999999993</c:v>
                </c:pt>
                <c:pt idx="2355">
                  <c:v>16.612999999999989</c:v>
                </c:pt>
                <c:pt idx="2356">
                  <c:v>16.388000000000027</c:v>
                </c:pt>
                <c:pt idx="2357">
                  <c:v>17.880000000000031</c:v>
                </c:pt>
                <c:pt idx="2358">
                  <c:v>16.132999999999996</c:v>
                </c:pt>
                <c:pt idx="2359">
                  <c:v>16.32500000000001</c:v>
                </c:pt>
                <c:pt idx="2360">
                  <c:v>15.887999999999991</c:v>
                </c:pt>
                <c:pt idx="2361">
                  <c:v>16.499999999999957</c:v>
                </c:pt>
                <c:pt idx="2362">
                  <c:v>16.849999999999987</c:v>
                </c:pt>
                <c:pt idx="2363">
                  <c:v>16.71299999999998</c:v>
                </c:pt>
                <c:pt idx="2364">
                  <c:v>15.263000000000027</c:v>
                </c:pt>
                <c:pt idx="2365">
                  <c:v>15.58799999999998</c:v>
                </c:pt>
                <c:pt idx="2366">
                  <c:v>15.138000000000007</c:v>
                </c:pt>
                <c:pt idx="2367">
                  <c:v>14.449999999999985</c:v>
                </c:pt>
                <c:pt idx="2368">
                  <c:v>14.674999999999994</c:v>
                </c:pt>
                <c:pt idx="2369">
                  <c:v>15.063000000000004</c:v>
                </c:pt>
                <c:pt idx="2370">
                  <c:v>14.988000000000001</c:v>
                </c:pt>
                <c:pt idx="2371">
                  <c:v>15.175000000000027</c:v>
                </c:pt>
                <c:pt idx="2372">
                  <c:v>15.174999999999983</c:v>
                </c:pt>
                <c:pt idx="2373">
                  <c:v>15.574999999999983</c:v>
                </c:pt>
                <c:pt idx="2374">
                  <c:v>17.139999999999979</c:v>
                </c:pt>
                <c:pt idx="2375">
                  <c:v>20.419999999999973</c:v>
                </c:pt>
                <c:pt idx="2376">
                  <c:v>17.178000000000004</c:v>
                </c:pt>
                <c:pt idx="2377">
                  <c:v>18.33300000000002</c:v>
                </c:pt>
                <c:pt idx="2378">
                  <c:v>17.049999999999965</c:v>
                </c:pt>
                <c:pt idx="2379">
                  <c:v>20.862999999999985</c:v>
                </c:pt>
                <c:pt idx="2380">
                  <c:v>17.474999999999994</c:v>
                </c:pt>
                <c:pt idx="2381">
                  <c:v>18.350000000000001</c:v>
                </c:pt>
                <c:pt idx="2382">
                  <c:v>18.387999999999984</c:v>
                </c:pt>
                <c:pt idx="2383">
                  <c:v>19.225000000000001</c:v>
                </c:pt>
                <c:pt idx="2384">
                  <c:v>17.58000000000002</c:v>
                </c:pt>
                <c:pt idx="2385">
                  <c:v>18.389999999999993</c:v>
                </c:pt>
                <c:pt idx="2386">
                  <c:v>16.512999999999998</c:v>
                </c:pt>
                <c:pt idx="2387">
                  <c:v>20.513000000000005</c:v>
                </c:pt>
                <c:pt idx="2388">
                  <c:v>16.612999999999989</c:v>
                </c:pt>
                <c:pt idx="2389">
                  <c:v>18.425000000000004</c:v>
                </c:pt>
                <c:pt idx="2390">
                  <c:v>18.827999999999978</c:v>
                </c:pt>
                <c:pt idx="2391">
                  <c:v>15.225000000000044</c:v>
                </c:pt>
                <c:pt idx="2392">
                  <c:v>17.188000000000024</c:v>
                </c:pt>
                <c:pt idx="2393">
                  <c:v>18.088000000000015</c:v>
                </c:pt>
                <c:pt idx="2394">
                  <c:v>19.037999999999975</c:v>
                </c:pt>
                <c:pt idx="2395">
                  <c:v>17.637999999999998</c:v>
                </c:pt>
                <c:pt idx="2396">
                  <c:v>18.210000000000015</c:v>
                </c:pt>
                <c:pt idx="2397">
                  <c:v>17.200000000000017</c:v>
                </c:pt>
                <c:pt idx="2398">
                  <c:v>18.362999999999996</c:v>
                </c:pt>
                <c:pt idx="2399">
                  <c:v>15.037999999999974</c:v>
                </c:pt>
                <c:pt idx="2400">
                  <c:v>17.804999999999982</c:v>
                </c:pt>
                <c:pt idx="2401">
                  <c:v>17.375000000000007</c:v>
                </c:pt>
                <c:pt idx="2402">
                  <c:v>23</c:v>
                </c:pt>
                <c:pt idx="2403">
                  <c:v>18.53799999999999</c:v>
                </c:pt>
                <c:pt idx="2404">
                  <c:v>22.324999999999974</c:v>
                </c:pt>
                <c:pt idx="2405">
                  <c:v>22.325000000000017</c:v>
                </c:pt>
                <c:pt idx="2406">
                  <c:v>22.363</c:v>
                </c:pt>
                <c:pt idx="2407">
                  <c:v>24.690000000000012</c:v>
                </c:pt>
                <c:pt idx="2408">
                  <c:v>29.762999999999984</c:v>
                </c:pt>
                <c:pt idx="2409">
                  <c:v>19.138000000000012</c:v>
                </c:pt>
                <c:pt idx="2410">
                  <c:v>22.075000000000024</c:v>
                </c:pt>
                <c:pt idx="2411">
                  <c:v>20.920000000000005</c:v>
                </c:pt>
                <c:pt idx="2412">
                  <c:v>21.513000000000027</c:v>
                </c:pt>
                <c:pt idx="2413">
                  <c:v>20.57500000000001</c:v>
                </c:pt>
                <c:pt idx="2414">
                  <c:v>21.675000000000022</c:v>
                </c:pt>
                <c:pt idx="2415">
                  <c:v>22.199999999999996</c:v>
                </c:pt>
                <c:pt idx="2416">
                  <c:v>21.412999999999993</c:v>
                </c:pt>
                <c:pt idx="2417">
                  <c:v>19.262999999999984</c:v>
                </c:pt>
                <c:pt idx="2418">
                  <c:v>25.574999999999992</c:v>
                </c:pt>
                <c:pt idx="2419">
                  <c:v>24.025000000000006</c:v>
                </c:pt>
                <c:pt idx="2420">
                  <c:v>27.400000000000002</c:v>
                </c:pt>
                <c:pt idx="2421">
                  <c:v>23.899999999999988</c:v>
                </c:pt>
                <c:pt idx="2422">
                  <c:v>27.349999999999987</c:v>
                </c:pt>
                <c:pt idx="2423">
                  <c:v>25.310000000000009</c:v>
                </c:pt>
                <c:pt idx="2424">
                  <c:v>24.862999999999992</c:v>
                </c:pt>
                <c:pt idx="2425">
                  <c:v>27.325000000000021</c:v>
                </c:pt>
                <c:pt idx="2426">
                  <c:v>22.212999999999994</c:v>
                </c:pt>
                <c:pt idx="2427">
                  <c:v>28.438000000000009</c:v>
                </c:pt>
                <c:pt idx="2428">
                  <c:v>27.674999999999983</c:v>
                </c:pt>
                <c:pt idx="2429">
                  <c:v>26.838000000000029</c:v>
                </c:pt>
                <c:pt idx="2430">
                  <c:v>26.309999999999988</c:v>
                </c:pt>
                <c:pt idx="2431">
                  <c:v>26.550000000000029</c:v>
                </c:pt>
                <c:pt idx="2432">
                  <c:v>25.472999999999992</c:v>
                </c:pt>
                <c:pt idx="2433">
                  <c:v>23.225000000000009</c:v>
                </c:pt>
                <c:pt idx="2434">
                  <c:v>28.437999999999985</c:v>
                </c:pt>
                <c:pt idx="2435">
                  <c:v>24.437999999999981</c:v>
                </c:pt>
                <c:pt idx="2436">
                  <c:v>25.612999999999996</c:v>
                </c:pt>
                <c:pt idx="2437">
                  <c:v>27.974999999999973</c:v>
                </c:pt>
                <c:pt idx="2438">
                  <c:v>28.663000000000018</c:v>
                </c:pt>
                <c:pt idx="2439">
                  <c:v>29.475000000000009</c:v>
                </c:pt>
                <c:pt idx="2440">
                  <c:v>32.062999999999995</c:v>
                </c:pt>
                <c:pt idx="2441">
                  <c:v>31.137999999999998</c:v>
                </c:pt>
                <c:pt idx="2442">
                  <c:v>27.612999999999978</c:v>
                </c:pt>
                <c:pt idx="2443">
                  <c:v>30.112999999999989</c:v>
                </c:pt>
                <c:pt idx="2444">
                  <c:v>31.23800000000001</c:v>
                </c:pt>
                <c:pt idx="2445">
                  <c:v>29.562999999999985</c:v>
                </c:pt>
                <c:pt idx="2446">
                  <c:v>29.77500000000002</c:v>
                </c:pt>
                <c:pt idx="2447">
                  <c:v>28.990000000000006</c:v>
                </c:pt>
                <c:pt idx="2448">
                  <c:v>29.238000000000007</c:v>
                </c:pt>
                <c:pt idx="2449">
                  <c:v>29.91299999999999</c:v>
                </c:pt>
                <c:pt idx="2450">
                  <c:v>32.013000000000005</c:v>
                </c:pt>
                <c:pt idx="2451">
                  <c:v>31.487999999999982</c:v>
                </c:pt>
                <c:pt idx="2452">
                  <c:v>34.687999999999988</c:v>
                </c:pt>
                <c:pt idx="2453">
                  <c:v>34.102999999999994</c:v>
                </c:pt>
                <c:pt idx="2454">
                  <c:v>32.325000000000024</c:v>
                </c:pt>
                <c:pt idx="2455">
                  <c:v>33.299999999999997</c:v>
                </c:pt>
                <c:pt idx="2456">
                  <c:v>31.262999999999998</c:v>
                </c:pt>
                <c:pt idx="2457">
                  <c:v>32.637999999999991</c:v>
                </c:pt>
                <c:pt idx="2458">
                  <c:v>33.863</c:v>
                </c:pt>
                <c:pt idx="2459">
                  <c:v>32.613</c:v>
                </c:pt>
                <c:pt idx="2460">
                  <c:v>36.913000000000018</c:v>
                </c:pt>
                <c:pt idx="2461">
                  <c:v>37.237999999999992</c:v>
                </c:pt>
                <c:pt idx="2462">
                  <c:v>38.813000000000009</c:v>
                </c:pt>
                <c:pt idx="2463">
                  <c:v>36.100000000000023</c:v>
                </c:pt>
                <c:pt idx="2464">
                  <c:v>34.600000000000009</c:v>
                </c:pt>
                <c:pt idx="2465">
                  <c:v>37.950000000000017</c:v>
                </c:pt>
                <c:pt idx="2466">
                  <c:v>35.224999999999994</c:v>
                </c:pt>
                <c:pt idx="2467">
                  <c:v>35.16299999999999</c:v>
                </c:pt>
                <c:pt idx="2468">
                  <c:v>35.387999999999998</c:v>
                </c:pt>
                <c:pt idx="2469">
                  <c:v>35.488000000000007</c:v>
                </c:pt>
                <c:pt idx="2470">
                  <c:v>34.813000000000031</c:v>
                </c:pt>
                <c:pt idx="2471">
                  <c:v>37.32500000000001</c:v>
                </c:pt>
                <c:pt idx="2472">
                  <c:v>33.747999999999976</c:v>
                </c:pt>
                <c:pt idx="2473">
                  <c:v>34.925000000000004</c:v>
                </c:pt>
                <c:pt idx="2474">
                  <c:v>32.90000000000002</c:v>
                </c:pt>
                <c:pt idx="2475">
                  <c:v>34.099999999999994</c:v>
                </c:pt>
                <c:pt idx="2476">
                  <c:v>34.962999999999987</c:v>
                </c:pt>
                <c:pt idx="2477">
                  <c:v>35.262999999999998</c:v>
                </c:pt>
                <c:pt idx="2478">
                  <c:v>34.312999999999995</c:v>
                </c:pt>
                <c:pt idx="2479">
                  <c:v>35.25</c:v>
                </c:pt>
                <c:pt idx="2480">
                  <c:v>36.112999999999992</c:v>
                </c:pt>
                <c:pt idx="2481">
                  <c:v>35.583000000000013</c:v>
                </c:pt>
                <c:pt idx="2482">
                  <c:v>36.024999999999999</c:v>
                </c:pt>
                <c:pt idx="2483">
                  <c:v>33.449999999999982</c:v>
                </c:pt>
                <c:pt idx="2484">
                  <c:v>35.125000000000007</c:v>
                </c:pt>
                <c:pt idx="2485">
                  <c:v>33.359999999999992</c:v>
                </c:pt>
                <c:pt idx="2486">
                  <c:v>35.074999999999989</c:v>
                </c:pt>
                <c:pt idx="2487">
                  <c:v>34.838000000000015</c:v>
                </c:pt>
                <c:pt idx="2488">
                  <c:v>34.563000000000009</c:v>
                </c:pt>
                <c:pt idx="2489">
                  <c:v>35.063000000000002</c:v>
                </c:pt>
                <c:pt idx="2490">
                  <c:v>35.625000000000014</c:v>
                </c:pt>
                <c:pt idx="2491">
                  <c:v>36.588000000000001</c:v>
                </c:pt>
                <c:pt idx="2492">
                  <c:v>36.283000000000001</c:v>
                </c:pt>
                <c:pt idx="2493">
                  <c:v>35.763000000000012</c:v>
                </c:pt>
                <c:pt idx="2494">
                  <c:v>35.449999999999982</c:v>
                </c:pt>
                <c:pt idx="2495">
                  <c:v>35.163000000000011</c:v>
                </c:pt>
                <c:pt idx="2496">
                  <c:v>35.575000000000024</c:v>
                </c:pt>
                <c:pt idx="2497">
                  <c:v>35.830000000000005</c:v>
                </c:pt>
                <c:pt idx="2498">
                  <c:v>36.725000000000009</c:v>
                </c:pt>
                <c:pt idx="2499">
                  <c:v>36.212999999999987</c:v>
                </c:pt>
                <c:pt idx="2500">
                  <c:v>35.363000000000014</c:v>
                </c:pt>
                <c:pt idx="2501">
                  <c:v>35.67499999999999</c:v>
                </c:pt>
                <c:pt idx="2502">
                  <c:v>35.488000000000007</c:v>
                </c:pt>
                <c:pt idx="2503">
                  <c:v>34.949999999999989</c:v>
                </c:pt>
                <c:pt idx="2504">
                  <c:v>34.312999999999995</c:v>
                </c:pt>
                <c:pt idx="2505">
                  <c:v>34.050000000000004</c:v>
                </c:pt>
                <c:pt idx="2506">
                  <c:v>33.912999999999997</c:v>
                </c:pt>
                <c:pt idx="2507">
                  <c:v>33.800000000000011</c:v>
                </c:pt>
                <c:pt idx="2508">
                  <c:v>33.84999999999998</c:v>
                </c:pt>
                <c:pt idx="2509">
                  <c:v>33.60799999999999</c:v>
                </c:pt>
                <c:pt idx="2510">
                  <c:v>33.274999999999991</c:v>
                </c:pt>
                <c:pt idx="2511">
                  <c:v>33.03799999999999</c:v>
                </c:pt>
                <c:pt idx="2512">
                  <c:v>33.562999999999988</c:v>
                </c:pt>
                <c:pt idx="2513">
                  <c:v>34.163000000000011</c:v>
                </c:pt>
                <c:pt idx="2514">
                  <c:v>33.749999999999993</c:v>
                </c:pt>
                <c:pt idx="2515">
                  <c:v>33.949999999999989</c:v>
                </c:pt>
                <c:pt idx="2516">
                  <c:v>34.5</c:v>
                </c:pt>
                <c:pt idx="2517">
                  <c:v>36.275000000000013</c:v>
                </c:pt>
                <c:pt idx="2518">
                  <c:v>36.975000000000001</c:v>
                </c:pt>
                <c:pt idx="2519">
                  <c:v>37.962999999999994</c:v>
                </c:pt>
                <c:pt idx="2520">
                  <c:v>39.370000000000019</c:v>
                </c:pt>
                <c:pt idx="2521">
                  <c:v>38.063000000000002</c:v>
                </c:pt>
                <c:pt idx="2522">
                  <c:v>34.638000000000012</c:v>
                </c:pt>
                <c:pt idx="2523">
                  <c:v>34.677999999999983</c:v>
                </c:pt>
                <c:pt idx="2524">
                  <c:v>34.024999999999991</c:v>
                </c:pt>
                <c:pt idx="2525">
                  <c:v>31.288000000000004</c:v>
                </c:pt>
                <c:pt idx="2526">
                  <c:v>30.725000000000001</c:v>
                </c:pt>
                <c:pt idx="2527">
                  <c:v>31.300000000000018</c:v>
                </c:pt>
                <c:pt idx="2528">
                  <c:v>26.500000000000014</c:v>
                </c:pt>
                <c:pt idx="2529">
                  <c:v>28.038000000000007</c:v>
                </c:pt>
                <c:pt idx="2530">
                  <c:v>26.974999999999994</c:v>
                </c:pt>
                <c:pt idx="2531">
                  <c:v>25.475000000000001</c:v>
                </c:pt>
                <c:pt idx="2532">
                  <c:v>26.563000000000002</c:v>
                </c:pt>
                <c:pt idx="2533">
                  <c:v>25.812999999999995</c:v>
                </c:pt>
                <c:pt idx="2534">
                  <c:v>24.763000000000002</c:v>
                </c:pt>
                <c:pt idx="2535">
                  <c:v>23.912999999999982</c:v>
                </c:pt>
                <c:pt idx="2536">
                  <c:v>22.212999999999994</c:v>
                </c:pt>
                <c:pt idx="2537">
                  <c:v>23.024999999999984</c:v>
                </c:pt>
                <c:pt idx="2538">
                  <c:v>22.338000000000015</c:v>
                </c:pt>
                <c:pt idx="2539">
                  <c:v>21.713000000000005</c:v>
                </c:pt>
                <c:pt idx="2540">
                  <c:v>21.838000000000001</c:v>
                </c:pt>
                <c:pt idx="2541">
                  <c:v>20.950000000000003</c:v>
                </c:pt>
                <c:pt idx="2542">
                  <c:v>19.699999999999985</c:v>
                </c:pt>
                <c:pt idx="2543">
                  <c:v>19.273000000000007</c:v>
                </c:pt>
                <c:pt idx="2544">
                  <c:v>18.724999999999991</c:v>
                </c:pt>
                <c:pt idx="2545">
                  <c:v>20.012999999999991</c:v>
                </c:pt>
                <c:pt idx="2546">
                  <c:v>17.400000000000016</c:v>
                </c:pt>
                <c:pt idx="2547">
                  <c:v>16.237999999999996</c:v>
                </c:pt>
                <c:pt idx="2548">
                  <c:v>16.362999999999992</c:v>
                </c:pt>
                <c:pt idx="2549">
                  <c:v>15.913</c:v>
                </c:pt>
                <c:pt idx="2550">
                  <c:v>16.08799999999999</c:v>
                </c:pt>
                <c:pt idx="2551">
                  <c:v>15.013000000000009</c:v>
                </c:pt>
                <c:pt idx="2552">
                  <c:v>14.02500000000002</c:v>
                </c:pt>
                <c:pt idx="2553">
                  <c:v>13.274999999999991</c:v>
                </c:pt>
                <c:pt idx="2554">
                  <c:v>12.762999999999991</c:v>
                </c:pt>
                <c:pt idx="2555">
                  <c:v>13.274999999999991</c:v>
                </c:pt>
                <c:pt idx="2556">
                  <c:v>13.088000000000012</c:v>
                </c:pt>
                <c:pt idx="2557">
                  <c:v>13.763000000000014</c:v>
                </c:pt>
                <c:pt idx="2558">
                  <c:v>13.199999999999989</c:v>
                </c:pt>
                <c:pt idx="2559">
                  <c:v>12.274999999999991</c:v>
                </c:pt>
                <c:pt idx="2560">
                  <c:v>12.62500000000002</c:v>
                </c:pt>
                <c:pt idx="2561">
                  <c:v>12.563000000000013</c:v>
                </c:pt>
                <c:pt idx="2562">
                  <c:v>12.663000000000025</c:v>
                </c:pt>
                <c:pt idx="2563">
                  <c:v>13.424999999999976</c:v>
                </c:pt>
                <c:pt idx="2564">
                  <c:v>22.237999999999978</c:v>
                </c:pt>
                <c:pt idx="2565">
                  <c:v>22.875</c:v>
                </c:pt>
                <c:pt idx="2566">
                  <c:v>14.474999999999994</c:v>
                </c:pt>
                <c:pt idx="2567">
                  <c:v>52.824999999999989</c:v>
                </c:pt>
                <c:pt idx="2568">
                  <c:v>21.062999999999988</c:v>
                </c:pt>
                <c:pt idx="2569">
                  <c:v>37.688000000000002</c:v>
                </c:pt>
                <c:pt idx="2570">
                  <c:v>39</c:v>
                </c:pt>
                <c:pt idx="2571">
                  <c:v>48.413000000000004</c:v>
                </c:pt>
                <c:pt idx="2572">
                  <c:v>36.813000000000002</c:v>
                </c:pt>
                <c:pt idx="2573">
                  <c:v>53.05</c:v>
                </c:pt>
                <c:pt idx="2574">
                  <c:v>58.15</c:v>
                </c:pt>
                <c:pt idx="2575">
                  <c:v>68.713000000000008</c:v>
                </c:pt>
                <c:pt idx="2576">
                  <c:v>77.837999999999994</c:v>
                </c:pt>
                <c:pt idx="2577">
                  <c:v>92.587999999999994</c:v>
                </c:pt>
                <c:pt idx="2578">
                  <c:v>98.975000000000009</c:v>
                </c:pt>
                <c:pt idx="2579">
                  <c:v>105.71299999999999</c:v>
                </c:pt>
                <c:pt idx="2580">
                  <c:v>109.71299999999999</c:v>
                </c:pt>
                <c:pt idx="2581">
                  <c:v>111.663</c:v>
                </c:pt>
                <c:pt idx="2582">
                  <c:v>112.988</c:v>
                </c:pt>
                <c:pt idx="2583">
                  <c:v>118</c:v>
                </c:pt>
                <c:pt idx="2584">
                  <c:v>129.76300000000001</c:v>
                </c:pt>
                <c:pt idx="2585">
                  <c:v>137.91300000000001</c:v>
                </c:pt>
                <c:pt idx="2586">
                  <c:v>136.33799999999999</c:v>
                </c:pt>
                <c:pt idx="2587">
                  <c:v>137.94999999999999</c:v>
                </c:pt>
                <c:pt idx="2588">
                  <c:v>136.45000000000002</c:v>
                </c:pt>
                <c:pt idx="2589">
                  <c:v>129.80000000000001</c:v>
                </c:pt>
                <c:pt idx="2590">
                  <c:v>131.63800000000001</c:v>
                </c:pt>
                <c:pt idx="2591">
                  <c:v>127.38800000000001</c:v>
                </c:pt>
                <c:pt idx="2592">
                  <c:v>123.98799999999999</c:v>
                </c:pt>
                <c:pt idx="2593">
                  <c:v>123.538</c:v>
                </c:pt>
                <c:pt idx="2594">
                  <c:v>114.188</c:v>
                </c:pt>
                <c:pt idx="2595">
                  <c:v>109.813</c:v>
                </c:pt>
                <c:pt idx="2596">
                  <c:v>105.788</c:v>
                </c:pt>
                <c:pt idx="2597">
                  <c:v>105.925</c:v>
                </c:pt>
                <c:pt idx="2598">
                  <c:v>103.3</c:v>
                </c:pt>
                <c:pt idx="2599">
                  <c:v>102.363</c:v>
                </c:pt>
                <c:pt idx="2600">
                  <c:v>96.899999999999991</c:v>
                </c:pt>
                <c:pt idx="2601">
                  <c:v>94.575000000000003</c:v>
                </c:pt>
                <c:pt idx="2602">
                  <c:v>91.238000000000014</c:v>
                </c:pt>
                <c:pt idx="2603">
                  <c:v>81.162999999999997</c:v>
                </c:pt>
                <c:pt idx="2604">
                  <c:v>76.575000000000003</c:v>
                </c:pt>
                <c:pt idx="2605">
                  <c:v>68.713000000000008</c:v>
                </c:pt>
                <c:pt idx="2606">
                  <c:v>63.812999999999995</c:v>
                </c:pt>
                <c:pt idx="2607">
                  <c:v>51.212999999999994</c:v>
                </c:pt>
                <c:pt idx="2608">
                  <c:v>49.588000000000001</c:v>
                </c:pt>
                <c:pt idx="2609">
                  <c:v>45.588000000000001</c:v>
                </c:pt>
                <c:pt idx="2610">
                  <c:v>42.95</c:v>
                </c:pt>
                <c:pt idx="2611">
                  <c:v>40.262999999999998</c:v>
                </c:pt>
                <c:pt idx="2612">
                  <c:v>38.963000000000001</c:v>
                </c:pt>
                <c:pt idx="2613">
                  <c:v>38.32</c:v>
                </c:pt>
                <c:pt idx="2614">
                  <c:v>37.299999999999997</c:v>
                </c:pt>
                <c:pt idx="2615">
                  <c:v>34.188000000000002</c:v>
                </c:pt>
                <c:pt idx="2616">
                  <c:v>33.402999999999999</c:v>
                </c:pt>
                <c:pt idx="2617">
                  <c:v>32.65</c:v>
                </c:pt>
                <c:pt idx="2618">
                  <c:v>31.463000000000001</c:v>
                </c:pt>
                <c:pt idx="2619">
                  <c:v>31.263000000000002</c:v>
                </c:pt>
                <c:pt idx="2620">
                  <c:v>30.55</c:v>
                </c:pt>
                <c:pt idx="2621">
                  <c:v>30.75</c:v>
                </c:pt>
                <c:pt idx="2622">
                  <c:v>31.915000000000006</c:v>
                </c:pt>
                <c:pt idx="2623">
                  <c:v>31.775000000000002</c:v>
                </c:pt>
                <c:pt idx="2624">
                  <c:v>30.85</c:v>
                </c:pt>
                <c:pt idx="2625">
                  <c:v>29.599999999999998</c:v>
                </c:pt>
                <c:pt idx="2626">
                  <c:v>29.299999999999997</c:v>
                </c:pt>
                <c:pt idx="2627">
                  <c:v>28.413</c:v>
                </c:pt>
                <c:pt idx="2628">
                  <c:v>27.650000000000002</c:v>
                </c:pt>
                <c:pt idx="2629">
                  <c:v>26.812999999999999</c:v>
                </c:pt>
                <c:pt idx="2630">
                  <c:v>25.363000000000003</c:v>
                </c:pt>
                <c:pt idx="2631">
                  <c:v>24.788</c:v>
                </c:pt>
                <c:pt idx="2632">
                  <c:v>23.295000000000005</c:v>
                </c:pt>
                <c:pt idx="2633">
                  <c:v>23.763000000000002</c:v>
                </c:pt>
                <c:pt idx="2634">
                  <c:v>24.637999999999998</c:v>
                </c:pt>
                <c:pt idx="2635">
                  <c:v>21.937999999999999</c:v>
                </c:pt>
                <c:pt idx="2636">
                  <c:v>23.388000000000002</c:v>
                </c:pt>
                <c:pt idx="2637">
                  <c:v>20.75</c:v>
                </c:pt>
                <c:pt idx="2638">
                  <c:v>21.988</c:v>
                </c:pt>
                <c:pt idx="2639">
                  <c:v>23.524999999999995</c:v>
                </c:pt>
                <c:pt idx="2640">
                  <c:v>23.037999999999997</c:v>
                </c:pt>
                <c:pt idx="2641">
                  <c:v>22.913</c:v>
                </c:pt>
                <c:pt idx="2642">
                  <c:v>22.262999999999998</c:v>
                </c:pt>
                <c:pt idx="2643">
                  <c:v>22.487999999999996</c:v>
                </c:pt>
                <c:pt idx="2644">
                  <c:v>21.425000000000001</c:v>
                </c:pt>
                <c:pt idx="2645">
                  <c:v>23.759999999999998</c:v>
                </c:pt>
                <c:pt idx="2646">
                  <c:v>24.247999999999998</c:v>
                </c:pt>
                <c:pt idx="2647">
                  <c:v>23.312999999999999</c:v>
                </c:pt>
                <c:pt idx="2648">
                  <c:v>24</c:v>
                </c:pt>
                <c:pt idx="2649">
                  <c:v>23.349999999999998</c:v>
                </c:pt>
                <c:pt idx="2650">
                  <c:v>23.375</c:v>
                </c:pt>
                <c:pt idx="2651">
                  <c:v>20.388000000000002</c:v>
                </c:pt>
                <c:pt idx="2652">
                  <c:v>20.350000000000001</c:v>
                </c:pt>
                <c:pt idx="2653">
                  <c:v>19.538</c:v>
                </c:pt>
                <c:pt idx="2654">
                  <c:v>20.288</c:v>
                </c:pt>
                <c:pt idx="2655">
                  <c:v>19.624999999999996</c:v>
                </c:pt>
                <c:pt idx="2656">
                  <c:v>19.512999999999998</c:v>
                </c:pt>
                <c:pt idx="2657">
                  <c:v>20.200000000000003</c:v>
                </c:pt>
                <c:pt idx="2658">
                  <c:v>19.687999999999999</c:v>
                </c:pt>
                <c:pt idx="2659">
                  <c:v>19.988</c:v>
                </c:pt>
                <c:pt idx="2660">
                  <c:v>20.074999999999999</c:v>
                </c:pt>
                <c:pt idx="2661">
                  <c:v>19.937999999999999</c:v>
                </c:pt>
                <c:pt idx="2662">
                  <c:v>18.374999999999996</c:v>
                </c:pt>
                <c:pt idx="2663">
                  <c:v>18.05</c:v>
                </c:pt>
                <c:pt idx="2664">
                  <c:v>18.850000000000001</c:v>
                </c:pt>
                <c:pt idx="2665">
                  <c:v>17.349999999999998</c:v>
                </c:pt>
                <c:pt idx="2666">
                  <c:v>17.675000000000001</c:v>
                </c:pt>
                <c:pt idx="2667">
                  <c:v>20.132999999999999</c:v>
                </c:pt>
                <c:pt idx="2668">
                  <c:v>19.824999999999999</c:v>
                </c:pt>
                <c:pt idx="2669">
                  <c:v>18.712999999999997</c:v>
                </c:pt>
                <c:pt idx="2670">
                  <c:v>18.2</c:v>
                </c:pt>
                <c:pt idx="2671">
                  <c:v>18.074999999999999</c:v>
                </c:pt>
                <c:pt idx="2672">
                  <c:v>17.599999999999998</c:v>
                </c:pt>
                <c:pt idx="2673">
                  <c:v>17.75</c:v>
                </c:pt>
                <c:pt idx="2674">
                  <c:v>16.899999999999999</c:v>
                </c:pt>
                <c:pt idx="2675">
                  <c:v>17.125</c:v>
                </c:pt>
                <c:pt idx="2676">
                  <c:v>17.95</c:v>
                </c:pt>
                <c:pt idx="2677">
                  <c:v>18.387999999999998</c:v>
                </c:pt>
                <c:pt idx="2678">
                  <c:v>17.86</c:v>
                </c:pt>
                <c:pt idx="2679">
                  <c:v>18.664999999999999</c:v>
                </c:pt>
                <c:pt idx="2680">
                  <c:v>20.112999999999996</c:v>
                </c:pt>
                <c:pt idx="2681">
                  <c:v>18.948</c:v>
                </c:pt>
                <c:pt idx="2682">
                  <c:v>18.674999999999997</c:v>
                </c:pt>
                <c:pt idx="2683">
                  <c:v>17.299999999999997</c:v>
                </c:pt>
                <c:pt idx="2684">
                  <c:v>17.187999999999999</c:v>
                </c:pt>
                <c:pt idx="2685">
                  <c:v>18.213000000000001</c:v>
                </c:pt>
                <c:pt idx="2686">
                  <c:v>17.95</c:v>
                </c:pt>
                <c:pt idx="2687">
                  <c:v>16.175000000000001</c:v>
                </c:pt>
                <c:pt idx="2688">
                  <c:v>17.649999999999999</c:v>
                </c:pt>
                <c:pt idx="2689">
                  <c:v>18.037999999999997</c:v>
                </c:pt>
                <c:pt idx="2690">
                  <c:v>17.299999999999997</c:v>
                </c:pt>
                <c:pt idx="2691">
                  <c:v>16.838000000000005</c:v>
                </c:pt>
                <c:pt idx="2692">
                  <c:v>17.813000000000002</c:v>
                </c:pt>
                <c:pt idx="2693">
                  <c:v>17.824999999999996</c:v>
                </c:pt>
                <c:pt idx="2694">
                  <c:v>17.549999999999997</c:v>
                </c:pt>
                <c:pt idx="2695">
                  <c:v>17.099999999999998</c:v>
                </c:pt>
                <c:pt idx="2696">
                  <c:v>16.475000000000001</c:v>
                </c:pt>
                <c:pt idx="2697">
                  <c:v>17.049999999999997</c:v>
                </c:pt>
                <c:pt idx="2698">
                  <c:v>16.924999999999997</c:v>
                </c:pt>
                <c:pt idx="2699">
                  <c:v>16.663</c:v>
                </c:pt>
                <c:pt idx="2700">
                  <c:v>16.937999999999999</c:v>
                </c:pt>
                <c:pt idx="2701">
                  <c:v>15.625</c:v>
                </c:pt>
                <c:pt idx="2702">
                  <c:v>16.463000000000001</c:v>
                </c:pt>
                <c:pt idx="2703">
                  <c:v>15.174999999999999</c:v>
                </c:pt>
                <c:pt idx="2704">
                  <c:v>14.538</c:v>
                </c:pt>
                <c:pt idx="2705">
                  <c:v>14.457999999999998</c:v>
                </c:pt>
                <c:pt idx="2706">
                  <c:v>14.324999999999999</c:v>
                </c:pt>
                <c:pt idx="2707">
                  <c:v>14.250000000000002</c:v>
                </c:pt>
                <c:pt idx="2708">
                  <c:v>14.550000000000002</c:v>
                </c:pt>
                <c:pt idx="2709">
                  <c:v>15.475</c:v>
                </c:pt>
                <c:pt idx="2710">
                  <c:v>13.988</c:v>
                </c:pt>
                <c:pt idx="2711">
                  <c:v>14.338000000000001</c:v>
                </c:pt>
                <c:pt idx="2712">
                  <c:v>14.812999999999999</c:v>
                </c:pt>
                <c:pt idx="2713">
                  <c:v>15.538000000000002</c:v>
                </c:pt>
                <c:pt idx="2714">
                  <c:v>15.550000000000002</c:v>
                </c:pt>
                <c:pt idx="2715">
                  <c:v>15.500000000000004</c:v>
                </c:pt>
                <c:pt idx="2716">
                  <c:v>14.124999999999998</c:v>
                </c:pt>
                <c:pt idx="2717">
                  <c:v>15.024999999999999</c:v>
                </c:pt>
                <c:pt idx="2718">
                  <c:v>14.850000000000001</c:v>
                </c:pt>
                <c:pt idx="2719">
                  <c:v>13.850000000000001</c:v>
                </c:pt>
                <c:pt idx="2720">
                  <c:v>14.212999999999997</c:v>
                </c:pt>
                <c:pt idx="2721">
                  <c:v>14.588000000000001</c:v>
                </c:pt>
                <c:pt idx="2722">
                  <c:v>15.488000000000001</c:v>
                </c:pt>
                <c:pt idx="2723">
                  <c:v>14.812999999999999</c:v>
                </c:pt>
                <c:pt idx="2724">
                  <c:v>13.374999999999998</c:v>
                </c:pt>
                <c:pt idx="2725">
                  <c:v>13.638</c:v>
                </c:pt>
                <c:pt idx="2726">
                  <c:v>12.663000000000002</c:v>
                </c:pt>
                <c:pt idx="2727">
                  <c:v>13.424999999999997</c:v>
                </c:pt>
                <c:pt idx="2728">
                  <c:v>12.713000000000003</c:v>
                </c:pt>
                <c:pt idx="2729">
                  <c:v>13.174999999999997</c:v>
                </c:pt>
                <c:pt idx="2730">
                  <c:v>13.3</c:v>
                </c:pt>
                <c:pt idx="2731">
                  <c:v>14.124999999999998</c:v>
                </c:pt>
                <c:pt idx="2732">
                  <c:v>13.224999999999998</c:v>
                </c:pt>
                <c:pt idx="2733">
                  <c:v>13.388</c:v>
                </c:pt>
                <c:pt idx="2734">
                  <c:v>13.337999999999999</c:v>
                </c:pt>
                <c:pt idx="2735">
                  <c:v>13.574999999999998</c:v>
                </c:pt>
                <c:pt idx="2736">
                  <c:v>13.972999999999999</c:v>
                </c:pt>
                <c:pt idx="2737">
                  <c:v>14.374999999999998</c:v>
                </c:pt>
                <c:pt idx="2738">
                  <c:v>15.105000000000002</c:v>
                </c:pt>
                <c:pt idx="2739">
                  <c:v>13</c:v>
                </c:pt>
                <c:pt idx="2740">
                  <c:v>12.248000000000001</c:v>
                </c:pt>
                <c:pt idx="2741">
                  <c:v>12.199999999999998</c:v>
                </c:pt>
                <c:pt idx="2742">
                  <c:v>12.912999999999997</c:v>
                </c:pt>
                <c:pt idx="2743">
                  <c:v>13.562999999999997</c:v>
                </c:pt>
                <c:pt idx="2744">
                  <c:v>13.750000000000002</c:v>
                </c:pt>
                <c:pt idx="2745">
                  <c:v>13.8</c:v>
                </c:pt>
                <c:pt idx="2746">
                  <c:v>13.588000000000001</c:v>
                </c:pt>
                <c:pt idx="2747">
                  <c:v>14.900000000000002</c:v>
                </c:pt>
                <c:pt idx="2748">
                  <c:v>14.124999999999998</c:v>
                </c:pt>
                <c:pt idx="2749">
                  <c:v>13.513000000000003</c:v>
                </c:pt>
                <c:pt idx="2750">
                  <c:v>13.087999999999999</c:v>
                </c:pt>
                <c:pt idx="2751">
                  <c:v>12.86</c:v>
                </c:pt>
                <c:pt idx="2752">
                  <c:v>15.375</c:v>
                </c:pt>
                <c:pt idx="2753">
                  <c:v>15.350000000000003</c:v>
                </c:pt>
                <c:pt idx="2754">
                  <c:v>14.548</c:v>
                </c:pt>
                <c:pt idx="2755">
                  <c:v>14.638000000000002</c:v>
                </c:pt>
                <c:pt idx="2756">
                  <c:v>14.862999999999998</c:v>
                </c:pt>
                <c:pt idx="2757">
                  <c:v>15.200000000000003</c:v>
                </c:pt>
                <c:pt idx="2758">
                  <c:v>14.700000000000003</c:v>
                </c:pt>
                <c:pt idx="2759">
                  <c:v>14.238000000000001</c:v>
                </c:pt>
                <c:pt idx="2760">
                  <c:v>14.438000000000001</c:v>
                </c:pt>
                <c:pt idx="2761">
                  <c:v>14.927999999999999</c:v>
                </c:pt>
                <c:pt idx="2762">
                  <c:v>14.900000000000002</c:v>
                </c:pt>
                <c:pt idx="2763">
                  <c:v>13.912999999999997</c:v>
                </c:pt>
                <c:pt idx="2764">
                  <c:v>13.900000000000002</c:v>
                </c:pt>
                <c:pt idx="2765">
                  <c:v>14.05</c:v>
                </c:pt>
                <c:pt idx="2766">
                  <c:v>13.924999999999999</c:v>
                </c:pt>
                <c:pt idx="2767">
                  <c:v>14.674999999999999</c:v>
                </c:pt>
                <c:pt idx="2768">
                  <c:v>15.138000000000002</c:v>
                </c:pt>
                <c:pt idx="2769">
                  <c:v>15.363</c:v>
                </c:pt>
                <c:pt idx="2770">
                  <c:v>14.975</c:v>
                </c:pt>
                <c:pt idx="2771">
                  <c:v>15.888</c:v>
                </c:pt>
                <c:pt idx="2772">
                  <c:v>15.113000000000001</c:v>
                </c:pt>
                <c:pt idx="2773">
                  <c:v>16.809999999999999</c:v>
                </c:pt>
                <c:pt idx="2774">
                  <c:v>15.973000000000001</c:v>
                </c:pt>
                <c:pt idx="2775">
                  <c:v>17.387999999999998</c:v>
                </c:pt>
                <c:pt idx="2776">
                  <c:v>15.849999999999998</c:v>
                </c:pt>
                <c:pt idx="2777">
                  <c:v>15.938000000000002</c:v>
                </c:pt>
                <c:pt idx="2778">
                  <c:v>15.925000000000001</c:v>
                </c:pt>
                <c:pt idx="2779">
                  <c:v>15.788000000000002</c:v>
                </c:pt>
                <c:pt idx="2780">
                  <c:v>15.410000000000002</c:v>
                </c:pt>
                <c:pt idx="2781">
                  <c:v>14.475</c:v>
                </c:pt>
                <c:pt idx="2782">
                  <c:v>14.738000000000001</c:v>
                </c:pt>
                <c:pt idx="2783">
                  <c:v>14.650000000000002</c:v>
                </c:pt>
                <c:pt idx="2784">
                  <c:v>15.375</c:v>
                </c:pt>
                <c:pt idx="2785">
                  <c:v>16.225000000000001</c:v>
                </c:pt>
                <c:pt idx="2786">
                  <c:v>14.662999999999998</c:v>
                </c:pt>
                <c:pt idx="2787">
                  <c:v>14.507999999999999</c:v>
                </c:pt>
                <c:pt idx="2788">
                  <c:v>14.62</c:v>
                </c:pt>
                <c:pt idx="2789">
                  <c:v>14.462999999999997</c:v>
                </c:pt>
                <c:pt idx="2790">
                  <c:v>14.538</c:v>
                </c:pt>
                <c:pt idx="2791">
                  <c:v>14.074999999999999</c:v>
                </c:pt>
                <c:pt idx="2792">
                  <c:v>13.974999999999998</c:v>
                </c:pt>
                <c:pt idx="2793">
                  <c:v>13.838000000000001</c:v>
                </c:pt>
                <c:pt idx="2794">
                  <c:v>14.579999999999998</c:v>
                </c:pt>
                <c:pt idx="2795">
                  <c:v>14.05</c:v>
                </c:pt>
                <c:pt idx="2796">
                  <c:v>13.599999999999998</c:v>
                </c:pt>
                <c:pt idx="2797">
                  <c:v>13.888</c:v>
                </c:pt>
                <c:pt idx="2798">
                  <c:v>13.15</c:v>
                </c:pt>
                <c:pt idx="2799">
                  <c:v>12.545</c:v>
                </c:pt>
                <c:pt idx="2800">
                  <c:v>12.913</c:v>
                </c:pt>
                <c:pt idx="2801">
                  <c:v>12.863</c:v>
                </c:pt>
                <c:pt idx="2802">
                  <c:v>12.687999999999999</c:v>
                </c:pt>
                <c:pt idx="2803">
                  <c:v>12.738</c:v>
                </c:pt>
                <c:pt idx="2804">
                  <c:v>13.25</c:v>
                </c:pt>
                <c:pt idx="2805">
                  <c:v>13.178000000000001</c:v>
                </c:pt>
                <c:pt idx="2806">
                  <c:v>12.763</c:v>
                </c:pt>
                <c:pt idx="2807">
                  <c:v>12.375</c:v>
                </c:pt>
                <c:pt idx="2808">
                  <c:v>12.13</c:v>
                </c:pt>
                <c:pt idx="2809">
                  <c:v>11.772999999999998</c:v>
                </c:pt>
                <c:pt idx="2810">
                  <c:v>11.108000000000001</c:v>
                </c:pt>
                <c:pt idx="2811">
                  <c:v>11.077999999999999</c:v>
                </c:pt>
                <c:pt idx="2812">
                  <c:v>10.344999999999999</c:v>
                </c:pt>
                <c:pt idx="2813">
                  <c:v>10.149999999999999</c:v>
                </c:pt>
                <c:pt idx="2814">
                  <c:v>11.35</c:v>
                </c:pt>
                <c:pt idx="2815">
                  <c:v>11.465</c:v>
                </c:pt>
                <c:pt idx="2816">
                  <c:v>11.05</c:v>
                </c:pt>
                <c:pt idx="2817">
                  <c:v>11.238</c:v>
                </c:pt>
                <c:pt idx="2818">
                  <c:v>10.754999999999999</c:v>
                </c:pt>
                <c:pt idx="2819">
                  <c:v>10.398</c:v>
                </c:pt>
                <c:pt idx="2820">
                  <c:v>11.755000000000001</c:v>
                </c:pt>
                <c:pt idx="2821">
                  <c:v>9.85</c:v>
                </c:pt>
                <c:pt idx="2822">
                  <c:v>10.967999999999998</c:v>
                </c:pt>
                <c:pt idx="2823">
                  <c:v>11.05</c:v>
                </c:pt>
                <c:pt idx="2824">
                  <c:v>10.324999999999999</c:v>
                </c:pt>
                <c:pt idx="2825">
                  <c:v>11.013</c:v>
                </c:pt>
                <c:pt idx="2826">
                  <c:v>11.177999999999999</c:v>
                </c:pt>
                <c:pt idx="2827">
                  <c:v>11.73</c:v>
                </c:pt>
                <c:pt idx="2828">
                  <c:v>10.99</c:v>
                </c:pt>
                <c:pt idx="2829">
                  <c:v>11.48</c:v>
                </c:pt>
                <c:pt idx="2830">
                  <c:v>12.162999999999998</c:v>
                </c:pt>
                <c:pt idx="2831">
                  <c:v>11.732999999999999</c:v>
                </c:pt>
                <c:pt idx="2832">
                  <c:v>12.958</c:v>
                </c:pt>
                <c:pt idx="2833">
                  <c:v>12.620000000000001</c:v>
                </c:pt>
                <c:pt idx="2834">
                  <c:v>13.343</c:v>
                </c:pt>
                <c:pt idx="2835">
                  <c:v>12.733000000000001</c:v>
                </c:pt>
                <c:pt idx="2836">
                  <c:v>12.630000000000003</c:v>
                </c:pt>
                <c:pt idx="2837">
                  <c:v>13.270000000000001</c:v>
                </c:pt>
                <c:pt idx="2838">
                  <c:v>13.55</c:v>
                </c:pt>
                <c:pt idx="2839">
                  <c:v>13.462999999999999</c:v>
                </c:pt>
                <c:pt idx="2840">
                  <c:v>12.725</c:v>
                </c:pt>
                <c:pt idx="2841">
                  <c:v>13.175000000000001</c:v>
                </c:pt>
                <c:pt idx="2842">
                  <c:v>12.907999999999999</c:v>
                </c:pt>
                <c:pt idx="2843">
                  <c:v>11.943</c:v>
                </c:pt>
                <c:pt idx="2844">
                  <c:v>11.175000000000001</c:v>
                </c:pt>
                <c:pt idx="2845">
                  <c:v>11.25</c:v>
                </c:pt>
                <c:pt idx="2846">
                  <c:v>10.994999999999999</c:v>
                </c:pt>
                <c:pt idx="2847">
                  <c:v>10.725</c:v>
                </c:pt>
                <c:pt idx="2848">
                  <c:v>10.722999999999999</c:v>
                </c:pt>
                <c:pt idx="2849">
                  <c:v>10.535</c:v>
                </c:pt>
                <c:pt idx="2850">
                  <c:v>10.225000000000001</c:v>
                </c:pt>
                <c:pt idx="2851">
                  <c:v>10.119999999999999</c:v>
                </c:pt>
                <c:pt idx="2852">
                  <c:v>9.8849999999999998</c:v>
                </c:pt>
                <c:pt idx="2853">
                  <c:v>8.8879999999999999</c:v>
                </c:pt>
                <c:pt idx="2854">
                  <c:v>9.1049999999999986</c:v>
                </c:pt>
                <c:pt idx="2855">
                  <c:v>9.6379999999999999</c:v>
                </c:pt>
                <c:pt idx="2856">
                  <c:v>9.9499999999999993</c:v>
                </c:pt>
                <c:pt idx="2857">
                  <c:v>9.1930000000000014</c:v>
                </c:pt>
                <c:pt idx="2858">
                  <c:v>10.74</c:v>
                </c:pt>
                <c:pt idx="2859">
                  <c:v>9.3130000000000006</c:v>
                </c:pt>
                <c:pt idx="2860">
                  <c:v>9.4380000000000006</c:v>
                </c:pt>
                <c:pt idx="2861">
                  <c:v>9.2680000000000007</c:v>
                </c:pt>
                <c:pt idx="2862">
                  <c:v>9.0580000000000016</c:v>
                </c:pt>
                <c:pt idx="2863">
                  <c:v>8.31</c:v>
                </c:pt>
                <c:pt idx="2864">
                  <c:v>8.4579999999999984</c:v>
                </c:pt>
                <c:pt idx="2865">
                  <c:v>9.32</c:v>
                </c:pt>
                <c:pt idx="2866">
                  <c:v>8.4350000000000005</c:v>
                </c:pt>
                <c:pt idx="2867">
                  <c:v>7.8529999999999989</c:v>
                </c:pt>
                <c:pt idx="2868">
                  <c:v>8.0679999999999996</c:v>
                </c:pt>
                <c:pt idx="2869">
                  <c:v>8.0429999999999993</c:v>
                </c:pt>
                <c:pt idx="2870">
                  <c:v>7.663000000000002</c:v>
                </c:pt>
                <c:pt idx="2871">
                  <c:v>8.2650000000000006</c:v>
                </c:pt>
                <c:pt idx="2872">
                  <c:v>7.2049999999999992</c:v>
                </c:pt>
                <c:pt idx="2873">
                  <c:v>7.543000000000001</c:v>
                </c:pt>
                <c:pt idx="2874">
                  <c:v>7.129999999999999</c:v>
                </c:pt>
                <c:pt idx="2875">
                  <c:v>6.508</c:v>
                </c:pt>
                <c:pt idx="2876">
                  <c:v>6.4300000000000006</c:v>
                </c:pt>
                <c:pt idx="2877">
                  <c:v>6.07</c:v>
                </c:pt>
                <c:pt idx="2878">
                  <c:v>5.6529999999999996</c:v>
                </c:pt>
                <c:pt idx="2879">
                  <c:v>5.3879999999999999</c:v>
                </c:pt>
                <c:pt idx="2880">
                  <c:v>5.15</c:v>
                </c:pt>
                <c:pt idx="2881">
                  <c:v>5.63</c:v>
                </c:pt>
                <c:pt idx="2882">
                  <c:v>5.1350000000000007</c:v>
                </c:pt>
                <c:pt idx="2883">
                  <c:v>4.915</c:v>
                </c:pt>
                <c:pt idx="2884">
                  <c:v>4.5030000000000001</c:v>
                </c:pt>
                <c:pt idx="2885">
                  <c:v>4.9700000000000006</c:v>
                </c:pt>
                <c:pt idx="2886">
                  <c:v>5.0949999999999998</c:v>
                </c:pt>
                <c:pt idx="2887">
                  <c:v>4.3199999999999985</c:v>
                </c:pt>
                <c:pt idx="2888">
                  <c:v>4.4079999999999995</c:v>
                </c:pt>
                <c:pt idx="2889">
                  <c:v>3.44</c:v>
                </c:pt>
                <c:pt idx="2890">
                  <c:v>4.0749999999999993</c:v>
                </c:pt>
                <c:pt idx="2891">
                  <c:v>2.6300000000000003</c:v>
                </c:pt>
                <c:pt idx="2892">
                  <c:v>3.8300000000000014</c:v>
                </c:pt>
                <c:pt idx="2893">
                  <c:v>4.0080000000000009</c:v>
                </c:pt>
                <c:pt idx="2894">
                  <c:v>4.2080000000000002</c:v>
                </c:pt>
                <c:pt idx="2895">
                  <c:v>3.9750000000000005</c:v>
                </c:pt>
                <c:pt idx="2896">
                  <c:v>5.3349999999999991</c:v>
                </c:pt>
                <c:pt idx="2897">
                  <c:v>5.2499999999999991</c:v>
                </c:pt>
                <c:pt idx="2898">
                  <c:v>5.27</c:v>
                </c:pt>
                <c:pt idx="2899">
                  <c:v>5.3749999999999991</c:v>
                </c:pt>
                <c:pt idx="2900">
                  <c:v>5.128000000000001</c:v>
                </c:pt>
                <c:pt idx="2901">
                  <c:v>5.2649999999999988</c:v>
                </c:pt>
                <c:pt idx="2902">
                  <c:v>5.0749999999999993</c:v>
                </c:pt>
                <c:pt idx="2903">
                  <c:v>4.4179999999999993</c:v>
                </c:pt>
                <c:pt idx="2904">
                  <c:v>4.4900000000000011</c:v>
                </c:pt>
                <c:pt idx="2905">
                  <c:v>4.0979999999999999</c:v>
                </c:pt>
                <c:pt idx="2906">
                  <c:v>3.1480000000000006</c:v>
                </c:pt>
                <c:pt idx="2907">
                  <c:v>2.6799999999999988</c:v>
                </c:pt>
                <c:pt idx="2908">
                  <c:v>3.552999999999999</c:v>
                </c:pt>
                <c:pt idx="2909">
                  <c:v>4.0979999999999999</c:v>
                </c:pt>
                <c:pt idx="2910">
                  <c:v>3.4629999999999992</c:v>
                </c:pt>
                <c:pt idx="2911">
                  <c:v>3.5179999999999989</c:v>
                </c:pt>
                <c:pt idx="2912">
                  <c:v>4.5380000000000003</c:v>
                </c:pt>
                <c:pt idx="2913">
                  <c:v>4.4650000000000007</c:v>
                </c:pt>
                <c:pt idx="2914">
                  <c:v>4.3750000000000009</c:v>
                </c:pt>
                <c:pt idx="2915">
                  <c:v>4.6850000000000014</c:v>
                </c:pt>
                <c:pt idx="2916">
                  <c:v>4.7380000000000004</c:v>
                </c:pt>
                <c:pt idx="2917">
                  <c:v>3.4750000000000005</c:v>
                </c:pt>
                <c:pt idx="2918">
                  <c:v>3.8179999999999992</c:v>
                </c:pt>
                <c:pt idx="2919">
                  <c:v>4.0929999999999991</c:v>
                </c:pt>
                <c:pt idx="2920">
                  <c:v>3.9529999999999994</c:v>
                </c:pt>
                <c:pt idx="2921">
                  <c:v>3.8600000000000008</c:v>
                </c:pt>
                <c:pt idx="2922">
                  <c:v>3.6750000000000007</c:v>
                </c:pt>
                <c:pt idx="2923">
                  <c:v>2.9249999999999998</c:v>
                </c:pt>
                <c:pt idx="2924">
                  <c:v>3.4750000000000005</c:v>
                </c:pt>
                <c:pt idx="2925">
                  <c:v>3.1380000000000003</c:v>
                </c:pt>
                <c:pt idx="2926">
                  <c:v>3.2049999999999996</c:v>
                </c:pt>
                <c:pt idx="2927">
                  <c:v>3.3379999999999992</c:v>
                </c:pt>
                <c:pt idx="2928">
                  <c:v>3.6379999999999995</c:v>
                </c:pt>
                <c:pt idx="2929">
                  <c:v>3.4750000000000005</c:v>
                </c:pt>
                <c:pt idx="2930">
                  <c:v>2.9950000000000006</c:v>
                </c:pt>
                <c:pt idx="2931">
                  <c:v>2.8950000000000005</c:v>
                </c:pt>
                <c:pt idx="2932">
                  <c:v>3.2549999999999994</c:v>
                </c:pt>
                <c:pt idx="2933">
                  <c:v>3.1749999999999998</c:v>
                </c:pt>
                <c:pt idx="2934">
                  <c:v>3.25</c:v>
                </c:pt>
                <c:pt idx="2935">
                  <c:v>3.4549999999999996</c:v>
                </c:pt>
                <c:pt idx="2936">
                  <c:v>3.8879999999999999</c:v>
                </c:pt>
                <c:pt idx="2937">
                  <c:v>4.2250000000000014</c:v>
                </c:pt>
                <c:pt idx="2938">
                  <c:v>4.0679999999999996</c:v>
                </c:pt>
                <c:pt idx="2939">
                  <c:v>4.085</c:v>
                </c:pt>
                <c:pt idx="2940">
                  <c:v>3.4049999999999998</c:v>
                </c:pt>
                <c:pt idx="2941">
                  <c:v>3.5250000000000004</c:v>
                </c:pt>
                <c:pt idx="2942">
                  <c:v>3.3149999999999999</c:v>
                </c:pt>
                <c:pt idx="2943">
                  <c:v>3.8779999999999997</c:v>
                </c:pt>
                <c:pt idx="2944">
                  <c:v>4.2629999999999999</c:v>
                </c:pt>
                <c:pt idx="2945">
                  <c:v>4.1179999999999994</c:v>
                </c:pt>
                <c:pt idx="2946">
                  <c:v>4.0730000000000004</c:v>
                </c:pt>
                <c:pt idx="2947">
                  <c:v>4.0400000000000009</c:v>
                </c:pt>
                <c:pt idx="2948">
                  <c:v>3.9329999999999989</c:v>
                </c:pt>
                <c:pt idx="2949">
                  <c:v>4.1400000000000006</c:v>
                </c:pt>
                <c:pt idx="2950">
                  <c:v>4.1250000000000009</c:v>
                </c:pt>
                <c:pt idx="2951">
                  <c:v>3.8629999999999995</c:v>
                </c:pt>
                <c:pt idx="2952">
                  <c:v>3.9250000000000007</c:v>
                </c:pt>
                <c:pt idx="2953">
                  <c:v>3.88</c:v>
                </c:pt>
                <c:pt idx="2954">
                  <c:v>3.92</c:v>
                </c:pt>
                <c:pt idx="2955">
                  <c:v>3.88</c:v>
                </c:pt>
                <c:pt idx="2956">
                  <c:v>4.1099999999999994</c:v>
                </c:pt>
                <c:pt idx="2957">
                  <c:v>4.2880000000000003</c:v>
                </c:pt>
                <c:pt idx="2958">
                  <c:v>4.5279999999999987</c:v>
                </c:pt>
                <c:pt idx="2959">
                  <c:v>4.9379999999999997</c:v>
                </c:pt>
                <c:pt idx="2960">
                  <c:v>4.9450000000000012</c:v>
                </c:pt>
                <c:pt idx="2961">
                  <c:v>5.2350000000000012</c:v>
                </c:pt>
                <c:pt idx="2962">
                  <c:v>5.2250000000000005</c:v>
                </c:pt>
                <c:pt idx="2963">
                  <c:v>5.2149999999999999</c:v>
                </c:pt>
                <c:pt idx="2964">
                  <c:v>5.19</c:v>
                </c:pt>
                <c:pt idx="2965">
                  <c:v>5.427999999999999</c:v>
                </c:pt>
                <c:pt idx="2966">
                  <c:v>5.3429999999999991</c:v>
                </c:pt>
                <c:pt idx="2967">
                  <c:v>5.6129999999999995</c:v>
                </c:pt>
                <c:pt idx="2968">
                  <c:v>5.012999999999999</c:v>
                </c:pt>
                <c:pt idx="2969">
                  <c:v>4.71</c:v>
                </c:pt>
                <c:pt idx="2970">
                  <c:v>4.6700000000000008</c:v>
                </c:pt>
                <c:pt idx="2971">
                  <c:v>4.8230000000000013</c:v>
                </c:pt>
                <c:pt idx="2972">
                  <c:v>4.4130000000000003</c:v>
                </c:pt>
                <c:pt idx="2973">
                  <c:v>4.4749999999999996</c:v>
                </c:pt>
                <c:pt idx="2974">
                  <c:v>5.165</c:v>
                </c:pt>
                <c:pt idx="2975">
                  <c:v>4.7249999999999996</c:v>
                </c:pt>
                <c:pt idx="2976">
                  <c:v>4.5949999999999989</c:v>
                </c:pt>
                <c:pt idx="2977">
                  <c:v>4.7730000000000006</c:v>
                </c:pt>
                <c:pt idx="2978">
                  <c:v>5.4200000000000008</c:v>
                </c:pt>
                <c:pt idx="2979">
                  <c:v>5.49</c:v>
                </c:pt>
                <c:pt idx="2980">
                  <c:v>5.5449999999999999</c:v>
                </c:pt>
                <c:pt idx="2981">
                  <c:v>4.9280000000000008</c:v>
                </c:pt>
                <c:pt idx="2982">
                  <c:v>5.0380000000000011</c:v>
                </c:pt>
                <c:pt idx="2983">
                  <c:v>5.9900000000000011</c:v>
                </c:pt>
                <c:pt idx="2984">
                  <c:v>6.1280000000000001</c:v>
                </c:pt>
                <c:pt idx="2985">
                  <c:v>5.1429999999999989</c:v>
                </c:pt>
                <c:pt idx="2986">
                  <c:v>5.4529999999999994</c:v>
                </c:pt>
                <c:pt idx="2987">
                  <c:v>5.5250000000000004</c:v>
                </c:pt>
                <c:pt idx="2988">
                  <c:v>6.3880000000000008</c:v>
                </c:pt>
                <c:pt idx="2989">
                  <c:v>6.9199999999999982</c:v>
                </c:pt>
                <c:pt idx="2990">
                  <c:v>6.1750000000000016</c:v>
                </c:pt>
                <c:pt idx="2991">
                  <c:v>6.7280000000000006</c:v>
                </c:pt>
                <c:pt idx="2992">
                  <c:v>6.6849999999999996</c:v>
                </c:pt>
                <c:pt idx="2993">
                  <c:v>6.7430000000000003</c:v>
                </c:pt>
                <c:pt idx="2994">
                  <c:v>7.1799999999999988</c:v>
                </c:pt>
                <c:pt idx="2995">
                  <c:v>7.5479999999999992</c:v>
                </c:pt>
                <c:pt idx="2996">
                  <c:v>7.6700000000000008</c:v>
                </c:pt>
                <c:pt idx="2997">
                  <c:v>7.57</c:v>
                </c:pt>
                <c:pt idx="2998">
                  <c:v>7.677999999999999</c:v>
                </c:pt>
                <c:pt idx="2999">
                  <c:v>7.9200000000000008</c:v>
                </c:pt>
                <c:pt idx="3000">
                  <c:v>7.6</c:v>
                </c:pt>
                <c:pt idx="3001">
                  <c:v>7.6429999999999998</c:v>
                </c:pt>
                <c:pt idx="3002">
                  <c:v>8.0200000000000014</c:v>
                </c:pt>
                <c:pt idx="3003">
                  <c:v>8.4629999999999992</c:v>
                </c:pt>
                <c:pt idx="3004">
                  <c:v>9.2899999999999991</c:v>
                </c:pt>
                <c:pt idx="3005">
                  <c:v>9.8249999999999993</c:v>
                </c:pt>
                <c:pt idx="3006">
                  <c:v>9.3330000000000002</c:v>
                </c:pt>
                <c:pt idx="3007">
                  <c:v>9.588000000000001</c:v>
                </c:pt>
                <c:pt idx="3008">
                  <c:v>9.1479999999999997</c:v>
                </c:pt>
                <c:pt idx="3009">
                  <c:v>9.1749999999999989</c:v>
                </c:pt>
                <c:pt idx="3010">
                  <c:v>9.3430000000000017</c:v>
                </c:pt>
                <c:pt idx="3011">
                  <c:v>9.7430000000000021</c:v>
                </c:pt>
                <c:pt idx="3012">
                  <c:v>10.523</c:v>
                </c:pt>
                <c:pt idx="3013">
                  <c:v>10.7</c:v>
                </c:pt>
                <c:pt idx="3014">
                  <c:v>11.255000000000001</c:v>
                </c:pt>
                <c:pt idx="3015">
                  <c:v>11.41</c:v>
                </c:pt>
                <c:pt idx="3016">
                  <c:v>11.488000000000001</c:v>
                </c:pt>
                <c:pt idx="3017">
                  <c:v>11.125000000000002</c:v>
                </c:pt>
                <c:pt idx="3018">
                  <c:v>11.095000000000001</c:v>
                </c:pt>
                <c:pt idx="3019">
                  <c:v>11.738000000000001</c:v>
                </c:pt>
                <c:pt idx="3020">
                  <c:v>12.742999999999999</c:v>
                </c:pt>
                <c:pt idx="3021">
                  <c:v>12.012999999999998</c:v>
                </c:pt>
                <c:pt idx="3022">
                  <c:v>11.763000000000002</c:v>
                </c:pt>
                <c:pt idx="3023">
                  <c:v>11.625</c:v>
                </c:pt>
                <c:pt idx="3024">
                  <c:v>11.86</c:v>
                </c:pt>
                <c:pt idx="3025">
                  <c:v>11.218000000000002</c:v>
                </c:pt>
                <c:pt idx="3026">
                  <c:v>11.325000000000001</c:v>
                </c:pt>
                <c:pt idx="3027">
                  <c:v>11.257999999999999</c:v>
                </c:pt>
                <c:pt idx="3028">
                  <c:v>11.145000000000001</c:v>
                </c:pt>
                <c:pt idx="3029">
                  <c:v>9.847999999999999</c:v>
                </c:pt>
                <c:pt idx="3030">
                  <c:v>9.163000000000002</c:v>
                </c:pt>
                <c:pt idx="3031">
                  <c:v>9.4699999999999989</c:v>
                </c:pt>
                <c:pt idx="3032">
                  <c:v>9.3869999999999987</c:v>
                </c:pt>
                <c:pt idx="3033">
                  <c:v>8.7689999999999984</c:v>
                </c:pt>
                <c:pt idx="3034">
                  <c:v>8.6739999999999977</c:v>
                </c:pt>
                <c:pt idx="3035">
                  <c:v>8.1990000000000016</c:v>
                </c:pt>
                <c:pt idx="3036">
                  <c:v>9.3730000000000011</c:v>
                </c:pt>
                <c:pt idx="3037">
                  <c:v>8.2430000000000003</c:v>
                </c:pt>
                <c:pt idx="3038">
                  <c:v>7.1639999999999979</c:v>
                </c:pt>
                <c:pt idx="3039">
                  <c:v>6.4890000000000008</c:v>
                </c:pt>
                <c:pt idx="3040">
                  <c:v>6.1400000000000006</c:v>
                </c:pt>
                <c:pt idx="3041">
                  <c:v>6.4400000000000013</c:v>
                </c:pt>
                <c:pt idx="3042">
                  <c:v>5.8139999999999965</c:v>
                </c:pt>
                <c:pt idx="3043">
                  <c:v>5.8459999999999983</c:v>
                </c:pt>
                <c:pt idx="3044">
                  <c:v>6.0810000000000004</c:v>
                </c:pt>
                <c:pt idx="3045">
                  <c:v>7.2339999999999991</c:v>
                </c:pt>
                <c:pt idx="3046">
                  <c:v>6.2669999999999977</c:v>
                </c:pt>
                <c:pt idx="3047">
                  <c:v>5.836999999999998</c:v>
                </c:pt>
                <c:pt idx="3048">
                  <c:v>6.93</c:v>
                </c:pt>
                <c:pt idx="3049">
                  <c:v>8.4970000000000017</c:v>
                </c:pt>
                <c:pt idx="3050">
                  <c:v>6.9360000000000035</c:v>
                </c:pt>
                <c:pt idx="3051">
                  <c:v>6.8209999999999997</c:v>
                </c:pt>
                <c:pt idx="3052">
                  <c:v>7.7870000000000026</c:v>
                </c:pt>
                <c:pt idx="3053">
                  <c:v>4.6899999999999995</c:v>
                </c:pt>
                <c:pt idx="3054">
                  <c:v>2.9900000000000038</c:v>
                </c:pt>
                <c:pt idx="3055">
                  <c:v>7.2429999999999994</c:v>
                </c:pt>
                <c:pt idx="3056">
                  <c:v>6.1290000000000013</c:v>
                </c:pt>
                <c:pt idx="3057">
                  <c:v>6.9730000000000016</c:v>
                </c:pt>
                <c:pt idx="3058">
                  <c:v>-6.6140000000000034</c:v>
                </c:pt>
                <c:pt idx="3059">
                  <c:v>11.523000000000005</c:v>
                </c:pt>
                <c:pt idx="3060">
                  <c:v>6.0569999999999959</c:v>
                </c:pt>
                <c:pt idx="3061">
                  <c:v>6.7310000000000034</c:v>
                </c:pt>
                <c:pt idx="3062">
                  <c:v>10.464</c:v>
                </c:pt>
                <c:pt idx="3063">
                  <c:v>8.2799999999999976</c:v>
                </c:pt>
                <c:pt idx="3064">
                  <c:v>10.347000000000001</c:v>
                </c:pt>
                <c:pt idx="3065">
                  <c:v>9.2859999999999996</c:v>
                </c:pt>
                <c:pt idx="3066">
                  <c:v>7.016</c:v>
                </c:pt>
                <c:pt idx="3067">
                  <c:v>7.7970000000000041</c:v>
                </c:pt>
                <c:pt idx="3068">
                  <c:v>10.485999999999995</c:v>
                </c:pt>
                <c:pt idx="3069">
                  <c:v>8.8800000000000043</c:v>
                </c:pt>
                <c:pt idx="3070">
                  <c:v>11.179</c:v>
                </c:pt>
                <c:pt idx="3071">
                  <c:v>12.985999999999997</c:v>
                </c:pt>
                <c:pt idx="3072">
                  <c:v>11.294000000000004</c:v>
                </c:pt>
                <c:pt idx="3073">
                  <c:v>15.513999999999999</c:v>
                </c:pt>
                <c:pt idx="3074">
                  <c:v>19.104000000000003</c:v>
                </c:pt>
                <c:pt idx="3075">
                  <c:v>21.186</c:v>
                </c:pt>
                <c:pt idx="3076">
                  <c:v>26.279999999999998</c:v>
                </c:pt>
                <c:pt idx="3077">
                  <c:v>26.85</c:v>
                </c:pt>
                <c:pt idx="3078">
                  <c:v>31.896000000000001</c:v>
                </c:pt>
                <c:pt idx="3079">
                  <c:v>32.25</c:v>
                </c:pt>
                <c:pt idx="3080">
                  <c:v>34.930999999999997</c:v>
                </c:pt>
                <c:pt idx="3081">
                  <c:v>36.992999999999995</c:v>
                </c:pt>
                <c:pt idx="3082">
                  <c:v>42.664000000000001</c:v>
                </c:pt>
                <c:pt idx="3083">
                  <c:v>39.975999999999999</c:v>
                </c:pt>
                <c:pt idx="3084">
                  <c:v>37.960000000000008</c:v>
                </c:pt>
                <c:pt idx="3085">
                  <c:v>36.357000000000006</c:v>
                </c:pt>
                <c:pt idx="3086">
                  <c:v>33.920999999999992</c:v>
                </c:pt>
                <c:pt idx="3087">
                  <c:v>33.731000000000002</c:v>
                </c:pt>
                <c:pt idx="3088">
                  <c:v>31.317000000000007</c:v>
                </c:pt>
                <c:pt idx="3089">
                  <c:v>31.325999999999997</c:v>
                </c:pt>
                <c:pt idx="3090">
                  <c:v>31.339000000000006</c:v>
                </c:pt>
                <c:pt idx="3091">
                  <c:v>32.999999999999993</c:v>
                </c:pt>
                <c:pt idx="3092">
                  <c:v>28.606000000000009</c:v>
                </c:pt>
                <c:pt idx="3093">
                  <c:v>24.387000000000004</c:v>
                </c:pt>
                <c:pt idx="3094">
                  <c:v>22.809999999999995</c:v>
                </c:pt>
                <c:pt idx="3095">
                  <c:v>22.099999999999998</c:v>
                </c:pt>
                <c:pt idx="3096">
                  <c:v>20.486999999999998</c:v>
                </c:pt>
                <c:pt idx="3097">
                  <c:v>20.513000000000005</c:v>
                </c:pt>
                <c:pt idx="3098">
                  <c:v>17.635999999999996</c:v>
                </c:pt>
                <c:pt idx="3099">
                  <c:v>18.691000000000003</c:v>
                </c:pt>
                <c:pt idx="3100">
                  <c:v>17.663000000000007</c:v>
                </c:pt>
                <c:pt idx="3101">
                  <c:v>20.092999999999993</c:v>
                </c:pt>
                <c:pt idx="3102">
                  <c:v>19.128999999999998</c:v>
                </c:pt>
                <c:pt idx="3103">
                  <c:v>16.771000000000001</c:v>
                </c:pt>
                <c:pt idx="3104">
                  <c:v>15.778999999999998</c:v>
                </c:pt>
                <c:pt idx="3105">
                  <c:v>17.879000000000001</c:v>
                </c:pt>
                <c:pt idx="3106">
                  <c:v>17.049999999999986</c:v>
                </c:pt>
                <c:pt idx="3107">
                  <c:v>18.051000000000016</c:v>
                </c:pt>
                <c:pt idx="3108">
                  <c:v>17.436000000000007</c:v>
                </c:pt>
                <c:pt idx="3109">
                  <c:v>19.623999999999995</c:v>
                </c:pt>
                <c:pt idx="3110">
                  <c:v>17.016000000000009</c:v>
                </c:pt>
                <c:pt idx="3111">
                  <c:v>15.02000000000001</c:v>
                </c:pt>
                <c:pt idx="3112">
                  <c:v>14.686</c:v>
                </c:pt>
                <c:pt idx="3113">
                  <c:v>18.57899999999999</c:v>
                </c:pt>
                <c:pt idx="3114">
                  <c:v>19.713999999999988</c:v>
                </c:pt>
                <c:pt idx="3115">
                  <c:v>17.291000000000011</c:v>
                </c:pt>
                <c:pt idx="3116">
                  <c:v>18.106000000000002</c:v>
                </c:pt>
                <c:pt idx="3117">
                  <c:v>16.556999999999999</c:v>
                </c:pt>
                <c:pt idx="3118">
                  <c:v>17.386000000000013</c:v>
                </c:pt>
                <c:pt idx="3119">
                  <c:v>17.405999999999988</c:v>
                </c:pt>
                <c:pt idx="3120">
                  <c:v>13.829000000000002</c:v>
                </c:pt>
                <c:pt idx="3121">
                  <c:v>15.471000000000013</c:v>
                </c:pt>
                <c:pt idx="3122">
                  <c:v>15.600000000000014</c:v>
                </c:pt>
                <c:pt idx="3123">
                  <c:v>13.606999999999992</c:v>
                </c:pt>
                <c:pt idx="3124">
                  <c:v>14.900000000000002</c:v>
                </c:pt>
                <c:pt idx="3125">
                  <c:v>15.716000000000019</c:v>
                </c:pt>
                <c:pt idx="3126">
                  <c:v>14.39299999999999</c:v>
                </c:pt>
                <c:pt idx="3127">
                  <c:v>15.735999999999994</c:v>
                </c:pt>
                <c:pt idx="3128">
                  <c:v>14.049999999999985</c:v>
                </c:pt>
                <c:pt idx="3129">
                  <c:v>16.555999999999994</c:v>
                </c:pt>
                <c:pt idx="3130">
                  <c:v>17.066000000000003</c:v>
                </c:pt>
                <c:pt idx="3131">
                  <c:v>16.486000000000001</c:v>
                </c:pt>
                <c:pt idx="3132">
                  <c:v>14.643000000000006</c:v>
                </c:pt>
                <c:pt idx="3133">
                  <c:v>15.551000000000004</c:v>
                </c:pt>
                <c:pt idx="3134">
                  <c:v>13.949999999999996</c:v>
                </c:pt>
                <c:pt idx="3135">
                  <c:v>13.129999999999997</c:v>
                </c:pt>
                <c:pt idx="3136">
                  <c:v>14.743000000000016</c:v>
                </c:pt>
                <c:pt idx="3137">
                  <c:v>12.121000000000004</c:v>
                </c:pt>
                <c:pt idx="3138">
                  <c:v>12.048999999999999</c:v>
                </c:pt>
                <c:pt idx="3139">
                  <c:v>6.4910000000000023</c:v>
                </c:pt>
                <c:pt idx="3140">
                  <c:v>-6.9340000000000179</c:v>
                </c:pt>
                <c:pt idx="3141">
                  <c:v>3.1589999999999785</c:v>
                </c:pt>
                <c:pt idx="3142">
                  <c:v>5.2070000000000061</c:v>
                </c:pt>
                <c:pt idx="3143">
                  <c:v>5.5530000000000079</c:v>
                </c:pt>
                <c:pt idx="3144">
                  <c:v>7.3860000000000259</c:v>
                </c:pt>
                <c:pt idx="3145">
                  <c:v>10.753000000000013</c:v>
                </c:pt>
                <c:pt idx="3146">
                  <c:v>10.566999999999993</c:v>
                </c:pt>
                <c:pt idx="3147">
                  <c:v>9.5190000000000108</c:v>
                </c:pt>
                <c:pt idx="3148">
                  <c:v>13.793000000000033</c:v>
                </c:pt>
                <c:pt idx="3149">
                  <c:v>10.606999999999989</c:v>
                </c:pt>
                <c:pt idx="3150">
                  <c:v>12.573000000000034</c:v>
                </c:pt>
                <c:pt idx="3151">
                  <c:v>12.774000000000019</c:v>
                </c:pt>
                <c:pt idx="3152">
                  <c:v>10.343999999999998</c:v>
                </c:pt>
              </c:numCache>
            </c:numRef>
          </c:val>
          <c:extLst>
            <c:ext xmlns:c16="http://schemas.microsoft.com/office/drawing/2014/chart" uri="{C3380CC4-5D6E-409C-BE32-E72D297353CC}">
              <c16:uniqueId val="{00000000-7D1C-4DDD-9DFE-F3A5774E47B1}"/>
            </c:ext>
          </c:extLst>
        </c:ser>
        <c:dLbls>
          <c:showLegendKey val="0"/>
          <c:showVal val="0"/>
          <c:showCatName val="0"/>
          <c:showSerName val="0"/>
          <c:showPercent val="0"/>
          <c:showBubbleSize val="0"/>
        </c:dLbls>
        <c:axId val="199103232"/>
        <c:axId val="199104768"/>
      </c:areaChart>
      <c:dateAx>
        <c:axId val="199103232"/>
        <c:scaling>
          <c:orientation val="minMax"/>
          <c:max val="44742"/>
          <c:min val="44012"/>
        </c:scaling>
        <c:delete val="0"/>
        <c:axPos val="b"/>
        <c:numFmt formatCode="m/d/yyyy" sourceLinked="1"/>
        <c:majorTickMark val="out"/>
        <c:minorTickMark val="none"/>
        <c:tickLblPos val="low"/>
        <c:spPr>
          <a:ln>
            <a:solidFill>
              <a:srgbClr val="999999"/>
            </a:solidFill>
          </a:ln>
        </c:spPr>
        <c:txPr>
          <a:bodyPr/>
          <a:lstStyle/>
          <a:p>
            <a:pPr>
              <a:defRPr sz="800"/>
            </a:pPr>
            <a:endParaRPr lang="en-US"/>
          </a:p>
        </c:txPr>
        <c:crossAx val="199104768"/>
        <c:crosses val="autoZero"/>
        <c:auto val="1"/>
        <c:lblOffset val="100"/>
        <c:baseTimeUnit val="days"/>
        <c:majorUnit val="6"/>
        <c:majorTimeUnit val="months"/>
      </c:dateAx>
      <c:valAx>
        <c:axId val="199104768"/>
        <c:scaling>
          <c:orientation val="minMax"/>
          <c:max val="40"/>
        </c:scaling>
        <c:delete val="0"/>
        <c:axPos val="l"/>
        <c:title>
          <c:tx>
            <c:rich>
              <a:bodyPr rot="-5400000" vert="horz"/>
              <a:lstStyle/>
              <a:p>
                <a:pPr>
                  <a:defRPr sz="800"/>
                </a:pPr>
                <a:r>
                  <a:rPr lang="en-US" sz="800"/>
                  <a:t>Basis Points</a:t>
                </a:r>
              </a:p>
            </c:rich>
          </c:tx>
          <c:layout>
            <c:manualLayout>
              <c:xMode val="edge"/>
              <c:yMode val="edge"/>
              <c:x val="3.1708283789139914E-3"/>
              <c:y val="0.39758816301711397"/>
            </c:manualLayout>
          </c:layout>
          <c:overlay val="0"/>
        </c:title>
        <c:numFmt formatCode="General" sourceLinked="1"/>
        <c:majorTickMark val="out"/>
        <c:minorTickMark val="none"/>
        <c:tickLblPos val="nextTo"/>
        <c:spPr>
          <a:ln>
            <a:solidFill>
              <a:srgbClr val="999999"/>
            </a:solidFill>
          </a:ln>
        </c:spPr>
        <c:txPr>
          <a:bodyPr/>
          <a:lstStyle/>
          <a:p>
            <a:pPr>
              <a:defRPr sz="800"/>
            </a:pPr>
            <a:endParaRPr lang="en-US"/>
          </a:p>
        </c:txPr>
        <c:crossAx val="199103232"/>
        <c:crosses val="autoZero"/>
        <c:crossBetween val="midCat"/>
      </c:valAx>
    </c:plotArea>
    <c:plotVisOnly val="1"/>
    <c:dispBlanksAs val="zero"/>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809344674366469E-2"/>
          <c:y val="0.21863936682175114"/>
          <c:w val="0.91795579026363494"/>
          <c:h val="0.6952623125149362"/>
        </c:manualLayout>
      </c:layout>
      <c:lineChart>
        <c:grouping val="standard"/>
        <c:varyColors val="0"/>
        <c:ser>
          <c:idx val="0"/>
          <c:order val="0"/>
          <c:tx>
            <c:strRef>
              <c:f>SupplyChain_AHE!$B$4</c:f>
              <c:strCache>
                <c:ptCount val="1"/>
                <c:pt idx="0">
                  <c:v>Supply Chain Misery Index</c:v>
                </c:pt>
              </c:strCache>
            </c:strRef>
          </c:tx>
          <c:spPr>
            <a:ln w="28575" cap="rnd">
              <a:solidFill>
                <a:srgbClr val="298FC2"/>
              </a:solidFill>
              <a:round/>
            </a:ln>
            <a:effectLst/>
          </c:spPr>
          <c:marker>
            <c:symbol val="none"/>
          </c:marker>
          <c:cat>
            <c:numRef>
              <c:f>SupplyChain_AHE!$A$5:$A$273</c:f>
              <c:numCache>
                <c:formatCode>yyyymm</c:formatCode>
                <c:ptCount val="269"/>
                <c:pt idx="0">
                  <c:v>36556</c:v>
                </c:pt>
                <c:pt idx="1">
                  <c:v>36585</c:v>
                </c:pt>
                <c:pt idx="2">
                  <c:v>36616</c:v>
                </c:pt>
                <c:pt idx="3">
                  <c:v>36646</c:v>
                </c:pt>
                <c:pt idx="4">
                  <c:v>36677</c:v>
                </c:pt>
                <c:pt idx="5">
                  <c:v>36707</c:v>
                </c:pt>
                <c:pt idx="6">
                  <c:v>36738</c:v>
                </c:pt>
                <c:pt idx="7">
                  <c:v>36769</c:v>
                </c:pt>
                <c:pt idx="8">
                  <c:v>36799</c:v>
                </c:pt>
                <c:pt idx="9">
                  <c:v>36830</c:v>
                </c:pt>
                <c:pt idx="10">
                  <c:v>36860</c:v>
                </c:pt>
                <c:pt idx="11">
                  <c:v>36891</c:v>
                </c:pt>
                <c:pt idx="12">
                  <c:v>36922</c:v>
                </c:pt>
                <c:pt idx="13">
                  <c:v>36950</c:v>
                </c:pt>
                <c:pt idx="14">
                  <c:v>36981</c:v>
                </c:pt>
                <c:pt idx="15">
                  <c:v>37011</c:v>
                </c:pt>
                <c:pt idx="16">
                  <c:v>37042</c:v>
                </c:pt>
                <c:pt idx="17">
                  <c:v>37072</c:v>
                </c:pt>
                <c:pt idx="18">
                  <c:v>37103</c:v>
                </c:pt>
                <c:pt idx="19">
                  <c:v>37134</c:v>
                </c:pt>
                <c:pt idx="20">
                  <c:v>37164</c:v>
                </c:pt>
                <c:pt idx="21">
                  <c:v>37195</c:v>
                </c:pt>
                <c:pt idx="22">
                  <c:v>37225</c:v>
                </c:pt>
                <c:pt idx="23">
                  <c:v>37256</c:v>
                </c:pt>
                <c:pt idx="24">
                  <c:v>37287</c:v>
                </c:pt>
                <c:pt idx="25">
                  <c:v>37315</c:v>
                </c:pt>
                <c:pt idx="26">
                  <c:v>37346</c:v>
                </c:pt>
                <c:pt idx="27">
                  <c:v>37376</c:v>
                </c:pt>
                <c:pt idx="28">
                  <c:v>37407</c:v>
                </c:pt>
                <c:pt idx="29">
                  <c:v>37437</c:v>
                </c:pt>
                <c:pt idx="30">
                  <c:v>37468</c:v>
                </c:pt>
                <c:pt idx="31">
                  <c:v>37499</c:v>
                </c:pt>
                <c:pt idx="32">
                  <c:v>37529</c:v>
                </c:pt>
                <c:pt idx="33">
                  <c:v>37560</c:v>
                </c:pt>
                <c:pt idx="34">
                  <c:v>37590</c:v>
                </c:pt>
                <c:pt idx="35">
                  <c:v>37621</c:v>
                </c:pt>
                <c:pt idx="36">
                  <c:v>37652</c:v>
                </c:pt>
                <c:pt idx="37">
                  <c:v>37680</c:v>
                </c:pt>
                <c:pt idx="38">
                  <c:v>37711</c:v>
                </c:pt>
                <c:pt idx="39">
                  <c:v>37741</c:v>
                </c:pt>
                <c:pt idx="40">
                  <c:v>37772</c:v>
                </c:pt>
                <c:pt idx="41">
                  <c:v>37802</c:v>
                </c:pt>
                <c:pt idx="42">
                  <c:v>37833</c:v>
                </c:pt>
                <c:pt idx="43">
                  <c:v>37864</c:v>
                </c:pt>
                <c:pt idx="44">
                  <c:v>37894</c:v>
                </c:pt>
                <c:pt idx="45">
                  <c:v>37925</c:v>
                </c:pt>
                <c:pt idx="46">
                  <c:v>37955</c:v>
                </c:pt>
                <c:pt idx="47">
                  <c:v>37986</c:v>
                </c:pt>
                <c:pt idx="48">
                  <c:v>38017</c:v>
                </c:pt>
                <c:pt idx="49">
                  <c:v>38046</c:v>
                </c:pt>
                <c:pt idx="50">
                  <c:v>38077</c:v>
                </c:pt>
                <c:pt idx="51">
                  <c:v>38107</c:v>
                </c:pt>
                <c:pt idx="52">
                  <c:v>38138</c:v>
                </c:pt>
                <c:pt idx="53">
                  <c:v>38168</c:v>
                </c:pt>
                <c:pt idx="54">
                  <c:v>38199</c:v>
                </c:pt>
                <c:pt idx="55">
                  <c:v>38230</c:v>
                </c:pt>
                <c:pt idx="56">
                  <c:v>38260</c:v>
                </c:pt>
                <c:pt idx="57">
                  <c:v>38291</c:v>
                </c:pt>
                <c:pt idx="58">
                  <c:v>38321</c:v>
                </c:pt>
                <c:pt idx="59">
                  <c:v>38352</c:v>
                </c:pt>
                <c:pt idx="60">
                  <c:v>38383</c:v>
                </c:pt>
                <c:pt idx="61">
                  <c:v>38411</c:v>
                </c:pt>
                <c:pt idx="62">
                  <c:v>38442</c:v>
                </c:pt>
                <c:pt idx="63">
                  <c:v>38472</c:v>
                </c:pt>
                <c:pt idx="64">
                  <c:v>38503</c:v>
                </c:pt>
                <c:pt idx="65">
                  <c:v>38533</c:v>
                </c:pt>
                <c:pt idx="66">
                  <c:v>38564</c:v>
                </c:pt>
                <c:pt idx="67">
                  <c:v>38595</c:v>
                </c:pt>
                <c:pt idx="68">
                  <c:v>38625</c:v>
                </c:pt>
                <c:pt idx="69">
                  <c:v>38656</c:v>
                </c:pt>
                <c:pt idx="70">
                  <c:v>38686</c:v>
                </c:pt>
                <c:pt idx="71">
                  <c:v>38717</c:v>
                </c:pt>
                <c:pt idx="72">
                  <c:v>38748</c:v>
                </c:pt>
                <c:pt idx="73">
                  <c:v>38776</c:v>
                </c:pt>
                <c:pt idx="74">
                  <c:v>38807</c:v>
                </c:pt>
                <c:pt idx="75">
                  <c:v>38837</c:v>
                </c:pt>
                <c:pt idx="76">
                  <c:v>38868</c:v>
                </c:pt>
                <c:pt idx="77">
                  <c:v>38898</c:v>
                </c:pt>
                <c:pt idx="78">
                  <c:v>38929</c:v>
                </c:pt>
                <c:pt idx="79">
                  <c:v>38960</c:v>
                </c:pt>
                <c:pt idx="80">
                  <c:v>38990</c:v>
                </c:pt>
                <c:pt idx="81">
                  <c:v>39021</c:v>
                </c:pt>
                <c:pt idx="82">
                  <c:v>39051</c:v>
                </c:pt>
                <c:pt idx="83">
                  <c:v>39082</c:v>
                </c:pt>
                <c:pt idx="84">
                  <c:v>39113</c:v>
                </c:pt>
                <c:pt idx="85">
                  <c:v>39141</c:v>
                </c:pt>
                <c:pt idx="86">
                  <c:v>39172</c:v>
                </c:pt>
                <c:pt idx="87">
                  <c:v>39202</c:v>
                </c:pt>
                <c:pt idx="88">
                  <c:v>39233</c:v>
                </c:pt>
                <c:pt idx="89">
                  <c:v>39263</c:v>
                </c:pt>
                <c:pt idx="90">
                  <c:v>39294</c:v>
                </c:pt>
                <c:pt idx="91">
                  <c:v>39325</c:v>
                </c:pt>
                <c:pt idx="92">
                  <c:v>39355</c:v>
                </c:pt>
                <c:pt idx="93">
                  <c:v>39386</c:v>
                </c:pt>
                <c:pt idx="94">
                  <c:v>39416</c:v>
                </c:pt>
                <c:pt idx="95">
                  <c:v>39447</c:v>
                </c:pt>
                <c:pt idx="96">
                  <c:v>39478</c:v>
                </c:pt>
                <c:pt idx="97">
                  <c:v>39507</c:v>
                </c:pt>
                <c:pt idx="98">
                  <c:v>39538</c:v>
                </c:pt>
                <c:pt idx="99">
                  <c:v>39568</c:v>
                </c:pt>
                <c:pt idx="100">
                  <c:v>39599</c:v>
                </c:pt>
                <c:pt idx="101">
                  <c:v>39629</c:v>
                </c:pt>
                <c:pt idx="102">
                  <c:v>39660</c:v>
                </c:pt>
                <c:pt idx="103">
                  <c:v>39691</c:v>
                </c:pt>
                <c:pt idx="104">
                  <c:v>39721</c:v>
                </c:pt>
                <c:pt idx="105">
                  <c:v>39752</c:v>
                </c:pt>
                <c:pt idx="106">
                  <c:v>39782</c:v>
                </c:pt>
                <c:pt idx="107">
                  <c:v>39813</c:v>
                </c:pt>
                <c:pt idx="108">
                  <c:v>39844</c:v>
                </c:pt>
                <c:pt idx="109">
                  <c:v>39872</c:v>
                </c:pt>
                <c:pt idx="110">
                  <c:v>39903</c:v>
                </c:pt>
                <c:pt idx="111">
                  <c:v>39933</c:v>
                </c:pt>
                <c:pt idx="112">
                  <c:v>39964</c:v>
                </c:pt>
                <c:pt idx="113">
                  <c:v>39994</c:v>
                </c:pt>
                <c:pt idx="114">
                  <c:v>40025</c:v>
                </c:pt>
                <c:pt idx="115">
                  <c:v>40056</c:v>
                </c:pt>
                <c:pt idx="116">
                  <c:v>40086</c:v>
                </c:pt>
                <c:pt idx="117">
                  <c:v>40117</c:v>
                </c:pt>
                <c:pt idx="118">
                  <c:v>40147</c:v>
                </c:pt>
                <c:pt idx="119">
                  <c:v>40178</c:v>
                </c:pt>
                <c:pt idx="120">
                  <c:v>40209</c:v>
                </c:pt>
                <c:pt idx="121">
                  <c:v>40237</c:v>
                </c:pt>
                <c:pt idx="122">
                  <c:v>40268</c:v>
                </c:pt>
                <c:pt idx="123">
                  <c:v>40298</c:v>
                </c:pt>
                <c:pt idx="124">
                  <c:v>40329</c:v>
                </c:pt>
                <c:pt idx="125">
                  <c:v>40359</c:v>
                </c:pt>
                <c:pt idx="126">
                  <c:v>40390</c:v>
                </c:pt>
                <c:pt idx="127">
                  <c:v>40421</c:v>
                </c:pt>
                <c:pt idx="128">
                  <c:v>40451</c:v>
                </c:pt>
                <c:pt idx="129">
                  <c:v>40482</c:v>
                </c:pt>
                <c:pt idx="130">
                  <c:v>40512</c:v>
                </c:pt>
                <c:pt idx="131">
                  <c:v>40543</c:v>
                </c:pt>
                <c:pt idx="132">
                  <c:v>40574</c:v>
                </c:pt>
                <c:pt idx="133">
                  <c:v>40602</c:v>
                </c:pt>
                <c:pt idx="134">
                  <c:v>40633</c:v>
                </c:pt>
                <c:pt idx="135">
                  <c:v>40663</c:v>
                </c:pt>
                <c:pt idx="136">
                  <c:v>40694</c:v>
                </c:pt>
                <c:pt idx="137">
                  <c:v>40724</c:v>
                </c:pt>
                <c:pt idx="138">
                  <c:v>40755</c:v>
                </c:pt>
                <c:pt idx="139">
                  <c:v>40786</c:v>
                </c:pt>
                <c:pt idx="140">
                  <c:v>40816</c:v>
                </c:pt>
                <c:pt idx="141">
                  <c:v>40847</c:v>
                </c:pt>
                <c:pt idx="142">
                  <c:v>40877</c:v>
                </c:pt>
                <c:pt idx="143">
                  <c:v>40908</c:v>
                </c:pt>
                <c:pt idx="144">
                  <c:v>40939</c:v>
                </c:pt>
                <c:pt idx="145">
                  <c:v>40968</c:v>
                </c:pt>
                <c:pt idx="146">
                  <c:v>40999</c:v>
                </c:pt>
                <c:pt idx="147">
                  <c:v>41029</c:v>
                </c:pt>
                <c:pt idx="148">
                  <c:v>41060</c:v>
                </c:pt>
                <c:pt idx="149">
                  <c:v>41090</c:v>
                </c:pt>
                <c:pt idx="150">
                  <c:v>41121</c:v>
                </c:pt>
                <c:pt idx="151">
                  <c:v>41152</c:v>
                </c:pt>
                <c:pt idx="152">
                  <c:v>41182</c:v>
                </c:pt>
                <c:pt idx="153">
                  <c:v>41213</c:v>
                </c:pt>
                <c:pt idx="154">
                  <c:v>41243</c:v>
                </c:pt>
                <c:pt idx="155">
                  <c:v>41274</c:v>
                </c:pt>
                <c:pt idx="156">
                  <c:v>41305</c:v>
                </c:pt>
                <c:pt idx="157">
                  <c:v>41333</c:v>
                </c:pt>
                <c:pt idx="158">
                  <c:v>41364</c:v>
                </c:pt>
                <c:pt idx="159">
                  <c:v>41394</c:v>
                </c:pt>
                <c:pt idx="160">
                  <c:v>41425</c:v>
                </c:pt>
                <c:pt idx="161">
                  <c:v>41455</c:v>
                </c:pt>
                <c:pt idx="162">
                  <c:v>41486</c:v>
                </c:pt>
                <c:pt idx="163">
                  <c:v>41517</c:v>
                </c:pt>
                <c:pt idx="164">
                  <c:v>41547</c:v>
                </c:pt>
                <c:pt idx="165">
                  <c:v>41578</c:v>
                </c:pt>
                <c:pt idx="166">
                  <c:v>41608</c:v>
                </c:pt>
                <c:pt idx="167">
                  <c:v>41639</c:v>
                </c:pt>
                <c:pt idx="168">
                  <c:v>41670</c:v>
                </c:pt>
                <c:pt idx="169">
                  <c:v>41698</c:v>
                </c:pt>
                <c:pt idx="170">
                  <c:v>41729</c:v>
                </c:pt>
                <c:pt idx="171">
                  <c:v>41759</c:v>
                </c:pt>
                <c:pt idx="172">
                  <c:v>41790</c:v>
                </c:pt>
                <c:pt idx="173">
                  <c:v>41820</c:v>
                </c:pt>
                <c:pt idx="174">
                  <c:v>41851</c:v>
                </c:pt>
                <c:pt idx="175">
                  <c:v>41882</c:v>
                </c:pt>
                <c:pt idx="176">
                  <c:v>41912</c:v>
                </c:pt>
                <c:pt idx="177">
                  <c:v>41943</c:v>
                </c:pt>
                <c:pt idx="178">
                  <c:v>41973</c:v>
                </c:pt>
                <c:pt idx="179">
                  <c:v>42004</c:v>
                </c:pt>
                <c:pt idx="180">
                  <c:v>42035</c:v>
                </c:pt>
                <c:pt idx="181">
                  <c:v>42063</c:v>
                </c:pt>
                <c:pt idx="182">
                  <c:v>42094</c:v>
                </c:pt>
                <c:pt idx="183">
                  <c:v>42124</c:v>
                </c:pt>
                <c:pt idx="184">
                  <c:v>42155</c:v>
                </c:pt>
                <c:pt idx="185">
                  <c:v>42185</c:v>
                </c:pt>
                <c:pt idx="186">
                  <c:v>42216</c:v>
                </c:pt>
                <c:pt idx="187">
                  <c:v>42247</c:v>
                </c:pt>
                <c:pt idx="188">
                  <c:v>42277</c:v>
                </c:pt>
                <c:pt idx="189">
                  <c:v>42308</c:v>
                </c:pt>
                <c:pt idx="190">
                  <c:v>42338</c:v>
                </c:pt>
                <c:pt idx="191">
                  <c:v>42369</c:v>
                </c:pt>
                <c:pt idx="192">
                  <c:v>42400</c:v>
                </c:pt>
                <c:pt idx="193">
                  <c:v>42429</c:v>
                </c:pt>
                <c:pt idx="194">
                  <c:v>42460</c:v>
                </c:pt>
                <c:pt idx="195">
                  <c:v>42490</c:v>
                </c:pt>
                <c:pt idx="196">
                  <c:v>42521</c:v>
                </c:pt>
                <c:pt idx="197">
                  <c:v>42551</c:v>
                </c:pt>
                <c:pt idx="198">
                  <c:v>42582</c:v>
                </c:pt>
                <c:pt idx="199">
                  <c:v>42613</c:v>
                </c:pt>
                <c:pt idx="200">
                  <c:v>42643</c:v>
                </c:pt>
                <c:pt idx="201">
                  <c:v>42674</c:v>
                </c:pt>
                <c:pt idx="202">
                  <c:v>42704</c:v>
                </c:pt>
                <c:pt idx="203">
                  <c:v>42735</c:v>
                </c:pt>
                <c:pt idx="204">
                  <c:v>42766</c:v>
                </c:pt>
                <c:pt idx="205">
                  <c:v>42794</c:v>
                </c:pt>
                <c:pt idx="206">
                  <c:v>42825</c:v>
                </c:pt>
                <c:pt idx="207">
                  <c:v>42855</c:v>
                </c:pt>
                <c:pt idx="208">
                  <c:v>42886</c:v>
                </c:pt>
                <c:pt idx="209">
                  <c:v>42916</c:v>
                </c:pt>
                <c:pt idx="210">
                  <c:v>42947</c:v>
                </c:pt>
                <c:pt idx="211">
                  <c:v>42978</c:v>
                </c:pt>
                <c:pt idx="212">
                  <c:v>43008</c:v>
                </c:pt>
                <c:pt idx="213">
                  <c:v>43039</c:v>
                </c:pt>
                <c:pt idx="214">
                  <c:v>43069</c:v>
                </c:pt>
                <c:pt idx="215">
                  <c:v>43100</c:v>
                </c:pt>
                <c:pt idx="216">
                  <c:v>43131</c:v>
                </c:pt>
                <c:pt idx="217">
                  <c:v>43159</c:v>
                </c:pt>
                <c:pt idx="218">
                  <c:v>43190</c:v>
                </c:pt>
                <c:pt idx="219">
                  <c:v>43220</c:v>
                </c:pt>
                <c:pt idx="220">
                  <c:v>43251</c:v>
                </c:pt>
                <c:pt idx="221">
                  <c:v>43281</c:v>
                </c:pt>
                <c:pt idx="222">
                  <c:v>43312</c:v>
                </c:pt>
                <c:pt idx="223">
                  <c:v>43343</c:v>
                </c:pt>
                <c:pt idx="224">
                  <c:v>43373</c:v>
                </c:pt>
                <c:pt idx="225">
                  <c:v>43404</c:v>
                </c:pt>
                <c:pt idx="226">
                  <c:v>43434</c:v>
                </c:pt>
                <c:pt idx="227">
                  <c:v>43465</c:v>
                </c:pt>
                <c:pt idx="228">
                  <c:v>43496</c:v>
                </c:pt>
                <c:pt idx="229">
                  <c:v>43524</c:v>
                </c:pt>
                <c:pt idx="230">
                  <c:v>43555</c:v>
                </c:pt>
                <c:pt idx="231">
                  <c:v>43585</c:v>
                </c:pt>
                <c:pt idx="232">
                  <c:v>43616</c:v>
                </c:pt>
                <c:pt idx="233">
                  <c:v>43646</c:v>
                </c:pt>
                <c:pt idx="234">
                  <c:v>43677</c:v>
                </c:pt>
                <c:pt idx="235">
                  <c:v>43708</c:v>
                </c:pt>
                <c:pt idx="236">
                  <c:v>43738</c:v>
                </c:pt>
                <c:pt idx="237">
                  <c:v>43769</c:v>
                </c:pt>
                <c:pt idx="238">
                  <c:v>43799</c:v>
                </c:pt>
                <c:pt idx="239">
                  <c:v>43830</c:v>
                </c:pt>
                <c:pt idx="240">
                  <c:v>43861</c:v>
                </c:pt>
                <c:pt idx="241">
                  <c:v>43890</c:v>
                </c:pt>
                <c:pt idx="242">
                  <c:v>43921</c:v>
                </c:pt>
                <c:pt idx="243">
                  <c:v>43951</c:v>
                </c:pt>
                <c:pt idx="244">
                  <c:v>43982</c:v>
                </c:pt>
                <c:pt idx="245">
                  <c:v>44012</c:v>
                </c:pt>
                <c:pt idx="246">
                  <c:v>44043</c:v>
                </c:pt>
                <c:pt idx="247">
                  <c:v>44074</c:v>
                </c:pt>
                <c:pt idx="248">
                  <c:v>44104</c:v>
                </c:pt>
                <c:pt idx="249">
                  <c:v>44135</c:v>
                </c:pt>
                <c:pt idx="250">
                  <c:v>44165</c:v>
                </c:pt>
                <c:pt idx="251">
                  <c:v>44196</c:v>
                </c:pt>
                <c:pt idx="252">
                  <c:v>44227</c:v>
                </c:pt>
                <c:pt idx="253">
                  <c:v>44255</c:v>
                </c:pt>
                <c:pt idx="254">
                  <c:v>44286</c:v>
                </c:pt>
                <c:pt idx="255">
                  <c:v>44316</c:v>
                </c:pt>
                <c:pt idx="256">
                  <c:v>44347</c:v>
                </c:pt>
                <c:pt idx="257">
                  <c:v>44377</c:v>
                </c:pt>
                <c:pt idx="258">
                  <c:v>44408</c:v>
                </c:pt>
                <c:pt idx="259">
                  <c:v>44439</c:v>
                </c:pt>
                <c:pt idx="260">
                  <c:v>44469</c:v>
                </c:pt>
                <c:pt idx="261">
                  <c:v>44500</c:v>
                </c:pt>
                <c:pt idx="262">
                  <c:v>44530</c:v>
                </c:pt>
                <c:pt idx="263">
                  <c:v>44561</c:v>
                </c:pt>
                <c:pt idx="264">
                  <c:v>44592</c:v>
                </c:pt>
                <c:pt idx="265">
                  <c:v>44620</c:v>
                </c:pt>
                <c:pt idx="266">
                  <c:v>44651</c:v>
                </c:pt>
                <c:pt idx="267">
                  <c:v>44681</c:v>
                </c:pt>
                <c:pt idx="268">
                  <c:v>44712</c:v>
                </c:pt>
              </c:numCache>
            </c:numRef>
          </c:cat>
          <c:val>
            <c:numRef>
              <c:f>SupplyChain_AHE!$B$5:$B$273</c:f>
              <c:numCache>
                <c:formatCode>0.00</c:formatCode>
                <c:ptCount val="269"/>
                <c:pt idx="0">
                  <c:v>7.6445305977340797E-2</c:v>
                </c:pt>
                <c:pt idx="1">
                  <c:v>0.14701970866957062</c:v>
                </c:pt>
                <c:pt idx="2">
                  <c:v>0.20709573411509807</c:v>
                </c:pt>
                <c:pt idx="3">
                  <c:v>0.22861095734098563</c:v>
                </c:pt>
                <c:pt idx="4">
                  <c:v>0.19486134336349509</c:v>
                </c:pt>
                <c:pt idx="5">
                  <c:v>0.13660901994320551</c:v>
                </c:pt>
                <c:pt idx="6">
                  <c:v>4.7756002178283803E-2</c:v>
                </c:pt>
                <c:pt idx="7">
                  <c:v>-1.267723806896031E-2</c:v>
                </c:pt>
                <c:pt idx="8">
                  <c:v>-0.12914229531142662</c:v>
                </c:pt>
                <c:pt idx="9">
                  <c:v>-0.27147749479506422</c:v>
                </c:pt>
                <c:pt idx="10">
                  <c:v>-0.38146524528172898</c:v>
                </c:pt>
                <c:pt idx="11">
                  <c:v>-0.49347806305681119</c:v>
                </c:pt>
                <c:pt idx="12">
                  <c:v>-0.6319943888317977</c:v>
                </c:pt>
                <c:pt idx="13">
                  <c:v>-0.73615325701579737</c:v>
                </c:pt>
                <c:pt idx="14">
                  <c:v>-0.80995571901406249</c:v>
                </c:pt>
                <c:pt idx="15">
                  <c:v>-0.88484204509919784</c:v>
                </c:pt>
                <c:pt idx="16">
                  <c:v>-1.0198774784023972</c:v>
                </c:pt>
                <c:pt idx="17">
                  <c:v>-1.0965306458151804</c:v>
                </c:pt>
                <c:pt idx="18">
                  <c:v>-1.1711033346297071</c:v>
                </c:pt>
                <c:pt idx="19">
                  <c:v>-1.235956462488081</c:v>
                </c:pt>
                <c:pt idx="20">
                  <c:v>-1.2851917811036209</c:v>
                </c:pt>
                <c:pt idx="21">
                  <c:v>-1.3925670655169564</c:v>
                </c:pt>
                <c:pt idx="22">
                  <c:v>-1.4626587732945247</c:v>
                </c:pt>
                <c:pt idx="23">
                  <c:v>-1.4986251509734856</c:v>
                </c:pt>
                <c:pt idx="24">
                  <c:v>-1.3926880222879043</c:v>
                </c:pt>
                <c:pt idx="25">
                  <c:v>-1.2270319851319631</c:v>
                </c:pt>
                <c:pt idx="26">
                  <c:v>-0.93144581940401883</c:v>
                </c:pt>
                <c:pt idx="27">
                  <c:v>-0.70255288571213959</c:v>
                </c:pt>
                <c:pt idx="28">
                  <c:v>-0.50237827902049215</c:v>
                </c:pt>
                <c:pt idx="29">
                  <c:v>-0.35020001137801982</c:v>
                </c:pt>
                <c:pt idx="30">
                  <c:v>-0.296003535340289</c:v>
                </c:pt>
                <c:pt idx="31">
                  <c:v>-0.30943171503619282</c:v>
                </c:pt>
                <c:pt idx="32">
                  <c:v>-0.2816408294288183</c:v>
                </c:pt>
                <c:pt idx="33">
                  <c:v>-0.3337242213836234</c:v>
                </c:pt>
                <c:pt idx="34">
                  <c:v>-0.41584051856879289</c:v>
                </c:pt>
                <c:pt idx="35">
                  <c:v>-0.42147872132930808</c:v>
                </c:pt>
                <c:pt idx="36">
                  <c:v>-0.44021607193144319</c:v>
                </c:pt>
                <c:pt idx="37">
                  <c:v>-0.3693722719375333</c:v>
                </c:pt>
                <c:pt idx="38">
                  <c:v>-0.37275705273052084</c:v>
                </c:pt>
                <c:pt idx="39">
                  <c:v>-0.37871343476733688</c:v>
                </c:pt>
                <c:pt idx="40">
                  <c:v>-0.40067105448310197</c:v>
                </c:pt>
                <c:pt idx="41">
                  <c:v>-0.41228718248032359</c:v>
                </c:pt>
                <c:pt idx="42">
                  <c:v>-0.40816146136682985</c:v>
                </c:pt>
                <c:pt idx="43">
                  <c:v>-0.38083694422947578</c:v>
                </c:pt>
                <c:pt idx="44">
                  <c:v>-0.32743552176570073</c:v>
                </c:pt>
                <c:pt idx="45">
                  <c:v>-0.24604751642256359</c:v>
                </c:pt>
                <c:pt idx="46">
                  <c:v>-7.0431080788187633E-2</c:v>
                </c:pt>
                <c:pt idx="47">
                  <c:v>0.13724136372110887</c:v>
                </c:pt>
                <c:pt idx="48">
                  <c:v>0.37448573976927868</c:v>
                </c:pt>
                <c:pt idx="49">
                  <c:v>0.62827154410042674</c:v>
                </c:pt>
                <c:pt idx="50">
                  <c:v>0.91705427697753517</c:v>
                </c:pt>
                <c:pt idx="51">
                  <c:v>1.1892988565043847</c:v>
                </c:pt>
                <c:pt idx="52">
                  <c:v>1.3768307337175028</c:v>
                </c:pt>
                <c:pt idx="53">
                  <c:v>1.4355757320324929</c:v>
                </c:pt>
                <c:pt idx="54">
                  <c:v>1.4232275492373883</c:v>
                </c:pt>
                <c:pt idx="55">
                  <c:v>1.3837849710565138</c:v>
                </c:pt>
                <c:pt idx="56">
                  <c:v>1.2859662497379754</c:v>
                </c:pt>
                <c:pt idx="57">
                  <c:v>1.1493231151452639</c:v>
                </c:pt>
                <c:pt idx="58">
                  <c:v>0.97092116133157746</c:v>
                </c:pt>
                <c:pt idx="59">
                  <c:v>0.87027924054423833</c:v>
                </c:pt>
                <c:pt idx="60">
                  <c:v>0.72918856098567053</c:v>
                </c:pt>
                <c:pt idx="61">
                  <c:v>0.62098911609735796</c:v>
                </c:pt>
                <c:pt idx="62">
                  <c:v>0.59708162602367876</c:v>
                </c:pt>
                <c:pt idx="63">
                  <c:v>0.51393453259390998</c:v>
                </c:pt>
                <c:pt idx="64">
                  <c:v>0.33240851915383829</c:v>
                </c:pt>
                <c:pt idx="65">
                  <c:v>0.17583910455491475</c:v>
                </c:pt>
                <c:pt idx="66">
                  <c:v>4.41842409605403E-3</c:v>
                </c:pt>
                <c:pt idx="67">
                  <c:v>-5.2248358789330533E-2</c:v>
                </c:pt>
                <c:pt idx="68">
                  <c:v>0.13070355040317364</c:v>
                </c:pt>
                <c:pt idx="69">
                  <c:v>0.36415904122213305</c:v>
                </c:pt>
                <c:pt idx="70">
                  <c:v>0.40964621006633545</c:v>
                </c:pt>
                <c:pt idx="71">
                  <c:v>0.32339217857404801</c:v>
                </c:pt>
                <c:pt idx="72">
                  <c:v>0.31871968616151442</c:v>
                </c:pt>
                <c:pt idx="73">
                  <c:v>0.29637333520248504</c:v>
                </c:pt>
                <c:pt idx="74">
                  <c:v>0.3476919175421464</c:v>
                </c:pt>
                <c:pt idx="75">
                  <c:v>0.43148557944006172</c:v>
                </c:pt>
                <c:pt idx="76">
                  <c:v>0.46783153089933593</c:v>
                </c:pt>
                <c:pt idx="77">
                  <c:v>0.47872064646802193</c:v>
                </c:pt>
                <c:pt idx="78">
                  <c:v>0.45395684497307853</c:v>
                </c:pt>
                <c:pt idx="79">
                  <c:v>0.42459082690840955</c:v>
                </c:pt>
                <c:pt idx="80">
                  <c:v>0.2673524698795795</c:v>
                </c:pt>
                <c:pt idx="81">
                  <c:v>2.6680628524300226E-2</c:v>
                </c:pt>
                <c:pt idx="82">
                  <c:v>-8.5824872519558087E-2</c:v>
                </c:pt>
                <c:pt idx="83">
                  <c:v>-0.19087799335813777</c:v>
                </c:pt>
                <c:pt idx="84">
                  <c:v>-0.2434812523160344</c:v>
                </c:pt>
                <c:pt idx="85">
                  <c:v>-0.14191221160185022</c:v>
                </c:pt>
                <c:pt idx="86">
                  <c:v>-0.13358484862202416</c:v>
                </c:pt>
                <c:pt idx="87">
                  <c:v>-5.2188778569582289E-2</c:v>
                </c:pt>
                <c:pt idx="88">
                  <c:v>4.725492344029282E-3</c:v>
                </c:pt>
                <c:pt idx="89">
                  <c:v>-5.1005857776819756E-3</c:v>
                </c:pt>
                <c:pt idx="90">
                  <c:v>9.4439431442073195E-3</c:v>
                </c:pt>
                <c:pt idx="91">
                  <c:v>-2.4141696031750877E-2</c:v>
                </c:pt>
                <c:pt idx="92">
                  <c:v>-8.4340912711874536E-2</c:v>
                </c:pt>
                <c:pt idx="93">
                  <c:v>-8.8989862702456124E-2</c:v>
                </c:pt>
                <c:pt idx="94">
                  <c:v>-0.13494557166543653</c:v>
                </c:pt>
                <c:pt idx="95">
                  <c:v>-0.17333393511245687</c:v>
                </c:pt>
                <c:pt idx="96">
                  <c:v>-0.12938971228409904</c:v>
                </c:pt>
                <c:pt idx="97">
                  <c:v>-0.11727983075710355</c:v>
                </c:pt>
                <c:pt idx="98">
                  <c:v>-5.1219359474985703E-2</c:v>
                </c:pt>
                <c:pt idx="99">
                  <c:v>8.6450083604089997E-2</c:v>
                </c:pt>
                <c:pt idx="100">
                  <c:v>0.15061373422082797</c:v>
                </c:pt>
                <c:pt idx="101">
                  <c:v>0.26256874075249992</c:v>
                </c:pt>
                <c:pt idx="102">
                  <c:v>0.29154646530203099</c:v>
                </c:pt>
                <c:pt idx="103">
                  <c:v>0.22765379096354074</c:v>
                </c:pt>
                <c:pt idx="104">
                  <c:v>-1.5761509849639588E-2</c:v>
                </c:pt>
                <c:pt idx="105">
                  <c:v>-0.42250811754541356</c:v>
                </c:pt>
                <c:pt idx="106">
                  <c:v>-0.82480393916673644</c:v>
                </c:pt>
                <c:pt idx="107">
                  <c:v>-1.2816734546054418</c:v>
                </c:pt>
                <c:pt idx="108">
                  <c:v>-1.4897262179632997</c:v>
                </c:pt>
                <c:pt idx="109">
                  <c:v>-1.6386802344536879</c:v>
                </c:pt>
                <c:pt idx="110">
                  <c:v>-1.7431956135010878</c:v>
                </c:pt>
                <c:pt idx="111">
                  <c:v>-1.7443166876028953</c:v>
                </c:pt>
                <c:pt idx="112">
                  <c:v>-1.5633198914520836</c:v>
                </c:pt>
                <c:pt idx="113">
                  <c:v>-1.3996234884030048</c:v>
                </c:pt>
                <c:pt idx="114">
                  <c:v>-1.2039442721962239</c:v>
                </c:pt>
                <c:pt idx="115">
                  <c:v>-0.9496375291893403</c:v>
                </c:pt>
                <c:pt idx="116">
                  <c:v>-0.68681895150749916</c:v>
                </c:pt>
                <c:pt idx="117">
                  <c:v>-0.4570577983012622</c:v>
                </c:pt>
                <c:pt idx="118">
                  <c:v>-0.3526846395367691</c:v>
                </c:pt>
                <c:pt idx="119">
                  <c:v>-0.22493996726678966</c:v>
                </c:pt>
                <c:pt idx="120">
                  <c:v>-8.5148489888753343E-2</c:v>
                </c:pt>
                <c:pt idx="121">
                  <c:v>6.5929951687362917E-2</c:v>
                </c:pt>
                <c:pt idx="122">
                  <c:v>0.28470663768676591</c:v>
                </c:pt>
                <c:pt idx="123">
                  <c:v>0.44337407170650767</c:v>
                </c:pt>
                <c:pt idx="124">
                  <c:v>0.53778541099095256</c:v>
                </c:pt>
                <c:pt idx="125">
                  <c:v>0.4907159899443988</c:v>
                </c:pt>
                <c:pt idx="126">
                  <c:v>0.47288008866066911</c:v>
                </c:pt>
                <c:pt idx="127">
                  <c:v>0.41989446219443327</c:v>
                </c:pt>
                <c:pt idx="128">
                  <c:v>0.28768402306289231</c:v>
                </c:pt>
                <c:pt idx="129">
                  <c:v>0.19291295585864773</c:v>
                </c:pt>
                <c:pt idx="130">
                  <c:v>0.22308534649516493</c:v>
                </c:pt>
                <c:pt idx="131">
                  <c:v>0.19048871782446594</c:v>
                </c:pt>
                <c:pt idx="132">
                  <c:v>0.31601414071837097</c:v>
                </c:pt>
                <c:pt idx="133">
                  <c:v>0.44986561725933755</c:v>
                </c:pt>
                <c:pt idx="134">
                  <c:v>0.55565505322237041</c:v>
                </c:pt>
                <c:pt idx="135">
                  <c:v>0.70414566581541227</c:v>
                </c:pt>
                <c:pt idx="136">
                  <c:v>0.6639064088708323</c:v>
                </c:pt>
                <c:pt idx="137">
                  <c:v>0.61006637078267401</c:v>
                </c:pt>
                <c:pt idx="138">
                  <c:v>0.43888226184176748</c:v>
                </c:pt>
                <c:pt idx="139">
                  <c:v>0.26167126006625513</c:v>
                </c:pt>
                <c:pt idx="140">
                  <c:v>7.2866809438525637E-2</c:v>
                </c:pt>
                <c:pt idx="141">
                  <c:v>-0.11837322659157147</c:v>
                </c:pt>
                <c:pt idx="142">
                  <c:v>-0.24753339550996128</c:v>
                </c:pt>
                <c:pt idx="143">
                  <c:v>-0.38531735570928649</c:v>
                </c:pt>
                <c:pt idx="144">
                  <c:v>-0.38821323171201527</c:v>
                </c:pt>
                <c:pt idx="145">
                  <c:v>-0.41376258559201329</c:v>
                </c:pt>
                <c:pt idx="146">
                  <c:v>-0.36777162390784057</c:v>
                </c:pt>
                <c:pt idx="147">
                  <c:v>-0.39192952726529939</c:v>
                </c:pt>
                <c:pt idx="148">
                  <c:v>-0.50871615507238876</c:v>
                </c:pt>
                <c:pt idx="149">
                  <c:v>-0.69118454047521438</c:v>
                </c:pt>
                <c:pt idx="150">
                  <c:v>-0.82154863407284884</c:v>
                </c:pt>
                <c:pt idx="151">
                  <c:v>-0.85495430120497273</c:v>
                </c:pt>
                <c:pt idx="152">
                  <c:v>-0.77947958108937776</c:v>
                </c:pt>
                <c:pt idx="153">
                  <c:v>-0.82275023026379701</c:v>
                </c:pt>
                <c:pt idx="154">
                  <c:v>-0.88461317510248949</c:v>
                </c:pt>
                <c:pt idx="155">
                  <c:v>-0.82392650483037733</c:v>
                </c:pt>
                <c:pt idx="156">
                  <c:v>-0.75817922879161348</c:v>
                </c:pt>
                <c:pt idx="157">
                  <c:v>-0.62978176009316833</c:v>
                </c:pt>
                <c:pt idx="158">
                  <c:v>-0.5960867859220198</c:v>
                </c:pt>
                <c:pt idx="159">
                  <c:v>-0.57487006172770272</c:v>
                </c:pt>
                <c:pt idx="160">
                  <c:v>-0.60116563311653204</c:v>
                </c:pt>
                <c:pt idx="161">
                  <c:v>-0.63403820549526047</c:v>
                </c:pt>
                <c:pt idx="162">
                  <c:v>-0.65418794015295745</c:v>
                </c:pt>
                <c:pt idx="163">
                  <c:v>-0.64594786172004448</c:v>
                </c:pt>
                <c:pt idx="164">
                  <c:v>-0.56007693650443358</c:v>
                </c:pt>
                <c:pt idx="165">
                  <c:v>-0.49775860829456686</c:v>
                </c:pt>
                <c:pt idx="166">
                  <c:v>-0.45811501962507001</c:v>
                </c:pt>
                <c:pt idx="167">
                  <c:v>-0.44398191129105702</c:v>
                </c:pt>
                <c:pt idx="168">
                  <c:v>-0.39856546871837617</c:v>
                </c:pt>
                <c:pt idx="169">
                  <c:v>-0.29817398359851333</c:v>
                </c:pt>
                <c:pt idx="170">
                  <c:v>-0.16743310393816979</c:v>
                </c:pt>
                <c:pt idx="171">
                  <c:v>-9.8870063349168882E-2</c:v>
                </c:pt>
                <c:pt idx="172">
                  <c:v>-0.10507214420254668</c:v>
                </c:pt>
                <c:pt idx="173">
                  <c:v>-0.17844945110822222</c:v>
                </c:pt>
                <c:pt idx="174">
                  <c:v>-0.16375803619248566</c:v>
                </c:pt>
                <c:pt idx="175">
                  <c:v>-0.13474450033258692</c:v>
                </c:pt>
                <c:pt idx="176">
                  <c:v>-0.18929879501995578</c:v>
                </c:pt>
                <c:pt idx="177">
                  <c:v>-0.18548304407962041</c:v>
                </c:pt>
                <c:pt idx="178">
                  <c:v>-0.21731084626633868</c:v>
                </c:pt>
                <c:pt idx="179">
                  <c:v>-0.26740782835824267</c:v>
                </c:pt>
                <c:pt idx="180">
                  <c:v>-0.41336354961740085</c:v>
                </c:pt>
                <c:pt idx="181">
                  <c:v>-0.47600290994494543</c:v>
                </c:pt>
                <c:pt idx="182">
                  <c:v>-0.56367043438750053</c:v>
                </c:pt>
                <c:pt idx="183">
                  <c:v>-0.62409940059394331</c:v>
                </c:pt>
                <c:pt idx="184">
                  <c:v>-0.5720251260069964</c:v>
                </c:pt>
                <c:pt idx="185">
                  <c:v>-0.64622083490966764</c:v>
                </c:pt>
                <c:pt idx="186">
                  <c:v>-0.7269425234109036</c:v>
                </c:pt>
                <c:pt idx="187">
                  <c:v>-0.80076809725462317</c:v>
                </c:pt>
                <c:pt idx="188">
                  <c:v>-0.92699742458192769</c:v>
                </c:pt>
                <c:pt idx="189">
                  <c:v>-0.98298175193468262</c:v>
                </c:pt>
                <c:pt idx="190">
                  <c:v>-1.0747567234794206</c:v>
                </c:pt>
                <c:pt idx="191">
                  <c:v>-1.1645021436905421</c:v>
                </c:pt>
                <c:pt idx="192">
                  <c:v>-1.2110910214982724</c:v>
                </c:pt>
                <c:pt idx="193">
                  <c:v>-1.1730553508549213</c:v>
                </c:pt>
                <c:pt idx="194">
                  <c:v>-1.0210863502904359</c:v>
                </c:pt>
                <c:pt idx="195">
                  <c:v>-0.88684019434053507</c:v>
                </c:pt>
                <c:pt idx="196">
                  <c:v>-0.763621496926572</c:v>
                </c:pt>
                <c:pt idx="197">
                  <c:v>-0.6051747003328577</c:v>
                </c:pt>
                <c:pt idx="198">
                  <c:v>-0.5620124646202288</c:v>
                </c:pt>
                <c:pt idx="199">
                  <c:v>-0.56519308133582236</c:v>
                </c:pt>
                <c:pt idx="200">
                  <c:v>-0.56984033007119839</c:v>
                </c:pt>
                <c:pt idx="201">
                  <c:v>-0.57734550564986209</c:v>
                </c:pt>
                <c:pt idx="202">
                  <c:v>-0.53028254662303576</c:v>
                </c:pt>
                <c:pt idx="203">
                  <c:v>-0.4558153428877969</c:v>
                </c:pt>
                <c:pt idx="204">
                  <c:v>-0.36338018246890719</c:v>
                </c:pt>
                <c:pt idx="205">
                  <c:v>-0.17489658748592884</c:v>
                </c:pt>
                <c:pt idx="206">
                  <c:v>-5.9092378918348953E-3</c:v>
                </c:pt>
                <c:pt idx="207">
                  <c:v>0.11907736682573342</c:v>
                </c:pt>
                <c:pt idx="208">
                  <c:v>0.12403719101803222</c:v>
                </c:pt>
                <c:pt idx="209">
                  <c:v>0.12667066731970572</c:v>
                </c:pt>
                <c:pt idx="210">
                  <c:v>0.16239691595542152</c:v>
                </c:pt>
                <c:pt idx="211">
                  <c:v>0.22198149162840169</c:v>
                </c:pt>
                <c:pt idx="212">
                  <c:v>0.41392206463095249</c:v>
                </c:pt>
                <c:pt idx="213">
                  <c:v>0.46606324661575654</c:v>
                </c:pt>
                <c:pt idx="214">
                  <c:v>0.43456605708548046</c:v>
                </c:pt>
                <c:pt idx="215">
                  <c:v>0.44707417884066047</c:v>
                </c:pt>
                <c:pt idx="216">
                  <c:v>0.53047393411138044</c:v>
                </c:pt>
                <c:pt idx="217">
                  <c:v>0.67088244455391743</c:v>
                </c:pt>
                <c:pt idx="218">
                  <c:v>0.80304268533392942</c:v>
                </c:pt>
                <c:pt idx="219">
                  <c:v>0.93683942942204734</c:v>
                </c:pt>
                <c:pt idx="220">
                  <c:v>1.0789506944060225</c:v>
                </c:pt>
                <c:pt idx="221">
                  <c:v>1.2077985254209846</c:v>
                </c:pt>
                <c:pt idx="222">
                  <c:v>1.1604927955376543</c:v>
                </c:pt>
                <c:pt idx="223">
                  <c:v>1.168488952756163</c:v>
                </c:pt>
                <c:pt idx="224">
                  <c:v>1.1004137471633908</c:v>
                </c:pt>
                <c:pt idx="225">
                  <c:v>1.0972943045710506</c:v>
                </c:pt>
                <c:pt idx="226">
                  <c:v>1.0073446901352865</c:v>
                </c:pt>
                <c:pt idx="227">
                  <c:v>0.78129252387400683</c:v>
                </c:pt>
                <c:pt idx="228">
                  <c:v>0.56328593367280722</c:v>
                </c:pt>
                <c:pt idx="229">
                  <c:v>0.4083138229531546</c:v>
                </c:pt>
                <c:pt idx="230">
                  <c:v>0.28584163415004155</c:v>
                </c:pt>
                <c:pt idx="231">
                  <c:v>0.20236451810797093</c:v>
                </c:pt>
                <c:pt idx="232">
                  <c:v>5.2125761491864792E-2</c:v>
                </c:pt>
                <c:pt idx="233">
                  <c:v>-0.10927448730144013</c:v>
                </c:pt>
                <c:pt idx="234">
                  <c:v>-0.27011774493844304</c:v>
                </c:pt>
                <c:pt idx="235">
                  <c:v>-0.38204470586071931</c:v>
                </c:pt>
                <c:pt idx="236">
                  <c:v>-0.46792046922265157</c:v>
                </c:pt>
                <c:pt idx="237">
                  <c:v>-0.58411426953598011</c:v>
                </c:pt>
                <c:pt idx="238">
                  <c:v>-0.66195641618884626</c:v>
                </c:pt>
                <c:pt idx="239">
                  <c:v>-0.6877210966138283</c:v>
                </c:pt>
                <c:pt idx="240">
                  <c:v>-0.66379500442302231</c:v>
                </c:pt>
                <c:pt idx="241">
                  <c:v>-0.58095895400181163</c:v>
                </c:pt>
                <c:pt idx="242">
                  <c:v>-0.51218026702255115</c:v>
                </c:pt>
                <c:pt idx="243">
                  <c:v>-0.41951119968657363</c:v>
                </c:pt>
                <c:pt idx="244">
                  <c:v>-0.4106319445264533</c:v>
                </c:pt>
                <c:pt idx="245">
                  <c:v>-0.40908813874392552</c:v>
                </c:pt>
                <c:pt idx="246">
                  <c:v>-0.34121634602291645</c:v>
                </c:pt>
                <c:pt idx="247">
                  <c:v>-0.19503367435685937</c:v>
                </c:pt>
                <c:pt idx="248">
                  <c:v>-4.5049780013897867E-2</c:v>
                </c:pt>
                <c:pt idx="249">
                  <c:v>0.11238562975800614</c:v>
                </c:pt>
                <c:pt idx="250">
                  <c:v>0.26469437688423442</c:v>
                </c:pt>
                <c:pt idx="251">
                  <c:v>0.54875243791733097</c:v>
                </c:pt>
                <c:pt idx="252">
                  <c:v>0.81081329672773583</c:v>
                </c:pt>
                <c:pt idx="253">
                  <c:v>1.1332286963228326</c:v>
                </c:pt>
                <c:pt idx="254">
                  <c:v>1.482006688414748</c:v>
                </c:pt>
                <c:pt idx="255">
                  <c:v>1.7677532077450535</c:v>
                </c:pt>
                <c:pt idx="256">
                  <c:v>2.0592221036491116</c:v>
                </c:pt>
                <c:pt idx="257">
                  <c:v>2.2004372731153294</c:v>
                </c:pt>
                <c:pt idx="258">
                  <c:v>2.2516005424549679</c:v>
                </c:pt>
                <c:pt idx="259">
                  <c:v>2.2560197557932842</c:v>
                </c:pt>
                <c:pt idx="260">
                  <c:v>2.2808388745687078</c:v>
                </c:pt>
                <c:pt idx="261">
                  <c:v>2.3388279868273898</c:v>
                </c:pt>
                <c:pt idx="262">
                  <c:v>2.3066877887521051</c:v>
                </c:pt>
                <c:pt idx="263">
                  <c:v>2.1247150165425439</c:v>
                </c:pt>
                <c:pt idx="264">
                  <c:v>1.9493729558414272</c:v>
                </c:pt>
                <c:pt idx="265">
                  <c:v>1.9191127332337303</c:v>
                </c:pt>
                <c:pt idx="266">
                  <c:v>1.893462573672658</c:v>
                </c:pt>
                <c:pt idx="267">
                  <c:v>1.8389832979480008</c:v>
                </c:pt>
                <c:pt idx="268">
                  <c:v>1.7935174993653382</c:v>
                </c:pt>
              </c:numCache>
            </c:numRef>
          </c:val>
          <c:smooth val="0"/>
          <c:extLst>
            <c:ext xmlns:c16="http://schemas.microsoft.com/office/drawing/2014/chart" uri="{C3380CC4-5D6E-409C-BE32-E72D297353CC}">
              <c16:uniqueId val="{00000000-41DE-4E84-BE63-D34CB7FEAB37}"/>
            </c:ext>
          </c:extLst>
        </c:ser>
        <c:dLbls>
          <c:showLegendKey val="0"/>
          <c:showVal val="0"/>
          <c:showCatName val="0"/>
          <c:showSerName val="0"/>
          <c:showPercent val="0"/>
          <c:showBubbleSize val="0"/>
        </c:dLbls>
        <c:smooth val="0"/>
        <c:axId val="1094385024"/>
        <c:axId val="1094385352"/>
        <c:extLst>
          <c:ext xmlns:c15="http://schemas.microsoft.com/office/drawing/2012/chart" uri="{02D57815-91ED-43cb-92C2-25804820EDAC}">
            <c15:filteredLineSeries>
              <c15:ser>
                <c:idx val="1"/>
                <c:order val="1"/>
                <c:tx>
                  <c:strRef>
                    <c:extLst>
                      <c:ext uri="{02D57815-91ED-43cb-92C2-25804820EDAC}">
                        <c15:formulaRef>
                          <c15:sqref>SupplyChain_AHE!$C$4</c15:sqref>
                        </c15:formulaRef>
                      </c:ext>
                    </c:extLst>
                    <c:strCache>
                      <c:ptCount val="1"/>
                      <c:pt idx="0">
                        <c:v>Real Average Hourly Earnings (RHS)</c:v>
                      </c:pt>
                    </c:strCache>
                  </c:strRef>
                </c:tx>
                <c:spPr>
                  <a:ln w="28575" cap="rnd">
                    <a:solidFill>
                      <a:schemeClr val="accent2"/>
                    </a:solidFill>
                    <a:round/>
                  </a:ln>
                  <a:effectLst/>
                </c:spPr>
                <c:marker>
                  <c:symbol val="none"/>
                </c:marker>
                <c:cat>
                  <c:numRef>
                    <c:extLst>
                      <c:ext uri="{02D57815-91ED-43cb-92C2-25804820EDAC}">
                        <c15:formulaRef>
                          <c15:sqref>SupplyChain_AHE!$A$5:$A$273</c15:sqref>
                        </c15:formulaRef>
                      </c:ext>
                    </c:extLst>
                    <c:numCache>
                      <c:formatCode>yyyymm</c:formatCode>
                      <c:ptCount val="269"/>
                      <c:pt idx="0">
                        <c:v>36556</c:v>
                      </c:pt>
                      <c:pt idx="1">
                        <c:v>36585</c:v>
                      </c:pt>
                      <c:pt idx="2">
                        <c:v>36616</c:v>
                      </c:pt>
                      <c:pt idx="3">
                        <c:v>36646</c:v>
                      </c:pt>
                      <c:pt idx="4">
                        <c:v>36677</c:v>
                      </c:pt>
                      <c:pt idx="5">
                        <c:v>36707</c:v>
                      </c:pt>
                      <c:pt idx="6">
                        <c:v>36738</c:v>
                      </c:pt>
                      <c:pt idx="7">
                        <c:v>36769</c:v>
                      </c:pt>
                      <c:pt idx="8">
                        <c:v>36799</c:v>
                      </c:pt>
                      <c:pt idx="9">
                        <c:v>36830</c:v>
                      </c:pt>
                      <c:pt idx="10">
                        <c:v>36860</c:v>
                      </c:pt>
                      <c:pt idx="11">
                        <c:v>36891</c:v>
                      </c:pt>
                      <c:pt idx="12">
                        <c:v>36922</c:v>
                      </c:pt>
                      <c:pt idx="13">
                        <c:v>36950</c:v>
                      </c:pt>
                      <c:pt idx="14">
                        <c:v>36981</c:v>
                      </c:pt>
                      <c:pt idx="15">
                        <c:v>37011</c:v>
                      </c:pt>
                      <c:pt idx="16">
                        <c:v>37042</c:v>
                      </c:pt>
                      <c:pt idx="17">
                        <c:v>37072</c:v>
                      </c:pt>
                      <c:pt idx="18">
                        <c:v>37103</c:v>
                      </c:pt>
                      <c:pt idx="19">
                        <c:v>37134</c:v>
                      </c:pt>
                      <c:pt idx="20">
                        <c:v>37164</c:v>
                      </c:pt>
                      <c:pt idx="21">
                        <c:v>37195</c:v>
                      </c:pt>
                      <c:pt idx="22">
                        <c:v>37225</c:v>
                      </c:pt>
                      <c:pt idx="23">
                        <c:v>37256</c:v>
                      </c:pt>
                      <c:pt idx="24">
                        <c:v>37287</c:v>
                      </c:pt>
                      <c:pt idx="25">
                        <c:v>37315</c:v>
                      </c:pt>
                      <c:pt idx="26">
                        <c:v>37346</c:v>
                      </c:pt>
                      <c:pt idx="27">
                        <c:v>37376</c:v>
                      </c:pt>
                      <c:pt idx="28">
                        <c:v>37407</c:v>
                      </c:pt>
                      <c:pt idx="29">
                        <c:v>37437</c:v>
                      </c:pt>
                      <c:pt idx="30">
                        <c:v>37468</c:v>
                      </c:pt>
                      <c:pt idx="31">
                        <c:v>37499</c:v>
                      </c:pt>
                      <c:pt idx="32">
                        <c:v>37529</c:v>
                      </c:pt>
                      <c:pt idx="33">
                        <c:v>37560</c:v>
                      </c:pt>
                      <c:pt idx="34">
                        <c:v>37590</c:v>
                      </c:pt>
                      <c:pt idx="35">
                        <c:v>37621</c:v>
                      </c:pt>
                      <c:pt idx="36">
                        <c:v>37652</c:v>
                      </c:pt>
                      <c:pt idx="37">
                        <c:v>37680</c:v>
                      </c:pt>
                      <c:pt idx="38">
                        <c:v>37711</c:v>
                      </c:pt>
                      <c:pt idx="39">
                        <c:v>37741</c:v>
                      </c:pt>
                      <c:pt idx="40">
                        <c:v>37772</c:v>
                      </c:pt>
                      <c:pt idx="41">
                        <c:v>37802</c:v>
                      </c:pt>
                      <c:pt idx="42">
                        <c:v>37833</c:v>
                      </c:pt>
                      <c:pt idx="43">
                        <c:v>37864</c:v>
                      </c:pt>
                      <c:pt idx="44">
                        <c:v>37894</c:v>
                      </c:pt>
                      <c:pt idx="45">
                        <c:v>37925</c:v>
                      </c:pt>
                      <c:pt idx="46">
                        <c:v>37955</c:v>
                      </c:pt>
                      <c:pt idx="47">
                        <c:v>37986</c:v>
                      </c:pt>
                      <c:pt idx="48">
                        <c:v>38017</c:v>
                      </c:pt>
                      <c:pt idx="49">
                        <c:v>38046</c:v>
                      </c:pt>
                      <c:pt idx="50">
                        <c:v>38077</c:v>
                      </c:pt>
                      <c:pt idx="51">
                        <c:v>38107</c:v>
                      </c:pt>
                      <c:pt idx="52">
                        <c:v>38138</c:v>
                      </c:pt>
                      <c:pt idx="53">
                        <c:v>38168</c:v>
                      </c:pt>
                      <c:pt idx="54">
                        <c:v>38199</c:v>
                      </c:pt>
                      <c:pt idx="55">
                        <c:v>38230</c:v>
                      </c:pt>
                      <c:pt idx="56">
                        <c:v>38260</c:v>
                      </c:pt>
                      <c:pt idx="57">
                        <c:v>38291</c:v>
                      </c:pt>
                      <c:pt idx="58">
                        <c:v>38321</c:v>
                      </c:pt>
                      <c:pt idx="59">
                        <c:v>38352</c:v>
                      </c:pt>
                      <c:pt idx="60">
                        <c:v>38383</c:v>
                      </c:pt>
                      <c:pt idx="61">
                        <c:v>38411</c:v>
                      </c:pt>
                      <c:pt idx="62">
                        <c:v>38442</c:v>
                      </c:pt>
                      <c:pt idx="63">
                        <c:v>38472</c:v>
                      </c:pt>
                      <c:pt idx="64">
                        <c:v>38503</c:v>
                      </c:pt>
                      <c:pt idx="65">
                        <c:v>38533</c:v>
                      </c:pt>
                      <c:pt idx="66">
                        <c:v>38564</c:v>
                      </c:pt>
                      <c:pt idx="67">
                        <c:v>38595</c:v>
                      </c:pt>
                      <c:pt idx="68">
                        <c:v>38625</c:v>
                      </c:pt>
                      <c:pt idx="69">
                        <c:v>38656</c:v>
                      </c:pt>
                      <c:pt idx="70">
                        <c:v>38686</c:v>
                      </c:pt>
                      <c:pt idx="71">
                        <c:v>38717</c:v>
                      </c:pt>
                      <c:pt idx="72">
                        <c:v>38748</c:v>
                      </c:pt>
                      <c:pt idx="73">
                        <c:v>38776</c:v>
                      </c:pt>
                      <c:pt idx="74">
                        <c:v>38807</c:v>
                      </c:pt>
                      <c:pt idx="75">
                        <c:v>38837</c:v>
                      </c:pt>
                      <c:pt idx="76">
                        <c:v>38868</c:v>
                      </c:pt>
                      <c:pt idx="77">
                        <c:v>38898</c:v>
                      </c:pt>
                      <c:pt idx="78">
                        <c:v>38929</c:v>
                      </c:pt>
                      <c:pt idx="79">
                        <c:v>38960</c:v>
                      </c:pt>
                      <c:pt idx="80">
                        <c:v>38990</c:v>
                      </c:pt>
                      <c:pt idx="81">
                        <c:v>39021</c:v>
                      </c:pt>
                      <c:pt idx="82">
                        <c:v>39051</c:v>
                      </c:pt>
                      <c:pt idx="83">
                        <c:v>39082</c:v>
                      </c:pt>
                      <c:pt idx="84">
                        <c:v>39113</c:v>
                      </c:pt>
                      <c:pt idx="85">
                        <c:v>39141</c:v>
                      </c:pt>
                      <c:pt idx="86">
                        <c:v>39172</c:v>
                      </c:pt>
                      <c:pt idx="87">
                        <c:v>39202</c:v>
                      </c:pt>
                      <c:pt idx="88">
                        <c:v>39233</c:v>
                      </c:pt>
                      <c:pt idx="89">
                        <c:v>39263</c:v>
                      </c:pt>
                      <c:pt idx="90">
                        <c:v>39294</c:v>
                      </c:pt>
                      <c:pt idx="91">
                        <c:v>39325</c:v>
                      </c:pt>
                      <c:pt idx="92">
                        <c:v>39355</c:v>
                      </c:pt>
                      <c:pt idx="93">
                        <c:v>39386</c:v>
                      </c:pt>
                      <c:pt idx="94">
                        <c:v>39416</c:v>
                      </c:pt>
                      <c:pt idx="95">
                        <c:v>39447</c:v>
                      </c:pt>
                      <c:pt idx="96">
                        <c:v>39478</c:v>
                      </c:pt>
                      <c:pt idx="97">
                        <c:v>39507</c:v>
                      </c:pt>
                      <c:pt idx="98">
                        <c:v>39538</c:v>
                      </c:pt>
                      <c:pt idx="99">
                        <c:v>39568</c:v>
                      </c:pt>
                      <c:pt idx="100">
                        <c:v>39599</c:v>
                      </c:pt>
                      <c:pt idx="101">
                        <c:v>39629</c:v>
                      </c:pt>
                      <c:pt idx="102">
                        <c:v>39660</c:v>
                      </c:pt>
                      <c:pt idx="103">
                        <c:v>39691</c:v>
                      </c:pt>
                      <c:pt idx="104">
                        <c:v>39721</c:v>
                      </c:pt>
                      <c:pt idx="105">
                        <c:v>39752</c:v>
                      </c:pt>
                      <c:pt idx="106">
                        <c:v>39782</c:v>
                      </c:pt>
                      <c:pt idx="107">
                        <c:v>39813</c:v>
                      </c:pt>
                      <c:pt idx="108">
                        <c:v>39844</c:v>
                      </c:pt>
                      <c:pt idx="109">
                        <c:v>39872</c:v>
                      </c:pt>
                      <c:pt idx="110">
                        <c:v>39903</c:v>
                      </c:pt>
                      <c:pt idx="111">
                        <c:v>39933</c:v>
                      </c:pt>
                      <c:pt idx="112">
                        <c:v>39964</c:v>
                      </c:pt>
                      <c:pt idx="113">
                        <c:v>39994</c:v>
                      </c:pt>
                      <c:pt idx="114">
                        <c:v>40025</c:v>
                      </c:pt>
                      <c:pt idx="115">
                        <c:v>40056</c:v>
                      </c:pt>
                      <c:pt idx="116">
                        <c:v>40086</c:v>
                      </c:pt>
                      <c:pt idx="117">
                        <c:v>40117</c:v>
                      </c:pt>
                      <c:pt idx="118">
                        <c:v>40147</c:v>
                      </c:pt>
                      <c:pt idx="119">
                        <c:v>40178</c:v>
                      </c:pt>
                      <c:pt idx="120">
                        <c:v>40209</c:v>
                      </c:pt>
                      <c:pt idx="121">
                        <c:v>40237</c:v>
                      </c:pt>
                      <c:pt idx="122">
                        <c:v>40268</c:v>
                      </c:pt>
                      <c:pt idx="123">
                        <c:v>40298</c:v>
                      </c:pt>
                      <c:pt idx="124">
                        <c:v>40329</c:v>
                      </c:pt>
                      <c:pt idx="125">
                        <c:v>40359</c:v>
                      </c:pt>
                      <c:pt idx="126">
                        <c:v>40390</c:v>
                      </c:pt>
                      <c:pt idx="127">
                        <c:v>40421</c:v>
                      </c:pt>
                      <c:pt idx="128">
                        <c:v>40451</c:v>
                      </c:pt>
                      <c:pt idx="129">
                        <c:v>40482</c:v>
                      </c:pt>
                      <c:pt idx="130">
                        <c:v>40512</c:v>
                      </c:pt>
                      <c:pt idx="131">
                        <c:v>40543</c:v>
                      </c:pt>
                      <c:pt idx="132">
                        <c:v>40574</c:v>
                      </c:pt>
                      <c:pt idx="133">
                        <c:v>40602</c:v>
                      </c:pt>
                      <c:pt idx="134">
                        <c:v>40633</c:v>
                      </c:pt>
                      <c:pt idx="135">
                        <c:v>40663</c:v>
                      </c:pt>
                      <c:pt idx="136">
                        <c:v>40694</c:v>
                      </c:pt>
                      <c:pt idx="137">
                        <c:v>40724</c:v>
                      </c:pt>
                      <c:pt idx="138">
                        <c:v>40755</c:v>
                      </c:pt>
                      <c:pt idx="139">
                        <c:v>40786</c:v>
                      </c:pt>
                      <c:pt idx="140">
                        <c:v>40816</c:v>
                      </c:pt>
                      <c:pt idx="141">
                        <c:v>40847</c:v>
                      </c:pt>
                      <c:pt idx="142">
                        <c:v>40877</c:v>
                      </c:pt>
                      <c:pt idx="143">
                        <c:v>40908</c:v>
                      </c:pt>
                      <c:pt idx="144">
                        <c:v>40939</c:v>
                      </c:pt>
                      <c:pt idx="145">
                        <c:v>40968</c:v>
                      </c:pt>
                      <c:pt idx="146">
                        <c:v>40999</c:v>
                      </c:pt>
                      <c:pt idx="147">
                        <c:v>41029</c:v>
                      </c:pt>
                      <c:pt idx="148">
                        <c:v>41060</c:v>
                      </c:pt>
                      <c:pt idx="149">
                        <c:v>41090</c:v>
                      </c:pt>
                      <c:pt idx="150">
                        <c:v>41121</c:v>
                      </c:pt>
                      <c:pt idx="151">
                        <c:v>41152</c:v>
                      </c:pt>
                      <c:pt idx="152">
                        <c:v>41182</c:v>
                      </c:pt>
                      <c:pt idx="153">
                        <c:v>41213</c:v>
                      </c:pt>
                      <c:pt idx="154">
                        <c:v>41243</c:v>
                      </c:pt>
                      <c:pt idx="155">
                        <c:v>41274</c:v>
                      </c:pt>
                      <c:pt idx="156">
                        <c:v>41305</c:v>
                      </c:pt>
                      <c:pt idx="157">
                        <c:v>41333</c:v>
                      </c:pt>
                      <c:pt idx="158">
                        <c:v>41364</c:v>
                      </c:pt>
                      <c:pt idx="159">
                        <c:v>41394</c:v>
                      </c:pt>
                      <c:pt idx="160">
                        <c:v>41425</c:v>
                      </c:pt>
                      <c:pt idx="161">
                        <c:v>41455</c:v>
                      </c:pt>
                      <c:pt idx="162">
                        <c:v>41486</c:v>
                      </c:pt>
                      <c:pt idx="163">
                        <c:v>41517</c:v>
                      </c:pt>
                      <c:pt idx="164">
                        <c:v>41547</c:v>
                      </c:pt>
                      <c:pt idx="165">
                        <c:v>41578</c:v>
                      </c:pt>
                      <c:pt idx="166">
                        <c:v>41608</c:v>
                      </c:pt>
                      <c:pt idx="167">
                        <c:v>41639</c:v>
                      </c:pt>
                      <c:pt idx="168">
                        <c:v>41670</c:v>
                      </c:pt>
                      <c:pt idx="169">
                        <c:v>41698</c:v>
                      </c:pt>
                      <c:pt idx="170">
                        <c:v>41729</c:v>
                      </c:pt>
                      <c:pt idx="171">
                        <c:v>41759</c:v>
                      </c:pt>
                      <c:pt idx="172">
                        <c:v>41790</c:v>
                      </c:pt>
                      <c:pt idx="173">
                        <c:v>41820</c:v>
                      </c:pt>
                      <c:pt idx="174">
                        <c:v>41851</c:v>
                      </c:pt>
                      <c:pt idx="175">
                        <c:v>41882</c:v>
                      </c:pt>
                      <c:pt idx="176">
                        <c:v>41912</c:v>
                      </c:pt>
                      <c:pt idx="177">
                        <c:v>41943</c:v>
                      </c:pt>
                      <c:pt idx="178">
                        <c:v>41973</c:v>
                      </c:pt>
                      <c:pt idx="179">
                        <c:v>42004</c:v>
                      </c:pt>
                      <c:pt idx="180">
                        <c:v>42035</c:v>
                      </c:pt>
                      <c:pt idx="181">
                        <c:v>42063</c:v>
                      </c:pt>
                      <c:pt idx="182">
                        <c:v>42094</c:v>
                      </c:pt>
                      <c:pt idx="183">
                        <c:v>42124</c:v>
                      </c:pt>
                      <c:pt idx="184">
                        <c:v>42155</c:v>
                      </c:pt>
                      <c:pt idx="185">
                        <c:v>42185</c:v>
                      </c:pt>
                      <c:pt idx="186">
                        <c:v>42216</c:v>
                      </c:pt>
                      <c:pt idx="187">
                        <c:v>42247</c:v>
                      </c:pt>
                      <c:pt idx="188">
                        <c:v>42277</c:v>
                      </c:pt>
                      <c:pt idx="189">
                        <c:v>42308</c:v>
                      </c:pt>
                      <c:pt idx="190">
                        <c:v>42338</c:v>
                      </c:pt>
                      <c:pt idx="191">
                        <c:v>42369</c:v>
                      </c:pt>
                      <c:pt idx="192">
                        <c:v>42400</c:v>
                      </c:pt>
                      <c:pt idx="193">
                        <c:v>42429</c:v>
                      </c:pt>
                      <c:pt idx="194">
                        <c:v>42460</c:v>
                      </c:pt>
                      <c:pt idx="195">
                        <c:v>42490</c:v>
                      </c:pt>
                      <c:pt idx="196">
                        <c:v>42521</c:v>
                      </c:pt>
                      <c:pt idx="197">
                        <c:v>42551</c:v>
                      </c:pt>
                      <c:pt idx="198">
                        <c:v>42582</c:v>
                      </c:pt>
                      <c:pt idx="199">
                        <c:v>42613</c:v>
                      </c:pt>
                      <c:pt idx="200">
                        <c:v>42643</c:v>
                      </c:pt>
                      <c:pt idx="201">
                        <c:v>42674</c:v>
                      </c:pt>
                      <c:pt idx="202">
                        <c:v>42704</c:v>
                      </c:pt>
                      <c:pt idx="203">
                        <c:v>42735</c:v>
                      </c:pt>
                      <c:pt idx="204">
                        <c:v>42766</c:v>
                      </c:pt>
                      <c:pt idx="205">
                        <c:v>42794</c:v>
                      </c:pt>
                      <c:pt idx="206">
                        <c:v>42825</c:v>
                      </c:pt>
                      <c:pt idx="207">
                        <c:v>42855</c:v>
                      </c:pt>
                      <c:pt idx="208">
                        <c:v>42886</c:v>
                      </c:pt>
                      <c:pt idx="209">
                        <c:v>42916</c:v>
                      </c:pt>
                      <c:pt idx="210">
                        <c:v>42947</c:v>
                      </c:pt>
                      <c:pt idx="211">
                        <c:v>42978</c:v>
                      </c:pt>
                      <c:pt idx="212">
                        <c:v>43008</c:v>
                      </c:pt>
                      <c:pt idx="213">
                        <c:v>43039</c:v>
                      </c:pt>
                      <c:pt idx="214">
                        <c:v>43069</c:v>
                      </c:pt>
                      <c:pt idx="215">
                        <c:v>43100</c:v>
                      </c:pt>
                      <c:pt idx="216">
                        <c:v>43131</c:v>
                      </c:pt>
                      <c:pt idx="217">
                        <c:v>43159</c:v>
                      </c:pt>
                      <c:pt idx="218">
                        <c:v>43190</c:v>
                      </c:pt>
                      <c:pt idx="219">
                        <c:v>43220</c:v>
                      </c:pt>
                      <c:pt idx="220">
                        <c:v>43251</c:v>
                      </c:pt>
                      <c:pt idx="221">
                        <c:v>43281</c:v>
                      </c:pt>
                      <c:pt idx="222">
                        <c:v>43312</c:v>
                      </c:pt>
                      <c:pt idx="223">
                        <c:v>43343</c:v>
                      </c:pt>
                      <c:pt idx="224">
                        <c:v>43373</c:v>
                      </c:pt>
                      <c:pt idx="225">
                        <c:v>43404</c:v>
                      </c:pt>
                      <c:pt idx="226">
                        <c:v>43434</c:v>
                      </c:pt>
                      <c:pt idx="227">
                        <c:v>43465</c:v>
                      </c:pt>
                      <c:pt idx="228">
                        <c:v>43496</c:v>
                      </c:pt>
                      <c:pt idx="229">
                        <c:v>43524</c:v>
                      </c:pt>
                      <c:pt idx="230">
                        <c:v>43555</c:v>
                      </c:pt>
                      <c:pt idx="231">
                        <c:v>43585</c:v>
                      </c:pt>
                      <c:pt idx="232">
                        <c:v>43616</c:v>
                      </c:pt>
                      <c:pt idx="233">
                        <c:v>43646</c:v>
                      </c:pt>
                      <c:pt idx="234">
                        <c:v>43677</c:v>
                      </c:pt>
                      <c:pt idx="235">
                        <c:v>43708</c:v>
                      </c:pt>
                      <c:pt idx="236">
                        <c:v>43738</c:v>
                      </c:pt>
                      <c:pt idx="237">
                        <c:v>43769</c:v>
                      </c:pt>
                      <c:pt idx="238">
                        <c:v>43799</c:v>
                      </c:pt>
                      <c:pt idx="239">
                        <c:v>43830</c:v>
                      </c:pt>
                      <c:pt idx="240">
                        <c:v>43861</c:v>
                      </c:pt>
                      <c:pt idx="241">
                        <c:v>43890</c:v>
                      </c:pt>
                      <c:pt idx="242">
                        <c:v>43921</c:v>
                      </c:pt>
                      <c:pt idx="243">
                        <c:v>43951</c:v>
                      </c:pt>
                      <c:pt idx="244">
                        <c:v>43982</c:v>
                      </c:pt>
                      <c:pt idx="245">
                        <c:v>44012</c:v>
                      </c:pt>
                      <c:pt idx="246">
                        <c:v>44043</c:v>
                      </c:pt>
                      <c:pt idx="247">
                        <c:v>44074</c:v>
                      </c:pt>
                      <c:pt idx="248">
                        <c:v>44104</c:v>
                      </c:pt>
                      <c:pt idx="249">
                        <c:v>44135</c:v>
                      </c:pt>
                      <c:pt idx="250">
                        <c:v>44165</c:v>
                      </c:pt>
                      <c:pt idx="251">
                        <c:v>44196</c:v>
                      </c:pt>
                      <c:pt idx="252">
                        <c:v>44227</c:v>
                      </c:pt>
                      <c:pt idx="253">
                        <c:v>44255</c:v>
                      </c:pt>
                      <c:pt idx="254">
                        <c:v>44286</c:v>
                      </c:pt>
                      <c:pt idx="255">
                        <c:v>44316</c:v>
                      </c:pt>
                      <c:pt idx="256">
                        <c:v>44347</c:v>
                      </c:pt>
                      <c:pt idx="257">
                        <c:v>44377</c:v>
                      </c:pt>
                      <c:pt idx="258">
                        <c:v>44408</c:v>
                      </c:pt>
                      <c:pt idx="259">
                        <c:v>44439</c:v>
                      </c:pt>
                      <c:pt idx="260">
                        <c:v>44469</c:v>
                      </c:pt>
                      <c:pt idx="261">
                        <c:v>44500</c:v>
                      </c:pt>
                      <c:pt idx="262">
                        <c:v>44530</c:v>
                      </c:pt>
                      <c:pt idx="263">
                        <c:v>44561</c:v>
                      </c:pt>
                      <c:pt idx="264">
                        <c:v>44592</c:v>
                      </c:pt>
                      <c:pt idx="265">
                        <c:v>44620</c:v>
                      </c:pt>
                      <c:pt idx="266">
                        <c:v>44651</c:v>
                      </c:pt>
                      <c:pt idx="267">
                        <c:v>44681</c:v>
                      </c:pt>
                      <c:pt idx="268">
                        <c:v>44712</c:v>
                      </c:pt>
                    </c:numCache>
                  </c:numRef>
                </c:cat>
                <c:val>
                  <c:numRef>
                    <c:extLst>
                      <c:ext uri="{02D57815-91ED-43cb-92C2-25804820EDAC}">
                        <c15:formulaRef>
                          <c15:sqref>SupplyChain_AHE!$C$5:$C$273</c15:sqref>
                        </c15:formulaRef>
                      </c:ext>
                    </c:extLst>
                    <c:numCache>
                      <c:formatCode>0.00</c:formatCode>
                      <c:ptCount val="269"/>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59">
                        <c:v>#N/A</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10.039999999999999</c:v>
                      </c:pt>
                      <c:pt idx="75">
                        <c:v>10.039999999999999</c:v>
                      </c:pt>
                      <c:pt idx="76">
                        <c:v>10</c:v>
                      </c:pt>
                      <c:pt idx="77">
                        <c:v>10.02</c:v>
                      </c:pt>
                      <c:pt idx="78">
                        <c:v>10</c:v>
                      </c:pt>
                      <c:pt idx="79">
                        <c:v>9.9700000000000006</c:v>
                      </c:pt>
                      <c:pt idx="80">
                        <c:v>10.06</c:v>
                      </c:pt>
                      <c:pt idx="81">
                        <c:v>10.119999999999999</c:v>
                      </c:pt>
                      <c:pt idx="82">
                        <c:v>10.14</c:v>
                      </c:pt>
                      <c:pt idx="83">
                        <c:v>10.130000000000001</c:v>
                      </c:pt>
                      <c:pt idx="84">
                        <c:v>10.130000000000001</c:v>
                      </c:pt>
                      <c:pt idx="85">
                        <c:v>10.130000000000001</c:v>
                      </c:pt>
                      <c:pt idx="86">
                        <c:v>10.09</c:v>
                      </c:pt>
                      <c:pt idx="87">
                        <c:v>10.1</c:v>
                      </c:pt>
                      <c:pt idx="88">
                        <c:v>10.08</c:v>
                      </c:pt>
                      <c:pt idx="89">
                        <c:v>10.11</c:v>
                      </c:pt>
                      <c:pt idx="90">
                        <c:v>10.09</c:v>
                      </c:pt>
                      <c:pt idx="91">
                        <c:v>10.11</c:v>
                      </c:pt>
                      <c:pt idx="92">
                        <c:v>10.09</c:v>
                      </c:pt>
                      <c:pt idx="93">
                        <c:v>10.07</c:v>
                      </c:pt>
                      <c:pt idx="94">
                        <c:v>10.02</c:v>
                      </c:pt>
                      <c:pt idx="95">
                        <c:v>10.02</c:v>
                      </c:pt>
                      <c:pt idx="96">
                        <c:v>9.99</c:v>
                      </c:pt>
                      <c:pt idx="97">
                        <c:v>10</c:v>
                      </c:pt>
                      <c:pt idx="98">
                        <c:v>10.01</c:v>
                      </c:pt>
                      <c:pt idx="99">
                        <c:v>9.99</c:v>
                      </c:pt>
                      <c:pt idx="100">
                        <c:v>9.98</c:v>
                      </c:pt>
                      <c:pt idx="101">
                        <c:v>9.9</c:v>
                      </c:pt>
                      <c:pt idx="102">
                        <c:v>9.86</c:v>
                      </c:pt>
                      <c:pt idx="103">
                        <c:v>9.92</c:v>
                      </c:pt>
                      <c:pt idx="104">
                        <c:v>9.92</c:v>
                      </c:pt>
                      <c:pt idx="105">
                        <c:v>10.029999999999999</c:v>
                      </c:pt>
                      <c:pt idx="106">
                        <c:v>10.26</c:v>
                      </c:pt>
                      <c:pt idx="107">
                        <c:v>10.38</c:v>
                      </c:pt>
                      <c:pt idx="108">
                        <c:v>10.37</c:v>
                      </c:pt>
                      <c:pt idx="109">
                        <c:v>10.34</c:v>
                      </c:pt>
                      <c:pt idx="110">
                        <c:v>10.38</c:v>
                      </c:pt>
                      <c:pt idx="111">
                        <c:v>10.39</c:v>
                      </c:pt>
                      <c:pt idx="112">
                        <c:v>10.37</c:v>
                      </c:pt>
                      <c:pt idx="113">
                        <c:v>10.3</c:v>
                      </c:pt>
                      <c:pt idx="114">
                        <c:v>10.33</c:v>
                      </c:pt>
                      <c:pt idx="115">
                        <c:v>10.32</c:v>
                      </c:pt>
                      <c:pt idx="116">
                        <c:v>10.31</c:v>
                      </c:pt>
                      <c:pt idx="117">
                        <c:v>10.3</c:v>
                      </c:pt>
                      <c:pt idx="118">
                        <c:v>10.29</c:v>
                      </c:pt>
                      <c:pt idx="119">
                        <c:v>10.29</c:v>
                      </c:pt>
                      <c:pt idx="120">
                        <c:v>10.3</c:v>
                      </c:pt>
                      <c:pt idx="121">
                        <c:v>10.33</c:v>
                      </c:pt>
                      <c:pt idx="122">
                        <c:v>10.33</c:v>
                      </c:pt>
                      <c:pt idx="123">
                        <c:v>10.34</c:v>
                      </c:pt>
                      <c:pt idx="124">
                        <c:v>10.37</c:v>
                      </c:pt>
                      <c:pt idx="125">
                        <c:v>10.37</c:v>
                      </c:pt>
                      <c:pt idx="126">
                        <c:v>10.38</c:v>
                      </c:pt>
                      <c:pt idx="127">
                        <c:v>10.38</c:v>
                      </c:pt>
                      <c:pt idx="128">
                        <c:v>10.39</c:v>
                      </c:pt>
                      <c:pt idx="129">
                        <c:v>10.38</c:v>
                      </c:pt>
                      <c:pt idx="130">
                        <c:v>10.35</c:v>
                      </c:pt>
                      <c:pt idx="131">
                        <c:v>10.32</c:v>
                      </c:pt>
                      <c:pt idx="132">
                        <c:v>10.33</c:v>
                      </c:pt>
                      <c:pt idx="133">
                        <c:v>10.31</c:v>
                      </c:pt>
                      <c:pt idx="134">
                        <c:v>10.25</c:v>
                      </c:pt>
                      <c:pt idx="135">
                        <c:v>10.23</c:v>
                      </c:pt>
                      <c:pt idx="136">
                        <c:v>10.23</c:v>
                      </c:pt>
                      <c:pt idx="137">
                        <c:v>10.24</c:v>
                      </c:pt>
                      <c:pt idx="138">
                        <c:v>10.25</c:v>
                      </c:pt>
                      <c:pt idx="139">
                        <c:v>10.199999999999999</c:v>
                      </c:pt>
                      <c:pt idx="140">
                        <c:v>10.199999999999999</c:v>
                      </c:pt>
                      <c:pt idx="141">
                        <c:v>10.23</c:v>
                      </c:pt>
                      <c:pt idx="142">
                        <c:v>10.210000000000001</c:v>
                      </c:pt>
                      <c:pt idx="143">
                        <c:v>10.210000000000001</c:v>
                      </c:pt>
                      <c:pt idx="144">
                        <c:v>10.199999999999999</c:v>
                      </c:pt>
                      <c:pt idx="145">
                        <c:v>10.19</c:v>
                      </c:pt>
                      <c:pt idx="146">
                        <c:v>10.210000000000001</c:v>
                      </c:pt>
                      <c:pt idx="147">
                        <c:v>10.210000000000001</c:v>
                      </c:pt>
                      <c:pt idx="148">
                        <c:v>10.23</c:v>
                      </c:pt>
                      <c:pt idx="149">
                        <c:v>10.27</c:v>
                      </c:pt>
                      <c:pt idx="150">
                        <c:v>10.28</c:v>
                      </c:pt>
                      <c:pt idx="151">
                        <c:v>10.220000000000001</c:v>
                      </c:pt>
                      <c:pt idx="152">
                        <c:v>10.199999999999999</c:v>
                      </c:pt>
                      <c:pt idx="153">
                        <c:v>10.17</c:v>
                      </c:pt>
                      <c:pt idx="154">
                        <c:v>10.220000000000001</c:v>
                      </c:pt>
                      <c:pt idx="155">
                        <c:v>10.26</c:v>
                      </c:pt>
                      <c:pt idx="156">
                        <c:v>10.26</c:v>
                      </c:pt>
                      <c:pt idx="157">
                        <c:v>10.199999999999999</c:v>
                      </c:pt>
                      <c:pt idx="158">
                        <c:v>10.25</c:v>
                      </c:pt>
                      <c:pt idx="159">
                        <c:v>10.3</c:v>
                      </c:pt>
                      <c:pt idx="160">
                        <c:v>10.3</c:v>
                      </c:pt>
                      <c:pt idx="161">
                        <c:v>10.31</c:v>
                      </c:pt>
                      <c:pt idx="162">
                        <c:v>10.3</c:v>
                      </c:pt>
                      <c:pt idx="163">
                        <c:v>10.29</c:v>
                      </c:pt>
                      <c:pt idx="164">
                        <c:v>10.3</c:v>
                      </c:pt>
                      <c:pt idx="165">
                        <c:v>10.31</c:v>
                      </c:pt>
                      <c:pt idx="166">
                        <c:v>10.32</c:v>
                      </c:pt>
                      <c:pt idx="167">
                        <c:v>10.3</c:v>
                      </c:pt>
                      <c:pt idx="168">
                        <c:v>10.29</c:v>
                      </c:pt>
                      <c:pt idx="169">
                        <c:v>10.32</c:v>
                      </c:pt>
                      <c:pt idx="170">
                        <c:v>10.3</c:v>
                      </c:pt>
                      <c:pt idx="171">
                        <c:v>10.29</c:v>
                      </c:pt>
                      <c:pt idx="172">
                        <c:v>10.3</c:v>
                      </c:pt>
                      <c:pt idx="173">
                        <c:v>10.31</c:v>
                      </c:pt>
                      <c:pt idx="174">
                        <c:v>10.31</c:v>
                      </c:pt>
                      <c:pt idx="175">
                        <c:v>10.34</c:v>
                      </c:pt>
                      <c:pt idx="176">
                        <c:v>10.34</c:v>
                      </c:pt>
                      <c:pt idx="177">
                        <c:v>10.35</c:v>
                      </c:pt>
                      <c:pt idx="178">
                        <c:v>10.4</c:v>
                      </c:pt>
                      <c:pt idx="179">
                        <c:v>10.43</c:v>
                      </c:pt>
                      <c:pt idx="180">
                        <c:v>10.53</c:v>
                      </c:pt>
                      <c:pt idx="181">
                        <c:v>10.53</c:v>
                      </c:pt>
                      <c:pt idx="182">
                        <c:v>10.53</c:v>
                      </c:pt>
                      <c:pt idx="183">
                        <c:v>10.54</c:v>
                      </c:pt>
                      <c:pt idx="184">
                        <c:v>10.53</c:v>
                      </c:pt>
                      <c:pt idx="185">
                        <c:v>10.51</c:v>
                      </c:pt>
                      <c:pt idx="186">
                        <c:v>10.51</c:v>
                      </c:pt>
                      <c:pt idx="187">
                        <c:v>10.54</c:v>
                      </c:pt>
                      <c:pt idx="188">
                        <c:v>10.57</c:v>
                      </c:pt>
                      <c:pt idx="189">
                        <c:v>10.6</c:v>
                      </c:pt>
                      <c:pt idx="190">
                        <c:v>10.6</c:v>
                      </c:pt>
                      <c:pt idx="191">
                        <c:v>10.63</c:v>
                      </c:pt>
                      <c:pt idx="192">
                        <c:v>10.67</c:v>
                      </c:pt>
                      <c:pt idx="193">
                        <c:v>10.7</c:v>
                      </c:pt>
                      <c:pt idx="194">
                        <c:v>10.69</c:v>
                      </c:pt>
                      <c:pt idx="195">
                        <c:v>10.68</c:v>
                      </c:pt>
                      <c:pt idx="196">
                        <c:v>10.67</c:v>
                      </c:pt>
                      <c:pt idx="197">
                        <c:v>10.67</c:v>
                      </c:pt>
                      <c:pt idx="198">
                        <c:v>10.7</c:v>
                      </c:pt>
                      <c:pt idx="199">
                        <c:v>10.69</c:v>
                      </c:pt>
                      <c:pt idx="200">
                        <c:v>10.69</c:v>
                      </c:pt>
                      <c:pt idx="201">
                        <c:v>10.71</c:v>
                      </c:pt>
                      <c:pt idx="202">
                        <c:v>10.71</c:v>
                      </c:pt>
                      <c:pt idx="203">
                        <c:v>10.69</c:v>
                      </c:pt>
                      <c:pt idx="204">
                        <c:v>10.68</c:v>
                      </c:pt>
                      <c:pt idx="205">
                        <c:v>10.69</c:v>
                      </c:pt>
                      <c:pt idx="206">
                        <c:v>10.71</c:v>
                      </c:pt>
                      <c:pt idx="207">
                        <c:v>10.72</c:v>
                      </c:pt>
                      <c:pt idx="208">
                        <c:v>10.74</c:v>
                      </c:pt>
                      <c:pt idx="209">
                        <c:v>10.76</c:v>
                      </c:pt>
                      <c:pt idx="210">
                        <c:v>10.79</c:v>
                      </c:pt>
                      <c:pt idx="211">
                        <c:v>10.76</c:v>
                      </c:pt>
                      <c:pt idx="212">
                        <c:v>10.75</c:v>
                      </c:pt>
                      <c:pt idx="213">
                        <c:v>10.74</c:v>
                      </c:pt>
                      <c:pt idx="214">
                        <c:v>10.73</c:v>
                      </c:pt>
                      <c:pt idx="215">
                        <c:v>10.75</c:v>
                      </c:pt>
                      <c:pt idx="216">
                        <c:v>10.75</c:v>
                      </c:pt>
                      <c:pt idx="217">
                        <c:v>10.72</c:v>
                      </c:pt>
                      <c:pt idx="218">
                        <c:v>10.76</c:v>
                      </c:pt>
                      <c:pt idx="219">
                        <c:v>10.75</c:v>
                      </c:pt>
                      <c:pt idx="220">
                        <c:v>10.75</c:v>
                      </c:pt>
                      <c:pt idx="221">
                        <c:v>10.76</c:v>
                      </c:pt>
                      <c:pt idx="222">
                        <c:v>10.78</c:v>
                      </c:pt>
                      <c:pt idx="223">
                        <c:v>10.81</c:v>
                      </c:pt>
                      <c:pt idx="224">
                        <c:v>10.83</c:v>
                      </c:pt>
                      <c:pt idx="225">
                        <c:v>10.82</c:v>
                      </c:pt>
                      <c:pt idx="226">
                        <c:v>10.86</c:v>
                      </c:pt>
                      <c:pt idx="227">
                        <c:v>10.91</c:v>
                      </c:pt>
                      <c:pt idx="228">
                        <c:v>10.93</c:v>
                      </c:pt>
                      <c:pt idx="229">
                        <c:v>10.94</c:v>
                      </c:pt>
                      <c:pt idx="230">
                        <c:v>10.93</c:v>
                      </c:pt>
                      <c:pt idx="231">
                        <c:v>10.89</c:v>
                      </c:pt>
                      <c:pt idx="232">
                        <c:v>10.91</c:v>
                      </c:pt>
                      <c:pt idx="233">
                        <c:v>10.94</c:v>
                      </c:pt>
                      <c:pt idx="234">
                        <c:v>10.95</c:v>
                      </c:pt>
                      <c:pt idx="235">
                        <c:v>10.98</c:v>
                      </c:pt>
                      <c:pt idx="236">
                        <c:v>10.97</c:v>
                      </c:pt>
                      <c:pt idx="237">
                        <c:v>10.97</c:v>
                      </c:pt>
                      <c:pt idx="238">
                        <c:v>11</c:v>
                      </c:pt>
                      <c:pt idx="239">
                        <c:v>10.98</c:v>
                      </c:pt>
                      <c:pt idx="240">
                        <c:v>10.99</c:v>
                      </c:pt>
                      <c:pt idx="241">
                        <c:v>11.03</c:v>
                      </c:pt>
                      <c:pt idx="242">
                        <c:v>11.15</c:v>
                      </c:pt>
                      <c:pt idx="243">
                        <c:v>11.72</c:v>
                      </c:pt>
                      <c:pt idx="244">
                        <c:v>11.61</c:v>
                      </c:pt>
                      <c:pt idx="245">
                        <c:v>11.41</c:v>
                      </c:pt>
                      <c:pt idx="246">
                        <c:v>11.38</c:v>
                      </c:pt>
                      <c:pt idx="247">
                        <c:v>11.36</c:v>
                      </c:pt>
                      <c:pt idx="248">
                        <c:v>11.34</c:v>
                      </c:pt>
                      <c:pt idx="249">
                        <c:v>11.34</c:v>
                      </c:pt>
                      <c:pt idx="250">
                        <c:v>11.37</c:v>
                      </c:pt>
                      <c:pt idx="251">
                        <c:v>11.44</c:v>
                      </c:pt>
                      <c:pt idx="252">
                        <c:v>11.41</c:v>
                      </c:pt>
                      <c:pt idx="253">
                        <c:v>11.41</c:v>
                      </c:pt>
                      <c:pt idx="254">
                        <c:v>11.34</c:v>
                      </c:pt>
                      <c:pt idx="255">
                        <c:v>11.32</c:v>
                      </c:pt>
                      <c:pt idx="256">
                        <c:v>11.3</c:v>
                      </c:pt>
                      <c:pt idx="257">
                        <c:v>11.26</c:v>
                      </c:pt>
                      <c:pt idx="258">
                        <c:v>11.27</c:v>
                      </c:pt>
                      <c:pt idx="259">
                        <c:v>11.26</c:v>
                      </c:pt>
                      <c:pt idx="260">
                        <c:v>11.28</c:v>
                      </c:pt>
                      <c:pt idx="261">
                        <c:v>11.25</c:v>
                      </c:pt>
                      <c:pt idx="262">
                        <c:v>11.21</c:v>
                      </c:pt>
                      <c:pt idx="263">
                        <c:v>11.2</c:v>
                      </c:pt>
                      <c:pt idx="264">
                        <c:v>11.19</c:v>
                      </c:pt>
                      <c:pt idx="265">
                        <c:v>11.12</c:v>
                      </c:pt>
                      <c:pt idx="266">
                        <c:v>11.04</c:v>
                      </c:pt>
                      <c:pt idx="267">
                        <c:v>11.03</c:v>
                      </c:pt>
                    </c:numCache>
                  </c:numRef>
                </c:val>
                <c:smooth val="0"/>
                <c:extLst>
                  <c:ext xmlns:c16="http://schemas.microsoft.com/office/drawing/2014/chart" uri="{C3380CC4-5D6E-409C-BE32-E72D297353CC}">
                    <c16:uniqueId val="{00000001-41DE-4E84-BE63-D34CB7FEAB37}"/>
                  </c:ext>
                </c:extLst>
              </c15:ser>
            </c15:filteredLineSeries>
          </c:ext>
        </c:extLst>
      </c:lineChart>
      <c:dateAx>
        <c:axId val="1094385024"/>
        <c:scaling>
          <c:orientation val="minMax"/>
          <c:min val="38808"/>
        </c:scaling>
        <c:delete val="0"/>
        <c:axPos val="b"/>
        <c:numFmt formatCode="yyyy" sourceLinked="0"/>
        <c:majorTickMark val="none"/>
        <c:minorTickMark val="none"/>
        <c:tickLblPos val="low"/>
        <c:spPr>
          <a:noFill/>
          <a:ln w="9525" cap="flat" cmpd="sng" algn="ctr">
            <a:solidFill>
              <a:srgbClr val="868686"/>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094385352"/>
        <c:crosses val="autoZero"/>
        <c:auto val="1"/>
        <c:lblOffset val="100"/>
        <c:baseTimeUnit val="months"/>
      </c:dateAx>
      <c:valAx>
        <c:axId val="1094385352"/>
        <c:scaling>
          <c:orientation val="minMax"/>
        </c:scaling>
        <c:delete val="0"/>
        <c:axPos val="l"/>
        <c:majorGridlines>
          <c:spPr>
            <a:ln w="9525" cap="flat" cmpd="sng" algn="ctr">
              <a:noFill/>
              <a:round/>
            </a:ln>
            <a:effectLst/>
          </c:spPr>
        </c:majorGridlines>
        <c:numFmt formatCode="#,##0" sourceLinked="0"/>
        <c:majorTickMark val="out"/>
        <c:minorTickMark val="none"/>
        <c:tickLblPos val="nextTo"/>
        <c:spPr>
          <a:noFill/>
          <a:ln>
            <a:solidFill>
              <a:srgbClr val="868686"/>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094385024"/>
        <c:crosses val="autoZero"/>
        <c:crossBetween val="between"/>
        <c:majorUnit val="1"/>
      </c:valAx>
      <c:spPr>
        <a:noFill/>
        <a:ln>
          <a:noFill/>
        </a:ln>
        <a:effectLst/>
      </c:spPr>
    </c:plotArea>
    <c:legend>
      <c:legendPos val="t"/>
      <c:layout>
        <c:manualLayout>
          <c:xMode val="edge"/>
          <c:yMode val="edge"/>
          <c:x val="0"/>
          <c:y val="8.6867006093514443E-2"/>
          <c:w val="0.4513614887307576"/>
          <c:h val="5.060086725306785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pieChart>
        <c:varyColors val="1"/>
        <c:ser>
          <c:idx val="0"/>
          <c:order val="0"/>
          <c:dPt>
            <c:idx val="0"/>
            <c:bubble3D val="0"/>
            <c:spPr>
              <a:solidFill>
                <a:srgbClr val="7A9A3D"/>
              </a:solidFill>
            </c:spPr>
            <c:extLst>
              <c:ext xmlns:c16="http://schemas.microsoft.com/office/drawing/2014/chart" uri="{C3380CC4-5D6E-409C-BE32-E72D297353CC}">
                <c16:uniqueId val="{00000001-E526-4641-8779-A68DD9D54E4F}"/>
              </c:ext>
            </c:extLst>
          </c:dPt>
          <c:dPt>
            <c:idx val="1"/>
            <c:bubble3D val="0"/>
            <c:spPr>
              <a:solidFill>
                <a:srgbClr val="298FC2"/>
              </a:solidFill>
            </c:spPr>
            <c:extLst>
              <c:ext xmlns:c16="http://schemas.microsoft.com/office/drawing/2014/chart" uri="{C3380CC4-5D6E-409C-BE32-E72D297353CC}">
                <c16:uniqueId val="{00000003-E526-4641-8779-A68DD9D54E4F}"/>
              </c:ext>
            </c:extLst>
          </c:dPt>
          <c:dPt>
            <c:idx val="2"/>
            <c:bubble3D val="0"/>
            <c:spPr>
              <a:solidFill>
                <a:srgbClr val="004F6B"/>
              </a:solidFill>
            </c:spPr>
            <c:extLst>
              <c:ext xmlns:c16="http://schemas.microsoft.com/office/drawing/2014/chart" uri="{C3380CC4-5D6E-409C-BE32-E72D297353CC}">
                <c16:uniqueId val="{00000005-E526-4641-8779-A68DD9D54E4F}"/>
              </c:ext>
            </c:extLst>
          </c:dPt>
          <c:dPt>
            <c:idx val="3"/>
            <c:bubble3D val="0"/>
            <c:spPr>
              <a:solidFill>
                <a:srgbClr val="8FB6BB"/>
              </a:solidFill>
            </c:spPr>
            <c:extLst>
              <c:ext xmlns:c16="http://schemas.microsoft.com/office/drawing/2014/chart" uri="{C3380CC4-5D6E-409C-BE32-E72D297353CC}">
                <c16:uniqueId val="{00000007-E526-4641-8779-A68DD9D54E4F}"/>
              </c:ext>
            </c:extLst>
          </c:dPt>
          <c:dPt>
            <c:idx val="4"/>
            <c:bubble3D val="0"/>
            <c:spPr>
              <a:solidFill>
                <a:srgbClr val="919EA8"/>
              </a:solidFill>
            </c:spPr>
            <c:extLst>
              <c:ext xmlns:c16="http://schemas.microsoft.com/office/drawing/2014/chart" uri="{C3380CC4-5D6E-409C-BE32-E72D297353CC}">
                <c16:uniqueId val="{00000009-E526-4641-8779-A68DD9D54E4F}"/>
              </c:ext>
            </c:extLst>
          </c:dPt>
          <c:dPt>
            <c:idx val="5"/>
            <c:bubble3D val="0"/>
            <c:spPr>
              <a:solidFill>
                <a:srgbClr val="4B7838"/>
              </a:solidFill>
            </c:spPr>
            <c:extLst>
              <c:ext xmlns:c16="http://schemas.microsoft.com/office/drawing/2014/chart" uri="{C3380CC4-5D6E-409C-BE32-E72D297353CC}">
                <c16:uniqueId val="{0000000B-E526-4641-8779-A68DD9D54E4F}"/>
              </c:ext>
            </c:extLst>
          </c:dPt>
          <c:dPt>
            <c:idx val="6"/>
            <c:bubble3D val="0"/>
            <c:spPr>
              <a:solidFill>
                <a:srgbClr val="00A3D4"/>
              </a:solidFill>
            </c:spPr>
            <c:extLst>
              <c:ext xmlns:c16="http://schemas.microsoft.com/office/drawing/2014/chart" uri="{C3380CC4-5D6E-409C-BE32-E72D297353CC}">
                <c16:uniqueId val="{0000000D-E526-4641-8779-A68DD9D54E4F}"/>
              </c:ext>
            </c:extLst>
          </c:dPt>
          <c:dPt>
            <c:idx val="7"/>
            <c:bubble3D val="0"/>
            <c:spPr>
              <a:solidFill>
                <a:srgbClr val="C8982C"/>
              </a:solidFill>
            </c:spPr>
            <c:extLst>
              <c:ext xmlns:c16="http://schemas.microsoft.com/office/drawing/2014/chart" uri="{C3380CC4-5D6E-409C-BE32-E72D297353CC}">
                <c16:uniqueId val="{0000000F-E526-4641-8779-A68DD9D54E4F}"/>
              </c:ext>
            </c:extLst>
          </c:dPt>
          <c:dPt>
            <c:idx val="8"/>
            <c:bubble3D val="0"/>
            <c:spPr>
              <a:solidFill>
                <a:srgbClr val="51284F"/>
              </a:solidFill>
            </c:spPr>
            <c:extLst>
              <c:ext xmlns:c16="http://schemas.microsoft.com/office/drawing/2014/chart" uri="{C3380CC4-5D6E-409C-BE32-E72D297353CC}">
                <c16:uniqueId val="{00000011-E526-4641-8779-A68DD9D54E4F}"/>
              </c:ext>
            </c:extLst>
          </c:dPt>
          <c:dPt>
            <c:idx val="9"/>
            <c:bubble3D val="0"/>
            <c:spPr>
              <a:solidFill>
                <a:srgbClr val="DC8633"/>
              </a:solidFill>
            </c:spPr>
            <c:extLst>
              <c:ext xmlns:c16="http://schemas.microsoft.com/office/drawing/2014/chart" uri="{C3380CC4-5D6E-409C-BE32-E72D297353CC}">
                <c16:uniqueId val="{00000013-E526-4641-8779-A68DD9D54E4F}"/>
              </c:ext>
            </c:extLst>
          </c:dPt>
          <c:dPt>
            <c:idx val="10"/>
            <c:bubble3D val="0"/>
            <c:spPr>
              <a:solidFill>
                <a:srgbClr val="BF3B34"/>
              </a:solidFill>
            </c:spPr>
            <c:extLst>
              <c:ext xmlns:c16="http://schemas.microsoft.com/office/drawing/2014/chart" uri="{C3380CC4-5D6E-409C-BE32-E72D297353CC}">
                <c16:uniqueId val="{00000015-E526-4641-8779-A68DD9D54E4F}"/>
              </c:ext>
            </c:extLst>
          </c:dPt>
          <c:dLbls>
            <c:dLbl>
              <c:idx val="1"/>
              <c:delete val="1"/>
              <c:extLst>
                <c:ext xmlns:c15="http://schemas.microsoft.com/office/drawing/2012/chart" uri="{CE6537A1-D6FC-4f65-9D91-7224C49458BB}"/>
                <c:ext xmlns:c16="http://schemas.microsoft.com/office/drawing/2014/chart" uri="{C3380CC4-5D6E-409C-BE32-E72D297353CC}">
                  <c16:uniqueId val="{00000003-E526-4641-8779-A68DD9D54E4F}"/>
                </c:ext>
              </c:extLst>
            </c:dLbl>
            <c:dLbl>
              <c:idx val="6"/>
              <c:delete val="1"/>
              <c:extLst>
                <c:ext xmlns:c15="http://schemas.microsoft.com/office/drawing/2012/chart" uri="{CE6537A1-D6FC-4f65-9D91-7224C49458BB}"/>
                <c:ext xmlns:c16="http://schemas.microsoft.com/office/drawing/2014/chart" uri="{C3380CC4-5D6E-409C-BE32-E72D297353CC}">
                  <c16:uniqueId val="{0000000D-E526-4641-8779-A68DD9D54E4F}"/>
                </c:ext>
              </c:extLst>
            </c:dLbl>
            <c:numFmt formatCode="0%" sourceLinked="0"/>
            <c:spPr>
              <a:noFill/>
              <a:ln>
                <a:noFill/>
              </a:ln>
              <a:effectLst/>
            </c:spPr>
            <c:txPr>
              <a:bodyPr wrap="square" lIns="38100" tIns="19050" rIns="38100" bIns="19050" anchor="ctr">
                <a:spAutoFit/>
              </a:bodyPr>
              <a:lstStyle/>
              <a:p>
                <a:pPr>
                  <a:defRPr sz="800" b="1">
                    <a:solidFill>
                      <a:schemeClr val="bg1"/>
                    </a:solidFill>
                  </a:defRPr>
                </a:pPr>
                <a:endParaRPr lang="en-US"/>
              </a:p>
            </c:txPr>
            <c:dLblPos val="inEnd"/>
            <c:showLegendKey val="0"/>
            <c:showVal val="1"/>
            <c:showCatName val="0"/>
            <c:showSerName val="0"/>
            <c:showPercent val="0"/>
            <c:showBubbleSize val="0"/>
            <c:showLeaderLines val="1"/>
            <c:extLst>
              <c:ext xmlns:c15="http://schemas.microsoft.com/office/drawing/2012/chart" uri="{CE6537A1-D6FC-4f65-9D91-7224C49458BB}"/>
            </c:extLst>
          </c:dLbls>
          <c:cat>
            <c:strRef>
              <c:f>Sheet1!$A$2:$A$8</c:f>
              <c:strCache>
                <c:ptCount val="7"/>
                <c:pt idx="0">
                  <c:v>Overnight Repo</c:v>
                </c:pt>
                <c:pt idx="1">
                  <c:v>Term Repo</c:v>
                </c:pt>
                <c:pt idx="2">
                  <c:v>Fixed Rate Agencies</c:v>
                </c:pt>
                <c:pt idx="3">
                  <c:v>Floating Rate Agencies</c:v>
                </c:pt>
                <c:pt idx="4">
                  <c:v>Fixed Rate Treasuries</c:v>
                </c:pt>
                <c:pt idx="5">
                  <c:v>Floating Rate Treasuries</c:v>
                </c:pt>
                <c:pt idx="6">
                  <c:v>Net Other Assets*</c:v>
                </c:pt>
              </c:strCache>
            </c:strRef>
          </c:cat>
          <c:val>
            <c:numRef>
              <c:f>Sheet1!$B$2:$B$8</c:f>
              <c:numCache>
                <c:formatCode>0.00%</c:formatCode>
                <c:ptCount val="7"/>
                <c:pt idx="0">
                  <c:v>0.28749999999999998</c:v>
                </c:pt>
                <c:pt idx="1">
                  <c:v>2.2000000000000001E-3</c:v>
                </c:pt>
                <c:pt idx="2">
                  <c:v>0.1048</c:v>
                </c:pt>
                <c:pt idx="3">
                  <c:v>0.2767</c:v>
                </c:pt>
                <c:pt idx="4">
                  <c:v>0.24050000000000002</c:v>
                </c:pt>
                <c:pt idx="5">
                  <c:v>8.8800000000000004E-2</c:v>
                </c:pt>
                <c:pt idx="6">
                  <c:v>-5.0000000000000001E-4</c:v>
                </c:pt>
              </c:numCache>
            </c:numRef>
          </c:val>
          <c:extLst>
            <c:ext xmlns:c16="http://schemas.microsoft.com/office/drawing/2014/chart" uri="{C3380CC4-5D6E-409C-BE32-E72D297353CC}">
              <c16:uniqueId val="{00000016-E526-4641-8779-A68DD9D54E4F}"/>
            </c:ext>
          </c:extLst>
        </c:ser>
        <c:dLbls>
          <c:dLblPos val="inEnd"/>
          <c:showLegendKey val="0"/>
          <c:showVal val="1"/>
          <c:showCatName val="0"/>
          <c:showSerName val="0"/>
          <c:showPercent val="0"/>
          <c:showBubbleSize val="0"/>
          <c:showLeaderLines val="1"/>
        </c:dLbls>
        <c:firstSliceAng val="0"/>
      </c:pieChart>
    </c:plotArea>
    <c:legend>
      <c:legendPos val="r"/>
      <c:layout>
        <c:manualLayout>
          <c:xMode val="edge"/>
          <c:yMode val="edge"/>
          <c:x val="0.68588184746646197"/>
          <c:y val="0.31905895570468595"/>
          <c:w val="0.26123924602253273"/>
          <c:h val="0.36188208859062809"/>
        </c:manualLayout>
      </c:layout>
      <c:overlay val="0"/>
      <c:txPr>
        <a:bodyPr/>
        <a:lstStyle/>
        <a:p>
          <a:pPr>
            <a:defRPr sz="800"/>
          </a:pPr>
          <a:endParaRPr lang="en-US"/>
        </a:p>
      </c:txPr>
    </c:legend>
    <c:plotVisOnly val="1"/>
    <c:dispBlanksAs val="zero"/>
    <c:showDLblsOverMax val="0"/>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8.8952248698743797E-2"/>
          <c:y val="0.12196773142947059"/>
          <c:w val="0.88594323223668336"/>
          <c:h val="0.60350292898292224"/>
        </c:manualLayout>
      </c:layout>
      <c:lineChart>
        <c:grouping val="standard"/>
        <c:varyColors val="0"/>
        <c:ser>
          <c:idx val="0"/>
          <c:order val="0"/>
          <c:spPr>
            <a:ln w="25400">
              <a:solidFill>
                <a:srgbClr val="3F9835"/>
              </a:solidFill>
            </a:ln>
          </c:spPr>
          <c:marker>
            <c:symbol val="none"/>
          </c:marker>
          <c:cat>
            <c:numRef>
              <c:f>Sheet1!$A$1796:$A$2600</c:f>
              <c:numCache>
                <c:formatCode>m/d/yyyy</c:formatCode>
                <c:ptCount val="805"/>
                <c:pt idx="0">
                  <c:v>43616</c:v>
                </c:pt>
                <c:pt idx="1">
                  <c:v>43619</c:v>
                </c:pt>
                <c:pt idx="2">
                  <c:v>43620</c:v>
                </c:pt>
                <c:pt idx="3">
                  <c:v>43621</c:v>
                </c:pt>
                <c:pt idx="4">
                  <c:v>43622</c:v>
                </c:pt>
                <c:pt idx="5">
                  <c:v>43623</c:v>
                </c:pt>
                <c:pt idx="6">
                  <c:v>43626</c:v>
                </c:pt>
                <c:pt idx="7">
                  <c:v>43627</c:v>
                </c:pt>
                <c:pt idx="8">
                  <c:v>43628</c:v>
                </c:pt>
                <c:pt idx="9">
                  <c:v>43629</c:v>
                </c:pt>
                <c:pt idx="10">
                  <c:v>43630</c:v>
                </c:pt>
                <c:pt idx="11">
                  <c:v>43633</c:v>
                </c:pt>
                <c:pt idx="12">
                  <c:v>43634</c:v>
                </c:pt>
                <c:pt idx="13">
                  <c:v>43635</c:v>
                </c:pt>
                <c:pt idx="14">
                  <c:v>43636</c:v>
                </c:pt>
                <c:pt idx="15">
                  <c:v>43637</c:v>
                </c:pt>
                <c:pt idx="16">
                  <c:v>43640</c:v>
                </c:pt>
                <c:pt idx="17">
                  <c:v>43641</c:v>
                </c:pt>
                <c:pt idx="18">
                  <c:v>43642</c:v>
                </c:pt>
                <c:pt idx="19">
                  <c:v>43643</c:v>
                </c:pt>
                <c:pt idx="20">
                  <c:v>43644</c:v>
                </c:pt>
                <c:pt idx="21">
                  <c:v>43647</c:v>
                </c:pt>
                <c:pt idx="22">
                  <c:v>43648</c:v>
                </c:pt>
                <c:pt idx="23">
                  <c:v>43649</c:v>
                </c:pt>
                <c:pt idx="24">
                  <c:v>43650</c:v>
                </c:pt>
                <c:pt idx="25">
                  <c:v>43651</c:v>
                </c:pt>
                <c:pt idx="26">
                  <c:v>43654</c:v>
                </c:pt>
                <c:pt idx="27">
                  <c:v>43655</c:v>
                </c:pt>
                <c:pt idx="28">
                  <c:v>43656</c:v>
                </c:pt>
                <c:pt idx="29">
                  <c:v>43657</c:v>
                </c:pt>
                <c:pt idx="30">
                  <c:v>43658</c:v>
                </c:pt>
                <c:pt idx="31">
                  <c:v>43661</c:v>
                </c:pt>
                <c:pt idx="32">
                  <c:v>43662</c:v>
                </c:pt>
                <c:pt idx="33">
                  <c:v>43663</c:v>
                </c:pt>
                <c:pt idx="34">
                  <c:v>43664</c:v>
                </c:pt>
                <c:pt idx="35">
                  <c:v>43665</c:v>
                </c:pt>
                <c:pt idx="36">
                  <c:v>43668</c:v>
                </c:pt>
                <c:pt idx="37">
                  <c:v>43669</c:v>
                </c:pt>
                <c:pt idx="38">
                  <c:v>43670</c:v>
                </c:pt>
                <c:pt idx="39">
                  <c:v>43671</c:v>
                </c:pt>
                <c:pt idx="40">
                  <c:v>43672</c:v>
                </c:pt>
                <c:pt idx="41">
                  <c:v>43675</c:v>
                </c:pt>
                <c:pt idx="42">
                  <c:v>43676</c:v>
                </c:pt>
                <c:pt idx="43">
                  <c:v>43677</c:v>
                </c:pt>
                <c:pt idx="44">
                  <c:v>43678</c:v>
                </c:pt>
                <c:pt idx="45">
                  <c:v>43679</c:v>
                </c:pt>
                <c:pt idx="46">
                  <c:v>43682</c:v>
                </c:pt>
                <c:pt idx="47">
                  <c:v>43683</c:v>
                </c:pt>
                <c:pt idx="48">
                  <c:v>43684</c:v>
                </c:pt>
                <c:pt idx="49">
                  <c:v>43685</c:v>
                </c:pt>
                <c:pt idx="50">
                  <c:v>43686</c:v>
                </c:pt>
                <c:pt idx="51">
                  <c:v>43689</c:v>
                </c:pt>
                <c:pt idx="52">
                  <c:v>43690</c:v>
                </c:pt>
                <c:pt idx="53">
                  <c:v>43691</c:v>
                </c:pt>
                <c:pt idx="54">
                  <c:v>43692</c:v>
                </c:pt>
                <c:pt idx="55">
                  <c:v>43693</c:v>
                </c:pt>
                <c:pt idx="56">
                  <c:v>43696</c:v>
                </c:pt>
                <c:pt idx="57">
                  <c:v>43697</c:v>
                </c:pt>
                <c:pt idx="58">
                  <c:v>43698</c:v>
                </c:pt>
                <c:pt idx="59">
                  <c:v>43699</c:v>
                </c:pt>
                <c:pt idx="60">
                  <c:v>43700</c:v>
                </c:pt>
                <c:pt idx="61">
                  <c:v>43703</c:v>
                </c:pt>
                <c:pt idx="62">
                  <c:v>43704</c:v>
                </c:pt>
                <c:pt idx="63">
                  <c:v>43705</c:v>
                </c:pt>
                <c:pt idx="64">
                  <c:v>43706</c:v>
                </c:pt>
                <c:pt idx="65">
                  <c:v>43707</c:v>
                </c:pt>
                <c:pt idx="66">
                  <c:v>43710</c:v>
                </c:pt>
                <c:pt idx="67">
                  <c:v>43711</c:v>
                </c:pt>
                <c:pt idx="68">
                  <c:v>43712</c:v>
                </c:pt>
                <c:pt idx="69">
                  <c:v>43713</c:v>
                </c:pt>
                <c:pt idx="70">
                  <c:v>43714</c:v>
                </c:pt>
                <c:pt idx="71">
                  <c:v>43717</c:v>
                </c:pt>
                <c:pt idx="72">
                  <c:v>43718</c:v>
                </c:pt>
                <c:pt idx="73">
                  <c:v>43719</c:v>
                </c:pt>
                <c:pt idx="74">
                  <c:v>43720</c:v>
                </c:pt>
                <c:pt idx="75">
                  <c:v>43721</c:v>
                </c:pt>
                <c:pt idx="76">
                  <c:v>43724</c:v>
                </c:pt>
                <c:pt idx="77">
                  <c:v>43725</c:v>
                </c:pt>
                <c:pt idx="78">
                  <c:v>43726</c:v>
                </c:pt>
                <c:pt idx="79">
                  <c:v>43727</c:v>
                </c:pt>
                <c:pt idx="80">
                  <c:v>43728</c:v>
                </c:pt>
                <c:pt idx="81">
                  <c:v>43731</c:v>
                </c:pt>
                <c:pt idx="82">
                  <c:v>43732</c:v>
                </c:pt>
                <c:pt idx="83">
                  <c:v>43733</c:v>
                </c:pt>
                <c:pt idx="84">
                  <c:v>43734</c:v>
                </c:pt>
                <c:pt idx="85">
                  <c:v>43735</c:v>
                </c:pt>
                <c:pt idx="86">
                  <c:v>43738</c:v>
                </c:pt>
                <c:pt idx="87">
                  <c:v>43739</c:v>
                </c:pt>
                <c:pt idx="88">
                  <c:v>43740</c:v>
                </c:pt>
                <c:pt idx="89">
                  <c:v>43741</c:v>
                </c:pt>
                <c:pt idx="90">
                  <c:v>43742</c:v>
                </c:pt>
                <c:pt idx="91">
                  <c:v>43745</c:v>
                </c:pt>
                <c:pt idx="92">
                  <c:v>43746</c:v>
                </c:pt>
                <c:pt idx="93">
                  <c:v>43747</c:v>
                </c:pt>
                <c:pt idx="94">
                  <c:v>43748</c:v>
                </c:pt>
                <c:pt idx="95">
                  <c:v>43749</c:v>
                </c:pt>
                <c:pt idx="96">
                  <c:v>43752</c:v>
                </c:pt>
                <c:pt idx="97">
                  <c:v>43753</c:v>
                </c:pt>
                <c:pt idx="98">
                  <c:v>43754</c:v>
                </c:pt>
                <c:pt idx="99">
                  <c:v>43755</c:v>
                </c:pt>
                <c:pt idx="100">
                  <c:v>43756</c:v>
                </c:pt>
                <c:pt idx="101">
                  <c:v>43759</c:v>
                </c:pt>
                <c:pt idx="102">
                  <c:v>43760</c:v>
                </c:pt>
                <c:pt idx="103">
                  <c:v>43761</c:v>
                </c:pt>
                <c:pt idx="104">
                  <c:v>43762</c:v>
                </c:pt>
                <c:pt idx="105">
                  <c:v>43763</c:v>
                </c:pt>
                <c:pt idx="106">
                  <c:v>43766</c:v>
                </c:pt>
                <c:pt idx="107">
                  <c:v>43767</c:v>
                </c:pt>
                <c:pt idx="108">
                  <c:v>43768</c:v>
                </c:pt>
                <c:pt idx="109">
                  <c:v>43769</c:v>
                </c:pt>
                <c:pt idx="110">
                  <c:v>43770</c:v>
                </c:pt>
                <c:pt idx="111">
                  <c:v>43773</c:v>
                </c:pt>
                <c:pt idx="112">
                  <c:v>43774</c:v>
                </c:pt>
                <c:pt idx="113">
                  <c:v>43775</c:v>
                </c:pt>
                <c:pt idx="114">
                  <c:v>43776</c:v>
                </c:pt>
                <c:pt idx="115">
                  <c:v>43777</c:v>
                </c:pt>
                <c:pt idx="116">
                  <c:v>43780</c:v>
                </c:pt>
                <c:pt idx="117">
                  <c:v>43781</c:v>
                </c:pt>
                <c:pt idx="118">
                  <c:v>43782</c:v>
                </c:pt>
                <c:pt idx="119">
                  <c:v>43783</c:v>
                </c:pt>
                <c:pt idx="120">
                  <c:v>43784</c:v>
                </c:pt>
                <c:pt idx="121">
                  <c:v>43787</c:v>
                </c:pt>
                <c:pt idx="122">
                  <c:v>43788</c:v>
                </c:pt>
                <c:pt idx="123">
                  <c:v>43789</c:v>
                </c:pt>
                <c:pt idx="124">
                  <c:v>43790</c:v>
                </c:pt>
                <c:pt idx="125">
                  <c:v>43791</c:v>
                </c:pt>
                <c:pt idx="126">
                  <c:v>43794</c:v>
                </c:pt>
                <c:pt idx="127">
                  <c:v>43795</c:v>
                </c:pt>
                <c:pt idx="128">
                  <c:v>43796</c:v>
                </c:pt>
                <c:pt idx="129">
                  <c:v>43797</c:v>
                </c:pt>
                <c:pt idx="130">
                  <c:v>43798</c:v>
                </c:pt>
                <c:pt idx="131">
                  <c:v>43801</c:v>
                </c:pt>
                <c:pt idx="132">
                  <c:v>43802</c:v>
                </c:pt>
                <c:pt idx="133">
                  <c:v>43803</c:v>
                </c:pt>
                <c:pt idx="134">
                  <c:v>43804</c:v>
                </c:pt>
                <c:pt idx="135">
                  <c:v>43805</c:v>
                </c:pt>
                <c:pt idx="136">
                  <c:v>43808</c:v>
                </c:pt>
                <c:pt idx="137">
                  <c:v>43809</c:v>
                </c:pt>
                <c:pt idx="138">
                  <c:v>43810</c:v>
                </c:pt>
                <c:pt idx="139">
                  <c:v>43811</c:v>
                </c:pt>
                <c:pt idx="140">
                  <c:v>43812</c:v>
                </c:pt>
                <c:pt idx="141">
                  <c:v>43815</c:v>
                </c:pt>
                <c:pt idx="142">
                  <c:v>43816</c:v>
                </c:pt>
                <c:pt idx="143">
                  <c:v>43817</c:v>
                </c:pt>
                <c:pt idx="144">
                  <c:v>43818</c:v>
                </c:pt>
                <c:pt idx="145">
                  <c:v>43819</c:v>
                </c:pt>
                <c:pt idx="146">
                  <c:v>43822</c:v>
                </c:pt>
                <c:pt idx="147">
                  <c:v>43823</c:v>
                </c:pt>
                <c:pt idx="148">
                  <c:v>43824</c:v>
                </c:pt>
                <c:pt idx="149">
                  <c:v>43825</c:v>
                </c:pt>
                <c:pt idx="150">
                  <c:v>43826</c:v>
                </c:pt>
                <c:pt idx="151">
                  <c:v>43829</c:v>
                </c:pt>
                <c:pt idx="152">
                  <c:v>43830</c:v>
                </c:pt>
                <c:pt idx="153">
                  <c:v>43831</c:v>
                </c:pt>
                <c:pt idx="154">
                  <c:v>43832</c:v>
                </c:pt>
                <c:pt idx="155">
                  <c:v>43833</c:v>
                </c:pt>
                <c:pt idx="156">
                  <c:v>43836</c:v>
                </c:pt>
                <c:pt idx="157">
                  <c:v>43837</c:v>
                </c:pt>
                <c:pt idx="158">
                  <c:v>43838</c:v>
                </c:pt>
                <c:pt idx="159">
                  <c:v>43839</c:v>
                </c:pt>
                <c:pt idx="160">
                  <c:v>43840</c:v>
                </c:pt>
                <c:pt idx="161">
                  <c:v>43843</c:v>
                </c:pt>
                <c:pt idx="162">
                  <c:v>43844</c:v>
                </c:pt>
                <c:pt idx="163">
                  <c:v>43845</c:v>
                </c:pt>
                <c:pt idx="164">
                  <c:v>43846</c:v>
                </c:pt>
                <c:pt idx="165">
                  <c:v>43847</c:v>
                </c:pt>
                <c:pt idx="166">
                  <c:v>43850</c:v>
                </c:pt>
                <c:pt idx="167">
                  <c:v>43851</c:v>
                </c:pt>
                <c:pt idx="168">
                  <c:v>43852</c:v>
                </c:pt>
                <c:pt idx="169">
                  <c:v>43853</c:v>
                </c:pt>
                <c:pt idx="170">
                  <c:v>43854</c:v>
                </c:pt>
                <c:pt idx="171">
                  <c:v>43857</c:v>
                </c:pt>
                <c:pt idx="172">
                  <c:v>43858</c:v>
                </c:pt>
                <c:pt idx="173">
                  <c:v>43859</c:v>
                </c:pt>
                <c:pt idx="174">
                  <c:v>43860</c:v>
                </c:pt>
                <c:pt idx="175">
                  <c:v>43861</c:v>
                </c:pt>
                <c:pt idx="176">
                  <c:v>43864</c:v>
                </c:pt>
                <c:pt idx="177">
                  <c:v>43865</c:v>
                </c:pt>
                <c:pt idx="178">
                  <c:v>43866</c:v>
                </c:pt>
                <c:pt idx="179">
                  <c:v>43867</c:v>
                </c:pt>
                <c:pt idx="180">
                  <c:v>43868</c:v>
                </c:pt>
                <c:pt idx="181">
                  <c:v>43871</c:v>
                </c:pt>
                <c:pt idx="182">
                  <c:v>43872</c:v>
                </c:pt>
                <c:pt idx="183">
                  <c:v>43873</c:v>
                </c:pt>
                <c:pt idx="184">
                  <c:v>43874</c:v>
                </c:pt>
                <c:pt idx="185">
                  <c:v>43875</c:v>
                </c:pt>
                <c:pt idx="186">
                  <c:v>43878</c:v>
                </c:pt>
                <c:pt idx="187">
                  <c:v>43879</c:v>
                </c:pt>
                <c:pt idx="188">
                  <c:v>43880</c:v>
                </c:pt>
                <c:pt idx="189">
                  <c:v>43881</c:v>
                </c:pt>
                <c:pt idx="190">
                  <c:v>43882</c:v>
                </c:pt>
                <c:pt idx="191">
                  <c:v>43885</c:v>
                </c:pt>
                <c:pt idx="192">
                  <c:v>43886</c:v>
                </c:pt>
                <c:pt idx="193">
                  <c:v>43887</c:v>
                </c:pt>
                <c:pt idx="194">
                  <c:v>43888</c:v>
                </c:pt>
                <c:pt idx="195">
                  <c:v>43889</c:v>
                </c:pt>
                <c:pt idx="196">
                  <c:v>43892</c:v>
                </c:pt>
                <c:pt idx="197">
                  <c:v>43893</c:v>
                </c:pt>
                <c:pt idx="198">
                  <c:v>43894</c:v>
                </c:pt>
                <c:pt idx="199">
                  <c:v>43895</c:v>
                </c:pt>
                <c:pt idx="200">
                  <c:v>43896</c:v>
                </c:pt>
                <c:pt idx="201">
                  <c:v>43899</c:v>
                </c:pt>
                <c:pt idx="202">
                  <c:v>43900</c:v>
                </c:pt>
                <c:pt idx="203">
                  <c:v>43901</c:v>
                </c:pt>
                <c:pt idx="204">
                  <c:v>43902</c:v>
                </c:pt>
                <c:pt idx="205">
                  <c:v>43903</c:v>
                </c:pt>
                <c:pt idx="206">
                  <c:v>43906</c:v>
                </c:pt>
                <c:pt idx="207">
                  <c:v>43907</c:v>
                </c:pt>
                <c:pt idx="208">
                  <c:v>43908</c:v>
                </c:pt>
                <c:pt idx="209">
                  <c:v>43909</c:v>
                </c:pt>
                <c:pt idx="210">
                  <c:v>43910</c:v>
                </c:pt>
                <c:pt idx="211">
                  <c:v>43913</c:v>
                </c:pt>
                <c:pt idx="212">
                  <c:v>43914</c:v>
                </c:pt>
                <c:pt idx="213">
                  <c:v>43915</c:v>
                </c:pt>
                <c:pt idx="214">
                  <c:v>43916</c:v>
                </c:pt>
                <c:pt idx="215">
                  <c:v>43917</c:v>
                </c:pt>
                <c:pt idx="216">
                  <c:v>43920</c:v>
                </c:pt>
                <c:pt idx="217">
                  <c:v>43921</c:v>
                </c:pt>
                <c:pt idx="218">
                  <c:v>43922</c:v>
                </c:pt>
                <c:pt idx="219">
                  <c:v>43923</c:v>
                </c:pt>
                <c:pt idx="220">
                  <c:v>43924</c:v>
                </c:pt>
                <c:pt idx="221">
                  <c:v>43927</c:v>
                </c:pt>
                <c:pt idx="222">
                  <c:v>43928</c:v>
                </c:pt>
                <c:pt idx="223">
                  <c:v>43929</c:v>
                </c:pt>
                <c:pt idx="224">
                  <c:v>43930</c:v>
                </c:pt>
                <c:pt idx="225">
                  <c:v>43931</c:v>
                </c:pt>
                <c:pt idx="226">
                  <c:v>43934</c:v>
                </c:pt>
                <c:pt idx="227">
                  <c:v>43935</c:v>
                </c:pt>
                <c:pt idx="228">
                  <c:v>43936</c:v>
                </c:pt>
                <c:pt idx="229">
                  <c:v>43937</c:v>
                </c:pt>
                <c:pt idx="230">
                  <c:v>43938</c:v>
                </c:pt>
                <c:pt idx="231">
                  <c:v>43941</c:v>
                </c:pt>
                <c:pt idx="232">
                  <c:v>43942</c:v>
                </c:pt>
                <c:pt idx="233">
                  <c:v>43943</c:v>
                </c:pt>
                <c:pt idx="234">
                  <c:v>43944</c:v>
                </c:pt>
                <c:pt idx="235">
                  <c:v>43945</c:v>
                </c:pt>
                <c:pt idx="236">
                  <c:v>43948</c:v>
                </c:pt>
                <c:pt idx="237">
                  <c:v>43949</c:v>
                </c:pt>
                <c:pt idx="238">
                  <c:v>43950</c:v>
                </c:pt>
                <c:pt idx="239">
                  <c:v>43951</c:v>
                </c:pt>
                <c:pt idx="240">
                  <c:v>43952</c:v>
                </c:pt>
                <c:pt idx="241">
                  <c:v>43955</c:v>
                </c:pt>
                <c:pt idx="242">
                  <c:v>43956</c:v>
                </c:pt>
                <c:pt idx="243">
                  <c:v>43957</c:v>
                </c:pt>
                <c:pt idx="244">
                  <c:v>43958</c:v>
                </c:pt>
                <c:pt idx="245">
                  <c:v>43959</c:v>
                </c:pt>
                <c:pt idx="246">
                  <c:v>43962</c:v>
                </c:pt>
                <c:pt idx="247">
                  <c:v>43963</c:v>
                </c:pt>
                <c:pt idx="248">
                  <c:v>43964</c:v>
                </c:pt>
                <c:pt idx="249">
                  <c:v>43965</c:v>
                </c:pt>
                <c:pt idx="250">
                  <c:v>43966</c:v>
                </c:pt>
                <c:pt idx="251">
                  <c:v>43969</c:v>
                </c:pt>
                <c:pt idx="252">
                  <c:v>43970</c:v>
                </c:pt>
                <c:pt idx="253">
                  <c:v>43971</c:v>
                </c:pt>
                <c:pt idx="254">
                  <c:v>43972</c:v>
                </c:pt>
                <c:pt idx="255">
                  <c:v>43973</c:v>
                </c:pt>
                <c:pt idx="256">
                  <c:v>43976</c:v>
                </c:pt>
                <c:pt idx="257">
                  <c:v>43977</c:v>
                </c:pt>
                <c:pt idx="258">
                  <c:v>43978</c:v>
                </c:pt>
                <c:pt idx="259">
                  <c:v>43979</c:v>
                </c:pt>
                <c:pt idx="260">
                  <c:v>43980</c:v>
                </c:pt>
                <c:pt idx="261">
                  <c:v>43983</c:v>
                </c:pt>
                <c:pt idx="262">
                  <c:v>43984</c:v>
                </c:pt>
                <c:pt idx="263">
                  <c:v>43985</c:v>
                </c:pt>
                <c:pt idx="264">
                  <c:v>43986</c:v>
                </c:pt>
                <c:pt idx="265">
                  <c:v>43987</c:v>
                </c:pt>
                <c:pt idx="266">
                  <c:v>43990</c:v>
                </c:pt>
                <c:pt idx="267">
                  <c:v>43991</c:v>
                </c:pt>
                <c:pt idx="268">
                  <c:v>43992</c:v>
                </c:pt>
                <c:pt idx="269">
                  <c:v>43993</c:v>
                </c:pt>
                <c:pt idx="270">
                  <c:v>43994</c:v>
                </c:pt>
                <c:pt idx="271">
                  <c:v>43997</c:v>
                </c:pt>
                <c:pt idx="272">
                  <c:v>43998</c:v>
                </c:pt>
                <c:pt idx="273">
                  <c:v>43999</c:v>
                </c:pt>
                <c:pt idx="274">
                  <c:v>44000</c:v>
                </c:pt>
                <c:pt idx="275">
                  <c:v>44001</c:v>
                </c:pt>
                <c:pt idx="276">
                  <c:v>44004</c:v>
                </c:pt>
                <c:pt idx="277">
                  <c:v>44005</c:v>
                </c:pt>
                <c:pt idx="278">
                  <c:v>44006</c:v>
                </c:pt>
                <c:pt idx="279">
                  <c:v>44007</c:v>
                </c:pt>
                <c:pt idx="280">
                  <c:v>44008</c:v>
                </c:pt>
                <c:pt idx="281">
                  <c:v>44011</c:v>
                </c:pt>
                <c:pt idx="282">
                  <c:v>44012</c:v>
                </c:pt>
                <c:pt idx="283">
                  <c:v>44013</c:v>
                </c:pt>
                <c:pt idx="284">
                  <c:v>44014</c:v>
                </c:pt>
                <c:pt idx="285">
                  <c:v>44015</c:v>
                </c:pt>
                <c:pt idx="286">
                  <c:v>44018</c:v>
                </c:pt>
                <c:pt idx="287">
                  <c:v>44019</c:v>
                </c:pt>
                <c:pt idx="288">
                  <c:v>44020</c:v>
                </c:pt>
                <c:pt idx="289">
                  <c:v>44021</c:v>
                </c:pt>
                <c:pt idx="290">
                  <c:v>44022</c:v>
                </c:pt>
                <c:pt idx="291">
                  <c:v>44025</c:v>
                </c:pt>
                <c:pt idx="292">
                  <c:v>44026</c:v>
                </c:pt>
                <c:pt idx="293">
                  <c:v>44027</c:v>
                </c:pt>
                <c:pt idx="294">
                  <c:v>44028</c:v>
                </c:pt>
                <c:pt idx="295">
                  <c:v>44029</c:v>
                </c:pt>
                <c:pt idx="296">
                  <c:v>44032</c:v>
                </c:pt>
                <c:pt idx="297">
                  <c:v>44033</c:v>
                </c:pt>
                <c:pt idx="298">
                  <c:v>44034</c:v>
                </c:pt>
                <c:pt idx="299">
                  <c:v>44035</c:v>
                </c:pt>
                <c:pt idx="300">
                  <c:v>44036</c:v>
                </c:pt>
                <c:pt idx="301">
                  <c:v>44039</c:v>
                </c:pt>
                <c:pt idx="302">
                  <c:v>44040</c:v>
                </c:pt>
                <c:pt idx="303">
                  <c:v>44041</c:v>
                </c:pt>
                <c:pt idx="304">
                  <c:v>44042</c:v>
                </c:pt>
                <c:pt idx="305">
                  <c:v>44043</c:v>
                </c:pt>
                <c:pt idx="306">
                  <c:v>44046</c:v>
                </c:pt>
                <c:pt idx="307">
                  <c:v>44047</c:v>
                </c:pt>
                <c:pt idx="308">
                  <c:v>44048</c:v>
                </c:pt>
                <c:pt idx="309">
                  <c:v>44049</c:v>
                </c:pt>
                <c:pt idx="310">
                  <c:v>44050</c:v>
                </c:pt>
                <c:pt idx="311">
                  <c:v>44053</c:v>
                </c:pt>
                <c:pt idx="312">
                  <c:v>44054</c:v>
                </c:pt>
                <c:pt idx="313">
                  <c:v>44055</c:v>
                </c:pt>
                <c:pt idx="314">
                  <c:v>44056</c:v>
                </c:pt>
                <c:pt idx="315">
                  <c:v>44057</c:v>
                </c:pt>
                <c:pt idx="316">
                  <c:v>44060</c:v>
                </c:pt>
                <c:pt idx="317">
                  <c:v>44061</c:v>
                </c:pt>
                <c:pt idx="318">
                  <c:v>44062</c:v>
                </c:pt>
                <c:pt idx="319">
                  <c:v>44063</c:v>
                </c:pt>
                <c:pt idx="320">
                  <c:v>44064</c:v>
                </c:pt>
                <c:pt idx="321">
                  <c:v>44067</c:v>
                </c:pt>
                <c:pt idx="322">
                  <c:v>44068</c:v>
                </c:pt>
                <c:pt idx="323">
                  <c:v>44069</c:v>
                </c:pt>
                <c:pt idx="324">
                  <c:v>44070</c:v>
                </c:pt>
                <c:pt idx="325">
                  <c:v>44071</c:v>
                </c:pt>
                <c:pt idx="326">
                  <c:v>44074</c:v>
                </c:pt>
                <c:pt idx="327">
                  <c:v>44075</c:v>
                </c:pt>
                <c:pt idx="328">
                  <c:v>44076</c:v>
                </c:pt>
                <c:pt idx="329">
                  <c:v>44077</c:v>
                </c:pt>
                <c:pt idx="330">
                  <c:v>44078</c:v>
                </c:pt>
                <c:pt idx="331">
                  <c:v>44081</c:v>
                </c:pt>
                <c:pt idx="332">
                  <c:v>44082</c:v>
                </c:pt>
                <c:pt idx="333">
                  <c:v>44083</c:v>
                </c:pt>
                <c:pt idx="334">
                  <c:v>44084</c:v>
                </c:pt>
                <c:pt idx="335">
                  <c:v>44085</c:v>
                </c:pt>
                <c:pt idx="336">
                  <c:v>44088</c:v>
                </c:pt>
                <c:pt idx="337">
                  <c:v>44089</c:v>
                </c:pt>
                <c:pt idx="338">
                  <c:v>44090</c:v>
                </c:pt>
                <c:pt idx="339">
                  <c:v>44091</c:v>
                </c:pt>
                <c:pt idx="340">
                  <c:v>44092</c:v>
                </c:pt>
                <c:pt idx="341">
                  <c:v>44095</c:v>
                </c:pt>
                <c:pt idx="342">
                  <c:v>44096</c:v>
                </c:pt>
                <c:pt idx="343">
                  <c:v>44097</c:v>
                </c:pt>
                <c:pt idx="344">
                  <c:v>44098</c:v>
                </c:pt>
                <c:pt idx="345">
                  <c:v>44099</c:v>
                </c:pt>
                <c:pt idx="346">
                  <c:v>44102</c:v>
                </c:pt>
                <c:pt idx="347">
                  <c:v>44103</c:v>
                </c:pt>
                <c:pt idx="348">
                  <c:v>44104</c:v>
                </c:pt>
                <c:pt idx="349">
                  <c:v>44105</c:v>
                </c:pt>
                <c:pt idx="350">
                  <c:v>44106</c:v>
                </c:pt>
                <c:pt idx="351">
                  <c:v>44109</c:v>
                </c:pt>
                <c:pt idx="352">
                  <c:v>44110</c:v>
                </c:pt>
                <c:pt idx="353">
                  <c:v>44111</c:v>
                </c:pt>
                <c:pt idx="354">
                  <c:v>44112</c:v>
                </c:pt>
                <c:pt idx="355">
                  <c:v>44113</c:v>
                </c:pt>
                <c:pt idx="356">
                  <c:v>44116</c:v>
                </c:pt>
                <c:pt idx="357">
                  <c:v>44117</c:v>
                </c:pt>
                <c:pt idx="358">
                  <c:v>44118</c:v>
                </c:pt>
                <c:pt idx="359">
                  <c:v>44119</c:v>
                </c:pt>
                <c:pt idx="360">
                  <c:v>44120</c:v>
                </c:pt>
                <c:pt idx="361">
                  <c:v>44123</c:v>
                </c:pt>
                <c:pt idx="362">
                  <c:v>44124</c:v>
                </c:pt>
                <c:pt idx="363">
                  <c:v>44125</c:v>
                </c:pt>
                <c:pt idx="364">
                  <c:v>44126</c:v>
                </c:pt>
                <c:pt idx="365">
                  <c:v>44127</c:v>
                </c:pt>
                <c:pt idx="366">
                  <c:v>44130</c:v>
                </c:pt>
                <c:pt idx="367">
                  <c:v>44131</c:v>
                </c:pt>
                <c:pt idx="368">
                  <c:v>44132</c:v>
                </c:pt>
                <c:pt idx="369">
                  <c:v>44133</c:v>
                </c:pt>
                <c:pt idx="370">
                  <c:v>44134</c:v>
                </c:pt>
                <c:pt idx="371">
                  <c:v>44137</c:v>
                </c:pt>
                <c:pt idx="372">
                  <c:v>44138</c:v>
                </c:pt>
                <c:pt idx="373">
                  <c:v>44139</c:v>
                </c:pt>
                <c:pt idx="374">
                  <c:v>44140</c:v>
                </c:pt>
                <c:pt idx="375">
                  <c:v>44141</c:v>
                </c:pt>
                <c:pt idx="376">
                  <c:v>44144</c:v>
                </c:pt>
                <c:pt idx="377">
                  <c:v>44145</c:v>
                </c:pt>
                <c:pt idx="378">
                  <c:v>44146</c:v>
                </c:pt>
                <c:pt idx="379">
                  <c:v>44147</c:v>
                </c:pt>
                <c:pt idx="380">
                  <c:v>44148</c:v>
                </c:pt>
                <c:pt idx="381">
                  <c:v>44151</c:v>
                </c:pt>
                <c:pt idx="382">
                  <c:v>44152</c:v>
                </c:pt>
                <c:pt idx="383">
                  <c:v>44153</c:v>
                </c:pt>
                <c:pt idx="384">
                  <c:v>44154</c:v>
                </c:pt>
                <c:pt idx="385">
                  <c:v>44155</c:v>
                </c:pt>
                <c:pt idx="386">
                  <c:v>44158</c:v>
                </c:pt>
                <c:pt idx="387">
                  <c:v>44159</c:v>
                </c:pt>
                <c:pt idx="388">
                  <c:v>44160</c:v>
                </c:pt>
                <c:pt idx="389">
                  <c:v>44161</c:v>
                </c:pt>
                <c:pt idx="390">
                  <c:v>44162</c:v>
                </c:pt>
                <c:pt idx="391">
                  <c:v>44165</c:v>
                </c:pt>
                <c:pt idx="392">
                  <c:v>44166</c:v>
                </c:pt>
                <c:pt idx="393">
                  <c:v>44167</c:v>
                </c:pt>
                <c:pt idx="394">
                  <c:v>44168</c:v>
                </c:pt>
                <c:pt idx="395">
                  <c:v>44169</c:v>
                </c:pt>
                <c:pt idx="396">
                  <c:v>44172</c:v>
                </c:pt>
                <c:pt idx="397">
                  <c:v>44173</c:v>
                </c:pt>
                <c:pt idx="398">
                  <c:v>44174</c:v>
                </c:pt>
                <c:pt idx="399">
                  <c:v>44175</c:v>
                </c:pt>
                <c:pt idx="400">
                  <c:v>44176</c:v>
                </c:pt>
                <c:pt idx="401">
                  <c:v>44179</c:v>
                </c:pt>
                <c:pt idx="402">
                  <c:v>44180</c:v>
                </c:pt>
                <c:pt idx="403">
                  <c:v>44181</c:v>
                </c:pt>
                <c:pt idx="404">
                  <c:v>44182</c:v>
                </c:pt>
                <c:pt idx="405">
                  <c:v>44183</c:v>
                </c:pt>
                <c:pt idx="406">
                  <c:v>44186</c:v>
                </c:pt>
                <c:pt idx="407">
                  <c:v>44187</c:v>
                </c:pt>
                <c:pt idx="408">
                  <c:v>44188</c:v>
                </c:pt>
                <c:pt idx="409">
                  <c:v>44189</c:v>
                </c:pt>
                <c:pt idx="410">
                  <c:v>44190</c:v>
                </c:pt>
                <c:pt idx="411">
                  <c:v>44193</c:v>
                </c:pt>
                <c:pt idx="412">
                  <c:v>44194</c:v>
                </c:pt>
                <c:pt idx="413">
                  <c:v>44195</c:v>
                </c:pt>
                <c:pt idx="414">
                  <c:v>44196</c:v>
                </c:pt>
                <c:pt idx="415">
                  <c:v>44197</c:v>
                </c:pt>
                <c:pt idx="416">
                  <c:v>44200</c:v>
                </c:pt>
                <c:pt idx="417">
                  <c:v>44201</c:v>
                </c:pt>
                <c:pt idx="418">
                  <c:v>44202</c:v>
                </c:pt>
                <c:pt idx="419">
                  <c:v>44203</c:v>
                </c:pt>
                <c:pt idx="420">
                  <c:v>44204</c:v>
                </c:pt>
                <c:pt idx="421">
                  <c:v>44207</c:v>
                </c:pt>
                <c:pt idx="422">
                  <c:v>44208</c:v>
                </c:pt>
                <c:pt idx="423">
                  <c:v>44209</c:v>
                </c:pt>
                <c:pt idx="424">
                  <c:v>44210</c:v>
                </c:pt>
                <c:pt idx="425">
                  <c:v>44211</c:v>
                </c:pt>
                <c:pt idx="426">
                  <c:v>44214</c:v>
                </c:pt>
                <c:pt idx="427">
                  <c:v>44215</c:v>
                </c:pt>
                <c:pt idx="428">
                  <c:v>44216</c:v>
                </c:pt>
                <c:pt idx="429">
                  <c:v>44217</c:v>
                </c:pt>
                <c:pt idx="430">
                  <c:v>44218</c:v>
                </c:pt>
                <c:pt idx="431">
                  <c:v>44221</c:v>
                </c:pt>
                <c:pt idx="432">
                  <c:v>44222</c:v>
                </c:pt>
                <c:pt idx="433">
                  <c:v>44223</c:v>
                </c:pt>
                <c:pt idx="434">
                  <c:v>44224</c:v>
                </c:pt>
                <c:pt idx="435">
                  <c:v>44225</c:v>
                </c:pt>
                <c:pt idx="436">
                  <c:v>44228</c:v>
                </c:pt>
                <c:pt idx="437">
                  <c:v>44229</c:v>
                </c:pt>
                <c:pt idx="438">
                  <c:v>44230</c:v>
                </c:pt>
                <c:pt idx="439">
                  <c:v>44231</c:v>
                </c:pt>
                <c:pt idx="440">
                  <c:v>44232</c:v>
                </c:pt>
                <c:pt idx="441">
                  <c:v>44235</c:v>
                </c:pt>
                <c:pt idx="442">
                  <c:v>44236</c:v>
                </c:pt>
                <c:pt idx="443">
                  <c:v>44237</c:v>
                </c:pt>
                <c:pt idx="444">
                  <c:v>44238</c:v>
                </c:pt>
                <c:pt idx="445">
                  <c:v>44239</c:v>
                </c:pt>
                <c:pt idx="446">
                  <c:v>44242</c:v>
                </c:pt>
                <c:pt idx="447">
                  <c:v>44243</c:v>
                </c:pt>
                <c:pt idx="448">
                  <c:v>44244</c:v>
                </c:pt>
                <c:pt idx="449">
                  <c:v>44245</c:v>
                </c:pt>
                <c:pt idx="450">
                  <c:v>44246</c:v>
                </c:pt>
                <c:pt idx="451">
                  <c:v>44249</c:v>
                </c:pt>
                <c:pt idx="452">
                  <c:v>44250</c:v>
                </c:pt>
                <c:pt idx="453">
                  <c:v>44251</c:v>
                </c:pt>
                <c:pt idx="454">
                  <c:v>44252</c:v>
                </c:pt>
                <c:pt idx="455">
                  <c:v>44253</c:v>
                </c:pt>
                <c:pt idx="456">
                  <c:v>44256</c:v>
                </c:pt>
                <c:pt idx="457">
                  <c:v>44257</c:v>
                </c:pt>
                <c:pt idx="458">
                  <c:v>44258</c:v>
                </c:pt>
                <c:pt idx="459">
                  <c:v>44259</c:v>
                </c:pt>
                <c:pt idx="460">
                  <c:v>44260</c:v>
                </c:pt>
                <c:pt idx="461">
                  <c:v>44263</c:v>
                </c:pt>
                <c:pt idx="462">
                  <c:v>44264</c:v>
                </c:pt>
                <c:pt idx="463">
                  <c:v>44265</c:v>
                </c:pt>
                <c:pt idx="464">
                  <c:v>44266</c:v>
                </c:pt>
                <c:pt idx="465">
                  <c:v>44267</c:v>
                </c:pt>
                <c:pt idx="466">
                  <c:v>44270</c:v>
                </c:pt>
                <c:pt idx="467">
                  <c:v>44271</c:v>
                </c:pt>
                <c:pt idx="468">
                  <c:v>44272</c:v>
                </c:pt>
                <c:pt idx="469">
                  <c:v>44273</c:v>
                </c:pt>
                <c:pt idx="470">
                  <c:v>44274</c:v>
                </c:pt>
                <c:pt idx="471">
                  <c:v>44277</c:v>
                </c:pt>
                <c:pt idx="472">
                  <c:v>44278</c:v>
                </c:pt>
                <c:pt idx="473">
                  <c:v>44279</c:v>
                </c:pt>
                <c:pt idx="474">
                  <c:v>44280</c:v>
                </c:pt>
                <c:pt idx="475">
                  <c:v>44281</c:v>
                </c:pt>
                <c:pt idx="476">
                  <c:v>44284</c:v>
                </c:pt>
                <c:pt idx="477">
                  <c:v>44285</c:v>
                </c:pt>
                <c:pt idx="478">
                  <c:v>44286</c:v>
                </c:pt>
                <c:pt idx="479">
                  <c:v>44287</c:v>
                </c:pt>
                <c:pt idx="480">
                  <c:v>44288</c:v>
                </c:pt>
                <c:pt idx="481">
                  <c:v>44291</c:v>
                </c:pt>
                <c:pt idx="482">
                  <c:v>44292</c:v>
                </c:pt>
                <c:pt idx="483">
                  <c:v>44293</c:v>
                </c:pt>
                <c:pt idx="484">
                  <c:v>44294</c:v>
                </c:pt>
                <c:pt idx="485">
                  <c:v>44295</c:v>
                </c:pt>
                <c:pt idx="486">
                  <c:v>44298</c:v>
                </c:pt>
                <c:pt idx="487">
                  <c:v>44299</c:v>
                </c:pt>
                <c:pt idx="488">
                  <c:v>44300</c:v>
                </c:pt>
                <c:pt idx="489">
                  <c:v>44301</c:v>
                </c:pt>
                <c:pt idx="490">
                  <c:v>44302</c:v>
                </c:pt>
                <c:pt idx="491">
                  <c:v>44305</c:v>
                </c:pt>
                <c:pt idx="492">
                  <c:v>44306</c:v>
                </c:pt>
                <c:pt idx="493">
                  <c:v>44307</c:v>
                </c:pt>
                <c:pt idx="494">
                  <c:v>44308</c:v>
                </c:pt>
                <c:pt idx="495">
                  <c:v>44309</c:v>
                </c:pt>
                <c:pt idx="496">
                  <c:v>44312</c:v>
                </c:pt>
                <c:pt idx="497">
                  <c:v>44313</c:v>
                </c:pt>
                <c:pt idx="498">
                  <c:v>44314</c:v>
                </c:pt>
                <c:pt idx="499">
                  <c:v>44315</c:v>
                </c:pt>
                <c:pt idx="500">
                  <c:v>44316</c:v>
                </c:pt>
                <c:pt idx="501">
                  <c:v>44319</c:v>
                </c:pt>
                <c:pt idx="502">
                  <c:v>44320</c:v>
                </c:pt>
                <c:pt idx="503">
                  <c:v>44321</c:v>
                </c:pt>
                <c:pt idx="504">
                  <c:v>44322</c:v>
                </c:pt>
                <c:pt idx="505">
                  <c:v>44323</c:v>
                </c:pt>
                <c:pt idx="506">
                  <c:v>44326</c:v>
                </c:pt>
                <c:pt idx="507">
                  <c:v>44327</c:v>
                </c:pt>
                <c:pt idx="508">
                  <c:v>44328</c:v>
                </c:pt>
                <c:pt idx="509">
                  <c:v>44329</c:v>
                </c:pt>
                <c:pt idx="510">
                  <c:v>44330</c:v>
                </c:pt>
                <c:pt idx="511">
                  <c:v>44333</c:v>
                </c:pt>
                <c:pt idx="512">
                  <c:v>44334</c:v>
                </c:pt>
                <c:pt idx="513">
                  <c:v>44335</c:v>
                </c:pt>
                <c:pt idx="514">
                  <c:v>44336</c:v>
                </c:pt>
                <c:pt idx="515">
                  <c:v>44337</c:v>
                </c:pt>
                <c:pt idx="516">
                  <c:v>44340</c:v>
                </c:pt>
                <c:pt idx="517">
                  <c:v>44341</c:v>
                </c:pt>
                <c:pt idx="518">
                  <c:v>44342</c:v>
                </c:pt>
                <c:pt idx="519">
                  <c:v>44343</c:v>
                </c:pt>
                <c:pt idx="520">
                  <c:v>44344</c:v>
                </c:pt>
                <c:pt idx="521">
                  <c:v>44347</c:v>
                </c:pt>
                <c:pt idx="522">
                  <c:v>44348</c:v>
                </c:pt>
                <c:pt idx="523">
                  <c:v>44349</c:v>
                </c:pt>
                <c:pt idx="524">
                  <c:v>44350</c:v>
                </c:pt>
                <c:pt idx="525">
                  <c:v>44351</c:v>
                </c:pt>
                <c:pt idx="526">
                  <c:v>44354</c:v>
                </c:pt>
                <c:pt idx="527">
                  <c:v>44355</c:v>
                </c:pt>
                <c:pt idx="528">
                  <c:v>44356</c:v>
                </c:pt>
                <c:pt idx="529">
                  <c:v>44357</c:v>
                </c:pt>
                <c:pt idx="530">
                  <c:v>44358</c:v>
                </c:pt>
                <c:pt idx="531">
                  <c:v>44361</c:v>
                </c:pt>
                <c:pt idx="532">
                  <c:v>44362</c:v>
                </c:pt>
                <c:pt idx="533">
                  <c:v>44363</c:v>
                </c:pt>
                <c:pt idx="534">
                  <c:v>44364</c:v>
                </c:pt>
                <c:pt idx="535">
                  <c:v>44365</c:v>
                </c:pt>
                <c:pt idx="536">
                  <c:v>44368</c:v>
                </c:pt>
                <c:pt idx="537">
                  <c:v>44369</c:v>
                </c:pt>
                <c:pt idx="538">
                  <c:v>44370</c:v>
                </c:pt>
                <c:pt idx="539">
                  <c:v>44371</c:v>
                </c:pt>
                <c:pt idx="540">
                  <c:v>44372</c:v>
                </c:pt>
                <c:pt idx="541">
                  <c:v>44375</c:v>
                </c:pt>
                <c:pt idx="542">
                  <c:v>44376</c:v>
                </c:pt>
                <c:pt idx="543">
                  <c:v>44377</c:v>
                </c:pt>
                <c:pt idx="544">
                  <c:v>44378</c:v>
                </c:pt>
                <c:pt idx="545">
                  <c:v>44379</c:v>
                </c:pt>
                <c:pt idx="546">
                  <c:v>44382</c:v>
                </c:pt>
                <c:pt idx="547">
                  <c:v>44383</c:v>
                </c:pt>
                <c:pt idx="548">
                  <c:v>44384</c:v>
                </c:pt>
                <c:pt idx="549">
                  <c:v>44385</c:v>
                </c:pt>
                <c:pt idx="550">
                  <c:v>44386</c:v>
                </c:pt>
                <c:pt idx="551">
                  <c:v>44389</c:v>
                </c:pt>
                <c:pt idx="552">
                  <c:v>44390</c:v>
                </c:pt>
                <c:pt idx="553">
                  <c:v>44391</c:v>
                </c:pt>
                <c:pt idx="554">
                  <c:v>44392</c:v>
                </c:pt>
                <c:pt idx="555">
                  <c:v>44393</c:v>
                </c:pt>
                <c:pt idx="556">
                  <c:v>44396</c:v>
                </c:pt>
                <c:pt idx="557">
                  <c:v>44397</c:v>
                </c:pt>
                <c:pt idx="558">
                  <c:v>44398</c:v>
                </c:pt>
                <c:pt idx="559">
                  <c:v>44399</c:v>
                </c:pt>
                <c:pt idx="560">
                  <c:v>44400</c:v>
                </c:pt>
                <c:pt idx="561">
                  <c:v>44403</c:v>
                </c:pt>
                <c:pt idx="562">
                  <c:v>44404</c:v>
                </c:pt>
                <c:pt idx="563">
                  <c:v>44405</c:v>
                </c:pt>
                <c:pt idx="564">
                  <c:v>44406</c:v>
                </c:pt>
                <c:pt idx="565">
                  <c:v>44407</c:v>
                </c:pt>
                <c:pt idx="566">
                  <c:v>44410</c:v>
                </c:pt>
                <c:pt idx="567">
                  <c:v>44411</c:v>
                </c:pt>
                <c:pt idx="568">
                  <c:v>44412</c:v>
                </c:pt>
                <c:pt idx="569">
                  <c:v>44413</c:v>
                </c:pt>
                <c:pt idx="570">
                  <c:v>44414</c:v>
                </c:pt>
                <c:pt idx="571">
                  <c:v>44417</c:v>
                </c:pt>
                <c:pt idx="572">
                  <c:v>44418</c:v>
                </c:pt>
                <c:pt idx="573">
                  <c:v>44419</c:v>
                </c:pt>
                <c:pt idx="574">
                  <c:v>44420</c:v>
                </c:pt>
                <c:pt idx="575">
                  <c:v>44421</c:v>
                </c:pt>
                <c:pt idx="576">
                  <c:v>44424</c:v>
                </c:pt>
                <c:pt idx="577">
                  <c:v>44425</c:v>
                </c:pt>
                <c:pt idx="578">
                  <c:v>44426</c:v>
                </c:pt>
                <c:pt idx="579">
                  <c:v>44427</c:v>
                </c:pt>
                <c:pt idx="580">
                  <c:v>44428</c:v>
                </c:pt>
                <c:pt idx="581">
                  <c:v>44431</c:v>
                </c:pt>
                <c:pt idx="582">
                  <c:v>44432</c:v>
                </c:pt>
                <c:pt idx="583">
                  <c:v>44433</c:v>
                </c:pt>
                <c:pt idx="584">
                  <c:v>44434</c:v>
                </c:pt>
                <c:pt idx="585">
                  <c:v>44435</c:v>
                </c:pt>
                <c:pt idx="586">
                  <c:v>44438</c:v>
                </c:pt>
                <c:pt idx="587">
                  <c:v>44439</c:v>
                </c:pt>
                <c:pt idx="588">
                  <c:v>44440</c:v>
                </c:pt>
                <c:pt idx="589">
                  <c:v>44441</c:v>
                </c:pt>
                <c:pt idx="590">
                  <c:v>44442</c:v>
                </c:pt>
                <c:pt idx="591">
                  <c:v>44445</c:v>
                </c:pt>
                <c:pt idx="592">
                  <c:v>44446</c:v>
                </c:pt>
                <c:pt idx="593">
                  <c:v>44447</c:v>
                </c:pt>
                <c:pt idx="594">
                  <c:v>44448</c:v>
                </c:pt>
                <c:pt idx="595">
                  <c:v>44449</c:v>
                </c:pt>
                <c:pt idx="596">
                  <c:v>44452</c:v>
                </c:pt>
                <c:pt idx="597">
                  <c:v>44453</c:v>
                </c:pt>
                <c:pt idx="598">
                  <c:v>44454</c:v>
                </c:pt>
                <c:pt idx="599">
                  <c:v>44455</c:v>
                </c:pt>
                <c:pt idx="600">
                  <c:v>44456</c:v>
                </c:pt>
                <c:pt idx="601">
                  <c:v>44459</c:v>
                </c:pt>
                <c:pt idx="602">
                  <c:v>44460</c:v>
                </c:pt>
                <c:pt idx="603">
                  <c:v>44461</c:v>
                </c:pt>
                <c:pt idx="604">
                  <c:v>44462</c:v>
                </c:pt>
                <c:pt idx="605">
                  <c:v>44463</c:v>
                </c:pt>
                <c:pt idx="606">
                  <c:v>44466</c:v>
                </c:pt>
                <c:pt idx="607">
                  <c:v>44467</c:v>
                </c:pt>
                <c:pt idx="608">
                  <c:v>44468</c:v>
                </c:pt>
                <c:pt idx="609">
                  <c:v>44469</c:v>
                </c:pt>
                <c:pt idx="610">
                  <c:v>44470</c:v>
                </c:pt>
                <c:pt idx="611">
                  <c:v>44473</c:v>
                </c:pt>
                <c:pt idx="612">
                  <c:v>44474</c:v>
                </c:pt>
                <c:pt idx="613">
                  <c:v>44475</c:v>
                </c:pt>
                <c:pt idx="614">
                  <c:v>44476</c:v>
                </c:pt>
                <c:pt idx="615">
                  <c:v>44477</c:v>
                </c:pt>
                <c:pt idx="616">
                  <c:v>44480</c:v>
                </c:pt>
                <c:pt idx="617">
                  <c:v>44481</c:v>
                </c:pt>
                <c:pt idx="618">
                  <c:v>44482</c:v>
                </c:pt>
                <c:pt idx="619">
                  <c:v>44483</c:v>
                </c:pt>
                <c:pt idx="620">
                  <c:v>44484</c:v>
                </c:pt>
                <c:pt idx="621">
                  <c:v>44487</c:v>
                </c:pt>
                <c:pt idx="622">
                  <c:v>44488</c:v>
                </c:pt>
                <c:pt idx="623">
                  <c:v>44489</c:v>
                </c:pt>
                <c:pt idx="624">
                  <c:v>44490</c:v>
                </c:pt>
                <c:pt idx="625">
                  <c:v>44491</c:v>
                </c:pt>
                <c:pt idx="626">
                  <c:v>44494</c:v>
                </c:pt>
                <c:pt idx="627">
                  <c:v>44495</c:v>
                </c:pt>
                <c:pt idx="628">
                  <c:v>44496</c:v>
                </c:pt>
                <c:pt idx="629">
                  <c:v>44497</c:v>
                </c:pt>
                <c:pt idx="630">
                  <c:v>44498</c:v>
                </c:pt>
                <c:pt idx="631">
                  <c:v>44501</c:v>
                </c:pt>
                <c:pt idx="632">
                  <c:v>44502</c:v>
                </c:pt>
                <c:pt idx="633">
                  <c:v>44503</c:v>
                </c:pt>
                <c:pt idx="634">
                  <c:v>44504</c:v>
                </c:pt>
                <c:pt idx="635">
                  <c:v>44505</c:v>
                </c:pt>
                <c:pt idx="636">
                  <c:v>44508</c:v>
                </c:pt>
                <c:pt idx="637">
                  <c:v>44509</c:v>
                </c:pt>
                <c:pt idx="638">
                  <c:v>44510</c:v>
                </c:pt>
                <c:pt idx="639">
                  <c:v>44511</c:v>
                </c:pt>
                <c:pt idx="640">
                  <c:v>44512</c:v>
                </c:pt>
                <c:pt idx="641">
                  <c:v>44515</c:v>
                </c:pt>
                <c:pt idx="642">
                  <c:v>44516</c:v>
                </c:pt>
                <c:pt idx="643">
                  <c:v>44517</c:v>
                </c:pt>
                <c:pt idx="644">
                  <c:v>44518</c:v>
                </c:pt>
                <c:pt idx="645">
                  <c:v>44519</c:v>
                </c:pt>
                <c:pt idx="646">
                  <c:v>44522</c:v>
                </c:pt>
                <c:pt idx="647">
                  <c:v>44523</c:v>
                </c:pt>
                <c:pt idx="648">
                  <c:v>44524</c:v>
                </c:pt>
                <c:pt idx="649">
                  <c:v>44525</c:v>
                </c:pt>
                <c:pt idx="650">
                  <c:v>44526</c:v>
                </c:pt>
                <c:pt idx="651">
                  <c:v>44529</c:v>
                </c:pt>
                <c:pt idx="652">
                  <c:v>44530</c:v>
                </c:pt>
                <c:pt idx="653">
                  <c:v>44531</c:v>
                </c:pt>
                <c:pt idx="654">
                  <c:v>44532</c:v>
                </c:pt>
                <c:pt idx="655">
                  <c:v>44533</c:v>
                </c:pt>
                <c:pt idx="656">
                  <c:v>44536</c:v>
                </c:pt>
                <c:pt idx="657">
                  <c:v>44537</c:v>
                </c:pt>
                <c:pt idx="658">
                  <c:v>44538</c:v>
                </c:pt>
                <c:pt idx="659">
                  <c:v>44539</c:v>
                </c:pt>
                <c:pt idx="660">
                  <c:v>44540</c:v>
                </c:pt>
                <c:pt idx="661">
                  <c:v>44543</c:v>
                </c:pt>
                <c:pt idx="662">
                  <c:v>44544</c:v>
                </c:pt>
                <c:pt idx="663">
                  <c:v>44545</c:v>
                </c:pt>
                <c:pt idx="664">
                  <c:v>44546</c:v>
                </c:pt>
                <c:pt idx="665">
                  <c:v>44547</c:v>
                </c:pt>
                <c:pt idx="666">
                  <c:v>44550</c:v>
                </c:pt>
                <c:pt idx="667">
                  <c:v>44551</c:v>
                </c:pt>
                <c:pt idx="668">
                  <c:v>44552</c:v>
                </c:pt>
                <c:pt idx="669">
                  <c:v>44553</c:v>
                </c:pt>
                <c:pt idx="670">
                  <c:v>44554</c:v>
                </c:pt>
                <c:pt idx="671">
                  <c:v>44557</c:v>
                </c:pt>
                <c:pt idx="672">
                  <c:v>44558</c:v>
                </c:pt>
                <c:pt idx="673">
                  <c:v>44559</c:v>
                </c:pt>
                <c:pt idx="674">
                  <c:v>44560</c:v>
                </c:pt>
                <c:pt idx="675">
                  <c:v>44561</c:v>
                </c:pt>
                <c:pt idx="676">
                  <c:v>44564</c:v>
                </c:pt>
                <c:pt idx="677">
                  <c:v>44565</c:v>
                </c:pt>
                <c:pt idx="678">
                  <c:v>44566</c:v>
                </c:pt>
                <c:pt idx="679">
                  <c:v>44567</c:v>
                </c:pt>
                <c:pt idx="680">
                  <c:v>44568</c:v>
                </c:pt>
                <c:pt idx="681">
                  <c:v>44571</c:v>
                </c:pt>
                <c:pt idx="682">
                  <c:v>44572</c:v>
                </c:pt>
                <c:pt idx="683">
                  <c:v>44573</c:v>
                </c:pt>
                <c:pt idx="684">
                  <c:v>44574</c:v>
                </c:pt>
                <c:pt idx="685">
                  <c:v>44575</c:v>
                </c:pt>
                <c:pt idx="686">
                  <c:v>44578</c:v>
                </c:pt>
                <c:pt idx="687">
                  <c:v>44579</c:v>
                </c:pt>
                <c:pt idx="688">
                  <c:v>44580</c:v>
                </c:pt>
                <c:pt idx="689">
                  <c:v>44581</c:v>
                </c:pt>
                <c:pt idx="690">
                  <c:v>44582</c:v>
                </c:pt>
                <c:pt idx="691">
                  <c:v>44585</c:v>
                </c:pt>
                <c:pt idx="692">
                  <c:v>44586</c:v>
                </c:pt>
                <c:pt idx="693">
                  <c:v>44587</c:v>
                </c:pt>
                <c:pt idx="694">
                  <c:v>44588</c:v>
                </c:pt>
                <c:pt idx="695">
                  <c:v>44589</c:v>
                </c:pt>
                <c:pt idx="696">
                  <c:v>44592</c:v>
                </c:pt>
                <c:pt idx="697">
                  <c:v>44593</c:v>
                </c:pt>
                <c:pt idx="698">
                  <c:v>44594</c:v>
                </c:pt>
                <c:pt idx="699">
                  <c:v>44595</c:v>
                </c:pt>
                <c:pt idx="700">
                  <c:v>44596</c:v>
                </c:pt>
                <c:pt idx="701">
                  <c:v>44599</c:v>
                </c:pt>
                <c:pt idx="702">
                  <c:v>44600</c:v>
                </c:pt>
                <c:pt idx="703">
                  <c:v>44601</c:v>
                </c:pt>
                <c:pt idx="704">
                  <c:v>44602</c:v>
                </c:pt>
                <c:pt idx="705">
                  <c:v>44603</c:v>
                </c:pt>
                <c:pt idx="706">
                  <c:v>44606</c:v>
                </c:pt>
                <c:pt idx="707">
                  <c:v>44607</c:v>
                </c:pt>
                <c:pt idx="708">
                  <c:v>44608</c:v>
                </c:pt>
                <c:pt idx="709">
                  <c:v>44609</c:v>
                </c:pt>
                <c:pt idx="710">
                  <c:v>44610</c:v>
                </c:pt>
                <c:pt idx="711">
                  <c:v>44613</c:v>
                </c:pt>
                <c:pt idx="712">
                  <c:v>44614</c:v>
                </c:pt>
                <c:pt idx="713">
                  <c:v>44615</c:v>
                </c:pt>
                <c:pt idx="714">
                  <c:v>44616</c:v>
                </c:pt>
                <c:pt idx="715">
                  <c:v>44617</c:v>
                </c:pt>
                <c:pt idx="716">
                  <c:v>44620</c:v>
                </c:pt>
                <c:pt idx="717">
                  <c:v>44621</c:v>
                </c:pt>
                <c:pt idx="718">
                  <c:v>44622</c:v>
                </c:pt>
                <c:pt idx="719">
                  <c:v>44623</c:v>
                </c:pt>
                <c:pt idx="720">
                  <c:v>44624</c:v>
                </c:pt>
                <c:pt idx="721">
                  <c:v>44627</c:v>
                </c:pt>
                <c:pt idx="722">
                  <c:v>44628</c:v>
                </c:pt>
                <c:pt idx="723">
                  <c:v>44629</c:v>
                </c:pt>
                <c:pt idx="724">
                  <c:v>44630</c:v>
                </c:pt>
                <c:pt idx="725">
                  <c:v>44631</c:v>
                </c:pt>
                <c:pt idx="726">
                  <c:v>44634</c:v>
                </c:pt>
                <c:pt idx="727">
                  <c:v>44635</c:v>
                </c:pt>
                <c:pt idx="728">
                  <c:v>44636</c:v>
                </c:pt>
                <c:pt idx="729">
                  <c:v>44637</c:v>
                </c:pt>
                <c:pt idx="730">
                  <c:v>44638</c:v>
                </c:pt>
                <c:pt idx="731">
                  <c:v>44641</c:v>
                </c:pt>
                <c:pt idx="732">
                  <c:v>44642</c:v>
                </c:pt>
                <c:pt idx="733">
                  <c:v>44643</c:v>
                </c:pt>
                <c:pt idx="734">
                  <c:v>44644</c:v>
                </c:pt>
                <c:pt idx="735">
                  <c:v>44645</c:v>
                </c:pt>
                <c:pt idx="736">
                  <c:v>44648</c:v>
                </c:pt>
                <c:pt idx="737">
                  <c:v>44649</c:v>
                </c:pt>
                <c:pt idx="738">
                  <c:v>44650</c:v>
                </c:pt>
                <c:pt idx="739">
                  <c:v>44651</c:v>
                </c:pt>
                <c:pt idx="740">
                  <c:v>44652</c:v>
                </c:pt>
                <c:pt idx="741">
                  <c:v>44655</c:v>
                </c:pt>
                <c:pt idx="742">
                  <c:v>44656</c:v>
                </c:pt>
                <c:pt idx="743">
                  <c:v>44657</c:v>
                </c:pt>
                <c:pt idx="744">
                  <c:v>44658</c:v>
                </c:pt>
                <c:pt idx="745">
                  <c:v>44659</c:v>
                </c:pt>
                <c:pt idx="746">
                  <c:v>44662</c:v>
                </c:pt>
                <c:pt idx="747">
                  <c:v>44663</c:v>
                </c:pt>
                <c:pt idx="748">
                  <c:v>44664</c:v>
                </c:pt>
                <c:pt idx="749">
                  <c:v>44665</c:v>
                </c:pt>
                <c:pt idx="750">
                  <c:v>44666</c:v>
                </c:pt>
                <c:pt idx="751">
                  <c:v>44669</c:v>
                </c:pt>
                <c:pt idx="752">
                  <c:v>44670</c:v>
                </c:pt>
                <c:pt idx="753">
                  <c:v>44671</c:v>
                </c:pt>
                <c:pt idx="754">
                  <c:v>44672</c:v>
                </c:pt>
                <c:pt idx="755">
                  <c:v>44673</c:v>
                </c:pt>
                <c:pt idx="756">
                  <c:v>44676</c:v>
                </c:pt>
                <c:pt idx="757">
                  <c:v>44677</c:v>
                </c:pt>
                <c:pt idx="758">
                  <c:v>44678</c:v>
                </c:pt>
                <c:pt idx="759">
                  <c:v>44679</c:v>
                </c:pt>
                <c:pt idx="760">
                  <c:v>44680</c:v>
                </c:pt>
                <c:pt idx="761">
                  <c:v>44683</c:v>
                </c:pt>
                <c:pt idx="762">
                  <c:v>44684</c:v>
                </c:pt>
                <c:pt idx="763">
                  <c:v>44685</c:v>
                </c:pt>
                <c:pt idx="764">
                  <c:v>44686</c:v>
                </c:pt>
                <c:pt idx="765">
                  <c:v>44687</c:v>
                </c:pt>
                <c:pt idx="766">
                  <c:v>44690</c:v>
                </c:pt>
                <c:pt idx="767">
                  <c:v>44691</c:v>
                </c:pt>
                <c:pt idx="768">
                  <c:v>44692</c:v>
                </c:pt>
                <c:pt idx="769">
                  <c:v>44693</c:v>
                </c:pt>
                <c:pt idx="770">
                  <c:v>44694</c:v>
                </c:pt>
                <c:pt idx="771">
                  <c:v>44697</c:v>
                </c:pt>
                <c:pt idx="772">
                  <c:v>44698</c:v>
                </c:pt>
                <c:pt idx="773">
                  <c:v>44699</c:v>
                </c:pt>
                <c:pt idx="774">
                  <c:v>44700</c:v>
                </c:pt>
                <c:pt idx="775">
                  <c:v>44701</c:v>
                </c:pt>
                <c:pt idx="776">
                  <c:v>44704</c:v>
                </c:pt>
                <c:pt idx="777">
                  <c:v>44705</c:v>
                </c:pt>
                <c:pt idx="778">
                  <c:v>44706</c:v>
                </c:pt>
                <c:pt idx="779">
                  <c:v>44707</c:v>
                </c:pt>
                <c:pt idx="780">
                  <c:v>44708</c:v>
                </c:pt>
                <c:pt idx="781">
                  <c:v>44711</c:v>
                </c:pt>
                <c:pt idx="782">
                  <c:v>44712</c:v>
                </c:pt>
                <c:pt idx="783">
                  <c:v>44713</c:v>
                </c:pt>
                <c:pt idx="784">
                  <c:v>44714</c:v>
                </c:pt>
                <c:pt idx="785">
                  <c:v>44715</c:v>
                </c:pt>
                <c:pt idx="786">
                  <c:v>44718</c:v>
                </c:pt>
                <c:pt idx="787">
                  <c:v>44719</c:v>
                </c:pt>
                <c:pt idx="788">
                  <c:v>44720</c:v>
                </c:pt>
                <c:pt idx="789">
                  <c:v>44721</c:v>
                </c:pt>
                <c:pt idx="790">
                  <c:v>44722</c:v>
                </c:pt>
                <c:pt idx="791">
                  <c:v>44725</c:v>
                </c:pt>
                <c:pt idx="792">
                  <c:v>44726</c:v>
                </c:pt>
                <c:pt idx="793">
                  <c:v>44727</c:v>
                </c:pt>
                <c:pt idx="794">
                  <c:v>44728</c:v>
                </c:pt>
                <c:pt idx="795">
                  <c:v>44729</c:v>
                </c:pt>
                <c:pt idx="796">
                  <c:v>44732</c:v>
                </c:pt>
                <c:pt idx="797">
                  <c:v>44733</c:v>
                </c:pt>
                <c:pt idx="798">
                  <c:v>44734</c:v>
                </c:pt>
                <c:pt idx="799">
                  <c:v>44735</c:v>
                </c:pt>
                <c:pt idx="800">
                  <c:v>44736</c:v>
                </c:pt>
                <c:pt idx="801">
                  <c:v>44739</c:v>
                </c:pt>
                <c:pt idx="802">
                  <c:v>44740</c:v>
                </c:pt>
                <c:pt idx="803">
                  <c:v>44741</c:v>
                </c:pt>
                <c:pt idx="804">
                  <c:v>44742</c:v>
                </c:pt>
              </c:numCache>
            </c:numRef>
          </c:cat>
          <c:val>
            <c:numRef>
              <c:f>Sheet1!$B$1796:$B$2600</c:f>
              <c:numCache>
                <c:formatCode>General</c:formatCode>
                <c:ptCount val="805"/>
                <c:pt idx="0">
                  <c:v>1.0004</c:v>
                </c:pt>
                <c:pt idx="1">
                  <c:v>1.0004</c:v>
                </c:pt>
                <c:pt idx="2">
                  <c:v>1.0004</c:v>
                </c:pt>
                <c:pt idx="3">
                  <c:v>1.0004</c:v>
                </c:pt>
                <c:pt idx="4">
                  <c:v>1.0004</c:v>
                </c:pt>
                <c:pt idx="5">
                  <c:v>1.0004999999999999</c:v>
                </c:pt>
                <c:pt idx="6">
                  <c:v>1.0004999999999999</c:v>
                </c:pt>
                <c:pt idx="7">
                  <c:v>1.0004999999999999</c:v>
                </c:pt>
                <c:pt idx="8">
                  <c:v>1.0004999999999999</c:v>
                </c:pt>
                <c:pt idx="9">
                  <c:v>1.0004999999999999</c:v>
                </c:pt>
                <c:pt idx="10">
                  <c:v>1.0004999999999999</c:v>
                </c:pt>
                <c:pt idx="11">
                  <c:v>1.0004</c:v>
                </c:pt>
                <c:pt idx="12">
                  <c:v>1.0004999999999999</c:v>
                </c:pt>
                <c:pt idx="13">
                  <c:v>1.0004999999999999</c:v>
                </c:pt>
                <c:pt idx="14">
                  <c:v>1.0004999999999999</c:v>
                </c:pt>
                <c:pt idx="15">
                  <c:v>1.0004999999999999</c:v>
                </c:pt>
                <c:pt idx="16">
                  <c:v>1.0004999999999999</c:v>
                </c:pt>
                <c:pt idx="17">
                  <c:v>1.0004999999999999</c:v>
                </c:pt>
                <c:pt idx="18">
                  <c:v>1.0004999999999999</c:v>
                </c:pt>
                <c:pt idx="19">
                  <c:v>1.0004999999999999</c:v>
                </c:pt>
                <c:pt idx="20">
                  <c:v>1.0004999999999999</c:v>
                </c:pt>
                <c:pt idx="21">
                  <c:v>1.0004999999999999</c:v>
                </c:pt>
                <c:pt idx="22">
                  <c:v>1.0004999999999999</c:v>
                </c:pt>
                <c:pt idx="23">
                  <c:v>1.0004999999999999</c:v>
                </c:pt>
                <c:pt idx="24">
                  <c:v>1.0004999999999999</c:v>
                </c:pt>
                <c:pt idx="25">
                  <c:v>1.0004</c:v>
                </c:pt>
                <c:pt idx="26">
                  <c:v>1.0004</c:v>
                </c:pt>
                <c:pt idx="27">
                  <c:v>1.0004</c:v>
                </c:pt>
                <c:pt idx="28">
                  <c:v>1.0004</c:v>
                </c:pt>
                <c:pt idx="29">
                  <c:v>1.0004999999999999</c:v>
                </c:pt>
                <c:pt idx="30">
                  <c:v>1.0004999999999999</c:v>
                </c:pt>
                <c:pt idx="31">
                  <c:v>1.0004</c:v>
                </c:pt>
                <c:pt idx="32">
                  <c:v>1.0004</c:v>
                </c:pt>
                <c:pt idx="33">
                  <c:v>1.0004</c:v>
                </c:pt>
                <c:pt idx="34">
                  <c:v>1.0004999999999999</c:v>
                </c:pt>
                <c:pt idx="35">
                  <c:v>1.0004999999999999</c:v>
                </c:pt>
                <c:pt idx="36">
                  <c:v>1.0004</c:v>
                </c:pt>
                <c:pt idx="37">
                  <c:v>1.0004</c:v>
                </c:pt>
                <c:pt idx="38">
                  <c:v>1.0004</c:v>
                </c:pt>
                <c:pt idx="39">
                  <c:v>1.0004</c:v>
                </c:pt>
                <c:pt idx="40">
                  <c:v>1.0004</c:v>
                </c:pt>
                <c:pt idx="41">
                  <c:v>1.0004</c:v>
                </c:pt>
                <c:pt idx="42">
                  <c:v>1.0004</c:v>
                </c:pt>
                <c:pt idx="43">
                  <c:v>1.0004</c:v>
                </c:pt>
                <c:pt idx="44">
                  <c:v>1.0004</c:v>
                </c:pt>
                <c:pt idx="45">
                  <c:v>1.0004</c:v>
                </c:pt>
                <c:pt idx="46">
                  <c:v>1.0004999999999999</c:v>
                </c:pt>
                <c:pt idx="47">
                  <c:v>1.0004999999999999</c:v>
                </c:pt>
                <c:pt idx="48">
                  <c:v>1.0004999999999999</c:v>
                </c:pt>
                <c:pt idx="49">
                  <c:v>1.0004999999999999</c:v>
                </c:pt>
                <c:pt idx="50">
                  <c:v>1.0004999999999999</c:v>
                </c:pt>
                <c:pt idx="51">
                  <c:v>1.0004999999999999</c:v>
                </c:pt>
                <c:pt idx="52">
                  <c:v>1.0004999999999999</c:v>
                </c:pt>
                <c:pt idx="53">
                  <c:v>1.0004999999999999</c:v>
                </c:pt>
                <c:pt idx="54">
                  <c:v>1.0004999999999999</c:v>
                </c:pt>
                <c:pt idx="55">
                  <c:v>1.0004999999999999</c:v>
                </c:pt>
                <c:pt idx="56">
                  <c:v>1.0004999999999999</c:v>
                </c:pt>
                <c:pt idx="57">
                  <c:v>1.0004999999999999</c:v>
                </c:pt>
                <c:pt idx="58">
                  <c:v>1.0004999999999999</c:v>
                </c:pt>
                <c:pt idx="59">
                  <c:v>1.0004999999999999</c:v>
                </c:pt>
                <c:pt idx="60">
                  <c:v>1.0004999999999999</c:v>
                </c:pt>
                <c:pt idx="61">
                  <c:v>1.0004999999999999</c:v>
                </c:pt>
                <c:pt idx="62">
                  <c:v>1.0004</c:v>
                </c:pt>
                <c:pt idx="63">
                  <c:v>1.0004</c:v>
                </c:pt>
                <c:pt idx="64">
                  <c:v>1.0004</c:v>
                </c:pt>
                <c:pt idx="65">
                  <c:v>1.0004</c:v>
                </c:pt>
                <c:pt idx="66">
                  <c:v>1.0004</c:v>
                </c:pt>
                <c:pt idx="67">
                  <c:v>1.0004</c:v>
                </c:pt>
                <c:pt idx="68">
                  <c:v>1.0004</c:v>
                </c:pt>
                <c:pt idx="69">
                  <c:v>1.0004</c:v>
                </c:pt>
                <c:pt idx="70">
                  <c:v>1.0004</c:v>
                </c:pt>
                <c:pt idx="71">
                  <c:v>1.0004</c:v>
                </c:pt>
                <c:pt idx="72">
                  <c:v>1.0004</c:v>
                </c:pt>
                <c:pt idx="73">
                  <c:v>1.0004</c:v>
                </c:pt>
                <c:pt idx="74">
                  <c:v>1.0004</c:v>
                </c:pt>
                <c:pt idx="75">
                  <c:v>1.0004</c:v>
                </c:pt>
                <c:pt idx="76">
                  <c:v>1.0004</c:v>
                </c:pt>
                <c:pt idx="77">
                  <c:v>1.0004</c:v>
                </c:pt>
                <c:pt idx="78">
                  <c:v>1.0004</c:v>
                </c:pt>
                <c:pt idx="79">
                  <c:v>1.0004</c:v>
                </c:pt>
                <c:pt idx="80">
                  <c:v>1.0004</c:v>
                </c:pt>
                <c:pt idx="81">
                  <c:v>1.0004</c:v>
                </c:pt>
                <c:pt idx="82">
                  <c:v>1.0004</c:v>
                </c:pt>
                <c:pt idx="83">
                  <c:v>1.0004</c:v>
                </c:pt>
                <c:pt idx="84">
                  <c:v>1.0004</c:v>
                </c:pt>
                <c:pt idx="85">
                  <c:v>1.0004</c:v>
                </c:pt>
                <c:pt idx="86">
                  <c:v>1.0004</c:v>
                </c:pt>
                <c:pt idx="87">
                  <c:v>1.0004</c:v>
                </c:pt>
                <c:pt idx="88">
                  <c:v>1.0004999999999999</c:v>
                </c:pt>
                <c:pt idx="89">
                  <c:v>1.0004999999999999</c:v>
                </c:pt>
                <c:pt idx="90">
                  <c:v>1.0004999999999999</c:v>
                </c:pt>
                <c:pt idx="91">
                  <c:v>1.0004999999999999</c:v>
                </c:pt>
                <c:pt idx="92">
                  <c:v>1.0004999999999999</c:v>
                </c:pt>
                <c:pt idx="93">
                  <c:v>1.0004999999999999</c:v>
                </c:pt>
                <c:pt idx="94">
                  <c:v>1.0004999999999999</c:v>
                </c:pt>
                <c:pt idx="95">
                  <c:v>1.0004999999999999</c:v>
                </c:pt>
                <c:pt idx="96">
                  <c:v>1.0004999999999999</c:v>
                </c:pt>
                <c:pt idx="97">
                  <c:v>1.0004999999999999</c:v>
                </c:pt>
                <c:pt idx="98">
                  <c:v>1.0004999999999999</c:v>
                </c:pt>
                <c:pt idx="99">
                  <c:v>1.0004999999999999</c:v>
                </c:pt>
                <c:pt idx="100">
                  <c:v>1.0004999999999999</c:v>
                </c:pt>
                <c:pt idx="101">
                  <c:v>1.0004</c:v>
                </c:pt>
                <c:pt idx="102">
                  <c:v>1.0004999999999999</c:v>
                </c:pt>
                <c:pt idx="103">
                  <c:v>1.0004999999999999</c:v>
                </c:pt>
                <c:pt idx="104">
                  <c:v>1.0004</c:v>
                </c:pt>
                <c:pt idx="105">
                  <c:v>1.0004</c:v>
                </c:pt>
                <c:pt idx="106">
                  <c:v>1.0004</c:v>
                </c:pt>
                <c:pt idx="107">
                  <c:v>1.0004</c:v>
                </c:pt>
                <c:pt idx="108">
                  <c:v>1.0004</c:v>
                </c:pt>
                <c:pt idx="109">
                  <c:v>1.0004999999999999</c:v>
                </c:pt>
                <c:pt idx="110">
                  <c:v>1.0004999999999999</c:v>
                </c:pt>
                <c:pt idx="111">
                  <c:v>1.0004999999999999</c:v>
                </c:pt>
                <c:pt idx="112">
                  <c:v>1.0004999999999999</c:v>
                </c:pt>
                <c:pt idx="113">
                  <c:v>1.0004999999999999</c:v>
                </c:pt>
                <c:pt idx="114">
                  <c:v>1.0004999999999999</c:v>
                </c:pt>
                <c:pt idx="115">
                  <c:v>1.0004999999999999</c:v>
                </c:pt>
                <c:pt idx="116">
                  <c:v>1.0004999999999999</c:v>
                </c:pt>
                <c:pt idx="117">
                  <c:v>1.0004999999999999</c:v>
                </c:pt>
                <c:pt idx="118">
                  <c:v>1.0004999999999999</c:v>
                </c:pt>
                <c:pt idx="119">
                  <c:v>1.0004999999999999</c:v>
                </c:pt>
                <c:pt idx="120">
                  <c:v>1.0004</c:v>
                </c:pt>
                <c:pt idx="121">
                  <c:v>1.0004</c:v>
                </c:pt>
                <c:pt idx="122">
                  <c:v>1.0004</c:v>
                </c:pt>
                <c:pt idx="123">
                  <c:v>1.0004</c:v>
                </c:pt>
                <c:pt idx="124">
                  <c:v>1.0004</c:v>
                </c:pt>
                <c:pt idx="125">
                  <c:v>1.0004</c:v>
                </c:pt>
                <c:pt idx="126">
                  <c:v>1.0004</c:v>
                </c:pt>
                <c:pt idx="127">
                  <c:v>1.0004</c:v>
                </c:pt>
                <c:pt idx="128">
                  <c:v>1.0004</c:v>
                </c:pt>
                <c:pt idx="129">
                  <c:v>1.0004</c:v>
                </c:pt>
                <c:pt idx="130">
                  <c:v>1.0004</c:v>
                </c:pt>
                <c:pt idx="131">
                  <c:v>1.0004</c:v>
                </c:pt>
                <c:pt idx="132">
                  <c:v>1.0004</c:v>
                </c:pt>
                <c:pt idx="133">
                  <c:v>1.0004</c:v>
                </c:pt>
                <c:pt idx="134">
                  <c:v>1.0004</c:v>
                </c:pt>
                <c:pt idx="135">
                  <c:v>1.0004</c:v>
                </c:pt>
                <c:pt idx="136">
                  <c:v>1.0004</c:v>
                </c:pt>
                <c:pt idx="137">
                  <c:v>1.0004</c:v>
                </c:pt>
                <c:pt idx="138">
                  <c:v>1.0004</c:v>
                </c:pt>
                <c:pt idx="139">
                  <c:v>1.0004</c:v>
                </c:pt>
                <c:pt idx="140">
                  <c:v>1.0004</c:v>
                </c:pt>
                <c:pt idx="141">
                  <c:v>1.0004</c:v>
                </c:pt>
                <c:pt idx="142">
                  <c:v>1.0004</c:v>
                </c:pt>
                <c:pt idx="143">
                  <c:v>1.0004</c:v>
                </c:pt>
                <c:pt idx="144">
                  <c:v>1.0004</c:v>
                </c:pt>
                <c:pt idx="145">
                  <c:v>1.0004</c:v>
                </c:pt>
                <c:pt idx="146">
                  <c:v>1.0004</c:v>
                </c:pt>
                <c:pt idx="147">
                  <c:v>1.0004</c:v>
                </c:pt>
                <c:pt idx="148">
                  <c:v>1.0004</c:v>
                </c:pt>
                <c:pt idx="149">
                  <c:v>1.0004</c:v>
                </c:pt>
                <c:pt idx="150">
                  <c:v>1.0004</c:v>
                </c:pt>
                <c:pt idx="151">
                  <c:v>1.0004</c:v>
                </c:pt>
                <c:pt idx="152">
                  <c:v>1.0004</c:v>
                </c:pt>
                <c:pt idx="153">
                  <c:v>1.0004</c:v>
                </c:pt>
                <c:pt idx="154">
                  <c:v>1.0004</c:v>
                </c:pt>
                <c:pt idx="155">
                  <c:v>1.0004</c:v>
                </c:pt>
                <c:pt idx="156">
                  <c:v>1.0004</c:v>
                </c:pt>
                <c:pt idx="157">
                  <c:v>1.0004</c:v>
                </c:pt>
                <c:pt idx="158">
                  <c:v>1.0004</c:v>
                </c:pt>
                <c:pt idx="159">
                  <c:v>1.0004</c:v>
                </c:pt>
                <c:pt idx="160">
                  <c:v>1.0004</c:v>
                </c:pt>
                <c:pt idx="161">
                  <c:v>1.0004</c:v>
                </c:pt>
                <c:pt idx="162">
                  <c:v>1.0004</c:v>
                </c:pt>
                <c:pt idx="163">
                  <c:v>1.0004</c:v>
                </c:pt>
                <c:pt idx="164">
                  <c:v>1.0004</c:v>
                </c:pt>
                <c:pt idx="165">
                  <c:v>1.0004</c:v>
                </c:pt>
                <c:pt idx="166">
                  <c:v>1.0004</c:v>
                </c:pt>
                <c:pt idx="167">
                  <c:v>1.0004</c:v>
                </c:pt>
                <c:pt idx="168">
                  <c:v>1.0004</c:v>
                </c:pt>
                <c:pt idx="169">
                  <c:v>1.0004</c:v>
                </c:pt>
                <c:pt idx="170">
                  <c:v>1.0004</c:v>
                </c:pt>
                <c:pt idx="171">
                  <c:v>1.0004</c:v>
                </c:pt>
                <c:pt idx="172">
                  <c:v>1.0004</c:v>
                </c:pt>
                <c:pt idx="173">
                  <c:v>1.0004</c:v>
                </c:pt>
                <c:pt idx="174">
                  <c:v>1.0004</c:v>
                </c:pt>
                <c:pt idx="175">
                  <c:v>1.0004</c:v>
                </c:pt>
                <c:pt idx="176">
                  <c:v>1.0004</c:v>
                </c:pt>
                <c:pt idx="177">
                  <c:v>1.0004</c:v>
                </c:pt>
                <c:pt idx="178">
                  <c:v>1.0004</c:v>
                </c:pt>
                <c:pt idx="179">
                  <c:v>1.0004</c:v>
                </c:pt>
                <c:pt idx="180">
                  <c:v>1.0004</c:v>
                </c:pt>
                <c:pt idx="181">
                  <c:v>1.0004</c:v>
                </c:pt>
                <c:pt idx="182">
                  <c:v>1.0004</c:v>
                </c:pt>
                <c:pt idx="183">
                  <c:v>1.0004</c:v>
                </c:pt>
                <c:pt idx="184">
                  <c:v>1.0004</c:v>
                </c:pt>
                <c:pt idx="185">
                  <c:v>1.0004</c:v>
                </c:pt>
                <c:pt idx="186">
                  <c:v>1.0004</c:v>
                </c:pt>
                <c:pt idx="187">
                  <c:v>1.0004</c:v>
                </c:pt>
                <c:pt idx="188">
                  <c:v>1.0004</c:v>
                </c:pt>
                <c:pt idx="189">
                  <c:v>1.0004</c:v>
                </c:pt>
                <c:pt idx="190">
                  <c:v>1.0004</c:v>
                </c:pt>
                <c:pt idx="191">
                  <c:v>1.0004</c:v>
                </c:pt>
                <c:pt idx="192">
                  <c:v>1.0004</c:v>
                </c:pt>
                <c:pt idx="193">
                  <c:v>1.0004</c:v>
                </c:pt>
                <c:pt idx="194">
                  <c:v>1.0004</c:v>
                </c:pt>
                <c:pt idx="195">
                  <c:v>1.0004999999999999</c:v>
                </c:pt>
                <c:pt idx="196">
                  <c:v>1.0004999999999999</c:v>
                </c:pt>
                <c:pt idx="197">
                  <c:v>1.0005999999999999</c:v>
                </c:pt>
                <c:pt idx="198">
                  <c:v>1.0006999999999999</c:v>
                </c:pt>
                <c:pt idx="199">
                  <c:v>1.0006999999999999</c:v>
                </c:pt>
                <c:pt idx="200">
                  <c:v>1.0007999999999999</c:v>
                </c:pt>
                <c:pt idx="201">
                  <c:v>1.0008999999999999</c:v>
                </c:pt>
                <c:pt idx="202">
                  <c:v>1.0008999999999999</c:v>
                </c:pt>
                <c:pt idx="203">
                  <c:v>1.0007999999999999</c:v>
                </c:pt>
                <c:pt idx="204">
                  <c:v>1.0008999999999999</c:v>
                </c:pt>
                <c:pt idx="205">
                  <c:v>1.0007999999999999</c:v>
                </c:pt>
                <c:pt idx="206">
                  <c:v>1.0008999999999999</c:v>
                </c:pt>
                <c:pt idx="207">
                  <c:v>1.0008999999999999</c:v>
                </c:pt>
                <c:pt idx="208">
                  <c:v>1.0008999999999999</c:v>
                </c:pt>
                <c:pt idx="209">
                  <c:v>1.0008999999999999</c:v>
                </c:pt>
                <c:pt idx="210">
                  <c:v>1.0008999999999999</c:v>
                </c:pt>
                <c:pt idx="211">
                  <c:v>1.0008999999999999</c:v>
                </c:pt>
                <c:pt idx="212">
                  <c:v>1.0008999999999999</c:v>
                </c:pt>
                <c:pt idx="213">
                  <c:v>1.0008999999999999</c:v>
                </c:pt>
                <c:pt idx="214">
                  <c:v>1.0008999999999999</c:v>
                </c:pt>
                <c:pt idx="215">
                  <c:v>1.0008999999999999</c:v>
                </c:pt>
                <c:pt idx="216">
                  <c:v>1.0008999999999999</c:v>
                </c:pt>
                <c:pt idx="217">
                  <c:v>1.0008999999999999</c:v>
                </c:pt>
                <c:pt idx="218">
                  <c:v>1.0008999999999999</c:v>
                </c:pt>
                <c:pt idx="219">
                  <c:v>1.0008999999999999</c:v>
                </c:pt>
                <c:pt idx="220">
                  <c:v>1.0007999999999999</c:v>
                </c:pt>
                <c:pt idx="221">
                  <c:v>1.0007999999999999</c:v>
                </c:pt>
                <c:pt idx="222">
                  <c:v>1.0006999999999999</c:v>
                </c:pt>
                <c:pt idx="223">
                  <c:v>1.0006999999999999</c:v>
                </c:pt>
                <c:pt idx="224">
                  <c:v>1.0006999999999999</c:v>
                </c:pt>
                <c:pt idx="225">
                  <c:v>1.0005999999999999</c:v>
                </c:pt>
                <c:pt idx="226">
                  <c:v>1.0005999999999999</c:v>
                </c:pt>
                <c:pt idx="227">
                  <c:v>1.0005999999999999</c:v>
                </c:pt>
                <c:pt idx="228">
                  <c:v>1.0005999999999999</c:v>
                </c:pt>
                <c:pt idx="229">
                  <c:v>1.0005999999999999</c:v>
                </c:pt>
                <c:pt idx="230">
                  <c:v>1.0005999999999999</c:v>
                </c:pt>
                <c:pt idx="231">
                  <c:v>1.0005999999999999</c:v>
                </c:pt>
                <c:pt idx="232">
                  <c:v>1.0005999999999999</c:v>
                </c:pt>
                <c:pt idx="233">
                  <c:v>1.0005999999999999</c:v>
                </c:pt>
                <c:pt idx="234">
                  <c:v>1.0005999999999999</c:v>
                </c:pt>
                <c:pt idx="235">
                  <c:v>1.0005999999999999</c:v>
                </c:pt>
                <c:pt idx="236">
                  <c:v>1.0004999999999999</c:v>
                </c:pt>
                <c:pt idx="237">
                  <c:v>1.0004999999999999</c:v>
                </c:pt>
                <c:pt idx="238">
                  <c:v>1.0004999999999999</c:v>
                </c:pt>
                <c:pt idx="239">
                  <c:v>1.0004999999999999</c:v>
                </c:pt>
                <c:pt idx="240">
                  <c:v>1.0004999999999999</c:v>
                </c:pt>
                <c:pt idx="241">
                  <c:v>1.0004999999999999</c:v>
                </c:pt>
                <c:pt idx="242">
                  <c:v>1.0004999999999999</c:v>
                </c:pt>
                <c:pt idx="243">
                  <c:v>1.0004999999999999</c:v>
                </c:pt>
                <c:pt idx="244">
                  <c:v>1.0004999999999999</c:v>
                </c:pt>
                <c:pt idx="245">
                  <c:v>1.0004999999999999</c:v>
                </c:pt>
                <c:pt idx="246">
                  <c:v>1.0004</c:v>
                </c:pt>
                <c:pt idx="247">
                  <c:v>1.0004</c:v>
                </c:pt>
                <c:pt idx="248">
                  <c:v>1.0004</c:v>
                </c:pt>
                <c:pt idx="249">
                  <c:v>1.0004</c:v>
                </c:pt>
                <c:pt idx="250">
                  <c:v>1.0004</c:v>
                </c:pt>
                <c:pt idx="251">
                  <c:v>1.0004999999999999</c:v>
                </c:pt>
                <c:pt idx="252">
                  <c:v>1.0004999999999999</c:v>
                </c:pt>
                <c:pt idx="253">
                  <c:v>1.0004999999999999</c:v>
                </c:pt>
                <c:pt idx="254">
                  <c:v>1.0004999999999999</c:v>
                </c:pt>
                <c:pt idx="255">
                  <c:v>1.0004999999999999</c:v>
                </c:pt>
                <c:pt idx="256">
                  <c:v>1.0004999999999999</c:v>
                </c:pt>
                <c:pt idx="257">
                  <c:v>1.0004999999999999</c:v>
                </c:pt>
                <c:pt idx="258">
                  <c:v>1.0004</c:v>
                </c:pt>
                <c:pt idx="259">
                  <c:v>1.0004</c:v>
                </c:pt>
                <c:pt idx="260">
                  <c:v>1.0004</c:v>
                </c:pt>
                <c:pt idx="261">
                  <c:v>1.0004</c:v>
                </c:pt>
                <c:pt idx="262">
                  <c:v>1.0004</c:v>
                </c:pt>
                <c:pt idx="263">
                  <c:v>1.0004</c:v>
                </c:pt>
                <c:pt idx="264">
                  <c:v>1.0004</c:v>
                </c:pt>
                <c:pt idx="265">
                  <c:v>1.0004</c:v>
                </c:pt>
                <c:pt idx="266">
                  <c:v>1.0004</c:v>
                </c:pt>
                <c:pt idx="267">
                  <c:v>1.0004</c:v>
                </c:pt>
                <c:pt idx="268">
                  <c:v>1.0004</c:v>
                </c:pt>
                <c:pt idx="269">
                  <c:v>1.0004</c:v>
                </c:pt>
                <c:pt idx="270">
                  <c:v>1.0004</c:v>
                </c:pt>
                <c:pt idx="271">
                  <c:v>1.0004</c:v>
                </c:pt>
                <c:pt idx="272">
                  <c:v>1.0004</c:v>
                </c:pt>
                <c:pt idx="273">
                  <c:v>1.0004</c:v>
                </c:pt>
                <c:pt idx="274">
                  <c:v>1.0004</c:v>
                </c:pt>
                <c:pt idx="275">
                  <c:v>1.0004</c:v>
                </c:pt>
                <c:pt idx="276">
                  <c:v>1.0004</c:v>
                </c:pt>
                <c:pt idx="277">
                  <c:v>1.0004</c:v>
                </c:pt>
                <c:pt idx="278">
                  <c:v>1.0004</c:v>
                </c:pt>
                <c:pt idx="279">
                  <c:v>1.0004</c:v>
                </c:pt>
                <c:pt idx="280">
                  <c:v>1.0004</c:v>
                </c:pt>
                <c:pt idx="281">
                  <c:v>1.0004</c:v>
                </c:pt>
                <c:pt idx="282">
                  <c:v>1.0004</c:v>
                </c:pt>
                <c:pt idx="283">
                  <c:v>1.0004</c:v>
                </c:pt>
                <c:pt idx="284">
                  <c:v>1.0004</c:v>
                </c:pt>
                <c:pt idx="285">
                  <c:v>1.0004</c:v>
                </c:pt>
                <c:pt idx="286">
                  <c:v>1.0004</c:v>
                </c:pt>
                <c:pt idx="287">
                  <c:v>1.0004</c:v>
                </c:pt>
                <c:pt idx="288">
                  <c:v>1.0004</c:v>
                </c:pt>
                <c:pt idx="289">
                  <c:v>1.0004</c:v>
                </c:pt>
                <c:pt idx="290">
                  <c:v>1.0004</c:v>
                </c:pt>
                <c:pt idx="291">
                  <c:v>1.0004</c:v>
                </c:pt>
                <c:pt idx="292">
                  <c:v>1.0004</c:v>
                </c:pt>
                <c:pt idx="293">
                  <c:v>1.0004</c:v>
                </c:pt>
                <c:pt idx="294">
                  <c:v>1.0004</c:v>
                </c:pt>
                <c:pt idx="295">
                  <c:v>1.0004</c:v>
                </c:pt>
                <c:pt idx="296">
                  <c:v>1.0004</c:v>
                </c:pt>
                <c:pt idx="297">
                  <c:v>1.0004</c:v>
                </c:pt>
                <c:pt idx="298">
                  <c:v>1.0004</c:v>
                </c:pt>
                <c:pt idx="299">
                  <c:v>1.0004</c:v>
                </c:pt>
                <c:pt idx="300">
                  <c:v>1.0004999999999999</c:v>
                </c:pt>
                <c:pt idx="301">
                  <c:v>1.0004999999999999</c:v>
                </c:pt>
                <c:pt idx="302">
                  <c:v>1.0004</c:v>
                </c:pt>
                <c:pt idx="303">
                  <c:v>1.0004999999999999</c:v>
                </c:pt>
                <c:pt idx="304">
                  <c:v>1.0004999999999999</c:v>
                </c:pt>
                <c:pt idx="305">
                  <c:v>1.0004999999999999</c:v>
                </c:pt>
                <c:pt idx="306">
                  <c:v>1.0004999999999999</c:v>
                </c:pt>
                <c:pt idx="307">
                  <c:v>1.0004999999999999</c:v>
                </c:pt>
                <c:pt idx="308">
                  <c:v>1.0004999999999999</c:v>
                </c:pt>
                <c:pt idx="309">
                  <c:v>1.0004999999999999</c:v>
                </c:pt>
                <c:pt idx="310">
                  <c:v>1.0004999999999999</c:v>
                </c:pt>
                <c:pt idx="311">
                  <c:v>1.0004999999999999</c:v>
                </c:pt>
                <c:pt idx="312">
                  <c:v>1.0004999999999999</c:v>
                </c:pt>
                <c:pt idx="313">
                  <c:v>1.0004999999999999</c:v>
                </c:pt>
                <c:pt idx="314">
                  <c:v>1.0004999999999999</c:v>
                </c:pt>
                <c:pt idx="315">
                  <c:v>1.0004999999999999</c:v>
                </c:pt>
                <c:pt idx="316">
                  <c:v>1.0004999999999999</c:v>
                </c:pt>
                <c:pt idx="317">
                  <c:v>1.0004999999999999</c:v>
                </c:pt>
                <c:pt idx="318">
                  <c:v>1.0004999999999999</c:v>
                </c:pt>
                <c:pt idx="319">
                  <c:v>1.0004999999999999</c:v>
                </c:pt>
                <c:pt idx="320">
                  <c:v>1.0004999999999999</c:v>
                </c:pt>
                <c:pt idx="321">
                  <c:v>1.0004999999999999</c:v>
                </c:pt>
                <c:pt idx="322">
                  <c:v>1.0004999999999999</c:v>
                </c:pt>
                <c:pt idx="323">
                  <c:v>1.0004999999999999</c:v>
                </c:pt>
                <c:pt idx="324">
                  <c:v>1.0004999999999999</c:v>
                </c:pt>
                <c:pt idx="325">
                  <c:v>1.0004999999999999</c:v>
                </c:pt>
                <c:pt idx="326">
                  <c:v>1.0004999999999999</c:v>
                </c:pt>
                <c:pt idx="327">
                  <c:v>1.0004999999999999</c:v>
                </c:pt>
                <c:pt idx="328">
                  <c:v>1.0004999999999999</c:v>
                </c:pt>
                <c:pt idx="329">
                  <c:v>1.0004999999999999</c:v>
                </c:pt>
                <c:pt idx="330">
                  <c:v>1.0004999999999999</c:v>
                </c:pt>
                <c:pt idx="331">
                  <c:v>1.0004999999999999</c:v>
                </c:pt>
                <c:pt idx="332">
                  <c:v>1.0004999999999999</c:v>
                </c:pt>
                <c:pt idx="333">
                  <c:v>1.0004999999999999</c:v>
                </c:pt>
                <c:pt idx="334">
                  <c:v>1.0004999999999999</c:v>
                </c:pt>
                <c:pt idx="335">
                  <c:v>1.0004999999999999</c:v>
                </c:pt>
                <c:pt idx="336">
                  <c:v>1.0004999999999999</c:v>
                </c:pt>
                <c:pt idx="337">
                  <c:v>1.0004999999999999</c:v>
                </c:pt>
                <c:pt idx="338">
                  <c:v>1.0004999999999999</c:v>
                </c:pt>
                <c:pt idx="339">
                  <c:v>1.0004999999999999</c:v>
                </c:pt>
                <c:pt idx="340">
                  <c:v>1.0004999999999999</c:v>
                </c:pt>
                <c:pt idx="341">
                  <c:v>1.0004999999999999</c:v>
                </c:pt>
                <c:pt idx="342">
                  <c:v>1.0004999999999999</c:v>
                </c:pt>
                <c:pt idx="343">
                  <c:v>1.0004999999999999</c:v>
                </c:pt>
                <c:pt idx="344">
                  <c:v>1.0004999999999999</c:v>
                </c:pt>
                <c:pt idx="345">
                  <c:v>1.0004999999999999</c:v>
                </c:pt>
                <c:pt idx="346">
                  <c:v>1.0004999999999999</c:v>
                </c:pt>
                <c:pt idx="347">
                  <c:v>1.0004999999999999</c:v>
                </c:pt>
                <c:pt idx="348">
                  <c:v>1.0004999999999999</c:v>
                </c:pt>
                <c:pt idx="349">
                  <c:v>1.0004999999999999</c:v>
                </c:pt>
                <c:pt idx="350">
                  <c:v>1.0004999999999999</c:v>
                </c:pt>
                <c:pt idx="351">
                  <c:v>1.0004999999999999</c:v>
                </c:pt>
                <c:pt idx="352">
                  <c:v>1.0004999999999999</c:v>
                </c:pt>
                <c:pt idx="353">
                  <c:v>1.0004999999999999</c:v>
                </c:pt>
                <c:pt idx="354">
                  <c:v>1.0004999999999999</c:v>
                </c:pt>
                <c:pt idx="355">
                  <c:v>1.0004999999999999</c:v>
                </c:pt>
                <c:pt idx="356">
                  <c:v>1.0004999999999999</c:v>
                </c:pt>
                <c:pt idx="357">
                  <c:v>1.0004999999999999</c:v>
                </c:pt>
                <c:pt idx="358">
                  <c:v>1.0004999999999999</c:v>
                </c:pt>
                <c:pt idx="359">
                  <c:v>1.0004999999999999</c:v>
                </c:pt>
                <c:pt idx="360">
                  <c:v>1.0004999999999999</c:v>
                </c:pt>
                <c:pt idx="361">
                  <c:v>1.0004999999999999</c:v>
                </c:pt>
                <c:pt idx="362">
                  <c:v>1.0004999999999999</c:v>
                </c:pt>
                <c:pt idx="363">
                  <c:v>1.0004999999999999</c:v>
                </c:pt>
                <c:pt idx="364">
                  <c:v>1.0004999999999999</c:v>
                </c:pt>
                <c:pt idx="365">
                  <c:v>1.0004999999999999</c:v>
                </c:pt>
                <c:pt idx="366">
                  <c:v>1.0004999999999999</c:v>
                </c:pt>
                <c:pt idx="367">
                  <c:v>1.0004999999999999</c:v>
                </c:pt>
                <c:pt idx="368">
                  <c:v>1.0004999999999999</c:v>
                </c:pt>
                <c:pt idx="369">
                  <c:v>1.0004999999999999</c:v>
                </c:pt>
                <c:pt idx="370">
                  <c:v>1.0004999999999999</c:v>
                </c:pt>
                <c:pt idx="371">
                  <c:v>1.0004999999999999</c:v>
                </c:pt>
                <c:pt idx="372">
                  <c:v>1.0004</c:v>
                </c:pt>
                <c:pt idx="373">
                  <c:v>1.0004</c:v>
                </c:pt>
                <c:pt idx="374">
                  <c:v>1.0004</c:v>
                </c:pt>
                <c:pt idx="375">
                  <c:v>1.0004</c:v>
                </c:pt>
                <c:pt idx="376">
                  <c:v>1.0004</c:v>
                </c:pt>
                <c:pt idx="377">
                  <c:v>1.0004</c:v>
                </c:pt>
                <c:pt idx="378">
                  <c:v>1.0004</c:v>
                </c:pt>
                <c:pt idx="379">
                  <c:v>1.0004</c:v>
                </c:pt>
                <c:pt idx="380">
                  <c:v>1.0004</c:v>
                </c:pt>
                <c:pt idx="381">
                  <c:v>1.0004</c:v>
                </c:pt>
                <c:pt idx="382">
                  <c:v>1.0004</c:v>
                </c:pt>
                <c:pt idx="383">
                  <c:v>1.0004</c:v>
                </c:pt>
                <c:pt idx="384">
                  <c:v>1.0004</c:v>
                </c:pt>
                <c:pt idx="385">
                  <c:v>1.0004</c:v>
                </c:pt>
                <c:pt idx="386">
                  <c:v>1.0004</c:v>
                </c:pt>
                <c:pt idx="387">
                  <c:v>1.0004</c:v>
                </c:pt>
                <c:pt idx="388">
                  <c:v>1.0003</c:v>
                </c:pt>
                <c:pt idx="389">
                  <c:v>1.0003</c:v>
                </c:pt>
                <c:pt idx="390">
                  <c:v>1.0003</c:v>
                </c:pt>
                <c:pt idx="391">
                  <c:v>1.0003</c:v>
                </c:pt>
                <c:pt idx="392">
                  <c:v>1.0003</c:v>
                </c:pt>
                <c:pt idx="393">
                  <c:v>1.0003</c:v>
                </c:pt>
                <c:pt idx="394">
                  <c:v>1.0004</c:v>
                </c:pt>
                <c:pt idx="395">
                  <c:v>1.0004</c:v>
                </c:pt>
                <c:pt idx="396">
                  <c:v>1.0003</c:v>
                </c:pt>
                <c:pt idx="397">
                  <c:v>1.0004</c:v>
                </c:pt>
                <c:pt idx="398">
                  <c:v>1.0004</c:v>
                </c:pt>
                <c:pt idx="399">
                  <c:v>1.0003</c:v>
                </c:pt>
                <c:pt idx="400">
                  <c:v>1.0004</c:v>
                </c:pt>
                <c:pt idx="401">
                  <c:v>1.0004</c:v>
                </c:pt>
                <c:pt idx="402">
                  <c:v>1.0003</c:v>
                </c:pt>
                <c:pt idx="403">
                  <c:v>1.0003</c:v>
                </c:pt>
                <c:pt idx="404">
                  <c:v>1.0003</c:v>
                </c:pt>
                <c:pt idx="405">
                  <c:v>1.0003</c:v>
                </c:pt>
                <c:pt idx="406">
                  <c:v>1.0003</c:v>
                </c:pt>
                <c:pt idx="407">
                  <c:v>1.0003</c:v>
                </c:pt>
                <c:pt idx="408">
                  <c:v>1.0003</c:v>
                </c:pt>
                <c:pt idx="409">
                  <c:v>1.0003</c:v>
                </c:pt>
                <c:pt idx="410">
                  <c:v>1.0003</c:v>
                </c:pt>
                <c:pt idx="411">
                  <c:v>1.0003</c:v>
                </c:pt>
                <c:pt idx="412">
                  <c:v>1.0003</c:v>
                </c:pt>
                <c:pt idx="413">
                  <c:v>1.0003</c:v>
                </c:pt>
                <c:pt idx="414">
                  <c:v>1.0003</c:v>
                </c:pt>
                <c:pt idx="415">
                  <c:v>1.0003</c:v>
                </c:pt>
                <c:pt idx="416">
                  <c:v>1.0003</c:v>
                </c:pt>
                <c:pt idx="417">
                  <c:v>1.0003</c:v>
                </c:pt>
                <c:pt idx="418">
                  <c:v>1.0003</c:v>
                </c:pt>
                <c:pt idx="419">
                  <c:v>1.0003</c:v>
                </c:pt>
                <c:pt idx="420">
                  <c:v>1.0003</c:v>
                </c:pt>
                <c:pt idx="421">
                  <c:v>1.0003</c:v>
                </c:pt>
                <c:pt idx="422">
                  <c:v>1.0003</c:v>
                </c:pt>
                <c:pt idx="423">
                  <c:v>1.0003</c:v>
                </c:pt>
                <c:pt idx="424">
                  <c:v>1.0003</c:v>
                </c:pt>
                <c:pt idx="425">
                  <c:v>1.0003</c:v>
                </c:pt>
                <c:pt idx="426">
                  <c:v>1.0003</c:v>
                </c:pt>
                <c:pt idx="427">
                  <c:v>1.0003</c:v>
                </c:pt>
                <c:pt idx="428">
                  <c:v>1.0003</c:v>
                </c:pt>
                <c:pt idx="429">
                  <c:v>1.0003</c:v>
                </c:pt>
                <c:pt idx="430">
                  <c:v>1.0003</c:v>
                </c:pt>
                <c:pt idx="431">
                  <c:v>1.0003</c:v>
                </c:pt>
                <c:pt idx="432">
                  <c:v>1.0003</c:v>
                </c:pt>
                <c:pt idx="433">
                  <c:v>1.0004</c:v>
                </c:pt>
                <c:pt idx="434">
                  <c:v>1.0004</c:v>
                </c:pt>
                <c:pt idx="435">
                  <c:v>1.0004</c:v>
                </c:pt>
                <c:pt idx="436">
                  <c:v>1.0004</c:v>
                </c:pt>
                <c:pt idx="437">
                  <c:v>1.0004</c:v>
                </c:pt>
                <c:pt idx="438">
                  <c:v>1.0004</c:v>
                </c:pt>
                <c:pt idx="439">
                  <c:v>1.0004</c:v>
                </c:pt>
                <c:pt idx="440">
                  <c:v>1.0004</c:v>
                </c:pt>
                <c:pt idx="441">
                  <c:v>1.0004</c:v>
                </c:pt>
                <c:pt idx="442">
                  <c:v>1.0004</c:v>
                </c:pt>
                <c:pt idx="443">
                  <c:v>1.0004</c:v>
                </c:pt>
                <c:pt idx="444">
                  <c:v>1.0004</c:v>
                </c:pt>
                <c:pt idx="445">
                  <c:v>1.0004</c:v>
                </c:pt>
                <c:pt idx="446">
                  <c:v>1.0004</c:v>
                </c:pt>
                <c:pt idx="447">
                  <c:v>1.0004</c:v>
                </c:pt>
                <c:pt idx="448">
                  <c:v>1.0004</c:v>
                </c:pt>
                <c:pt idx="449">
                  <c:v>1.0004</c:v>
                </c:pt>
                <c:pt idx="450">
                  <c:v>1.0004</c:v>
                </c:pt>
                <c:pt idx="451">
                  <c:v>1.0004</c:v>
                </c:pt>
                <c:pt idx="452">
                  <c:v>1.0004</c:v>
                </c:pt>
                <c:pt idx="453">
                  <c:v>1.0004</c:v>
                </c:pt>
                <c:pt idx="454">
                  <c:v>1.0004</c:v>
                </c:pt>
                <c:pt idx="455">
                  <c:v>1.0004</c:v>
                </c:pt>
                <c:pt idx="456">
                  <c:v>1.0004</c:v>
                </c:pt>
                <c:pt idx="457">
                  <c:v>1.0004</c:v>
                </c:pt>
                <c:pt idx="458">
                  <c:v>1.0004</c:v>
                </c:pt>
                <c:pt idx="459">
                  <c:v>1.0004</c:v>
                </c:pt>
                <c:pt idx="460">
                  <c:v>1.0004</c:v>
                </c:pt>
                <c:pt idx="461">
                  <c:v>1.0003</c:v>
                </c:pt>
                <c:pt idx="462">
                  <c:v>1.0004</c:v>
                </c:pt>
                <c:pt idx="463">
                  <c:v>1.0004</c:v>
                </c:pt>
                <c:pt idx="464">
                  <c:v>1.0004</c:v>
                </c:pt>
                <c:pt idx="465">
                  <c:v>1.0004</c:v>
                </c:pt>
                <c:pt idx="466">
                  <c:v>1.0004</c:v>
                </c:pt>
                <c:pt idx="467">
                  <c:v>1.0004</c:v>
                </c:pt>
                <c:pt idx="468">
                  <c:v>1.0004</c:v>
                </c:pt>
                <c:pt idx="469">
                  <c:v>1.0004</c:v>
                </c:pt>
                <c:pt idx="470">
                  <c:v>1.0004</c:v>
                </c:pt>
                <c:pt idx="471">
                  <c:v>1.0004</c:v>
                </c:pt>
                <c:pt idx="472">
                  <c:v>1.0004</c:v>
                </c:pt>
                <c:pt idx="473">
                  <c:v>1.0004</c:v>
                </c:pt>
                <c:pt idx="474">
                  <c:v>1.0004</c:v>
                </c:pt>
                <c:pt idx="475">
                  <c:v>1.0004</c:v>
                </c:pt>
                <c:pt idx="476">
                  <c:v>1.0004</c:v>
                </c:pt>
                <c:pt idx="477">
                  <c:v>1.0004</c:v>
                </c:pt>
                <c:pt idx="478">
                  <c:v>1.0004</c:v>
                </c:pt>
                <c:pt idx="479">
                  <c:v>1.0004</c:v>
                </c:pt>
                <c:pt idx="480">
                  <c:v>1.0004</c:v>
                </c:pt>
                <c:pt idx="481">
                  <c:v>1.0004</c:v>
                </c:pt>
                <c:pt idx="482">
                  <c:v>1.0004</c:v>
                </c:pt>
                <c:pt idx="483">
                  <c:v>1.0004</c:v>
                </c:pt>
                <c:pt idx="484">
                  <c:v>1.0004</c:v>
                </c:pt>
                <c:pt idx="485">
                  <c:v>1.0004</c:v>
                </c:pt>
                <c:pt idx="486">
                  <c:v>1.0004</c:v>
                </c:pt>
                <c:pt idx="487">
                  <c:v>1.0004</c:v>
                </c:pt>
                <c:pt idx="488">
                  <c:v>1.0004</c:v>
                </c:pt>
                <c:pt idx="489">
                  <c:v>1.0004</c:v>
                </c:pt>
                <c:pt idx="490">
                  <c:v>1.0004</c:v>
                </c:pt>
                <c:pt idx="491">
                  <c:v>1.0004</c:v>
                </c:pt>
                <c:pt idx="492">
                  <c:v>1.0004</c:v>
                </c:pt>
                <c:pt idx="493">
                  <c:v>1.0004</c:v>
                </c:pt>
                <c:pt idx="494">
                  <c:v>1.0004</c:v>
                </c:pt>
                <c:pt idx="495">
                  <c:v>1.0004</c:v>
                </c:pt>
                <c:pt idx="496">
                  <c:v>1.0004</c:v>
                </c:pt>
                <c:pt idx="497">
                  <c:v>1.0004</c:v>
                </c:pt>
                <c:pt idx="498">
                  <c:v>1.0004</c:v>
                </c:pt>
                <c:pt idx="499">
                  <c:v>1.0004</c:v>
                </c:pt>
                <c:pt idx="500">
                  <c:v>1.0004</c:v>
                </c:pt>
                <c:pt idx="501">
                  <c:v>1.0004</c:v>
                </c:pt>
                <c:pt idx="502">
                  <c:v>1.0004</c:v>
                </c:pt>
                <c:pt idx="503">
                  <c:v>1.0004</c:v>
                </c:pt>
                <c:pt idx="504">
                  <c:v>1.0004</c:v>
                </c:pt>
                <c:pt idx="505">
                  <c:v>1.0004</c:v>
                </c:pt>
                <c:pt idx="506">
                  <c:v>1.0004</c:v>
                </c:pt>
                <c:pt idx="507">
                  <c:v>1.0004</c:v>
                </c:pt>
                <c:pt idx="508">
                  <c:v>1.0004</c:v>
                </c:pt>
                <c:pt idx="509">
                  <c:v>1.0004</c:v>
                </c:pt>
                <c:pt idx="510">
                  <c:v>1.0004</c:v>
                </c:pt>
                <c:pt idx="511">
                  <c:v>1.0004</c:v>
                </c:pt>
                <c:pt idx="512">
                  <c:v>1.0004</c:v>
                </c:pt>
                <c:pt idx="513">
                  <c:v>1.0004</c:v>
                </c:pt>
                <c:pt idx="514">
                  <c:v>1.0004</c:v>
                </c:pt>
                <c:pt idx="515">
                  <c:v>1.0003</c:v>
                </c:pt>
                <c:pt idx="516">
                  <c:v>1.0003</c:v>
                </c:pt>
                <c:pt idx="517">
                  <c:v>1.0003</c:v>
                </c:pt>
                <c:pt idx="518">
                  <c:v>1.0003</c:v>
                </c:pt>
                <c:pt idx="519">
                  <c:v>1.0003</c:v>
                </c:pt>
                <c:pt idx="520">
                  <c:v>1.0003</c:v>
                </c:pt>
                <c:pt idx="521">
                  <c:v>1.0003</c:v>
                </c:pt>
                <c:pt idx="522">
                  <c:v>1.0003</c:v>
                </c:pt>
                <c:pt idx="523">
                  <c:v>1.0003</c:v>
                </c:pt>
                <c:pt idx="524">
                  <c:v>1.0003</c:v>
                </c:pt>
                <c:pt idx="525">
                  <c:v>1.0003</c:v>
                </c:pt>
                <c:pt idx="526">
                  <c:v>1.0003</c:v>
                </c:pt>
                <c:pt idx="527">
                  <c:v>1.0003</c:v>
                </c:pt>
                <c:pt idx="528">
                  <c:v>1.0003</c:v>
                </c:pt>
                <c:pt idx="529">
                  <c:v>1.0003</c:v>
                </c:pt>
                <c:pt idx="530">
                  <c:v>1.0003</c:v>
                </c:pt>
                <c:pt idx="531">
                  <c:v>1.0003</c:v>
                </c:pt>
                <c:pt idx="532">
                  <c:v>1.0003</c:v>
                </c:pt>
                <c:pt idx="533">
                  <c:v>1.0003</c:v>
                </c:pt>
                <c:pt idx="534">
                  <c:v>1.0003</c:v>
                </c:pt>
                <c:pt idx="535">
                  <c:v>1.0003</c:v>
                </c:pt>
                <c:pt idx="536">
                  <c:v>1.0003</c:v>
                </c:pt>
                <c:pt idx="537">
                  <c:v>1.0003</c:v>
                </c:pt>
                <c:pt idx="538">
                  <c:v>1.0003</c:v>
                </c:pt>
                <c:pt idx="539">
                  <c:v>1.0003</c:v>
                </c:pt>
                <c:pt idx="540">
                  <c:v>1.0003</c:v>
                </c:pt>
                <c:pt idx="541">
                  <c:v>1.0003</c:v>
                </c:pt>
                <c:pt idx="542">
                  <c:v>1.0003</c:v>
                </c:pt>
                <c:pt idx="543">
                  <c:v>1.0003</c:v>
                </c:pt>
                <c:pt idx="544">
                  <c:v>1.0003</c:v>
                </c:pt>
                <c:pt idx="545">
                  <c:v>1.0003</c:v>
                </c:pt>
                <c:pt idx="546">
                  <c:v>1.0003</c:v>
                </c:pt>
                <c:pt idx="547">
                  <c:v>1.0003</c:v>
                </c:pt>
                <c:pt idx="548">
                  <c:v>1.0003</c:v>
                </c:pt>
                <c:pt idx="549">
                  <c:v>1.0003</c:v>
                </c:pt>
                <c:pt idx="550">
                  <c:v>1.0003</c:v>
                </c:pt>
                <c:pt idx="551">
                  <c:v>1.0003</c:v>
                </c:pt>
                <c:pt idx="552">
                  <c:v>1.0003</c:v>
                </c:pt>
                <c:pt idx="553">
                  <c:v>1.0003</c:v>
                </c:pt>
                <c:pt idx="554">
                  <c:v>1.0003</c:v>
                </c:pt>
                <c:pt idx="555">
                  <c:v>1.0003</c:v>
                </c:pt>
                <c:pt idx="556">
                  <c:v>1.0003</c:v>
                </c:pt>
                <c:pt idx="557">
                  <c:v>1.0003</c:v>
                </c:pt>
                <c:pt idx="558">
                  <c:v>1.0003</c:v>
                </c:pt>
                <c:pt idx="559">
                  <c:v>1.0003</c:v>
                </c:pt>
                <c:pt idx="560">
                  <c:v>1.0003</c:v>
                </c:pt>
                <c:pt idx="561">
                  <c:v>1.0003</c:v>
                </c:pt>
                <c:pt idx="562">
                  <c:v>1.0003</c:v>
                </c:pt>
                <c:pt idx="563">
                  <c:v>1.0003</c:v>
                </c:pt>
                <c:pt idx="564">
                  <c:v>1.0003</c:v>
                </c:pt>
                <c:pt idx="565">
                  <c:v>1.0003</c:v>
                </c:pt>
                <c:pt idx="566">
                  <c:v>1.0003</c:v>
                </c:pt>
                <c:pt idx="567">
                  <c:v>1.0003</c:v>
                </c:pt>
                <c:pt idx="568">
                  <c:v>1.0003</c:v>
                </c:pt>
                <c:pt idx="569">
                  <c:v>1.0003</c:v>
                </c:pt>
                <c:pt idx="570">
                  <c:v>1.0003</c:v>
                </c:pt>
                <c:pt idx="571">
                  <c:v>1.0003</c:v>
                </c:pt>
                <c:pt idx="572">
                  <c:v>1.0003</c:v>
                </c:pt>
                <c:pt idx="573">
                  <c:v>1.0003</c:v>
                </c:pt>
                <c:pt idx="574">
                  <c:v>1.0003</c:v>
                </c:pt>
                <c:pt idx="575">
                  <c:v>1.0003</c:v>
                </c:pt>
                <c:pt idx="576">
                  <c:v>1.0003</c:v>
                </c:pt>
                <c:pt idx="577">
                  <c:v>1.0003</c:v>
                </c:pt>
                <c:pt idx="578">
                  <c:v>1.0003</c:v>
                </c:pt>
                <c:pt idx="579">
                  <c:v>1.0003</c:v>
                </c:pt>
                <c:pt idx="580">
                  <c:v>1.0003</c:v>
                </c:pt>
                <c:pt idx="581">
                  <c:v>1.0003</c:v>
                </c:pt>
                <c:pt idx="582">
                  <c:v>1.0003</c:v>
                </c:pt>
                <c:pt idx="583">
                  <c:v>1.0003</c:v>
                </c:pt>
                <c:pt idx="584">
                  <c:v>1.0003</c:v>
                </c:pt>
                <c:pt idx="585">
                  <c:v>1.0003</c:v>
                </c:pt>
                <c:pt idx="586">
                  <c:v>1.0003</c:v>
                </c:pt>
                <c:pt idx="587">
                  <c:v>1.0003</c:v>
                </c:pt>
                <c:pt idx="588">
                  <c:v>1.0003</c:v>
                </c:pt>
                <c:pt idx="589">
                  <c:v>1.0003</c:v>
                </c:pt>
                <c:pt idx="590">
                  <c:v>1.0003</c:v>
                </c:pt>
                <c:pt idx="591">
                  <c:v>1.0003</c:v>
                </c:pt>
                <c:pt idx="592">
                  <c:v>1.0003</c:v>
                </c:pt>
                <c:pt idx="593">
                  <c:v>1.0003</c:v>
                </c:pt>
                <c:pt idx="594">
                  <c:v>1.0003</c:v>
                </c:pt>
                <c:pt idx="595">
                  <c:v>1.0003</c:v>
                </c:pt>
                <c:pt idx="596">
                  <c:v>1.0003</c:v>
                </c:pt>
                <c:pt idx="597">
                  <c:v>1.0003</c:v>
                </c:pt>
                <c:pt idx="598">
                  <c:v>1.0003</c:v>
                </c:pt>
                <c:pt idx="599">
                  <c:v>1.0003</c:v>
                </c:pt>
                <c:pt idx="600">
                  <c:v>1.0003</c:v>
                </c:pt>
                <c:pt idx="601">
                  <c:v>1.0003</c:v>
                </c:pt>
                <c:pt idx="602">
                  <c:v>1.0003</c:v>
                </c:pt>
                <c:pt idx="603">
                  <c:v>1.0003</c:v>
                </c:pt>
                <c:pt idx="604">
                  <c:v>1.0003</c:v>
                </c:pt>
                <c:pt idx="605">
                  <c:v>1.0003</c:v>
                </c:pt>
                <c:pt idx="606">
                  <c:v>1.0003</c:v>
                </c:pt>
                <c:pt idx="607">
                  <c:v>1.0003</c:v>
                </c:pt>
                <c:pt idx="608">
                  <c:v>1.0003</c:v>
                </c:pt>
                <c:pt idx="609">
                  <c:v>1.0003</c:v>
                </c:pt>
                <c:pt idx="610">
                  <c:v>1.0003</c:v>
                </c:pt>
                <c:pt idx="611">
                  <c:v>1.0003</c:v>
                </c:pt>
                <c:pt idx="612">
                  <c:v>1.0003</c:v>
                </c:pt>
                <c:pt idx="613">
                  <c:v>1.0003</c:v>
                </c:pt>
                <c:pt idx="614">
                  <c:v>1.0003</c:v>
                </c:pt>
                <c:pt idx="615">
                  <c:v>1.0003</c:v>
                </c:pt>
                <c:pt idx="616">
                  <c:v>1.0003</c:v>
                </c:pt>
                <c:pt idx="617">
                  <c:v>1.0003</c:v>
                </c:pt>
                <c:pt idx="618">
                  <c:v>1.0003</c:v>
                </c:pt>
                <c:pt idx="619">
                  <c:v>1.0003</c:v>
                </c:pt>
                <c:pt idx="620">
                  <c:v>1.0003</c:v>
                </c:pt>
                <c:pt idx="621">
                  <c:v>1.0003</c:v>
                </c:pt>
                <c:pt idx="622">
                  <c:v>1.0003</c:v>
                </c:pt>
                <c:pt idx="623">
                  <c:v>1.0003</c:v>
                </c:pt>
                <c:pt idx="624">
                  <c:v>1.0003</c:v>
                </c:pt>
                <c:pt idx="625">
                  <c:v>1.0002</c:v>
                </c:pt>
                <c:pt idx="626">
                  <c:v>1.0003</c:v>
                </c:pt>
                <c:pt idx="627">
                  <c:v>1.0003</c:v>
                </c:pt>
                <c:pt idx="628">
                  <c:v>1.0003</c:v>
                </c:pt>
                <c:pt idx="629">
                  <c:v>1.0003</c:v>
                </c:pt>
                <c:pt idx="630">
                  <c:v>1.0002</c:v>
                </c:pt>
                <c:pt idx="631">
                  <c:v>1.0003</c:v>
                </c:pt>
                <c:pt idx="632">
                  <c:v>1.0003</c:v>
                </c:pt>
                <c:pt idx="633">
                  <c:v>1.0003</c:v>
                </c:pt>
                <c:pt idx="634">
                  <c:v>1.0003</c:v>
                </c:pt>
                <c:pt idx="635">
                  <c:v>1.0003</c:v>
                </c:pt>
                <c:pt idx="636">
                  <c:v>1.0003</c:v>
                </c:pt>
                <c:pt idx="637">
                  <c:v>1.0003</c:v>
                </c:pt>
                <c:pt idx="638">
                  <c:v>1.0003</c:v>
                </c:pt>
                <c:pt idx="639">
                  <c:v>1.0003</c:v>
                </c:pt>
                <c:pt idx="640">
                  <c:v>1.0003</c:v>
                </c:pt>
                <c:pt idx="641">
                  <c:v>1.0003</c:v>
                </c:pt>
                <c:pt idx="642">
                  <c:v>1.0003</c:v>
                </c:pt>
                <c:pt idx="643">
                  <c:v>1.0002</c:v>
                </c:pt>
                <c:pt idx="644">
                  <c:v>1.0002</c:v>
                </c:pt>
                <c:pt idx="645">
                  <c:v>1.0002</c:v>
                </c:pt>
                <c:pt idx="646">
                  <c:v>1.0002</c:v>
                </c:pt>
                <c:pt idx="647">
                  <c:v>1.0003</c:v>
                </c:pt>
                <c:pt idx="648">
                  <c:v>1.0002</c:v>
                </c:pt>
                <c:pt idx="649">
                  <c:v>1.0002</c:v>
                </c:pt>
                <c:pt idx="650">
                  <c:v>1.0002</c:v>
                </c:pt>
                <c:pt idx="651">
                  <c:v>1.0002</c:v>
                </c:pt>
                <c:pt idx="652">
                  <c:v>1.0002</c:v>
                </c:pt>
                <c:pt idx="653">
                  <c:v>1.0002</c:v>
                </c:pt>
                <c:pt idx="654">
                  <c:v>1.0003</c:v>
                </c:pt>
                <c:pt idx="655">
                  <c:v>1.0002</c:v>
                </c:pt>
                <c:pt idx="656">
                  <c:v>1.0002</c:v>
                </c:pt>
                <c:pt idx="657">
                  <c:v>1.0002</c:v>
                </c:pt>
                <c:pt idx="658">
                  <c:v>1.0002</c:v>
                </c:pt>
                <c:pt idx="659">
                  <c:v>1.0002</c:v>
                </c:pt>
                <c:pt idx="660">
                  <c:v>1.0002</c:v>
                </c:pt>
                <c:pt idx="661">
                  <c:v>1.0002</c:v>
                </c:pt>
                <c:pt idx="662">
                  <c:v>1.0002</c:v>
                </c:pt>
                <c:pt idx="663">
                  <c:v>1.0002</c:v>
                </c:pt>
                <c:pt idx="664">
                  <c:v>1.0002</c:v>
                </c:pt>
                <c:pt idx="665">
                  <c:v>1.0002</c:v>
                </c:pt>
                <c:pt idx="666">
                  <c:v>1.0002</c:v>
                </c:pt>
                <c:pt idx="667">
                  <c:v>1.0002</c:v>
                </c:pt>
                <c:pt idx="668">
                  <c:v>1.0002</c:v>
                </c:pt>
                <c:pt idx="669">
                  <c:v>1.0002</c:v>
                </c:pt>
                <c:pt idx="670">
                  <c:v>1.0002</c:v>
                </c:pt>
                <c:pt idx="671">
                  <c:v>1.0002</c:v>
                </c:pt>
                <c:pt idx="672">
                  <c:v>1.0002</c:v>
                </c:pt>
                <c:pt idx="673">
                  <c:v>1.0003</c:v>
                </c:pt>
                <c:pt idx="674">
                  <c:v>1.0002</c:v>
                </c:pt>
                <c:pt idx="675">
                  <c:v>1.0002</c:v>
                </c:pt>
                <c:pt idx="676">
                  <c:v>1.0002</c:v>
                </c:pt>
                <c:pt idx="677">
                  <c:v>1.0002</c:v>
                </c:pt>
                <c:pt idx="678">
                  <c:v>1.0002</c:v>
                </c:pt>
                <c:pt idx="679">
                  <c:v>1.0002</c:v>
                </c:pt>
                <c:pt idx="680">
                  <c:v>1.0002</c:v>
                </c:pt>
                <c:pt idx="681">
                  <c:v>1.0002</c:v>
                </c:pt>
                <c:pt idx="682">
                  <c:v>1.0003</c:v>
                </c:pt>
                <c:pt idx="683">
                  <c:v>1.0002</c:v>
                </c:pt>
                <c:pt idx="684">
                  <c:v>1.0002</c:v>
                </c:pt>
                <c:pt idx="685">
                  <c:v>1.0002</c:v>
                </c:pt>
                <c:pt idx="686">
                  <c:v>1.0002</c:v>
                </c:pt>
                <c:pt idx="687">
                  <c:v>1.0002</c:v>
                </c:pt>
                <c:pt idx="688">
                  <c:v>1.0002</c:v>
                </c:pt>
                <c:pt idx="689">
                  <c:v>1.0002</c:v>
                </c:pt>
                <c:pt idx="690">
                  <c:v>1.0002</c:v>
                </c:pt>
                <c:pt idx="691">
                  <c:v>1.0002</c:v>
                </c:pt>
                <c:pt idx="692">
                  <c:v>1.0002</c:v>
                </c:pt>
                <c:pt idx="693">
                  <c:v>1.0002</c:v>
                </c:pt>
                <c:pt idx="694">
                  <c:v>1.0002</c:v>
                </c:pt>
                <c:pt idx="695">
                  <c:v>1.0002</c:v>
                </c:pt>
                <c:pt idx="696">
                  <c:v>1.0002</c:v>
                </c:pt>
                <c:pt idx="697">
                  <c:v>1.0002</c:v>
                </c:pt>
                <c:pt idx="698">
                  <c:v>1.0002</c:v>
                </c:pt>
                <c:pt idx="699">
                  <c:v>1.0002</c:v>
                </c:pt>
                <c:pt idx="700">
                  <c:v>1.0002</c:v>
                </c:pt>
                <c:pt idx="701">
                  <c:v>1.0002</c:v>
                </c:pt>
                <c:pt idx="702">
                  <c:v>1.0002</c:v>
                </c:pt>
                <c:pt idx="703">
                  <c:v>1.0002</c:v>
                </c:pt>
                <c:pt idx="704">
                  <c:v>1.0001</c:v>
                </c:pt>
                <c:pt idx="705">
                  <c:v>1.0002</c:v>
                </c:pt>
                <c:pt idx="706">
                  <c:v>1.0002</c:v>
                </c:pt>
                <c:pt idx="707">
                  <c:v>1.0002</c:v>
                </c:pt>
                <c:pt idx="708">
                  <c:v>1.0002</c:v>
                </c:pt>
                <c:pt idx="709">
                  <c:v>1.0002</c:v>
                </c:pt>
                <c:pt idx="710">
                  <c:v>1.0002</c:v>
                </c:pt>
                <c:pt idx="711">
                  <c:v>1.0002</c:v>
                </c:pt>
                <c:pt idx="712">
                  <c:v>1.0002</c:v>
                </c:pt>
                <c:pt idx="713">
                  <c:v>1.0002</c:v>
                </c:pt>
                <c:pt idx="714">
                  <c:v>1.0002</c:v>
                </c:pt>
                <c:pt idx="715">
                  <c:v>1.0002</c:v>
                </c:pt>
                <c:pt idx="716">
                  <c:v>1.0002</c:v>
                </c:pt>
                <c:pt idx="717">
                  <c:v>1.0002</c:v>
                </c:pt>
                <c:pt idx="718">
                  <c:v>1.0002</c:v>
                </c:pt>
                <c:pt idx="719">
                  <c:v>1.0002</c:v>
                </c:pt>
                <c:pt idx="720">
                  <c:v>1.0002</c:v>
                </c:pt>
                <c:pt idx="721">
                  <c:v>1.0002</c:v>
                </c:pt>
                <c:pt idx="722">
                  <c:v>1.0002</c:v>
                </c:pt>
                <c:pt idx="723">
                  <c:v>1.0003</c:v>
                </c:pt>
                <c:pt idx="724">
                  <c:v>1.0002</c:v>
                </c:pt>
                <c:pt idx="725">
                  <c:v>1.0002</c:v>
                </c:pt>
                <c:pt idx="726">
                  <c:v>1.0002</c:v>
                </c:pt>
                <c:pt idx="727">
                  <c:v>1.0002</c:v>
                </c:pt>
                <c:pt idx="728">
                  <c:v>1.0002</c:v>
                </c:pt>
                <c:pt idx="729">
                  <c:v>1.0002</c:v>
                </c:pt>
                <c:pt idx="730">
                  <c:v>1.0002</c:v>
                </c:pt>
                <c:pt idx="731">
                  <c:v>1.0002</c:v>
                </c:pt>
                <c:pt idx="732">
                  <c:v>1.0002</c:v>
                </c:pt>
                <c:pt idx="733">
                  <c:v>1.0003</c:v>
                </c:pt>
                <c:pt idx="734">
                  <c:v>1.0003</c:v>
                </c:pt>
                <c:pt idx="735">
                  <c:v>1.0002</c:v>
                </c:pt>
                <c:pt idx="736">
                  <c:v>1.0002</c:v>
                </c:pt>
                <c:pt idx="737">
                  <c:v>1.0003</c:v>
                </c:pt>
                <c:pt idx="738">
                  <c:v>1.0003</c:v>
                </c:pt>
                <c:pt idx="739">
                  <c:v>1.0003</c:v>
                </c:pt>
                <c:pt idx="740">
                  <c:v>1.0003</c:v>
                </c:pt>
                <c:pt idx="741">
                  <c:v>1.0003</c:v>
                </c:pt>
                <c:pt idx="742">
                  <c:v>1.0003</c:v>
                </c:pt>
                <c:pt idx="743">
                  <c:v>1.0003</c:v>
                </c:pt>
                <c:pt idx="744">
                  <c:v>1.0003</c:v>
                </c:pt>
                <c:pt idx="745">
                  <c:v>1.0003</c:v>
                </c:pt>
                <c:pt idx="746">
                  <c:v>1.0003</c:v>
                </c:pt>
                <c:pt idx="747">
                  <c:v>1.0003</c:v>
                </c:pt>
                <c:pt idx="748">
                  <c:v>1.0003</c:v>
                </c:pt>
                <c:pt idx="749">
                  <c:v>1.0003</c:v>
                </c:pt>
                <c:pt idx="750">
                  <c:v>1.0003</c:v>
                </c:pt>
                <c:pt idx="751">
                  <c:v>1.0003</c:v>
                </c:pt>
                <c:pt idx="752">
                  <c:v>1.0003</c:v>
                </c:pt>
                <c:pt idx="753">
                  <c:v>1.0003</c:v>
                </c:pt>
                <c:pt idx="754">
                  <c:v>1.0003</c:v>
                </c:pt>
                <c:pt idx="755">
                  <c:v>1.0003</c:v>
                </c:pt>
                <c:pt idx="756">
                  <c:v>1.0003</c:v>
                </c:pt>
                <c:pt idx="757">
                  <c:v>1.0003</c:v>
                </c:pt>
                <c:pt idx="758">
                  <c:v>1.0003</c:v>
                </c:pt>
                <c:pt idx="759">
                  <c:v>1.0003</c:v>
                </c:pt>
                <c:pt idx="760">
                  <c:v>1.0003</c:v>
                </c:pt>
                <c:pt idx="761">
                  <c:v>1.0003</c:v>
                </c:pt>
                <c:pt idx="762">
                  <c:v>1.0003</c:v>
                </c:pt>
                <c:pt idx="763">
                  <c:v>1.0003</c:v>
                </c:pt>
                <c:pt idx="764">
                  <c:v>1.0003</c:v>
                </c:pt>
                <c:pt idx="765">
                  <c:v>1.0003</c:v>
                </c:pt>
                <c:pt idx="766">
                  <c:v>1.0003</c:v>
                </c:pt>
                <c:pt idx="767">
                  <c:v>1.0003</c:v>
                </c:pt>
                <c:pt idx="768">
                  <c:v>1.0003</c:v>
                </c:pt>
                <c:pt idx="769">
                  <c:v>1.0003</c:v>
                </c:pt>
                <c:pt idx="770">
                  <c:v>1.0002</c:v>
                </c:pt>
                <c:pt idx="771">
                  <c:v>1.0002</c:v>
                </c:pt>
                <c:pt idx="772">
                  <c:v>1.0002</c:v>
                </c:pt>
                <c:pt idx="773">
                  <c:v>1.0002</c:v>
                </c:pt>
                <c:pt idx="774">
                  <c:v>1.0002</c:v>
                </c:pt>
                <c:pt idx="775">
                  <c:v>1.0003</c:v>
                </c:pt>
                <c:pt idx="776">
                  <c:v>1.0003</c:v>
                </c:pt>
                <c:pt idx="777">
                  <c:v>1.0003</c:v>
                </c:pt>
                <c:pt idx="778">
                  <c:v>1.0003</c:v>
                </c:pt>
                <c:pt idx="779">
                  <c:v>1.0003</c:v>
                </c:pt>
                <c:pt idx="780">
                  <c:v>1.0003</c:v>
                </c:pt>
                <c:pt idx="781">
                  <c:v>1.0003</c:v>
                </c:pt>
                <c:pt idx="782">
                  <c:v>1.0003</c:v>
                </c:pt>
                <c:pt idx="783">
                  <c:v>1.0003</c:v>
                </c:pt>
                <c:pt idx="784">
                  <c:v>1.0003</c:v>
                </c:pt>
                <c:pt idx="785">
                  <c:v>1.0003</c:v>
                </c:pt>
                <c:pt idx="786">
                  <c:v>1.0002</c:v>
                </c:pt>
                <c:pt idx="787">
                  <c:v>1.0003</c:v>
                </c:pt>
                <c:pt idx="788">
                  <c:v>1.0003</c:v>
                </c:pt>
                <c:pt idx="789">
                  <c:v>1.0002</c:v>
                </c:pt>
                <c:pt idx="790">
                  <c:v>1.0001</c:v>
                </c:pt>
                <c:pt idx="791">
                  <c:v>0.99990000000000001</c:v>
                </c:pt>
                <c:pt idx="792">
                  <c:v>1</c:v>
                </c:pt>
                <c:pt idx="793">
                  <c:v>1</c:v>
                </c:pt>
                <c:pt idx="794">
                  <c:v>1.0001</c:v>
                </c:pt>
                <c:pt idx="795">
                  <c:v>1</c:v>
                </c:pt>
                <c:pt idx="796">
                  <c:v>1</c:v>
                </c:pt>
                <c:pt idx="797">
                  <c:v>1</c:v>
                </c:pt>
                <c:pt idx="798">
                  <c:v>1.0001</c:v>
                </c:pt>
                <c:pt idx="799">
                  <c:v>1.0001</c:v>
                </c:pt>
                <c:pt idx="800">
                  <c:v>1</c:v>
                </c:pt>
                <c:pt idx="801">
                  <c:v>1.0001</c:v>
                </c:pt>
                <c:pt idx="802">
                  <c:v>1.0001</c:v>
                </c:pt>
                <c:pt idx="803">
                  <c:v>1.0001</c:v>
                </c:pt>
                <c:pt idx="804">
                  <c:v>1.0001</c:v>
                </c:pt>
              </c:numCache>
            </c:numRef>
          </c:val>
          <c:smooth val="0"/>
          <c:extLst>
            <c:ext xmlns:c16="http://schemas.microsoft.com/office/drawing/2014/chart" uri="{C3380CC4-5D6E-409C-BE32-E72D297353CC}">
              <c16:uniqueId val="{00000000-E4D9-45BC-8967-670194C9B1CF}"/>
            </c:ext>
          </c:extLst>
        </c:ser>
        <c:ser>
          <c:idx val="1"/>
          <c:order val="1"/>
          <c:spPr>
            <a:ln>
              <a:solidFill>
                <a:srgbClr val="B50A00"/>
              </a:solidFill>
            </a:ln>
          </c:spPr>
          <c:marker>
            <c:symbol val="none"/>
          </c:marker>
          <c:cat>
            <c:numRef>
              <c:f>Sheet1!$A$1796:$A$2600</c:f>
              <c:numCache>
                <c:formatCode>m/d/yyyy</c:formatCode>
                <c:ptCount val="805"/>
                <c:pt idx="0">
                  <c:v>43616</c:v>
                </c:pt>
                <c:pt idx="1">
                  <c:v>43619</c:v>
                </c:pt>
                <c:pt idx="2">
                  <c:v>43620</c:v>
                </c:pt>
                <c:pt idx="3">
                  <c:v>43621</c:v>
                </c:pt>
                <c:pt idx="4">
                  <c:v>43622</c:v>
                </c:pt>
                <c:pt idx="5">
                  <c:v>43623</c:v>
                </c:pt>
                <c:pt idx="6">
                  <c:v>43626</c:v>
                </c:pt>
                <c:pt idx="7">
                  <c:v>43627</c:v>
                </c:pt>
                <c:pt idx="8">
                  <c:v>43628</c:v>
                </c:pt>
                <c:pt idx="9">
                  <c:v>43629</c:v>
                </c:pt>
                <c:pt idx="10">
                  <c:v>43630</c:v>
                </c:pt>
                <c:pt idx="11">
                  <c:v>43633</c:v>
                </c:pt>
                <c:pt idx="12">
                  <c:v>43634</c:v>
                </c:pt>
                <c:pt idx="13">
                  <c:v>43635</c:v>
                </c:pt>
                <c:pt idx="14">
                  <c:v>43636</c:v>
                </c:pt>
                <c:pt idx="15">
                  <c:v>43637</c:v>
                </c:pt>
                <c:pt idx="16">
                  <c:v>43640</c:v>
                </c:pt>
                <c:pt idx="17">
                  <c:v>43641</c:v>
                </c:pt>
                <c:pt idx="18">
                  <c:v>43642</c:v>
                </c:pt>
                <c:pt idx="19">
                  <c:v>43643</c:v>
                </c:pt>
                <c:pt idx="20">
                  <c:v>43644</c:v>
                </c:pt>
                <c:pt idx="21">
                  <c:v>43647</c:v>
                </c:pt>
                <c:pt idx="22">
                  <c:v>43648</c:v>
                </c:pt>
                <c:pt idx="23">
                  <c:v>43649</c:v>
                </c:pt>
                <c:pt idx="24">
                  <c:v>43650</c:v>
                </c:pt>
                <c:pt idx="25">
                  <c:v>43651</c:v>
                </c:pt>
                <c:pt idx="26">
                  <c:v>43654</c:v>
                </c:pt>
                <c:pt idx="27">
                  <c:v>43655</c:v>
                </c:pt>
                <c:pt idx="28">
                  <c:v>43656</c:v>
                </c:pt>
                <c:pt idx="29">
                  <c:v>43657</c:v>
                </c:pt>
                <c:pt idx="30">
                  <c:v>43658</c:v>
                </c:pt>
                <c:pt idx="31">
                  <c:v>43661</c:v>
                </c:pt>
                <c:pt idx="32">
                  <c:v>43662</c:v>
                </c:pt>
                <c:pt idx="33">
                  <c:v>43663</c:v>
                </c:pt>
                <c:pt idx="34">
                  <c:v>43664</c:v>
                </c:pt>
                <c:pt idx="35">
                  <c:v>43665</c:v>
                </c:pt>
                <c:pt idx="36">
                  <c:v>43668</c:v>
                </c:pt>
                <c:pt idx="37">
                  <c:v>43669</c:v>
                </c:pt>
                <c:pt idx="38">
                  <c:v>43670</c:v>
                </c:pt>
                <c:pt idx="39">
                  <c:v>43671</c:v>
                </c:pt>
                <c:pt idx="40">
                  <c:v>43672</c:v>
                </c:pt>
                <c:pt idx="41">
                  <c:v>43675</c:v>
                </c:pt>
                <c:pt idx="42">
                  <c:v>43676</c:v>
                </c:pt>
                <c:pt idx="43">
                  <c:v>43677</c:v>
                </c:pt>
                <c:pt idx="44">
                  <c:v>43678</c:v>
                </c:pt>
                <c:pt idx="45">
                  <c:v>43679</c:v>
                </c:pt>
                <c:pt idx="46">
                  <c:v>43682</c:v>
                </c:pt>
                <c:pt idx="47">
                  <c:v>43683</c:v>
                </c:pt>
                <c:pt idx="48">
                  <c:v>43684</c:v>
                </c:pt>
                <c:pt idx="49">
                  <c:v>43685</c:v>
                </c:pt>
                <c:pt idx="50">
                  <c:v>43686</c:v>
                </c:pt>
                <c:pt idx="51">
                  <c:v>43689</c:v>
                </c:pt>
                <c:pt idx="52">
                  <c:v>43690</c:v>
                </c:pt>
                <c:pt idx="53">
                  <c:v>43691</c:v>
                </c:pt>
                <c:pt idx="54">
                  <c:v>43692</c:v>
                </c:pt>
                <c:pt idx="55">
                  <c:v>43693</c:v>
                </c:pt>
                <c:pt idx="56">
                  <c:v>43696</c:v>
                </c:pt>
                <c:pt idx="57">
                  <c:v>43697</c:v>
                </c:pt>
                <c:pt idx="58">
                  <c:v>43698</c:v>
                </c:pt>
                <c:pt idx="59">
                  <c:v>43699</c:v>
                </c:pt>
                <c:pt idx="60">
                  <c:v>43700</c:v>
                </c:pt>
                <c:pt idx="61">
                  <c:v>43703</c:v>
                </c:pt>
                <c:pt idx="62">
                  <c:v>43704</c:v>
                </c:pt>
                <c:pt idx="63">
                  <c:v>43705</c:v>
                </c:pt>
                <c:pt idx="64">
                  <c:v>43706</c:v>
                </c:pt>
                <c:pt idx="65">
                  <c:v>43707</c:v>
                </c:pt>
                <c:pt idx="66">
                  <c:v>43710</c:v>
                </c:pt>
                <c:pt idx="67">
                  <c:v>43711</c:v>
                </c:pt>
                <c:pt idx="68">
                  <c:v>43712</c:v>
                </c:pt>
                <c:pt idx="69">
                  <c:v>43713</c:v>
                </c:pt>
                <c:pt idx="70">
                  <c:v>43714</c:v>
                </c:pt>
                <c:pt idx="71">
                  <c:v>43717</c:v>
                </c:pt>
                <c:pt idx="72">
                  <c:v>43718</c:v>
                </c:pt>
                <c:pt idx="73">
                  <c:v>43719</c:v>
                </c:pt>
                <c:pt idx="74">
                  <c:v>43720</c:v>
                </c:pt>
                <c:pt idx="75">
                  <c:v>43721</c:v>
                </c:pt>
                <c:pt idx="76">
                  <c:v>43724</c:v>
                </c:pt>
                <c:pt idx="77">
                  <c:v>43725</c:v>
                </c:pt>
                <c:pt idx="78">
                  <c:v>43726</c:v>
                </c:pt>
                <c:pt idx="79">
                  <c:v>43727</c:v>
                </c:pt>
                <c:pt idx="80">
                  <c:v>43728</c:v>
                </c:pt>
                <c:pt idx="81">
                  <c:v>43731</c:v>
                </c:pt>
                <c:pt idx="82">
                  <c:v>43732</c:v>
                </c:pt>
                <c:pt idx="83">
                  <c:v>43733</c:v>
                </c:pt>
                <c:pt idx="84">
                  <c:v>43734</c:v>
                </c:pt>
                <c:pt idx="85">
                  <c:v>43735</c:v>
                </c:pt>
                <c:pt idx="86">
                  <c:v>43738</c:v>
                </c:pt>
                <c:pt idx="87">
                  <c:v>43739</c:v>
                </c:pt>
                <c:pt idx="88">
                  <c:v>43740</c:v>
                </c:pt>
                <c:pt idx="89">
                  <c:v>43741</c:v>
                </c:pt>
                <c:pt idx="90">
                  <c:v>43742</c:v>
                </c:pt>
                <c:pt idx="91">
                  <c:v>43745</c:v>
                </c:pt>
                <c:pt idx="92">
                  <c:v>43746</c:v>
                </c:pt>
                <c:pt idx="93">
                  <c:v>43747</c:v>
                </c:pt>
                <c:pt idx="94">
                  <c:v>43748</c:v>
                </c:pt>
                <c:pt idx="95">
                  <c:v>43749</c:v>
                </c:pt>
                <c:pt idx="96">
                  <c:v>43752</c:v>
                </c:pt>
                <c:pt idx="97">
                  <c:v>43753</c:v>
                </c:pt>
                <c:pt idx="98">
                  <c:v>43754</c:v>
                </c:pt>
                <c:pt idx="99">
                  <c:v>43755</c:v>
                </c:pt>
                <c:pt idx="100">
                  <c:v>43756</c:v>
                </c:pt>
                <c:pt idx="101">
                  <c:v>43759</c:v>
                </c:pt>
                <c:pt idx="102">
                  <c:v>43760</c:v>
                </c:pt>
                <c:pt idx="103">
                  <c:v>43761</c:v>
                </c:pt>
                <c:pt idx="104">
                  <c:v>43762</c:v>
                </c:pt>
                <c:pt idx="105">
                  <c:v>43763</c:v>
                </c:pt>
                <c:pt idx="106">
                  <c:v>43766</c:v>
                </c:pt>
                <c:pt idx="107">
                  <c:v>43767</c:v>
                </c:pt>
                <c:pt idx="108">
                  <c:v>43768</c:v>
                </c:pt>
                <c:pt idx="109">
                  <c:v>43769</c:v>
                </c:pt>
                <c:pt idx="110">
                  <c:v>43770</c:v>
                </c:pt>
                <c:pt idx="111">
                  <c:v>43773</c:v>
                </c:pt>
                <c:pt idx="112">
                  <c:v>43774</c:v>
                </c:pt>
                <c:pt idx="113">
                  <c:v>43775</c:v>
                </c:pt>
                <c:pt idx="114">
                  <c:v>43776</c:v>
                </c:pt>
                <c:pt idx="115">
                  <c:v>43777</c:v>
                </c:pt>
                <c:pt idx="116">
                  <c:v>43780</c:v>
                </c:pt>
                <c:pt idx="117">
                  <c:v>43781</c:v>
                </c:pt>
                <c:pt idx="118">
                  <c:v>43782</c:v>
                </c:pt>
                <c:pt idx="119">
                  <c:v>43783</c:v>
                </c:pt>
                <c:pt idx="120">
                  <c:v>43784</c:v>
                </c:pt>
                <c:pt idx="121">
                  <c:v>43787</c:v>
                </c:pt>
                <c:pt idx="122">
                  <c:v>43788</c:v>
                </c:pt>
                <c:pt idx="123">
                  <c:v>43789</c:v>
                </c:pt>
                <c:pt idx="124">
                  <c:v>43790</c:v>
                </c:pt>
                <c:pt idx="125">
                  <c:v>43791</c:v>
                </c:pt>
                <c:pt idx="126">
                  <c:v>43794</c:v>
                </c:pt>
                <c:pt idx="127">
                  <c:v>43795</c:v>
                </c:pt>
                <c:pt idx="128">
                  <c:v>43796</c:v>
                </c:pt>
                <c:pt idx="129">
                  <c:v>43797</c:v>
                </c:pt>
                <c:pt idx="130">
                  <c:v>43798</c:v>
                </c:pt>
                <c:pt idx="131">
                  <c:v>43801</c:v>
                </c:pt>
                <c:pt idx="132">
                  <c:v>43802</c:v>
                </c:pt>
                <c:pt idx="133">
                  <c:v>43803</c:v>
                </c:pt>
                <c:pt idx="134">
                  <c:v>43804</c:v>
                </c:pt>
                <c:pt idx="135">
                  <c:v>43805</c:v>
                </c:pt>
                <c:pt idx="136">
                  <c:v>43808</c:v>
                </c:pt>
                <c:pt idx="137">
                  <c:v>43809</c:v>
                </c:pt>
                <c:pt idx="138">
                  <c:v>43810</c:v>
                </c:pt>
                <c:pt idx="139">
                  <c:v>43811</c:v>
                </c:pt>
                <c:pt idx="140">
                  <c:v>43812</c:v>
                </c:pt>
                <c:pt idx="141">
                  <c:v>43815</c:v>
                </c:pt>
                <c:pt idx="142">
                  <c:v>43816</c:v>
                </c:pt>
                <c:pt idx="143">
                  <c:v>43817</c:v>
                </c:pt>
                <c:pt idx="144">
                  <c:v>43818</c:v>
                </c:pt>
                <c:pt idx="145">
                  <c:v>43819</c:v>
                </c:pt>
                <c:pt idx="146">
                  <c:v>43822</c:v>
                </c:pt>
                <c:pt idx="147">
                  <c:v>43823</c:v>
                </c:pt>
                <c:pt idx="148">
                  <c:v>43824</c:v>
                </c:pt>
                <c:pt idx="149">
                  <c:v>43825</c:v>
                </c:pt>
                <c:pt idx="150">
                  <c:v>43826</c:v>
                </c:pt>
                <c:pt idx="151">
                  <c:v>43829</c:v>
                </c:pt>
                <c:pt idx="152">
                  <c:v>43830</c:v>
                </c:pt>
                <c:pt idx="153">
                  <c:v>43831</c:v>
                </c:pt>
                <c:pt idx="154">
                  <c:v>43832</c:v>
                </c:pt>
                <c:pt idx="155">
                  <c:v>43833</c:v>
                </c:pt>
                <c:pt idx="156">
                  <c:v>43836</c:v>
                </c:pt>
                <c:pt idx="157">
                  <c:v>43837</c:v>
                </c:pt>
                <c:pt idx="158">
                  <c:v>43838</c:v>
                </c:pt>
                <c:pt idx="159">
                  <c:v>43839</c:v>
                </c:pt>
                <c:pt idx="160">
                  <c:v>43840</c:v>
                </c:pt>
                <c:pt idx="161">
                  <c:v>43843</c:v>
                </c:pt>
                <c:pt idx="162">
                  <c:v>43844</c:v>
                </c:pt>
                <c:pt idx="163">
                  <c:v>43845</c:v>
                </c:pt>
                <c:pt idx="164">
                  <c:v>43846</c:v>
                </c:pt>
                <c:pt idx="165">
                  <c:v>43847</c:v>
                </c:pt>
                <c:pt idx="166">
                  <c:v>43850</c:v>
                </c:pt>
                <c:pt idx="167">
                  <c:v>43851</c:v>
                </c:pt>
                <c:pt idx="168">
                  <c:v>43852</c:v>
                </c:pt>
                <c:pt idx="169">
                  <c:v>43853</c:v>
                </c:pt>
                <c:pt idx="170">
                  <c:v>43854</c:v>
                </c:pt>
                <c:pt idx="171">
                  <c:v>43857</c:v>
                </c:pt>
                <c:pt idx="172">
                  <c:v>43858</c:v>
                </c:pt>
                <c:pt idx="173">
                  <c:v>43859</c:v>
                </c:pt>
                <c:pt idx="174">
                  <c:v>43860</c:v>
                </c:pt>
                <c:pt idx="175">
                  <c:v>43861</c:v>
                </c:pt>
                <c:pt idx="176">
                  <c:v>43864</c:v>
                </c:pt>
                <c:pt idx="177">
                  <c:v>43865</c:v>
                </c:pt>
                <c:pt idx="178">
                  <c:v>43866</c:v>
                </c:pt>
                <c:pt idx="179">
                  <c:v>43867</c:v>
                </c:pt>
                <c:pt idx="180">
                  <c:v>43868</c:v>
                </c:pt>
                <c:pt idx="181">
                  <c:v>43871</c:v>
                </c:pt>
                <c:pt idx="182">
                  <c:v>43872</c:v>
                </c:pt>
                <c:pt idx="183">
                  <c:v>43873</c:v>
                </c:pt>
                <c:pt idx="184">
                  <c:v>43874</c:v>
                </c:pt>
                <c:pt idx="185">
                  <c:v>43875</c:v>
                </c:pt>
                <c:pt idx="186">
                  <c:v>43878</c:v>
                </c:pt>
                <c:pt idx="187">
                  <c:v>43879</c:v>
                </c:pt>
                <c:pt idx="188">
                  <c:v>43880</c:v>
                </c:pt>
                <c:pt idx="189">
                  <c:v>43881</c:v>
                </c:pt>
                <c:pt idx="190">
                  <c:v>43882</c:v>
                </c:pt>
                <c:pt idx="191">
                  <c:v>43885</c:v>
                </c:pt>
                <c:pt idx="192">
                  <c:v>43886</c:v>
                </c:pt>
                <c:pt idx="193">
                  <c:v>43887</c:v>
                </c:pt>
                <c:pt idx="194">
                  <c:v>43888</c:v>
                </c:pt>
                <c:pt idx="195">
                  <c:v>43889</c:v>
                </c:pt>
                <c:pt idx="196">
                  <c:v>43892</c:v>
                </c:pt>
                <c:pt idx="197">
                  <c:v>43893</c:v>
                </c:pt>
                <c:pt idx="198">
                  <c:v>43894</c:v>
                </c:pt>
                <c:pt idx="199">
                  <c:v>43895</c:v>
                </c:pt>
                <c:pt idx="200">
                  <c:v>43896</c:v>
                </c:pt>
                <c:pt idx="201">
                  <c:v>43899</c:v>
                </c:pt>
                <c:pt idx="202">
                  <c:v>43900</c:v>
                </c:pt>
                <c:pt idx="203">
                  <c:v>43901</c:v>
                </c:pt>
                <c:pt idx="204">
                  <c:v>43902</c:v>
                </c:pt>
                <c:pt idx="205">
                  <c:v>43903</c:v>
                </c:pt>
                <c:pt idx="206">
                  <c:v>43906</c:v>
                </c:pt>
                <c:pt idx="207">
                  <c:v>43907</c:v>
                </c:pt>
                <c:pt idx="208">
                  <c:v>43908</c:v>
                </c:pt>
                <c:pt idx="209">
                  <c:v>43909</c:v>
                </c:pt>
                <c:pt idx="210">
                  <c:v>43910</c:v>
                </c:pt>
                <c:pt idx="211">
                  <c:v>43913</c:v>
                </c:pt>
                <c:pt idx="212">
                  <c:v>43914</c:v>
                </c:pt>
                <c:pt idx="213">
                  <c:v>43915</c:v>
                </c:pt>
                <c:pt idx="214">
                  <c:v>43916</c:v>
                </c:pt>
                <c:pt idx="215">
                  <c:v>43917</c:v>
                </c:pt>
                <c:pt idx="216">
                  <c:v>43920</c:v>
                </c:pt>
                <c:pt idx="217">
                  <c:v>43921</c:v>
                </c:pt>
                <c:pt idx="218">
                  <c:v>43922</c:v>
                </c:pt>
                <c:pt idx="219">
                  <c:v>43923</c:v>
                </c:pt>
                <c:pt idx="220">
                  <c:v>43924</c:v>
                </c:pt>
                <c:pt idx="221">
                  <c:v>43927</c:v>
                </c:pt>
                <c:pt idx="222">
                  <c:v>43928</c:v>
                </c:pt>
                <c:pt idx="223">
                  <c:v>43929</c:v>
                </c:pt>
                <c:pt idx="224">
                  <c:v>43930</c:v>
                </c:pt>
                <c:pt idx="225">
                  <c:v>43931</c:v>
                </c:pt>
                <c:pt idx="226">
                  <c:v>43934</c:v>
                </c:pt>
                <c:pt idx="227">
                  <c:v>43935</c:v>
                </c:pt>
                <c:pt idx="228">
                  <c:v>43936</c:v>
                </c:pt>
                <c:pt idx="229">
                  <c:v>43937</c:v>
                </c:pt>
                <c:pt idx="230">
                  <c:v>43938</c:v>
                </c:pt>
                <c:pt idx="231">
                  <c:v>43941</c:v>
                </c:pt>
                <c:pt idx="232">
                  <c:v>43942</c:v>
                </c:pt>
                <c:pt idx="233">
                  <c:v>43943</c:v>
                </c:pt>
                <c:pt idx="234">
                  <c:v>43944</c:v>
                </c:pt>
                <c:pt idx="235">
                  <c:v>43945</c:v>
                </c:pt>
                <c:pt idx="236">
                  <c:v>43948</c:v>
                </c:pt>
                <c:pt idx="237">
                  <c:v>43949</c:v>
                </c:pt>
                <c:pt idx="238">
                  <c:v>43950</c:v>
                </c:pt>
                <c:pt idx="239">
                  <c:v>43951</c:v>
                </c:pt>
                <c:pt idx="240">
                  <c:v>43952</c:v>
                </c:pt>
                <c:pt idx="241">
                  <c:v>43955</c:v>
                </c:pt>
                <c:pt idx="242">
                  <c:v>43956</c:v>
                </c:pt>
                <c:pt idx="243">
                  <c:v>43957</c:v>
                </c:pt>
                <c:pt idx="244">
                  <c:v>43958</c:v>
                </c:pt>
                <c:pt idx="245">
                  <c:v>43959</c:v>
                </c:pt>
                <c:pt idx="246">
                  <c:v>43962</c:v>
                </c:pt>
                <c:pt idx="247">
                  <c:v>43963</c:v>
                </c:pt>
                <c:pt idx="248">
                  <c:v>43964</c:v>
                </c:pt>
                <c:pt idx="249">
                  <c:v>43965</c:v>
                </c:pt>
                <c:pt idx="250">
                  <c:v>43966</c:v>
                </c:pt>
                <c:pt idx="251">
                  <c:v>43969</c:v>
                </c:pt>
                <c:pt idx="252">
                  <c:v>43970</c:v>
                </c:pt>
                <c:pt idx="253">
                  <c:v>43971</c:v>
                </c:pt>
                <c:pt idx="254">
                  <c:v>43972</c:v>
                </c:pt>
                <c:pt idx="255">
                  <c:v>43973</c:v>
                </c:pt>
                <c:pt idx="256">
                  <c:v>43976</c:v>
                </c:pt>
                <c:pt idx="257">
                  <c:v>43977</c:v>
                </c:pt>
                <c:pt idx="258">
                  <c:v>43978</c:v>
                </c:pt>
                <c:pt idx="259">
                  <c:v>43979</c:v>
                </c:pt>
                <c:pt idx="260">
                  <c:v>43980</c:v>
                </c:pt>
                <c:pt idx="261">
                  <c:v>43983</c:v>
                </c:pt>
                <c:pt idx="262">
                  <c:v>43984</c:v>
                </c:pt>
                <c:pt idx="263">
                  <c:v>43985</c:v>
                </c:pt>
                <c:pt idx="264">
                  <c:v>43986</c:v>
                </c:pt>
                <c:pt idx="265">
                  <c:v>43987</c:v>
                </c:pt>
                <c:pt idx="266">
                  <c:v>43990</c:v>
                </c:pt>
                <c:pt idx="267">
                  <c:v>43991</c:v>
                </c:pt>
                <c:pt idx="268">
                  <c:v>43992</c:v>
                </c:pt>
                <c:pt idx="269">
                  <c:v>43993</c:v>
                </c:pt>
                <c:pt idx="270">
                  <c:v>43994</c:v>
                </c:pt>
                <c:pt idx="271">
                  <c:v>43997</c:v>
                </c:pt>
                <c:pt idx="272">
                  <c:v>43998</c:v>
                </c:pt>
                <c:pt idx="273">
                  <c:v>43999</c:v>
                </c:pt>
                <c:pt idx="274">
                  <c:v>44000</c:v>
                </c:pt>
                <c:pt idx="275">
                  <c:v>44001</c:v>
                </c:pt>
                <c:pt idx="276">
                  <c:v>44004</c:v>
                </c:pt>
                <c:pt idx="277">
                  <c:v>44005</c:v>
                </c:pt>
                <c:pt idx="278">
                  <c:v>44006</c:v>
                </c:pt>
                <c:pt idx="279">
                  <c:v>44007</c:v>
                </c:pt>
                <c:pt idx="280">
                  <c:v>44008</c:v>
                </c:pt>
                <c:pt idx="281">
                  <c:v>44011</c:v>
                </c:pt>
                <c:pt idx="282">
                  <c:v>44012</c:v>
                </c:pt>
                <c:pt idx="283">
                  <c:v>44013</c:v>
                </c:pt>
                <c:pt idx="284">
                  <c:v>44014</c:v>
                </c:pt>
                <c:pt idx="285">
                  <c:v>44015</c:v>
                </c:pt>
                <c:pt idx="286">
                  <c:v>44018</c:v>
                </c:pt>
                <c:pt idx="287">
                  <c:v>44019</c:v>
                </c:pt>
                <c:pt idx="288">
                  <c:v>44020</c:v>
                </c:pt>
                <c:pt idx="289">
                  <c:v>44021</c:v>
                </c:pt>
                <c:pt idx="290">
                  <c:v>44022</c:v>
                </c:pt>
                <c:pt idx="291">
                  <c:v>44025</c:v>
                </c:pt>
                <c:pt idx="292">
                  <c:v>44026</c:v>
                </c:pt>
                <c:pt idx="293">
                  <c:v>44027</c:v>
                </c:pt>
                <c:pt idx="294">
                  <c:v>44028</c:v>
                </c:pt>
                <c:pt idx="295">
                  <c:v>44029</c:v>
                </c:pt>
                <c:pt idx="296">
                  <c:v>44032</c:v>
                </c:pt>
                <c:pt idx="297">
                  <c:v>44033</c:v>
                </c:pt>
                <c:pt idx="298">
                  <c:v>44034</c:v>
                </c:pt>
                <c:pt idx="299">
                  <c:v>44035</c:v>
                </c:pt>
                <c:pt idx="300">
                  <c:v>44036</c:v>
                </c:pt>
                <c:pt idx="301">
                  <c:v>44039</c:v>
                </c:pt>
                <c:pt idx="302">
                  <c:v>44040</c:v>
                </c:pt>
                <c:pt idx="303">
                  <c:v>44041</c:v>
                </c:pt>
                <c:pt idx="304">
                  <c:v>44042</c:v>
                </c:pt>
                <c:pt idx="305">
                  <c:v>44043</c:v>
                </c:pt>
                <c:pt idx="306">
                  <c:v>44046</c:v>
                </c:pt>
                <c:pt idx="307">
                  <c:v>44047</c:v>
                </c:pt>
                <c:pt idx="308">
                  <c:v>44048</c:v>
                </c:pt>
                <c:pt idx="309">
                  <c:v>44049</c:v>
                </c:pt>
                <c:pt idx="310">
                  <c:v>44050</c:v>
                </c:pt>
                <c:pt idx="311">
                  <c:v>44053</c:v>
                </c:pt>
                <c:pt idx="312">
                  <c:v>44054</c:v>
                </c:pt>
                <c:pt idx="313">
                  <c:v>44055</c:v>
                </c:pt>
                <c:pt idx="314">
                  <c:v>44056</c:v>
                </c:pt>
                <c:pt idx="315">
                  <c:v>44057</c:v>
                </c:pt>
                <c:pt idx="316">
                  <c:v>44060</c:v>
                </c:pt>
                <c:pt idx="317">
                  <c:v>44061</c:v>
                </c:pt>
                <c:pt idx="318">
                  <c:v>44062</c:v>
                </c:pt>
                <c:pt idx="319">
                  <c:v>44063</c:v>
                </c:pt>
                <c:pt idx="320">
                  <c:v>44064</c:v>
                </c:pt>
                <c:pt idx="321">
                  <c:v>44067</c:v>
                </c:pt>
                <c:pt idx="322">
                  <c:v>44068</c:v>
                </c:pt>
                <c:pt idx="323">
                  <c:v>44069</c:v>
                </c:pt>
                <c:pt idx="324">
                  <c:v>44070</c:v>
                </c:pt>
                <c:pt idx="325">
                  <c:v>44071</c:v>
                </c:pt>
                <c:pt idx="326">
                  <c:v>44074</c:v>
                </c:pt>
                <c:pt idx="327">
                  <c:v>44075</c:v>
                </c:pt>
                <c:pt idx="328">
                  <c:v>44076</c:v>
                </c:pt>
                <c:pt idx="329">
                  <c:v>44077</c:v>
                </c:pt>
                <c:pt idx="330">
                  <c:v>44078</c:v>
                </c:pt>
                <c:pt idx="331">
                  <c:v>44081</c:v>
                </c:pt>
                <c:pt idx="332">
                  <c:v>44082</c:v>
                </c:pt>
                <c:pt idx="333">
                  <c:v>44083</c:v>
                </c:pt>
                <c:pt idx="334">
                  <c:v>44084</c:v>
                </c:pt>
                <c:pt idx="335">
                  <c:v>44085</c:v>
                </c:pt>
                <c:pt idx="336">
                  <c:v>44088</c:v>
                </c:pt>
                <c:pt idx="337">
                  <c:v>44089</c:v>
                </c:pt>
                <c:pt idx="338">
                  <c:v>44090</c:v>
                </c:pt>
                <c:pt idx="339">
                  <c:v>44091</c:v>
                </c:pt>
                <c:pt idx="340">
                  <c:v>44092</c:v>
                </c:pt>
                <c:pt idx="341">
                  <c:v>44095</c:v>
                </c:pt>
                <c:pt idx="342">
                  <c:v>44096</c:v>
                </c:pt>
                <c:pt idx="343">
                  <c:v>44097</c:v>
                </c:pt>
                <c:pt idx="344">
                  <c:v>44098</c:v>
                </c:pt>
                <c:pt idx="345">
                  <c:v>44099</c:v>
                </c:pt>
                <c:pt idx="346">
                  <c:v>44102</c:v>
                </c:pt>
                <c:pt idx="347">
                  <c:v>44103</c:v>
                </c:pt>
                <c:pt idx="348">
                  <c:v>44104</c:v>
                </c:pt>
                <c:pt idx="349">
                  <c:v>44105</c:v>
                </c:pt>
                <c:pt idx="350">
                  <c:v>44106</c:v>
                </c:pt>
                <c:pt idx="351">
                  <c:v>44109</c:v>
                </c:pt>
                <c:pt idx="352">
                  <c:v>44110</c:v>
                </c:pt>
                <c:pt idx="353">
                  <c:v>44111</c:v>
                </c:pt>
                <c:pt idx="354">
                  <c:v>44112</c:v>
                </c:pt>
                <c:pt idx="355">
                  <c:v>44113</c:v>
                </c:pt>
                <c:pt idx="356">
                  <c:v>44116</c:v>
                </c:pt>
                <c:pt idx="357">
                  <c:v>44117</c:v>
                </c:pt>
                <c:pt idx="358">
                  <c:v>44118</c:v>
                </c:pt>
                <c:pt idx="359">
                  <c:v>44119</c:v>
                </c:pt>
                <c:pt idx="360">
                  <c:v>44120</c:v>
                </c:pt>
                <c:pt idx="361">
                  <c:v>44123</c:v>
                </c:pt>
                <c:pt idx="362">
                  <c:v>44124</c:v>
                </c:pt>
                <c:pt idx="363">
                  <c:v>44125</c:v>
                </c:pt>
                <c:pt idx="364">
                  <c:v>44126</c:v>
                </c:pt>
                <c:pt idx="365">
                  <c:v>44127</c:v>
                </c:pt>
                <c:pt idx="366">
                  <c:v>44130</c:v>
                </c:pt>
                <c:pt idx="367">
                  <c:v>44131</c:v>
                </c:pt>
                <c:pt idx="368">
                  <c:v>44132</c:v>
                </c:pt>
                <c:pt idx="369">
                  <c:v>44133</c:v>
                </c:pt>
                <c:pt idx="370">
                  <c:v>44134</c:v>
                </c:pt>
                <c:pt idx="371">
                  <c:v>44137</c:v>
                </c:pt>
                <c:pt idx="372">
                  <c:v>44138</c:v>
                </c:pt>
                <c:pt idx="373">
                  <c:v>44139</c:v>
                </c:pt>
                <c:pt idx="374">
                  <c:v>44140</c:v>
                </c:pt>
                <c:pt idx="375">
                  <c:v>44141</c:v>
                </c:pt>
                <c:pt idx="376">
                  <c:v>44144</c:v>
                </c:pt>
                <c:pt idx="377">
                  <c:v>44145</c:v>
                </c:pt>
                <c:pt idx="378">
                  <c:v>44146</c:v>
                </c:pt>
                <c:pt idx="379">
                  <c:v>44147</c:v>
                </c:pt>
                <c:pt idx="380">
                  <c:v>44148</c:v>
                </c:pt>
                <c:pt idx="381">
                  <c:v>44151</c:v>
                </c:pt>
                <c:pt idx="382">
                  <c:v>44152</c:v>
                </c:pt>
                <c:pt idx="383">
                  <c:v>44153</c:v>
                </c:pt>
                <c:pt idx="384">
                  <c:v>44154</c:v>
                </c:pt>
                <c:pt idx="385">
                  <c:v>44155</c:v>
                </c:pt>
                <c:pt idx="386">
                  <c:v>44158</c:v>
                </c:pt>
                <c:pt idx="387">
                  <c:v>44159</c:v>
                </c:pt>
                <c:pt idx="388">
                  <c:v>44160</c:v>
                </c:pt>
                <c:pt idx="389">
                  <c:v>44161</c:v>
                </c:pt>
                <c:pt idx="390">
                  <c:v>44162</c:v>
                </c:pt>
                <c:pt idx="391">
                  <c:v>44165</c:v>
                </c:pt>
                <c:pt idx="392">
                  <c:v>44166</c:v>
                </c:pt>
                <c:pt idx="393">
                  <c:v>44167</c:v>
                </c:pt>
                <c:pt idx="394">
                  <c:v>44168</c:v>
                </c:pt>
                <c:pt idx="395">
                  <c:v>44169</c:v>
                </c:pt>
                <c:pt idx="396">
                  <c:v>44172</c:v>
                </c:pt>
                <c:pt idx="397">
                  <c:v>44173</c:v>
                </c:pt>
                <c:pt idx="398">
                  <c:v>44174</c:v>
                </c:pt>
                <c:pt idx="399">
                  <c:v>44175</c:v>
                </c:pt>
                <c:pt idx="400">
                  <c:v>44176</c:v>
                </c:pt>
                <c:pt idx="401">
                  <c:v>44179</c:v>
                </c:pt>
                <c:pt idx="402">
                  <c:v>44180</c:v>
                </c:pt>
                <c:pt idx="403">
                  <c:v>44181</c:v>
                </c:pt>
                <c:pt idx="404">
                  <c:v>44182</c:v>
                </c:pt>
                <c:pt idx="405">
                  <c:v>44183</c:v>
                </c:pt>
                <c:pt idx="406">
                  <c:v>44186</c:v>
                </c:pt>
                <c:pt idx="407">
                  <c:v>44187</c:v>
                </c:pt>
                <c:pt idx="408">
                  <c:v>44188</c:v>
                </c:pt>
                <c:pt idx="409">
                  <c:v>44189</c:v>
                </c:pt>
                <c:pt idx="410">
                  <c:v>44190</c:v>
                </c:pt>
                <c:pt idx="411">
                  <c:v>44193</c:v>
                </c:pt>
                <c:pt idx="412">
                  <c:v>44194</c:v>
                </c:pt>
                <c:pt idx="413">
                  <c:v>44195</c:v>
                </c:pt>
                <c:pt idx="414">
                  <c:v>44196</c:v>
                </c:pt>
                <c:pt idx="415">
                  <c:v>44197</c:v>
                </c:pt>
                <c:pt idx="416">
                  <c:v>44200</c:v>
                </c:pt>
                <c:pt idx="417">
                  <c:v>44201</c:v>
                </c:pt>
                <c:pt idx="418">
                  <c:v>44202</c:v>
                </c:pt>
                <c:pt idx="419">
                  <c:v>44203</c:v>
                </c:pt>
                <c:pt idx="420">
                  <c:v>44204</c:v>
                </c:pt>
                <c:pt idx="421">
                  <c:v>44207</c:v>
                </c:pt>
                <c:pt idx="422">
                  <c:v>44208</c:v>
                </c:pt>
                <c:pt idx="423">
                  <c:v>44209</c:v>
                </c:pt>
                <c:pt idx="424">
                  <c:v>44210</c:v>
                </c:pt>
                <c:pt idx="425">
                  <c:v>44211</c:v>
                </c:pt>
                <c:pt idx="426">
                  <c:v>44214</c:v>
                </c:pt>
                <c:pt idx="427">
                  <c:v>44215</c:v>
                </c:pt>
                <c:pt idx="428">
                  <c:v>44216</c:v>
                </c:pt>
                <c:pt idx="429">
                  <c:v>44217</c:v>
                </c:pt>
                <c:pt idx="430">
                  <c:v>44218</c:v>
                </c:pt>
                <c:pt idx="431">
                  <c:v>44221</c:v>
                </c:pt>
                <c:pt idx="432">
                  <c:v>44222</c:v>
                </c:pt>
                <c:pt idx="433">
                  <c:v>44223</c:v>
                </c:pt>
                <c:pt idx="434">
                  <c:v>44224</c:v>
                </c:pt>
                <c:pt idx="435">
                  <c:v>44225</c:v>
                </c:pt>
                <c:pt idx="436">
                  <c:v>44228</c:v>
                </c:pt>
                <c:pt idx="437">
                  <c:v>44229</c:v>
                </c:pt>
                <c:pt idx="438">
                  <c:v>44230</c:v>
                </c:pt>
                <c:pt idx="439">
                  <c:v>44231</c:v>
                </c:pt>
                <c:pt idx="440">
                  <c:v>44232</c:v>
                </c:pt>
                <c:pt idx="441">
                  <c:v>44235</c:v>
                </c:pt>
                <c:pt idx="442">
                  <c:v>44236</c:v>
                </c:pt>
                <c:pt idx="443">
                  <c:v>44237</c:v>
                </c:pt>
                <c:pt idx="444">
                  <c:v>44238</c:v>
                </c:pt>
                <c:pt idx="445">
                  <c:v>44239</c:v>
                </c:pt>
                <c:pt idx="446">
                  <c:v>44242</c:v>
                </c:pt>
                <c:pt idx="447">
                  <c:v>44243</c:v>
                </c:pt>
                <c:pt idx="448">
                  <c:v>44244</c:v>
                </c:pt>
                <c:pt idx="449">
                  <c:v>44245</c:v>
                </c:pt>
                <c:pt idx="450">
                  <c:v>44246</c:v>
                </c:pt>
                <c:pt idx="451">
                  <c:v>44249</c:v>
                </c:pt>
                <c:pt idx="452">
                  <c:v>44250</c:v>
                </c:pt>
                <c:pt idx="453">
                  <c:v>44251</c:v>
                </c:pt>
                <c:pt idx="454">
                  <c:v>44252</c:v>
                </c:pt>
                <c:pt idx="455">
                  <c:v>44253</c:v>
                </c:pt>
                <c:pt idx="456">
                  <c:v>44256</c:v>
                </c:pt>
                <c:pt idx="457">
                  <c:v>44257</c:v>
                </c:pt>
                <c:pt idx="458">
                  <c:v>44258</c:v>
                </c:pt>
                <c:pt idx="459">
                  <c:v>44259</c:v>
                </c:pt>
                <c:pt idx="460">
                  <c:v>44260</c:v>
                </c:pt>
                <c:pt idx="461">
                  <c:v>44263</c:v>
                </c:pt>
                <c:pt idx="462">
                  <c:v>44264</c:v>
                </c:pt>
                <c:pt idx="463">
                  <c:v>44265</c:v>
                </c:pt>
                <c:pt idx="464">
                  <c:v>44266</c:v>
                </c:pt>
                <c:pt idx="465">
                  <c:v>44267</c:v>
                </c:pt>
                <c:pt idx="466">
                  <c:v>44270</c:v>
                </c:pt>
                <c:pt idx="467">
                  <c:v>44271</c:v>
                </c:pt>
                <c:pt idx="468">
                  <c:v>44272</c:v>
                </c:pt>
                <c:pt idx="469">
                  <c:v>44273</c:v>
                </c:pt>
                <c:pt idx="470">
                  <c:v>44274</c:v>
                </c:pt>
                <c:pt idx="471">
                  <c:v>44277</c:v>
                </c:pt>
                <c:pt idx="472">
                  <c:v>44278</c:v>
                </c:pt>
                <c:pt idx="473">
                  <c:v>44279</c:v>
                </c:pt>
                <c:pt idx="474">
                  <c:v>44280</c:v>
                </c:pt>
                <c:pt idx="475">
                  <c:v>44281</c:v>
                </c:pt>
                <c:pt idx="476">
                  <c:v>44284</c:v>
                </c:pt>
                <c:pt idx="477">
                  <c:v>44285</c:v>
                </c:pt>
                <c:pt idx="478">
                  <c:v>44286</c:v>
                </c:pt>
                <c:pt idx="479">
                  <c:v>44287</c:v>
                </c:pt>
                <c:pt idx="480">
                  <c:v>44288</c:v>
                </c:pt>
                <c:pt idx="481">
                  <c:v>44291</c:v>
                </c:pt>
                <c:pt idx="482">
                  <c:v>44292</c:v>
                </c:pt>
                <c:pt idx="483">
                  <c:v>44293</c:v>
                </c:pt>
                <c:pt idx="484">
                  <c:v>44294</c:v>
                </c:pt>
                <c:pt idx="485">
                  <c:v>44295</c:v>
                </c:pt>
                <c:pt idx="486">
                  <c:v>44298</c:v>
                </c:pt>
                <c:pt idx="487">
                  <c:v>44299</c:v>
                </c:pt>
                <c:pt idx="488">
                  <c:v>44300</c:v>
                </c:pt>
                <c:pt idx="489">
                  <c:v>44301</c:v>
                </c:pt>
                <c:pt idx="490">
                  <c:v>44302</c:v>
                </c:pt>
                <c:pt idx="491">
                  <c:v>44305</c:v>
                </c:pt>
                <c:pt idx="492">
                  <c:v>44306</c:v>
                </c:pt>
                <c:pt idx="493">
                  <c:v>44307</c:v>
                </c:pt>
                <c:pt idx="494">
                  <c:v>44308</c:v>
                </c:pt>
                <c:pt idx="495">
                  <c:v>44309</c:v>
                </c:pt>
                <c:pt idx="496">
                  <c:v>44312</c:v>
                </c:pt>
                <c:pt idx="497">
                  <c:v>44313</c:v>
                </c:pt>
                <c:pt idx="498">
                  <c:v>44314</c:v>
                </c:pt>
                <c:pt idx="499">
                  <c:v>44315</c:v>
                </c:pt>
                <c:pt idx="500">
                  <c:v>44316</c:v>
                </c:pt>
                <c:pt idx="501">
                  <c:v>44319</c:v>
                </c:pt>
                <c:pt idx="502">
                  <c:v>44320</c:v>
                </c:pt>
                <c:pt idx="503">
                  <c:v>44321</c:v>
                </c:pt>
                <c:pt idx="504">
                  <c:v>44322</c:v>
                </c:pt>
                <c:pt idx="505">
                  <c:v>44323</c:v>
                </c:pt>
                <c:pt idx="506">
                  <c:v>44326</c:v>
                </c:pt>
                <c:pt idx="507">
                  <c:v>44327</c:v>
                </c:pt>
                <c:pt idx="508">
                  <c:v>44328</c:v>
                </c:pt>
                <c:pt idx="509">
                  <c:v>44329</c:v>
                </c:pt>
                <c:pt idx="510">
                  <c:v>44330</c:v>
                </c:pt>
                <c:pt idx="511">
                  <c:v>44333</c:v>
                </c:pt>
                <c:pt idx="512">
                  <c:v>44334</c:v>
                </c:pt>
                <c:pt idx="513">
                  <c:v>44335</c:v>
                </c:pt>
                <c:pt idx="514">
                  <c:v>44336</c:v>
                </c:pt>
                <c:pt idx="515">
                  <c:v>44337</c:v>
                </c:pt>
                <c:pt idx="516">
                  <c:v>44340</c:v>
                </c:pt>
                <c:pt idx="517">
                  <c:v>44341</c:v>
                </c:pt>
                <c:pt idx="518">
                  <c:v>44342</c:v>
                </c:pt>
                <c:pt idx="519">
                  <c:v>44343</c:v>
                </c:pt>
                <c:pt idx="520">
                  <c:v>44344</c:v>
                </c:pt>
                <c:pt idx="521">
                  <c:v>44347</c:v>
                </c:pt>
                <c:pt idx="522">
                  <c:v>44348</c:v>
                </c:pt>
                <c:pt idx="523">
                  <c:v>44349</c:v>
                </c:pt>
                <c:pt idx="524">
                  <c:v>44350</c:v>
                </c:pt>
                <c:pt idx="525">
                  <c:v>44351</c:v>
                </c:pt>
                <c:pt idx="526">
                  <c:v>44354</c:v>
                </c:pt>
                <c:pt idx="527">
                  <c:v>44355</c:v>
                </c:pt>
                <c:pt idx="528">
                  <c:v>44356</c:v>
                </c:pt>
                <c:pt idx="529">
                  <c:v>44357</c:v>
                </c:pt>
                <c:pt idx="530">
                  <c:v>44358</c:v>
                </c:pt>
                <c:pt idx="531">
                  <c:v>44361</c:v>
                </c:pt>
                <c:pt idx="532">
                  <c:v>44362</c:v>
                </c:pt>
                <c:pt idx="533">
                  <c:v>44363</c:v>
                </c:pt>
                <c:pt idx="534">
                  <c:v>44364</c:v>
                </c:pt>
                <c:pt idx="535">
                  <c:v>44365</c:v>
                </c:pt>
                <c:pt idx="536">
                  <c:v>44368</c:v>
                </c:pt>
                <c:pt idx="537">
                  <c:v>44369</c:v>
                </c:pt>
                <c:pt idx="538">
                  <c:v>44370</c:v>
                </c:pt>
                <c:pt idx="539">
                  <c:v>44371</c:v>
                </c:pt>
                <c:pt idx="540">
                  <c:v>44372</c:v>
                </c:pt>
                <c:pt idx="541">
                  <c:v>44375</c:v>
                </c:pt>
                <c:pt idx="542">
                  <c:v>44376</c:v>
                </c:pt>
                <c:pt idx="543">
                  <c:v>44377</c:v>
                </c:pt>
                <c:pt idx="544">
                  <c:v>44378</c:v>
                </c:pt>
                <c:pt idx="545">
                  <c:v>44379</c:v>
                </c:pt>
                <c:pt idx="546">
                  <c:v>44382</c:v>
                </c:pt>
                <c:pt idx="547">
                  <c:v>44383</c:v>
                </c:pt>
                <c:pt idx="548">
                  <c:v>44384</c:v>
                </c:pt>
                <c:pt idx="549">
                  <c:v>44385</c:v>
                </c:pt>
                <c:pt idx="550">
                  <c:v>44386</c:v>
                </c:pt>
                <c:pt idx="551">
                  <c:v>44389</c:v>
                </c:pt>
                <c:pt idx="552">
                  <c:v>44390</c:v>
                </c:pt>
                <c:pt idx="553">
                  <c:v>44391</c:v>
                </c:pt>
                <c:pt idx="554">
                  <c:v>44392</c:v>
                </c:pt>
                <c:pt idx="555">
                  <c:v>44393</c:v>
                </c:pt>
                <c:pt idx="556">
                  <c:v>44396</c:v>
                </c:pt>
                <c:pt idx="557">
                  <c:v>44397</c:v>
                </c:pt>
                <c:pt idx="558">
                  <c:v>44398</c:v>
                </c:pt>
                <c:pt idx="559">
                  <c:v>44399</c:v>
                </c:pt>
                <c:pt idx="560">
                  <c:v>44400</c:v>
                </c:pt>
                <c:pt idx="561">
                  <c:v>44403</c:v>
                </c:pt>
                <c:pt idx="562">
                  <c:v>44404</c:v>
                </c:pt>
                <c:pt idx="563">
                  <c:v>44405</c:v>
                </c:pt>
                <c:pt idx="564">
                  <c:v>44406</c:v>
                </c:pt>
                <c:pt idx="565">
                  <c:v>44407</c:v>
                </c:pt>
                <c:pt idx="566">
                  <c:v>44410</c:v>
                </c:pt>
                <c:pt idx="567">
                  <c:v>44411</c:v>
                </c:pt>
                <c:pt idx="568">
                  <c:v>44412</c:v>
                </c:pt>
                <c:pt idx="569">
                  <c:v>44413</c:v>
                </c:pt>
                <c:pt idx="570">
                  <c:v>44414</c:v>
                </c:pt>
                <c:pt idx="571">
                  <c:v>44417</c:v>
                </c:pt>
                <c:pt idx="572">
                  <c:v>44418</c:v>
                </c:pt>
                <c:pt idx="573">
                  <c:v>44419</c:v>
                </c:pt>
                <c:pt idx="574">
                  <c:v>44420</c:v>
                </c:pt>
                <c:pt idx="575">
                  <c:v>44421</c:v>
                </c:pt>
                <c:pt idx="576">
                  <c:v>44424</c:v>
                </c:pt>
                <c:pt idx="577">
                  <c:v>44425</c:v>
                </c:pt>
                <c:pt idx="578">
                  <c:v>44426</c:v>
                </c:pt>
                <c:pt idx="579">
                  <c:v>44427</c:v>
                </c:pt>
                <c:pt idx="580">
                  <c:v>44428</c:v>
                </c:pt>
                <c:pt idx="581">
                  <c:v>44431</c:v>
                </c:pt>
                <c:pt idx="582">
                  <c:v>44432</c:v>
                </c:pt>
                <c:pt idx="583">
                  <c:v>44433</c:v>
                </c:pt>
                <c:pt idx="584">
                  <c:v>44434</c:v>
                </c:pt>
                <c:pt idx="585">
                  <c:v>44435</c:v>
                </c:pt>
                <c:pt idx="586">
                  <c:v>44438</c:v>
                </c:pt>
                <c:pt idx="587">
                  <c:v>44439</c:v>
                </c:pt>
                <c:pt idx="588">
                  <c:v>44440</c:v>
                </c:pt>
                <c:pt idx="589">
                  <c:v>44441</c:v>
                </c:pt>
                <c:pt idx="590">
                  <c:v>44442</c:v>
                </c:pt>
                <c:pt idx="591">
                  <c:v>44445</c:v>
                </c:pt>
                <c:pt idx="592">
                  <c:v>44446</c:v>
                </c:pt>
                <c:pt idx="593">
                  <c:v>44447</c:v>
                </c:pt>
                <c:pt idx="594">
                  <c:v>44448</c:v>
                </c:pt>
                <c:pt idx="595">
                  <c:v>44449</c:v>
                </c:pt>
                <c:pt idx="596">
                  <c:v>44452</c:v>
                </c:pt>
                <c:pt idx="597">
                  <c:v>44453</c:v>
                </c:pt>
                <c:pt idx="598">
                  <c:v>44454</c:v>
                </c:pt>
                <c:pt idx="599">
                  <c:v>44455</c:v>
                </c:pt>
                <c:pt idx="600">
                  <c:v>44456</c:v>
                </c:pt>
                <c:pt idx="601">
                  <c:v>44459</c:v>
                </c:pt>
                <c:pt idx="602">
                  <c:v>44460</c:v>
                </c:pt>
                <c:pt idx="603">
                  <c:v>44461</c:v>
                </c:pt>
                <c:pt idx="604">
                  <c:v>44462</c:v>
                </c:pt>
                <c:pt idx="605">
                  <c:v>44463</c:v>
                </c:pt>
                <c:pt idx="606">
                  <c:v>44466</c:v>
                </c:pt>
                <c:pt idx="607">
                  <c:v>44467</c:v>
                </c:pt>
                <c:pt idx="608">
                  <c:v>44468</c:v>
                </c:pt>
                <c:pt idx="609">
                  <c:v>44469</c:v>
                </c:pt>
                <c:pt idx="610">
                  <c:v>44470</c:v>
                </c:pt>
                <c:pt idx="611">
                  <c:v>44473</c:v>
                </c:pt>
                <c:pt idx="612">
                  <c:v>44474</c:v>
                </c:pt>
                <c:pt idx="613">
                  <c:v>44475</c:v>
                </c:pt>
                <c:pt idx="614">
                  <c:v>44476</c:v>
                </c:pt>
                <c:pt idx="615">
                  <c:v>44477</c:v>
                </c:pt>
                <c:pt idx="616">
                  <c:v>44480</c:v>
                </c:pt>
                <c:pt idx="617">
                  <c:v>44481</c:v>
                </c:pt>
                <c:pt idx="618">
                  <c:v>44482</c:v>
                </c:pt>
                <c:pt idx="619">
                  <c:v>44483</c:v>
                </c:pt>
                <c:pt idx="620">
                  <c:v>44484</c:v>
                </c:pt>
                <c:pt idx="621">
                  <c:v>44487</c:v>
                </c:pt>
                <c:pt idx="622">
                  <c:v>44488</c:v>
                </c:pt>
                <c:pt idx="623">
                  <c:v>44489</c:v>
                </c:pt>
                <c:pt idx="624">
                  <c:v>44490</c:v>
                </c:pt>
                <c:pt idx="625">
                  <c:v>44491</c:v>
                </c:pt>
                <c:pt idx="626">
                  <c:v>44494</c:v>
                </c:pt>
                <c:pt idx="627">
                  <c:v>44495</c:v>
                </c:pt>
                <c:pt idx="628">
                  <c:v>44496</c:v>
                </c:pt>
                <c:pt idx="629">
                  <c:v>44497</c:v>
                </c:pt>
                <c:pt idx="630">
                  <c:v>44498</c:v>
                </c:pt>
                <c:pt idx="631">
                  <c:v>44501</c:v>
                </c:pt>
                <c:pt idx="632">
                  <c:v>44502</c:v>
                </c:pt>
                <c:pt idx="633">
                  <c:v>44503</c:v>
                </c:pt>
                <c:pt idx="634">
                  <c:v>44504</c:v>
                </c:pt>
                <c:pt idx="635">
                  <c:v>44505</c:v>
                </c:pt>
                <c:pt idx="636">
                  <c:v>44508</c:v>
                </c:pt>
                <c:pt idx="637">
                  <c:v>44509</c:v>
                </c:pt>
                <c:pt idx="638">
                  <c:v>44510</c:v>
                </c:pt>
                <c:pt idx="639">
                  <c:v>44511</c:v>
                </c:pt>
                <c:pt idx="640">
                  <c:v>44512</c:v>
                </c:pt>
                <c:pt idx="641">
                  <c:v>44515</c:v>
                </c:pt>
                <c:pt idx="642">
                  <c:v>44516</c:v>
                </c:pt>
                <c:pt idx="643">
                  <c:v>44517</c:v>
                </c:pt>
                <c:pt idx="644">
                  <c:v>44518</c:v>
                </c:pt>
                <c:pt idx="645">
                  <c:v>44519</c:v>
                </c:pt>
                <c:pt idx="646">
                  <c:v>44522</c:v>
                </c:pt>
                <c:pt idx="647">
                  <c:v>44523</c:v>
                </c:pt>
                <c:pt idx="648">
                  <c:v>44524</c:v>
                </c:pt>
                <c:pt idx="649">
                  <c:v>44525</c:v>
                </c:pt>
                <c:pt idx="650">
                  <c:v>44526</c:v>
                </c:pt>
                <c:pt idx="651">
                  <c:v>44529</c:v>
                </c:pt>
                <c:pt idx="652">
                  <c:v>44530</c:v>
                </c:pt>
                <c:pt idx="653">
                  <c:v>44531</c:v>
                </c:pt>
                <c:pt idx="654">
                  <c:v>44532</c:v>
                </c:pt>
                <c:pt idx="655">
                  <c:v>44533</c:v>
                </c:pt>
                <c:pt idx="656">
                  <c:v>44536</c:v>
                </c:pt>
                <c:pt idx="657">
                  <c:v>44537</c:v>
                </c:pt>
                <c:pt idx="658">
                  <c:v>44538</c:v>
                </c:pt>
                <c:pt idx="659">
                  <c:v>44539</c:v>
                </c:pt>
                <c:pt idx="660">
                  <c:v>44540</c:v>
                </c:pt>
                <c:pt idx="661">
                  <c:v>44543</c:v>
                </c:pt>
                <c:pt idx="662">
                  <c:v>44544</c:v>
                </c:pt>
                <c:pt idx="663">
                  <c:v>44545</c:v>
                </c:pt>
                <c:pt idx="664">
                  <c:v>44546</c:v>
                </c:pt>
                <c:pt idx="665">
                  <c:v>44547</c:v>
                </c:pt>
                <c:pt idx="666">
                  <c:v>44550</c:v>
                </c:pt>
                <c:pt idx="667">
                  <c:v>44551</c:v>
                </c:pt>
                <c:pt idx="668">
                  <c:v>44552</c:v>
                </c:pt>
                <c:pt idx="669">
                  <c:v>44553</c:v>
                </c:pt>
                <c:pt idx="670">
                  <c:v>44554</c:v>
                </c:pt>
                <c:pt idx="671">
                  <c:v>44557</c:v>
                </c:pt>
                <c:pt idx="672">
                  <c:v>44558</c:v>
                </c:pt>
                <c:pt idx="673">
                  <c:v>44559</c:v>
                </c:pt>
                <c:pt idx="674">
                  <c:v>44560</c:v>
                </c:pt>
                <c:pt idx="675">
                  <c:v>44561</c:v>
                </c:pt>
                <c:pt idx="676">
                  <c:v>44564</c:v>
                </c:pt>
                <c:pt idx="677">
                  <c:v>44565</c:v>
                </c:pt>
                <c:pt idx="678">
                  <c:v>44566</c:v>
                </c:pt>
                <c:pt idx="679">
                  <c:v>44567</c:v>
                </c:pt>
                <c:pt idx="680">
                  <c:v>44568</c:v>
                </c:pt>
                <c:pt idx="681">
                  <c:v>44571</c:v>
                </c:pt>
                <c:pt idx="682">
                  <c:v>44572</c:v>
                </c:pt>
                <c:pt idx="683">
                  <c:v>44573</c:v>
                </c:pt>
                <c:pt idx="684">
                  <c:v>44574</c:v>
                </c:pt>
                <c:pt idx="685">
                  <c:v>44575</c:v>
                </c:pt>
                <c:pt idx="686">
                  <c:v>44578</c:v>
                </c:pt>
                <c:pt idx="687">
                  <c:v>44579</c:v>
                </c:pt>
                <c:pt idx="688">
                  <c:v>44580</c:v>
                </c:pt>
                <c:pt idx="689">
                  <c:v>44581</c:v>
                </c:pt>
                <c:pt idx="690">
                  <c:v>44582</c:v>
                </c:pt>
                <c:pt idx="691">
                  <c:v>44585</c:v>
                </c:pt>
                <c:pt idx="692">
                  <c:v>44586</c:v>
                </c:pt>
                <c:pt idx="693">
                  <c:v>44587</c:v>
                </c:pt>
                <c:pt idx="694">
                  <c:v>44588</c:v>
                </c:pt>
                <c:pt idx="695">
                  <c:v>44589</c:v>
                </c:pt>
                <c:pt idx="696">
                  <c:v>44592</c:v>
                </c:pt>
                <c:pt idx="697">
                  <c:v>44593</c:v>
                </c:pt>
                <c:pt idx="698">
                  <c:v>44594</c:v>
                </c:pt>
                <c:pt idx="699">
                  <c:v>44595</c:v>
                </c:pt>
                <c:pt idx="700">
                  <c:v>44596</c:v>
                </c:pt>
                <c:pt idx="701">
                  <c:v>44599</c:v>
                </c:pt>
                <c:pt idx="702">
                  <c:v>44600</c:v>
                </c:pt>
                <c:pt idx="703">
                  <c:v>44601</c:v>
                </c:pt>
                <c:pt idx="704">
                  <c:v>44602</c:v>
                </c:pt>
                <c:pt idx="705">
                  <c:v>44603</c:v>
                </c:pt>
                <c:pt idx="706">
                  <c:v>44606</c:v>
                </c:pt>
                <c:pt idx="707">
                  <c:v>44607</c:v>
                </c:pt>
                <c:pt idx="708">
                  <c:v>44608</c:v>
                </c:pt>
                <c:pt idx="709">
                  <c:v>44609</c:v>
                </c:pt>
                <c:pt idx="710">
                  <c:v>44610</c:v>
                </c:pt>
                <c:pt idx="711">
                  <c:v>44613</c:v>
                </c:pt>
                <c:pt idx="712">
                  <c:v>44614</c:v>
                </c:pt>
                <c:pt idx="713">
                  <c:v>44615</c:v>
                </c:pt>
                <c:pt idx="714">
                  <c:v>44616</c:v>
                </c:pt>
                <c:pt idx="715">
                  <c:v>44617</c:v>
                </c:pt>
                <c:pt idx="716">
                  <c:v>44620</c:v>
                </c:pt>
                <c:pt idx="717">
                  <c:v>44621</c:v>
                </c:pt>
                <c:pt idx="718">
                  <c:v>44622</c:v>
                </c:pt>
                <c:pt idx="719">
                  <c:v>44623</c:v>
                </c:pt>
                <c:pt idx="720">
                  <c:v>44624</c:v>
                </c:pt>
                <c:pt idx="721">
                  <c:v>44627</c:v>
                </c:pt>
                <c:pt idx="722">
                  <c:v>44628</c:v>
                </c:pt>
                <c:pt idx="723">
                  <c:v>44629</c:v>
                </c:pt>
                <c:pt idx="724">
                  <c:v>44630</c:v>
                </c:pt>
                <c:pt idx="725">
                  <c:v>44631</c:v>
                </c:pt>
                <c:pt idx="726">
                  <c:v>44634</c:v>
                </c:pt>
                <c:pt idx="727">
                  <c:v>44635</c:v>
                </c:pt>
                <c:pt idx="728">
                  <c:v>44636</c:v>
                </c:pt>
                <c:pt idx="729">
                  <c:v>44637</c:v>
                </c:pt>
                <c:pt idx="730">
                  <c:v>44638</c:v>
                </c:pt>
                <c:pt idx="731">
                  <c:v>44641</c:v>
                </c:pt>
                <c:pt idx="732">
                  <c:v>44642</c:v>
                </c:pt>
                <c:pt idx="733">
                  <c:v>44643</c:v>
                </c:pt>
                <c:pt idx="734">
                  <c:v>44644</c:v>
                </c:pt>
                <c:pt idx="735">
                  <c:v>44645</c:v>
                </c:pt>
                <c:pt idx="736">
                  <c:v>44648</c:v>
                </c:pt>
                <c:pt idx="737">
                  <c:v>44649</c:v>
                </c:pt>
                <c:pt idx="738">
                  <c:v>44650</c:v>
                </c:pt>
                <c:pt idx="739">
                  <c:v>44651</c:v>
                </c:pt>
                <c:pt idx="740">
                  <c:v>44652</c:v>
                </c:pt>
                <c:pt idx="741">
                  <c:v>44655</c:v>
                </c:pt>
                <c:pt idx="742">
                  <c:v>44656</c:v>
                </c:pt>
                <c:pt idx="743">
                  <c:v>44657</c:v>
                </c:pt>
                <c:pt idx="744">
                  <c:v>44658</c:v>
                </c:pt>
                <c:pt idx="745">
                  <c:v>44659</c:v>
                </c:pt>
                <c:pt idx="746">
                  <c:v>44662</c:v>
                </c:pt>
                <c:pt idx="747">
                  <c:v>44663</c:v>
                </c:pt>
                <c:pt idx="748">
                  <c:v>44664</c:v>
                </c:pt>
                <c:pt idx="749">
                  <c:v>44665</c:v>
                </c:pt>
                <c:pt idx="750">
                  <c:v>44666</c:v>
                </c:pt>
                <c:pt idx="751">
                  <c:v>44669</c:v>
                </c:pt>
                <c:pt idx="752">
                  <c:v>44670</c:v>
                </c:pt>
                <c:pt idx="753">
                  <c:v>44671</c:v>
                </c:pt>
                <c:pt idx="754">
                  <c:v>44672</c:v>
                </c:pt>
                <c:pt idx="755">
                  <c:v>44673</c:v>
                </c:pt>
                <c:pt idx="756">
                  <c:v>44676</c:v>
                </c:pt>
                <c:pt idx="757">
                  <c:v>44677</c:v>
                </c:pt>
                <c:pt idx="758">
                  <c:v>44678</c:v>
                </c:pt>
                <c:pt idx="759">
                  <c:v>44679</c:v>
                </c:pt>
                <c:pt idx="760">
                  <c:v>44680</c:v>
                </c:pt>
                <c:pt idx="761">
                  <c:v>44683</c:v>
                </c:pt>
                <c:pt idx="762">
                  <c:v>44684</c:v>
                </c:pt>
                <c:pt idx="763">
                  <c:v>44685</c:v>
                </c:pt>
                <c:pt idx="764">
                  <c:v>44686</c:v>
                </c:pt>
                <c:pt idx="765">
                  <c:v>44687</c:v>
                </c:pt>
                <c:pt idx="766">
                  <c:v>44690</c:v>
                </c:pt>
                <c:pt idx="767">
                  <c:v>44691</c:v>
                </c:pt>
                <c:pt idx="768">
                  <c:v>44692</c:v>
                </c:pt>
                <c:pt idx="769">
                  <c:v>44693</c:v>
                </c:pt>
                <c:pt idx="770">
                  <c:v>44694</c:v>
                </c:pt>
                <c:pt idx="771">
                  <c:v>44697</c:v>
                </c:pt>
                <c:pt idx="772">
                  <c:v>44698</c:v>
                </c:pt>
                <c:pt idx="773">
                  <c:v>44699</c:v>
                </c:pt>
                <c:pt idx="774">
                  <c:v>44700</c:v>
                </c:pt>
                <c:pt idx="775">
                  <c:v>44701</c:v>
                </c:pt>
                <c:pt idx="776">
                  <c:v>44704</c:v>
                </c:pt>
                <c:pt idx="777">
                  <c:v>44705</c:v>
                </c:pt>
                <c:pt idx="778">
                  <c:v>44706</c:v>
                </c:pt>
                <c:pt idx="779">
                  <c:v>44707</c:v>
                </c:pt>
                <c:pt idx="780">
                  <c:v>44708</c:v>
                </c:pt>
                <c:pt idx="781">
                  <c:v>44711</c:v>
                </c:pt>
                <c:pt idx="782">
                  <c:v>44712</c:v>
                </c:pt>
                <c:pt idx="783">
                  <c:v>44713</c:v>
                </c:pt>
                <c:pt idx="784">
                  <c:v>44714</c:v>
                </c:pt>
                <c:pt idx="785">
                  <c:v>44715</c:v>
                </c:pt>
                <c:pt idx="786">
                  <c:v>44718</c:v>
                </c:pt>
                <c:pt idx="787">
                  <c:v>44719</c:v>
                </c:pt>
                <c:pt idx="788">
                  <c:v>44720</c:v>
                </c:pt>
                <c:pt idx="789">
                  <c:v>44721</c:v>
                </c:pt>
                <c:pt idx="790">
                  <c:v>44722</c:v>
                </c:pt>
                <c:pt idx="791">
                  <c:v>44725</c:v>
                </c:pt>
                <c:pt idx="792">
                  <c:v>44726</c:v>
                </c:pt>
                <c:pt idx="793">
                  <c:v>44727</c:v>
                </c:pt>
                <c:pt idx="794">
                  <c:v>44728</c:v>
                </c:pt>
                <c:pt idx="795">
                  <c:v>44729</c:v>
                </c:pt>
                <c:pt idx="796">
                  <c:v>44732</c:v>
                </c:pt>
                <c:pt idx="797">
                  <c:v>44733</c:v>
                </c:pt>
                <c:pt idx="798">
                  <c:v>44734</c:v>
                </c:pt>
                <c:pt idx="799">
                  <c:v>44735</c:v>
                </c:pt>
                <c:pt idx="800">
                  <c:v>44736</c:v>
                </c:pt>
                <c:pt idx="801">
                  <c:v>44739</c:v>
                </c:pt>
                <c:pt idx="802">
                  <c:v>44740</c:v>
                </c:pt>
                <c:pt idx="803">
                  <c:v>44741</c:v>
                </c:pt>
                <c:pt idx="804">
                  <c:v>44742</c:v>
                </c:pt>
              </c:numCache>
            </c:numRef>
          </c:cat>
          <c:val>
            <c:numRef>
              <c:f>Sheet1!$C$1796:$C$2600</c:f>
              <c:numCache>
                <c:formatCode>0.0000</c:formatCode>
                <c:ptCount val="805"/>
                <c:pt idx="0">
                  <c:v>1.0049999999999999</c:v>
                </c:pt>
                <c:pt idx="1">
                  <c:v>1.0049999999999999</c:v>
                </c:pt>
                <c:pt idx="2">
                  <c:v>1.0049999999999999</c:v>
                </c:pt>
                <c:pt idx="3">
                  <c:v>1.0049999999999999</c:v>
                </c:pt>
                <c:pt idx="4">
                  <c:v>1.0049999999999999</c:v>
                </c:pt>
                <c:pt idx="5">
                  <c:v>1.0049999999999999</c:v>
                </c:pt>
                <c:pt idx="6">
                  <c:v>1.0049999999999999</c:v>
                </c:pt>
                <c:pt idx="7">
                  <c:v>1.0049999999999999</c:v>
                </c:pt>
                <c:pt idx="8">
                  <c:v>1.0049999999999999</c:v>
                </c:pt>
                <c:pt idx="9">
                  <c:v>1.0049999999999999</c:v>
                </c:pt>
                <c:pt idx="10">
                  <c:v>1.0049999999999999</c:v>
                </c:pt>
                <c:pt idx="11">
                  <c:v>1.0049999999999999</c:v>
                </c:pt>
                <c:pt idx="12">
                  <c:v>1.0049999999999999</c:v>
                </c:pt>
                <c:pt idx="13">
                  <c:v>1.0049999999999999</c:v>
                </c:pt>
                <c:pt idx="14">
                  <c:v>1.0049999999999999</c:v>
                </c:pt>
                <c:pt idx="15">
                  <c:v>1.0049999999999999</c:v>
                </c:pt>
                <c:pt idx="16">
                  <c:v>1.0049999999999999</c:v>
                </c:pt>
                <c:pt idx="17">
                  <c:v>1.0049999999999999</c:v>
                </c:pt>
                <c:pt idx="18">
                  <c:v>1.0049999999999999</c:v>
                </c:pt>
                <c:pt idx="19">
                  <c:v>1.0049999999999999</c:v>
                </c:pt>
                <c:pt idx="20">
                  <c:v>1.0049999999999999</c:v>
                </c:pt>
                <c:pt idx="21">
                  <c:v>1.0049999999999999</c:v>
                </c:pt>
                <c:pt idx="22">
                  <c:v>1.0049999999999999</c:v>
                </c:pt>
                <c:pt idx="23">
                  <c:v>1.0049999999999999</c:v>
                </c:pt>
                <c:pt idx="24">
                  <c:v>1.0049999999999999</c:v>
                </c:pt>
                <c:pt idx="25">
                  <c:v>1.0049999999999999</c:v>
                </c:pt>
                <c:pt idx="26">
                  <c:v>1.0049999999999999</c:v>
                </c:pt>
                <c:pt idx="27">
                  <c:v>1.0049999999999999</c:v>
                </c:pt>
                <c:pt idx="28">
                  <c:v>1.0049999999999999</c:v>
                </c:pt>
                <c:pt idx="29">
                  <c:v>1.0049999999999999</c:v>
                </c:pt>
                <c:pt idx="30">
                  <c:v>1.0049999999999999</c:v>
                </c:pt>
                <c:pt idx="31">
                  <c:v>1.0049999999999999</c:v>
                </c:pt>
                <c:pt idx="32">
                  <c:v>1.0049999999999999</c:v>
                </c:pt>
                <c:pt idx="33">
                  <c:v>1.0049999999999999</c:v>
                </c:pt>
                <c:pt idx="34">
                  <c:v>1.0049999999999999</c:v>
                </c:pt>
                <c:pt idx="35">
                  <c:v>1.0049999999999999</c:v>
                </c:pt>
                <c:pt idx="36">
                  <c:v>1.0049999999999999</c:v>
                </c:pt>
                <c:pt idx="37">
                  <c:v>1.0049999999999999</c:v>
                </c:pt>
                <c:pt idx="38">
                  <c:v>1.0049999999999999</c:v>
                </c:pt>
                <c:pt idx="39">
                  <c:v>1.0049999999999999</c:v>
                </c:pt>
                <c:pt idx="40">
                  <c:v>1.0049999999999999</c:v>
                </c:pt>
                <c:pt idx="41">
                  <c:v>1.0049999999999999</c:v>
                </c:pt>
                <c:pt idx="42">
                  <c:v>1.0049999999999999</c:v>
                </c:pt>
                <c:pt idx="43">
                  <c:v>1.0049999999999999</c:v>
                </c:pt>
                <c:pt idx="44">
                  <c:v>1.0049999999999999</c:v>
                </c:pt>
                <c:pt idx="45">
                  <c:v>1.0049999999999999</c:v>
                </c:pt>
                <c:pt idx="46">
                  <c:v>1.0049999999999999</c:v>
                </c:pt>
                <c:pt idx="47">
                  <c:v>1.0049999999999999</c:v>
                </c:pt>
                <c:pt idx="48">
                  <c:v>1.0049999999999999</c:v>
                </c:pt>
                <c:pt idx="49">
                  <c:v>1.0049999999999999</c:v>
                </c:pt>
                <c:pt idx="50">
                  <c:v>1.0049999999999999</c:v>
                </c:pt>
                <c:pt idx="51">
                  <c:v>1.0049999999999999</c:v>
                </c:pt>
                <c:pt idx="52">
                  <c:v>1.0049999999999999</c:v>
                </c:pt>
                <c:pt idx="53">
                  <c:v>1.0049999999999999</c:v>
                </c:pt>
                <c:pt idx="54">
                  <c:v>1.0049999999999999</c:v>
                </c:pt>
                <c:pt idx="55">
                  <c:v>1.0049999999999999</c:v>
                </c:pt>
                <c:pt idx="56">
                  <c:v>1.0049999999999999</c:v>
                </c:pt>
                <c:pt idx="57">
                  <c:v>1.0049999999999999</c:v>
                </c:pt>
                <c:pt idx="58">
                  <c:v>1.0049999999999999</c:v>
                </c:pt>
                <c:pt idx="59">
                  <c:v>1.0049999999999999</c:v>
                </c:pt>
                <c:pt idx="60">
                  <c:v>1.0049999999999999</c:v>
                </c:pt>
                <c:pt idx="61">
                  <c:v>1.0049999999999999</c:v>
                </c:pt>
                <c:pt idx="62">
                  <c:v>1.0049999999999999</c:v>
                </c:pt>
                <c:pt idx="63">
                  <c:v>1.0049999999999999</c:v>
                </c:pt>
                <c:pt idx="64">
                  <c:v>1.0049999999999999</c:v>
                </c:pt>
                <c:pt idx="65">
                  <c:v>1.0049999999999999</c:v>
                </c:pt>
                <c:pt idx="66">
                  <c:v>1.0049999999999999</c:v>
                </c:pt>
                <c:pt idx="67">
                  <c:v>1.0049999999999999</c:v>
                </c:pt>
                <c:pt idx="68">
                  <c:v>1.0049999999999999</c:v>
                </c:pt>
                <c:pt idx="69">
                  <c:v>1.0049999999999999</c:v>
                </c:pt>
                <c:pt idx="70">
                  <c:v>1.0049999999999999</c:v>
                </c:pt>
                <c:pt idx="71">
                  <c:v>1.0049999999999999</c:v>
                </c:pt>
                <c:pt idx="72">
                  <c:v>1.0049999999999999</c:v>
                </c:pt>
                <c:pt idx="73">
                  <c:v>1.0049999999999999</c:v>
                </c:pt>
                <c:pt idx="74">
                  <c:v>1.0049999999999999</c:v>
                </c:pt>
                <c:pt idx="75">
                  <c:v>1.0049999999999999</c:v>
                </c:pt>
                <c:pt idx="76">
                  <c:v>1.0049999999999999</c:v>
                </c:pt>
                <c:pt idx="77">
                  <c:v>1.0049999999999999</c:v>
                </c:pt>
                <c:pt idx="78">
                  <c:v>1.0049999999999999</c:v>
                </c:pt>
                <c:pt idx="79">
                  <c:v>1.0049999999999999</c:v>
                </c:pt>
                <c:pt idx="80">
                  <c:v>1.0049999999999999</c:v>
                </c:pt>
                <c:pt idx="81">
                  <c:v>1.0049999999999999</c:v>
                </c:pt>
                <c:pt idx="82">
                  <c:v>1.0049999999999999</c:v>
                </c:pt>
                <c:pt idx="83">
                  <c:v>1.0049999999999999</c:v>
                </c:pt>
                <c:pt idx="84">
                  <c:v>1.0049999999999999</c:v>
                </c:pt>
                <c:pt idx="85">
                  <c:v>1.0049999999999999</c:v>
                </c:pt>
                <c:pt idx="86">
                  <c:v>1.0049999999999999</c:v>
                </c:pt>
                <c:pt idx="87">
                  <c:v>1.0049999999999999</c:v>
                </c:pt>
                <c:pt idx="88">
                  <c:v>1.0049999999999999</c:v>
                </c:pt>
                <c:pt idx="89">
                  <c:v>1.0049999999999999</c:v>
                </c:pt>
                <c:pt idx="90">
                  <c:v>1.0049999999999999</c:v>
                </c:pt>
                <c:pt idx="91">
                  <c:v>1.0049999999999999</c:v>
                </c:pt>
                <c:pt idx="92">
                  <c:v>1.0049999999999999</c:v>
                </c:pt>
                <c:pt idx="93">
                  <c:v>1.0049999999999999</c:v>
                </c:pt>
                <c:pt idx="94">
                  <c:v>1.0049999999999999</c:v>
                </c:pt>
                <c:pt idx="95">
                  <c:v>1.0049999999999999</c:v>
                </c:pt>
                <c:pt idx="96">
                  <c:v>1.0049999999999999</c:v>
                </c:pt>
                <c:pt idx="97">
                  <c:v>1.0049999999999999</c:v>
                </c:pt>
                <c:pt idx="98">
                  <c:v>1.0049999999999999</c:v>
                </c:pt>
                <c:pt idx="99">
                  <c:v>1.0049999999999999</c:v>
                </c:pt>
                <c:pt idx="100">
                  <c:v>1.0049999999999999</c:v>
                </c:pt>
                <c:pt idx="101">
                  <c:v>1.0049999999999999</c:v>
                </c:pt>
                <c:pt idx="102">
                  <c:v>1.0049999999999999</c:v>
                </c:pt>
                <c:pt idx="103">
                  <c:v>1.0049999999999999</c:v>
                </c:pt>
                <c:pt idx="104">
                  <c:v>1.0049999999999999</c:v>
                </c:pt>
                <c:pt idx="105">
                  <c:v>1.0049999999999999</c:v>
                </c:pt>
                <c:pt idx="106">
                  <c:v>1.0049999999999999</c:v>
                </c:pt>
                <c:pt idx="107">
                  <c:v>1.0049999999999999</c:v>
                </c:pt>
                <c:pt idx="108">
                  <c:v>1.0049999999999999</c:v>
                </c:pt>
                <c:pt idx="109">
                  <c:v>1.0049999999999999</c:v>
                </c:pt>
                <c:pt idx="110">
                  <c:v>1.0049999999999999</c:v>
                </c:pt>
                <c:pt idx="111">
                  <c:v>1.0049999999999999</c:v>
                </c:pt>
                <c:pt idx="112">
                  <c:v>1.0049999999999999</c:v>
                </c:pt>
                <c:pt idx="113">
                  <c:v>1.0049999999999999</c:v>
                </c:pt>
                <c:pt idx="114">
                  <c:v>1.0049999999999999</c:v>
                </c:pt>
                <c:pt idx="115">
                  <c:v>1.0049999999999999</c:v>
                </c:pt>
                <c:pt idx="116">
                  <c:v>1.0049999999999999</c:v>
                </c:pt>
                <c:pt idx="117">
                  <c:v>1.0049999999999999</c:v>
                </c:pt>
                <c:pt idx="118">
                  <c:v>1.0049999999999999</c:v>
                </c:pt>
                <c:pt idx="119">
                  <c:v>1.0049999999999999</c:v>
                </c:pt>
                <c:pt idx="120">
                  <c:v>1.0049999999999999</c:v>
                </c:pt>
                <c:pt idx="121">
                  <c:v>1.0049999999999999</c:v>
                </c:pt>
                <c:pt idx="122">
                  <c:v>1.0049999999999999</c:v>
                </c:pt>
                <c:pt idx="123">
                  <c:v>1.0049999999999999</c:v>
                </c:pt>
                <c:pt idx="124">
                  <c:v>1.0049999999999999</c:v>
                </c:pt>
                <c:pt idx="125">
                  <c:v>1.0049999999999999</c:v>
                </c:pt>
                <c:pt idx="126">
                  <c:v>1.0049999999999999</c:v>
                </c:pt>
                <c:pt idx="127">
                  <c:v>1.0049999999999999</c:v>
                </c:pt>
                <c:pt idx="128">
                  <c:v>1.0049999999999999</c:v>
                </c:pt>
                <c:pt idx="129">
                  <c:v>1.0049999999999999</c:v>
                </c:pt>
                <c:pt idx="130">
                  <c:v>1.0049999999999999</c:v>
                </c:pt>
                <c:pt idx="131">
                  <c:v>1.0049999999999999</c:v>
                </c:pt>
                <c:pt idx="132">
                  <c:v>1.0049999999999999</c:v>
                </c:pt>
                <c:pt idx="133">
                  <c:v>1.0049999999999999</c:v>
                </c:pt>
                <c:pt idx="134">
                  <c:v>1.0049999999999999</c:v>
                </c:pt>
                <c:pt idx="135">
                  <c:v>1.0049999999999999</c:v>
                </c:pt>
                <c:pt idx="136">
                  <c:v>1.0049999999999999</c:v>
                </c:pt>
                <c:pt idx="137">
                  <c:v>1.0049999999999999</c:v>
                </c:pt>
                <c:pt idx="138">
                  <c:v>1.0049999999999999</c:v>
                </c:pt>
                <c:pt idx="139">
                  <c:v>1.0049999999999999</c:v>
                </c:pt>
                <c:pt idx="140">
                  <c:v>1.0049999999999999</c:v>
                </c:pt>
                <c:pt idx="141">
                  <c:v>1.0049999999999999</c:v>
                </c:pt>
                <c:pt idx="142">
                  <c:v>1.0049999999999999</c:v>
                </c:pt>
                <c:pt idx="143">
                  <c:v>1.0049999999999999</c:v>
                </c:pt>
                <c:pt idx="144">
                  <c:v>1.0049999999999999</c:v>
                </c:pt>
                <c:pt idx="145">
                  <c:v>1.0049999999999999</c:v>
                </c:pt>
                <c:pt idx="146">
                  <c:v>1.0049999999999999</c:v>
                </c:pt>
                <c:pt idx="147">
                  <c:v>1.0049999999999999</c:v>
                </c:pt>
                <c:pt idx="148">
                  <c:v>1.0049999999999999</c:v>
                </c:pt>
                <c:pt idx="149">
                  <c:v>1.0049999999999999</c:v>
                </c:pt>
                <c:pt idx="150">
                  <c:v>1.0049999999999999</c:v>
                </c:pt>
                <c:pt idx="151">
                  <c:v>1.0049999999999999</c:v>
                </c:pt>
                <c:pt idx="152">
                  <c:v>1.0049999999999999</c:v>
                </c:pt>
                <c:pt idx="153">
                  <c:v>1.0049999999999999</c:v>
                </c:pt>
                <c:pt idx="154">
                  <c:v>1.0049999999999999</c:v>
                </c:pt>
                <c:pt idx="155">
                  <c:v>1.0049999999999999</c:v>
                </c:pt>
                <c:pt idx="156">
                  <c:v>1.0049999999999999</c:v>
                </c:pt>
                <c:pt idx="157">
                  <c:v>1.0049999999999999</c:v>
                </c:pt>
                <c:pt idx="158">
                  <c:v>1.0049999999999999</c:v>
                </c:pt>
                <c:pt idx="159">
                  <c:v>1.0049999999999999</c:v>
                </c:pt>
                <c:pt idx="160">
                  <c:v>1.0049999999999999</c:v>
                </c:pt>
                <c:pt idx="161">
                  <c:v>1.0049999999999999</c:v>
                </c:pt>
                <c:pt idx="162">
                  <c:v>1.0049999999999999</c:v>
                </c:pt>
                <c:pt idx="163">
                  <c:v>1.0049999999999999</c:v>
                </c:pt>
                <c:pt idx="164">
                  <c:v>1.0049999999999999</c:v>
                </c:pt>
                <c:pt idx="165">
                  <c:v>1.0049999999999999</c:v>
                </c:pt>
                <c:pt idx="166">
                  <c:v>1.0049999999999999</c:v>
                </c:pt>
                <c:pt idx="167">
                  <c:v>1.0049999999999999</c:v>
                </c:pt>
                <c:pt idx="168">
                  <c:v>1.0049999999999999</c:v>
                </c:pt>
                <c:pt idx="169">
                  <c:v>1.0049999999999999</c:v>
                </c:pt>
                <c:pt idx="170">
                  <c:v>1.0049999999999999</c:v>
                </c:pt>
                <c:pt idx="171">
                  <c:v>1.0049999999999999</c:v>
                </c:pt>
                <c:pt idx="172">
                  <c:v>1.0049999999999999</c:v>
                </c:pt>
                <c:pt idx="173">
                  <c:v>1.0049999999999999</c:v>
                </c:pt>
                <c:pt idx="174">
                  <c:v>1.0049999999999999</c:v>
                </c:pt>
                <c:pt idx="175">
                  <c:v>1.0049999999999999</c:v>
                </c:pt>
                <c:pt idx="176">
                  <c:v>1.0049999999999999</c:v>
                </c:pt>
                <c:pt idx="177">
                  <c:v>1.0049999999999999</c:v>
                </c:pt>
                <c:pt idx="178">
                  <c:v>1.0049999999999999</c:v>
                </c:pt>
                <c:pt idx="179">
                  <c:v>1.0049999999999999</c:v>
                </c:pt>
                <c:pt idx="180">
                  <c:v>1.0049999999999999</c:v>
                </c:pt>
                <c:pt idx="181">
                  <c:v>1.0049999999999999</c:v>
                </c:pt>
                <c:pt idx="182">
                  <c:v>1.0049999999999999</c:v>
                </c:pt>
                <c:pt idx="183">
                  <c:v>1.0049999999999999</c:v>
                </c:pt>
                <c:pt idx="184">
                  <c:v>1.0049999999999999</c:v>
                </c:pt>
                <c:pt idx="185">
                  <c:v>1.0049999999999999</c:v>
                </c:pt>
                <c:pt idx="186">
                  <c:v>1.0049999999999999</c:v>
                </c:pt>
                <c:pt idx="187">
                  <c:v>1.0049999999999999</c:v>
                </c:pt>
                <c:pt idx="188">
                  <c:v>1.0049999999999999</c:v>
                </c:pt>
                <c:pt idx="189">
                  <c:v>1.0049999999999999</c:v>
                </c:pt>
                <c:pt idx="190">
                  <c:v>1.0049999999999999</c:v>
                </c:pt>
                <c:pt idx="191">
                  <c:v>1.0049999999999999</c:v>
                </c:pt>
                <c:pt idx="192">
                  <c:v>1.0049999999999999</c:v>
                </c:pt>
                <c:pt idx="193">
                  <c:v>1.0049999999999999</c:v>
                </c:pt>
                <c:pt idx="194">
                  <c:v>1.0049999999999999</c:v>
                </c:pt>
                <c:pt idx="195">
                  <c:v>1.0049999999999999</c:v>
                </c:pt>
                <c:pt idx="196">
                  <c:v>1.0049999999999999</c:v>
                </c:pt>
                <c:pt idx="197">
                  <c:v>1.0049999999999999</c:v>
                </c:pt>
                <c:pt idx="198">
                  <c:v>1.0049999999999999</c:v>
                </c:pt>
                <c:pt idx="199">
                  <c:v>1.0049999999999999</c:v>
                </c:pt>
                <c:pt idx="200">
                  <c:v>1.0049999999999999</c:v>
                </c:pt>
                <c:pt idx="201">
                  <c:v>1.0049999999999999</c:v>
                </c:pt>
                <c:pt idx="202">
                  <c:v>1.0049999999999999</c:v>
                </c:pt>
                <c:pt idx="203">
                  <c:v>1.0049999999999999</c:v>
                </c:pt>
                <c:pt idx="204">
                  <c:v>1.0049999999999999</c:v>
                </c:pt>
                <c:pt idx="205">
                  <c:v>1.0049999999999999</c:v>
                </c:pt>
                <c:pt idx="206">
                  <c:v>1.0049999999999999</c:v>
                </c:pt>
                <c:pt idx="207">
                  <c:v>1.0049999999999999</c:v>
                </c:pt>
                <c:pt idx="208">
                  <c:v>1.0049999999999999</c:v>
                </c:pt>
                <c:pt idx="209">
                  <c:v>1.0049999999999999</c:v>
                </c:pt>
                <c:pt idx="210">
                  <c:v>1.0049999999999999</c:v>
                </c:pt>
                <c:pt idx="211">
                  <c:v>1.0049999999999999</c:v>
                </c:pt>
                <c:pt idx="212">
                  <c:v>1.0049999999999999</c:v>
                </c:pt>
                <c:pt idx="213">
                  <c:v>1.0049999999999999</c:v>
                </c:pt>
                <c:pt idx="214">
                  <c:v>1.0049999999999999</c:v>
                </c:pt>
                <c:pt idx="215">
                  <c:v>1.0049999999999999</c:v>
                </c:pt>
                <c:pt idx="216">
                  <c:v>1.0049999999999999</c:v>
                </c:pt>
                <c:pt idx="217">
                  <c:v>1.0049999999999999</c:v>
                </c:pt>
                <c:pt idx="218">
                  <c:v>1.0049999999999999</c:v>
                </c:pt>
                <c:pt idx="219">
                  <c:v>1.0049999999999999</c:v>
                </c:pt>
                <c:pt idx="220">
                  <c:v>1.0049999999999999</c:v>
                </c:pt>
                <c:pt idx="221">
                  <c:v>1.0049999999999999</c:v>
                </c:pt>
                <c:pt idx="222">
                  <c:v>1.0049999999999999</c:v>
                </c:pt>
                <c:pt idx="223">
                  <c:v>1.0049999999999999</c:v>
                </c:pt>
                <c:pt idx="224">
                  <c:v>1.0049999999999999</c:v>
                </c:pt>
                <c:pt idx="225">
                  <c:v>1.0049999999999999</c:v>
                </c:pt>
                <c:pt idx="226">
                  <c:v>1.0049999999999999</c:v>
                </c:pt>
                <c:pt idx="227">
                  <c:v>1.0049999999999999</c:v>
                </c:pt>
                <c:pt idx="228">
                  <c:v>1.0049999999999999</c:v>
                </c:pt>
                <c:pt idx="229">
                  <c:v>1.0049999999999999</c:v>
                </c:pt>
                <c:pt idx="230">
                  <c:v>1.0049999999999999</c:v>
                </c:pt>
                <c:pt idx="231">
                  <c:v>1.0049999999999999</c:v>
                </c:pt>
                <c:pt idx="232">
                  <c:v>1.0049999999999999</c:v>
                </c:pt>
                <c:pt idx="233">
                  <c:v>1.0049999999999999</c:v>
                </c:pt>
                <c:pt idx="234">
                  <c:v>1.0049999999999999</c:v>
                </c:pt>
                <c:pt idx="235">
                  <c:v>1.0049999999999999</c:v>
                </c:pt>
                <c:pt idx="236">
                  <c:v>1.0049999999999999</c:v>
                </c:pt>
                <c:pt idx="237">
                  <c:v>1.0049999999999999</c:v>
                </c:pt>
                <c:pt idx="238">
                  <c:v>1.0049999999999999</c:v>
                </c:pt>
                <c:pt idx="239">
                  <c:v>1.0049999999999999</c:v>
                </c:pt>
                <c:pt idx="240">
                  <c:v>1.0049999999999999</c:v>
                </c:pt>
                <c:pt idx="241">
                  <c:v>1.0049999999999999</c:v>
                </c:pt>
                <c:pt idx="242">
                  <c:v>1.0049999999999999</c:v>
                </c:pt>
                <c:pt idx="243">
                  <c:v>1.0049999999999999</c:v>
                </c:pt>
                <c:pt idx="244">
                  <c:v>1.0049999999999999</c:v>
                </c:pt>
                <c:pt idx="245">
                  <c:v>1.0049999999999999</c:v>
                </c:pt>
                <c:pt idx="246">
                  <c:v>1.0049999999999999</c:v>
                </c:pt>
                <c:pt idx="247">
                  <c:v>1.0049999999999999</c:v>
                </c:pt>
                <c:pt idx="248">
                  <c:v>1.0049999999999999</c:v>
                </c:pt>
                <c:pt idx="249">
                  <c:v>1.0049999999999999</c:v>
                </c:pt>
                <c:pt idx="250">
                  <c:v>1.0049999999999999</c:v>
                </c:pt>
                <c:pt idx="251">
                  <c:v>1.0049999999999999</c:v>
                </c:pt>
                <c:pt idx="252">
                  <c:v>1.0049999999999999</c:v>
                </c:pt>
                <c:pt idx="253">
                  <c:v>1.0049999999999999</c:v>
                </c:pt>
                <c:pt idx="254">
                  <c:v>1.0049999999999999</c:v>
                </c:pt>
                <c:pt idx="255">
                  <c:v>1.0049999999999999</c:v>
                </c:pt>
                <c:pt idx="256">
                  <c:v>1.0049999999999999</c:v>
                </c:pt>
                <c:pt idx="257">
                  <c:v>1.0049999999999999</c:v>
                </c:pt>
                <c:pt idx="258">
                  <c:v>1.0049999999999999</c:v>
                </c:pt>
                <c:pt idx="259">
                  <c:v>1.0049999999999999</c:v>
                </c:pt>
                <c:pt idx="260">
                  <c:v>1.0049999999999999</c:v>
                </c:pt>
                <c:pt idx="261">
                  <c:v>1.0049999999999999</c:v>
                </c:pt>
                <c:pt idx="262">
                  <c:v>1.0049999999999999</c:v>
                </c:pt>
                <c:pt idx="263">
                  <c:v>1.0049999999999999</c:v>
                </c:pt>
                <c:pt idx="264">
                  <c:v>1.0049999999999999</c:v>
                </c:pt>
                <c:pt idx="265">
                  <c:v>1.0049999999999999</c:v>
                </c:pt>
                <c:pt idx="266">
                  <c:v>1.0049999999999999</c:v>
                </c:pt>
                <c:pt idx="267">
                  <c:v>1.0049999999999999</c:v>
                </c:pt>
                <c:pt idx="268">
                  <c:v>1.0049999999999999</c:v>
                </c:pt>
                <c:pt idx="269">
                  <c:v>1.0049999999999999</c:v>
                </c:pt>
                <c:pt idx="270">
                  <c:v>1.0049999999999999</c:v>
                </c:pt>
                <c:pt idx="271">
                  <c:v>1.0049999999999999</c:v>
                </c:pt>
                <c:pt idx="272">
                  <c:v>1.0049999999999999</c:v>
                </c:pt>
                <c:pt idx="273">
                  <c:v>1.0049999999999999</c:v>
                </c:pt>
                <c:pt idx="274">
                  <c:v>1.0049999999999999</c:v>
                </c:pt>
                <c:pt idx="275">
                  <c:v>1.0049999999999999</c:v>
                </c:pt>
                <c:pt idx="276">
                  <c:v>1.0049999999999999</c:v>
                </c:pt>
                <c:pt idx="277">
                  <c:v>1.0049999999999999</c:v>
                </c:pt>
                <c:pt idx="278">
                  <c:v>1.0049999999999999</c:v>
                </c:pt>
                <c:pt idx="279">
                  <c:v>1.0049999999999999</c:v>
                </c:pt>
                <c:pt idx="280">
                  <c:v>1.0049999999999999</c:v>
                </c:pt>
                <c:pt idx="281">
                  <c:v>1.0049999999999999</c:v>
                </c:pt>
                <c:pt idx="282">
                  <c:v>1.0049999999999999</c:v>
                </c:pt>
                <c:pt idx="283">
                  <c:v>1.0049999999999999</c:v>
                </c:pt>
                <c:pt idx="284">
                  <c:v>1.0049999999999999</c:v>
                </c:pt>
                <c:pt idx="285">
                  <c:v>1.0049999999999999</c:v>
                </c:pt>
                <c:pt idx="286">
                  <c:v>1.0049999999999999</c:v>
                </c:pt>
                <c:pt idx="287">
                  <c:v>1.0049999999999999</c:v>
                </c:pt>
                <c:pt idx="288">
                  <c:v>1.0049999999999999</c:v>
                </c:pt>
                <c:pt idx="289">
                  <c:v>1.0049999999999999</c:v>
                </c:pt>
                <c:pt idx="290">
                  <c:v>1.0049999999999999</c:v>
                </c:pt>
                <c:pt idx="291">
                  <c:v>1.0049999999999999</c:v>
                </c:pt>
                <c:pt idx="292">
                  <c:v>1.0049999999999999</c:v>
                </c:pt>
                <c:pt idx="293">
                  <c:v>1.0049999999999999</c:v>
                </c:pt>
                <c:pt idx="294">
                  <c:v>1.0049999999999999</c:v>
                </c:pt>
                <c:pt idx="295">
                  <c:v>1.0049999999999999</c:v>
                </c:pt>
                <c:pt idx="296">
                  <c:v>1.0049999999999999</c:v>
                </c:pt>
                <c:pt idx="297">
                  <c:v>1.0049999999999999</c:v>
                </c:pt>
                <c:pt idx="298">
                  <c:v>1.0049999999999999</c:v>
                </c:pt>
                <c:pt idx="299">
                  <c:v>1.0049999999999999</c:v>
                </c:pt>
                <c:pt idx="300">
                  <c:v>1.0049999999999999</c:v>
                </c:pt>
                <c:pt idx="301">
                  <c:v>1.0049999999999999</c:v>
                </c:pt>
                <c:pt idx="302">
                  <c:v>1.0049999999999999</c:v>
                </c:pt>
                <c:pt idx="303">
                  <c:v>1.0049999999999999</c:v>
                </c:pt>
                <c:pt idx="304">
                  <c:v>1.0049999999999999</c:v>
                </c:pt>
                <c:pt idx="305">
                  <c:v>1.0049999999999999</c:v>
                </c:pt>
                <c:pt idx="306">
                  <c:v>1.0049999999999999</c:v>
                </c:pt>
                <c:pt idx="307">
                  <c:v>1.0049999999999999</c:v>
                </c:pt>
                <c:pt idx="308">
                  <c:v>1.0049999999999999</c:v>
                </c:pt>
                <c:pt idx="309">
                  <c:v>1.0049999999999999</c:v>
                </c:pt>
                <c:pt idx="310">
                  <c:v>1.0049999999999999</c:v>
                </c:pt>
                <c:pt idx="311">
                  <c:v>1.0049999999999999</c:v>
                </c:pt>
                <c:pt idx="312">
                  <c:v>1.0049999999999999</c:v>
                </c:pt>
                <c:pt idx="313">
                  <c:v>1.0049999999999999</c:v>
                </c:pt>
                <c:pt idx="314">
                  <c:v>1.0049999999999999</c:v>
                </c:pt>
                <c:pt idx="315">
                  <c:v>1.0049999999999999</c:v>
                </c:pt>
                <c:pt idx="316">
                  <c:v>1.0049999999999999</c:v>
                </c:pt>
                <c:pt idx="317">
                  <c:v>1.0049999999999999</c:v>
                </c:pt>
                <c:pt idx="318">
                  <c:v>1.0049999999999999</c:v>
                </c:pt>
                <c:pt idx="319">
                  <c:v>1.0049999999999999</c:v>
                </c:pt>
                <c:pt idx="320">
                  <c:v>1.0049999999999999</c:v>
                </c:pt>
                <c:pt idx="321">
                  <c:v>1.0049999999999999</c:v>
                </c:pt>
                <c:pt idx="322">
                  <c:v>1.0049999999999999</c:v>
                </c:pt>
                <c:pt idx="323">
                  <c:v>1.0049999999999999</c:v>
                </c:pt>
                <c:pt idx="324">
                  <c:v>1.0049999999999999</c:v>
                </c:pt>
                <c:pt idx="325">
                  <c:v>1.0049999999999999</c:v>
                </c:pt>
                <c:pt idx="326">
                  <c:v>1.0049999999999999</c:v>
                </c:pt>
                <c:pt idx="327">
                  <c:v>1.0049999999999999</c:v>
                </c:pt>
                <c:pt idx="328">
                  <c:v>1.0049999999999999</c:v>
                </c:pt>
                <c:pt idx="329">
                  <c:v>1.0049999999999999</c:v>
                </c:pt>
                <c:pt idx="330">
                  <c:v>1.0049999999999999</c:v>
                </c:pt>
                <c:pt idx="331">
                  <c:v>1.0049999999999999</c:v>
                </c:pt>
                <c:pt idx="332">
                  <c:v>1.0049999999999999</c:v>
                </c:pt>
                <c:pt idx="333">
                  <c:v>1.0049999999999999</c:v>
                </c:pt>
                <c:pt idx="334">
                  <c:v>1.0049999999999999</c:v>
                </c:pt>
                <c:pt idx="335">
                  <c:v>1.0049999999999999</c:v>
                </c:pt>
                <c:pt idx="336">
                  <c:v>1.0049999999999999</c:v>
                </c:pt>
                <c:pt idx="337">
                  <c:v>1.0049999999999999</c:v>
                </c:pt>
                <c:pt idx="338">
                  <c:v>1.0049999999999999</c:v>
                </c:pt>
                <c:pt idx="339">
                  <c:v>1.0049999999999999</c:v>
                </c:pt>
                <c:pt idx="340">
                  <c:v>1.0049999999999999</c:v>
                </c:pt>
                <c:pt idx="341">
                  <c:v>1.0049999999999999</c:v>
                </c:pt>
                <c:pt idx="342">
                  <c:v>1.0049999999999999</c:v>
                </c:pt>
                <c:pt idx="343">
                  <c:v>1.0049999999999999</c:v>
                </c:pt>
                <c:pt idx="344">
                  <c:v>1.0049999999999999</c:v>
                </c:pt>
                <c:pt idx="345">
                  <c:v>1.0049999999999999</c:v>
                </c:pt>
                <c:pt idx="346">
                  <c:v>1.0049999999999999</c:v>
                </c:pt>
                <c:pt idx="347">
                  <c:v>1.0049999999999999</c:v>
                </c:pt>
                <c:pt idx="348">
                  <c:v>1.0049999999999999</c:v>
                </c:pt>
                <c:pt idx="349">
                  <c:v>1.0049999999999999</c:v>
                </c:pt>
                <c:pt idx="350">
                  <c:v>1.0049999999999999</c:v>
                </c:pt>
                <c:pt idx="351">
                  <c:v>1.0049999999999999</c:v>
                </c:pt>
                <c:pt idx="352">
                  <c:v>1.0049999999999999</c:v>
                </c:pt>
                <c:pt idx="353">
                  <c:v>1.0049999999999999</c:v>
                </c:pt>
                <c:pt idx="354">
                  <c:v>1.0049999999999999</c:v>
                </c:pt>
                <c:pt idx="355">
                  <c:v>1.0049999999999999</c:v>
                </c:pt>
                <c:pt idx="356">
                  <c:v>1.0049999999999999</c:v>
                </c:pt>
                <c:pt idx="357">
                  <c:v>1.0049999999999999</c:v>
                </c:pt>
                <c:pt idx="358">
                  <c:v>1.0049999999999999</c:v>
                </c:pt>
                <c:pt idx="359">
                  <c:v>1.0049999999999999</c:v>
                </c:pt>
                <c:pt idx="360">
                  <c:v>1.0049999999999999</c:v>
                </c:pt>
                <c:pt idx="361">
                  <c:v>1.0049999999999999</c:v>
                </c:pt>
                <c:pt idx="362">
                  <c:v>1.0049999999999999</c:v>
                </c:pt>
                <c:pt idx="363">
                  <c:v>1.0049999999999999</c:v>
                </c:pt>
                <c:pt idx="364">
                  <c:v>1.0049999999999999</c:v>
                </c:pt>
                <c:pt idx="365">
                  <c:v>1.0049999999999999</c:v>
                </c:pt>
                <c:pt idx="366">
                  <c:v>1.0049999999999999</c:v>
                </c:pt>
                <c:pt idx="367">
                  <c:v>1.0049999999999999</c:v>
                </c:pt>
                <c:pt idx="368">
                  <c:v>1.0049999999999999</c:v>
                </c:pt>
                <c:pt idx="369">
                  <c:v>1.0049999999999999</c:v>
                </c:pt>
                <c:pt idx="370">
                  <c:v>1.0049999999999999</c:v>
                </c:pt>
                <c:pt idx="371">
                  <c:v>1.0049999999999999</c:v>
                </c:pt>
                <c:pt idx="372">
                  <c:v>1.0049999999999999</c:v>
                </c:pt>
                <c:pt idx="373">
                  <c:v>1.0049999999999999</c:v>
                </c:pt>
                <c:pt idx="374">
                  <c:v>1.0049999999999999</c:v>
                </c:pt>
                <c:pt idx="375">
                  <c:v>1.0049999999999999</c:v>
                </c:pt>
                <c:pt idx="376">
                  <c:v>1.0049999999999999</c:v>
                </c:pt>
                <c:pt idx="377">
                  <c:v>1.0049999999999999</c:v>
                </c:pt>
                <c:pt idx="378">
                  <c:v>1.0049999999999999</c:v>
                </c:pt>
                <c:pt idx="379">
                  <c:v>1.0049999999999999</c:v>
                </c:pt>
                <c:pt idx="380">
                  <c:v>1.0049999999999999</c:v>
                </c:pt>
                <c:pt idx="381">
                  <c:v>1.0049999999999999</c:v>
                </c:pt>
                <c:pt idx="382">
                  <c:v>1.0049999999999999</c:v>
                </c:pt>
                <c:pt idx="383">
                  <c:v>1.0049999999999999</c:v>
                </c:pt>
                <c:pt idx="384">
                  <c:v>1.0049999999999999</c:v>
                </c:pt>
                <c:pt idx="385">
                  <c:v>1.0049999999999999</c:v>
                </c:pt>
                <c:pt idx="386">
                  <c:v>1.0049999999999999</c:v>
                </c:pt>
                <c:pt idx="387">
                  <c:v>1.0049999999999999</c:v>
                </c:pt>
                <c:pt idx="388">
                  <c:v>1.0049999999999999</c:v>
                </c:pt>
                <c:pt idx="389">
                  <c:v>1.0049999999999999</c:v>
                </c:pt>
                <c:pt idx="390">
                  <c:v>1.0049999999999999</c:v>
                </c:pt>
                <c:pt idx="391">
                  <c:v>1.0049999999999999</c:v>
                </c:pt>
                <c:pt idx="392">
                  <c:v>1.0049999999999999</c:v>
                </c:pt>
                <c:pt idx="393">
                  <c:v>1.0049999999999999</c:v>
                </c:pt>
                <c:pt idx="394">
                  <c:v>1.0049999999999999</c:v>
                </c:pt>
                <c:pt idx="395">
                  <c:v>1.0049999999999999</c:v>
                </c:pt>
                <c:pt idx="396">
                  <c:v>1.0049999999999999</c:v>
                </c:pt>
                <c:pt idx="397">
                  <c:v>1.0049999999999999</c:v>
                </c:pt>
                <c:pt idx="398">
                  <c:v>1.0049999999999999</c:v>
                </c:pt>
                <c:pt idx="399">
                  <c:v>1.0049999999999999</c:v>
                </c:pt>
                <c:pt idx="400">
                  <c:v>1.0049999999999999</c:v>
                </c:pt>
                <c:pt idx="401">
                  <c:v>1.0049999999999999</c:v>
                </c:pt>
                <c:pt idx="402">
                  <c:v>1.0049999999999999</c:v>
                </c:pt>
                <c:pt idx="403">
                  <c:v>1.0049999999999999</c:v>
                </c:pt>
                <c:pt idx="404">
                  <c:v>1.0049999999999999</c:v>
                </c:pt>
                <c:pt idx="405">
                  <c:v>1.0049999999999999</c:v>
                </c:pt>
                <c:pt idx="406">
                  <c:v>1.0049999999999999</c:v>
                </c:pt>
                <c:pt idx="407">
                  <c:v>1.0049999999999999</c:v>
                </c:pt>
                <c:pt idx="408">
                  <c:v>1.0049999999999999</c:v>
                </c:pt>
                <c:pt idx="409">
                  <c:v>1.0049999999999999</c:v>
                </c:pt>
                <c:pt idx="410">
                  <c:v>1.0049999999999999</c:v>
                </c:pt>
                <c:pt idx="411">
                  <c:v>1.0049999999999999</c:v>
                </c:pt>
                <c:pt idx="412">
                  <c:v>1.0049999999999999</c:v>
                </c:pt>
                <c:pt idx="413">
                  <c:v>1.0049999999999999</c:v>
                </c:pt>
                <c:pt idx="414">
                  <c:v>1.0049999999999999</c:v>
                </c:pt>
                <c:pt idx="415">
                  <c:v>1.0049999999999999</c:v>
                </c:pt>
                <c:pt idx="416">
                  <c:v>1.0049999999999999</c:v>
                </c:pt>
                <c:pt idx="417">
                  <c:v>1.0049999999999999</c:v>
                </c:pt>
                <c:pt idx="418">
                  <c:v>1.0049999999999999</c:v>
                </c:pt>
                <c:pt idx="419">
                  <c:v>1.0049999999999999</c:v>
                </c:pt>
                <c:pt idx="420">
                  <c:v>1.0049999999999999</c:v>
                </c:pt>
                <c:pt idx="421">
                  <c:v>1.0049999999999999</c:v>
                </c:pt>
                <c:pt idx="422">
                  <c:v>1.0049999999999999</c:v>
                </c:pt>
                <c:pt idx="423">
                  <c:v>1.0049999999999999</c:v>
                </c:pt>
                <c:pt idx="424">
                  <c:v>1.0049999999999999</c:v>
                </c:pt>
                <c:pt idx="425">
                  <c:v>1.0049999999999999</c:v>
                </c:pt>
                <c:pt idx="426">
                  <c:v>1.0049999999999999</c:v>
                </c:pt>
                <c:pt idx="427">
                  <c:v>1.0049999999999999</c:v>
                </c:pt>
                <c:pt idx="428">
                  <c:v>1.0049999999999999</c:v>
                </c:pt>
                <c:pt idx="429">
                  <c:v>1.0049999999999999</c:v>
                </c:pt>
                <c:pt idx="430">
                  <c:v>1.0049999999999999</c:v>
                </c:pt>
                <c:pt idx="431">
                  <c:v>1.0049999999999999</c:v>
                </c:pt>
                <c:pt idx="432">
                  <c:v>1.0049999999999999</c:v>
                </c:pt>
                <c:pt idx="433">
                  <c:v>1.0049999999999999</c:v>
                </c:pt>
                <c:pt idx="434">
                  <c:v>1.0049999999999999</c:v>
                </c:pt>
                <c:pt idx="435">
                  <c:v>1.0049999999999999</c:v>
                </c:pt>
                <c:pt idx="436">
                  <c:v>1.0049999999999999</c:v>
                </c:pt>
                <c:pt idx="437">
                  <c:v>1.0049999999999999</c:v>
                </c:pt>
                <c:pt idx="438">
                  <c:v>1.0049999999999999</c:v>
                </c:pt>
                <c:pt idx="439">
                  <c:v>1.0049999999999999</c:v>
                </c:pt>
                <c:pt idx="440">
                  <c:v>1.0049999999999999</c:v>
                </c:pt>
                <c:pt idx="441">
                  <c:v>1.0049999999999999</c:v>
                </c:pt>
                <c:pt idx="442">
                  <c:v>1.0049999999999999</c:v>
                </c:pt>
                <c:pt idx="443">
                  <c:v>1.0049999999999999</c:v>
                </c:pt>
                <c:pt idx="444">
                  <c:v>1.0049999999999999</c:v>
                </c:pt>
                <c:pt idx="445">
                  <c:v>1.0049999999999999</c:v>
                </c:pt>
                <c:pt idx="446">
                  <c:v>1.0049999999999999</c:v>
                </c:pt>
                <c:pt idx="447">
                  <c:v>1.0049999999999999</c:v>
                </c:pt>
                <c:pt idx="448">
                  <c:v>1.0049999999999999</c:v>
                </c:pt>
                <c:pt idx="449">
                  <c:v>1.0049999999999999</c:v>
                </c:pt>
                <c:pt idx="450">
                  <c:v>1.0049999999999999</c:v>
                </c:pt>
                <c:pt idx="451">
                  <c:v>1.0049999999999999</c:v>
                </c:pt>
                <c:pt idx="452">
                  <c:v>1.0049999999999999</c:v>
                </c:pt>
                <c:pt idx="453">
                  <c:v>1.0049999999999999</c:v>
                </c:pt>
                <c:pt idx="454">
                  <c:v>1.0049999999999999</c:v>
                </c:pt>
                <c:pt idx="455">
                  <c:v>1.0049999999999999</c:v>
                </c:pt>
                <c:pt idx="456">
                  <c:v>1.0049999999999999</c:v>
                </c:pt>
                <c:pt idx="457">
                  <c:v>1.0049999999999999</c:v>
                </c:pt>
                <c:pt idx="458">
                  <c:v>1.0049999999999999</c:v>
                </c:pt>
                <c:pt idx="459">
                  <c:v>1.0049999999999999</c:v>
                </c:pt>
                <c:pt idx="460">
                  <c:v>1.0049999999999999</c:v>
                </c:pt>
                <c:pt idx="461">
                  <c:v>1.0049999999999999</c:v>
                </c:pt>
                <c:pt idx="462">
                  <c:v>1.0049999999999999</c:v>
                </c:pt>
                <c:pt idx="463">
                  <c:v>1.0049999999999999</c:v>
                </c:pt>
                <c:pt idx="464">
                  <c:v>1.0049999999999999</c:v>
                </c:pt>
                <c:pt idx="465">
                  <c:v>1.0049999999999999</c:v>
                </c:pt>
                <c:pt idx="466">
                  <c:v>1.0049999999999999</c:v>
                </c:pt>
                <c:pt idx="467">
                  <c:v>1.0049999999999999</c:v>
                </c:pt>
                <c:pt idx="468">
                  <c:v>1.0049999999999999</c:v>
                </c:pt>
                <c:pt idx="469">
                  <c:v>1.0049999999999999</c:v>
                </c:pt>
                <c:pt idx="470">
                  <c:v>1.0049999999999999</c:v>
                </c:pt>
                <c:pt idx="471">
                  <c:v>1.0049999999999999</c:v>
                </c:pt>
                <c:pt idx="472">
                  <c:v>1.0049999999999999</c:v>
                </c:pt>
                <c:pt idx="473">
                  <c:v>1.0049999999999999</c:v>
                </c:pt>
                <c:pt idx="474">
                  <c:v>1.0049999999999999</c:v>
                </c:pt>
                <c:pt idx="475">
                  <c:v>1.0049999999999999</c:v>
                </c:pt>
                <c:pt idx="476">
                  <c:v>1.0049999999999999</c:v>
                </c:pt>
                <c:pt idx="477">
                  <c:v>1.0049999999999999</c:v>
                </c:pt>
                <c:pt idx="478">
                  <c:v>1.0049999999999999</c:v>
                </c:pt>
                <c:pt idx="479">
                  <c:v>1.0049999999999999</c:v>
                </c:pt>
                <c:pt idx="480">
                  <c:v>1.0049999999999999</c:v>
                </c:pt>
                <c:pt idx="481">
                  <c:v>1.0049999999999999</c:v>
                </c:pt>
                <c:pt idx="482">
                  <c:v>1.0049999999999999</c:v>
                </c:pt>
                <c:pt idx="483">
                  <c:v>1.0049999999999999</c:v>
                </c:pt>
                <c:pt idx="484">
                  <c:v>1.0049999999999999</c:v>
                </c:pt>
                <c:pt idx="485">
                  <c:v>1.0049999999999999</c:v>
                </c:pt>
                <c:pt idx="486">
                  <c:v>1.0049999999999999</c:v>
                </c:pt>
                <c:pt idx="487">
                  <c:v>1.0049999999999999</c:v>
                </c:pt>
                <c:pt idx="488">
                  <c:v>1.0049999999999999</c:v>
                </c:pt>
                <c:pt idx="489">
                  <c:v>1.0049999999999999</c:v>
                </c:pt>
                <c:pt idx="490">
                  <c:v>1.0049999999999999</c:v>
                </c:pt>
                <c:pt idx="491">
                  <c:v>1.0049999999999999</c:v>
                </c:pt>
                <c:pt idx="492">
                  <c:v>1.0049999999999999</c:v>
                </c:pt>
                <c:pt idx="493">
                  <c:v>1.0049999999999999</c:v>
                </c:pt>
                <c:pt idx="494">
                  <c:v>1.0049999999999999</c:v>
                </c:pt>
                <c:pt idx="495">
                  <c:v>1.0049999999999999</c:v>
                </c:pt>
                <c:pt idx="496">
                  <c:v>1.0049999999999999</c:v>
                </c:pt>
                <c:pt idx="497">
                  <c:v>1.0049999999999999</c:v>
                </c:pt>
                <c:pt idx="498">
                  <c:v>1.0049999999999999</c:v>
                </c:pt>
                <c:pt idx="499">
                  <c:v>1.0049999999999999</c:v>
                </c:pt>
                <c:pt idx="500">
                  <c:v>1.0049999999999999</c:v>
                </c:pt>
                <c:pt idx="501">
                  <c:v>1.0049999999999999</c:v>
                </c:pt>
                <c:pt idx="502">
                  <c:v>1.0049999999999999</c:v>
                </c:pt>
                <c:pt idx="503">
                  <c:v>1.0049999999999999</c:v>
                </c:pt>
                <c:pt idx="504">
                  <c:v>1.0049999999999999</c:v>
                </c:pt>
                <c:pt idx="505">
                  <c:v>1.0049999999999999</c:v>
                </c:pt>
                <c:pt idx="506">
                  <c:v>1.0049999999999999</c:v>
                </c:pt>
                <c:pt idx="507">
                  <c:v>1.0049999999999999</c:v>
                </c:pt>
                <c:pt idx="508">
                  <c:v>1.0049999999999999</c:v>
                </c:pt>
                <c:pt idx="509">
                  <c:v>1.0049999999999999</c:v>
                </c:pt>
                <c:pt idx="510">
                  <c:v>1.0049999999999999</c:v>
                </c:pt>
                <c:pt idx="511">
                  <c:v>1.0049999999999999</c:v>
                </c:pt>
                <c:pt idx="512">
                  <c:v>1.0049999999999999</c:v>
                </c:pt>
                <c:pt idx="513">
                  <c:v>1.0049999999999999</c:v>
                </c:pt>
                <c:pt idx="514">
                  <c:v>1.0049999999999999</c:v>
                </c:pt>
                <c:pt idx="515">
                  <c:v>1.0049999999999999</c:v>
                </c:pt>
                <c:pt idx="516">
                  <c:v>1.0049999999999999</c:v>
                </c:pt>
                <c:pt idx="517">
                  <c:v>1.0049999999999999</c:v>
                </c:pt>
                <c:pt idx="518">
                  <c:v>1.0049999999999999</c:v>
                </c:pt>
                <c:pt idx="519">
                  <c:v>1.0049999999999999</c:v>
                </c:pt>
                <c:pt idx="520">
                  <c:v>1.0049999999999999</c:v>
                </c:pt>
                <c:pt idx="521">
                  <c:v>1.0049999999999999</c:v>
                </c:pt>
                <c:pt idx="522">
                  <c:v>1.0049999999999999</c:v>
                </c:pt>
                <c:pt idx="523">
                  <c:v>1.0049999999999999</c:v>
                </c:pt>
                <c:pt idx="524">
                  <c:v>1.0049999999999999</c:v>
                </c:pt>
                <c:pt idx="525">
                  <c:v>1.0049999999999999</c:v>
                </c:pt>
                <c:pt idx="526">
                  <c:v>1.0049999999999999</c:v>
                </c:pt>
                <c:pt idx="527">
                  <c:v>1.0049999999999999</c:v>
                </c:pt>
                <c:pt idx="528">
                  <c:v>1.0049999999999999</c:v>
                </c:pt>
                <c:pt idx="529">
                  <c:v>1.0049999999999999</c:v>
                </c:pt>
                <c:pt idx="530">
                  <c:v>1.0049999999999999</c:v>
                </c:pt>
                <c:pt idx="531">
                  <c:v>1.0049999999999999</c:v>
                </c:pt>
                <c:pt idx="532">
                  <c:v>1.0049999999999999</c:v>
                </c:pt>
                <c:pt idx="533">
                  <c:v>1.0049999999999999</c:v>
                </c:pt>
                <c:pt idx="534">
                  <c:v>1.0049999999999999</c:v>
                </c:pt>
                <c:pt idx="535">
                  <c:v>1.0049999999999999</c:v>
                </c:pt>
                <c:pt idx="536">
                  <c:v>1.0049999999999999</c:v>
                </c:pt>
                <c:pt idx="537">
                  <c:v>1.0049999999999999</c:v>
                </c:pt>
                <c:pt idx="538">
                  <c:v>1.0049999999999999</c:v>
                </c:pt>
                <c:pt idx="539">
                  <c:v>1.0049999999999999</c:v>
                </c:pt>
                <c:pt idx="540">
                  <c:v>1.0049999999999999</c:v>
                </c:pt>
                <c:pt idx="541">
                  <c:v>1.0049999999999999</c:v>
                </c:pt>
                <c:pt idx="542">
                  <c:v>1.0049999999999999</c:v>
                </c:pt>
                <c:pt idx="543">
                  <c:v>1.0049999999999999</c:v>
                </c:pt>
                <c:pt idx="544">
                  <c:v>1.0049999999999999</c:v>
                </c:pt>
                <c:pt idx="545">
                  <c:v>1.0049999999999999</c:v>
                </c:pt>
                <c:pt idx="546">
                  <c:v>1.0049999999999999</c:v>
                </c:pt>
                <c:pt idx="547">
                  <c:v>1.0049999999999999</c:v>
                </c:pt>
                <c:pt idx="548">
                  <c:v>1.0049999999999999</c:v>
                </c:pt>
                <c:pt idx="549">
                  <c:v>1.0049999999999999</c:v>
                </c:pt>
                <c:pt idx="550">
                  <c:v>1.0049999999999999</c:v>
                </c:pt>
                <c:pt idx="551">
                  <c:v>1.0049999999999999</c:v>
                </c:pt>
                <c:pt idx="552">
                  <c:v>1.0049999999999999</c:v>
                </c:pt>
                <c:pt idx="553">
                  <c:v>1.0049999999999999</c:v>
                </c:pt>
                <c:pt idx="554">
                  <c:v>1.0049999999999999</c:v>
                </c:pt>
                <c:pt idx="555">
                  <c:v>1.0049999999999999</c:v>
                </c:pt>
                <c:pt idx="556">
                  <c:v>1.0049999999999999</c:v>
                </c:pt>
                <c:pt idx="557">
                  <c:v>1.0049999999999999</c:v>
                </c:pt>
                <c:pt idx="558">
                  <c:v>1.0049999999999999</c:v>
                </c:pt>
                <c:pt idx="559">
                  <c:v>1.0049999999999999</c:v>
                </c:pt>
                <c:pt idx="560">
                  <c:v>1.0049999999999999</c:v>
                </c:pt>
                <c:pt idx="561">
                  <c:v>1.0049999999999999</c:v>
                </c:pt>
                <c:pt idx="562">
                  <c:v>1.0049999999999999</c:v>
                </c:pt>
                <c:pt idx="563">
                  <c:v>1.0049999999999999</c:v>
                </c:pt>
                <c:pt idx="564">
                  <c:v>1.0049999999999999</c:v>
                </c:pt>
                <c:pt idx="565">
                  <c:v>1.0049999999999999</c:v>
                </c:pt>
                <c:pt idx="566">
                  <c:v>1.0049999999999999</c:v>
                </c:pt>
                <c:pt idx="567">
                  <c:v>1.0049999999999999</c:v>
                </c:pt>
                <c:pt idx="568">
                  <c:v>1.0049999999999999</c:v>
                </c:pt>
                <c:pt idx="569">
                  <c:v>1.0049999999999999</c:v>
                </c:pt>
                <c:pt idx="570">
                  <c:v>1.0049999999999999</c:v>
                </c:pt>
                <c:pt idx="571">
                  <c:v>1.0049999999999999</c:v>
                </c:pt>
                <c:pt idx="572">
                  <c:v>1.0049999999999999</c:v>
                </c:pt>
                <c:pt idx="573">
                  <c:v>1.0049999999999999</c:v>
                </c:pt>
                <c:pt idx="574">
                  <c:v>1.0049999999999999</c:v>
                </c:pt>
                <c:pt idx="575">
                  <c:v>1.0049999999999999</c:v>
                </c:pt>
                <c:pt idx="576">
                  <c:v>1.0049999999999999</c:v>
                </c:pt>
                <c:pt idx="577">
                  <c:v>1.0049999999999999</c:v>
                </c:pt>
                <c:pt idx="578">
                  <c:v>1.0049999999999999</c:v>
                </c:pt>
                <c:pt idx="579">
                  <c:v>1.0049999999999999</c:v>
                </c:pt>
                <c:pt idx="580">
                  <c:v>1.0049999999999999</c:v>
                </c:pt>
                <c:pt idx="581">
                  <c:v>1.0049999999999999</c:v>
                </c:pt>
                <c:pt idx="582">
                  <c:v>1.0049999999999999</c:v>
                </c:pt>
                <c:pt idx="583">
                  <c:v>1.0049999999999999</c:v>
                </c:pt>
                <c:pt idx="584">
                  <c:v>1.0049999999999999</c:v>
                </c:pt>
                <c:pt idx="585">
                  <c:v>1.0049999999999999</c:v>
                </c:pt>
                <c:pt idx="586">
                  <c:v>1.0049999999999999</c:v>
                </c:pt>
                <c:pt idx="587">
                  <c:v>1.0049999999999999</c:v>
                </c:pt>
                <c:pt idx="588">
                  <c:v>1.0049999999999999</c:v>
                </c:pt>
                <c:pt idx="589">
                  <c:v>1.0049999999999999</c:v>
                </c:pt>
                <c:pt idx="590">
                  <c:v>1.0049999999999999</c:v>
                </c:pt>
                <c:pt idx="591">
                  <c:v>1.0049999999999999</c:v>
                </c:pt>
                <c:pt idx="592">
                  <c:v>1.0049999999999999</c:v>
                </c:pt>
                <c:pt idx="593">
                  <c:v>1.0049999999999999</c:v>
                </c:pt>
                <c:pt idx="594">
                  <c:v>1.0049999999999999</c:v>
                </c:pt>
                <c:pt idx="595">
                  <c:v>1.0049999999999999</c:v>
                </c:pt>
                <c:pt idx="596">
                  <c:v>1.0049999999999999</c:v>
                </c:pt>
                <c:pt idx="597">
                  <c:v>1.0049999999999999</c:v>
                </c:pt>
                <c:pt idx="598">
                  <c:v>1.0049999999999999</c:v>
                </c:pt>
                <c:pt idx="599">
                  <c:v>1.0049999999999999</c:v>
                </c:pt>
                <c:pt idx="600">
                  <c:v>1.0049999999999999</c:v>
                </c:pt>
                <c:pt idx="601">
                  <c:v>1.0049999999999999</c:v>
                </c:pt>
                <c:pt idx="602">
                  <c:v>1.0049999999999999</c:v>
                </c:pt>
                <c:pt idx="603">
                  <c:v>1.0049999999999999</c:v>
                </c:pt>
                <c:pt idx="604">
                  <c:v>1.0049999999999999</c:v>
                </c:pt>
                <c:pt idx="605">
                  <c:v>1.0049999999999999</c:v>
                </c:pt>
                <c:pt idx="606">
                  <c:v>1.0049999999999999</c:v>
                </c:pt>
                <c:pt idx="607">
                  <c:v>1.0049999999999999</c:v>
                </c:pt>
                <c:pt idx="608">
                  <c:v>1.0049999999999999</c:v>
                </c:pt>
                <c:pt idx="609">
                  <c:v>1.0049999999999999</c:v>
                </c:pt>
                <c:pt idx="610">
                  <c:v>1.0049999999999999</c:v>
                </c:pt>
                <c:pt idx="611">
                  <c:v>1.0049999999999999</c:v>
                </c:pt>
                <c:pt idx="612">
                  <c:v>1.0049999999999999</c:v>
                </c:pt>
                <c:pt idx="613">
                  <c:v>1.0049999999999999</c:v>
                </c:pt>
                <c:pt idx="614">
                  <c:v>1.0049999999999999</c:v>
                </c:pt>
                <c:pt idx="615">
                  <c:v>1.0049999999999999</c:v>
                </c:pt>
                <c:pt idx="616">
                  <c:v>1.0049999999999999</c:v>
                </c:pt>
                <c:pt idx="617">
                  <c:v>1.0049999999999999</c:v>
                </c:pt>
                <c:pt idx="618">
                  <c:v>1.0049999999999999</c:v>
                </c:pt>
                <c:pt idx="619">
                  <c:v>1.0049999999999999</c:v>
                </c:pt>
                <c:pt idx="620">
                  <c:v>1.0049999999999999</c:v>
                </c:pt>
                <c:pt idx="621">
                  <c:v>1.0049999999999999</c:v>
                </c:pt>
                <c:pt idx="622">
                  <c:v>1.0049999999999999</c:v>
                </c:pt>
                <c:pt idx="623">
                  <c:v>1.0049999999999999</c:v>
                </c:pt>
                <c:pt idx="624">
                  <c:v>1.0049999999999999</c:v>
                </c:pt>
                <c:pt idx="625">
                  <c:v>1.0049999999999999</c:v>
                </c:pt>
                <c:pt idx="626">
                  <c:v>1.0049999999999999</c:v>
                </c:pt>
                <c:pt idx="627">
                  <c:v>1.0049999999999999</c:v>
                </c:pt>
                <c:pt idx="628">
                  <c:v>1.0049999999999999</c:v>
                </c:pt>
                <c:pt idx="629">
                  <c:v>1.0049999999999999</c:v>
                </c:pt>
                <c:pt idx="630">
                  <c:v>1.0049999999999999</c:v>
                </c:pt>
                <c:pt idx="631">
                  <c:v>1.0049999999999999</c:v>
                </c:pt>
                <c:pt idx="632">
                  <c:v>1.0049999999999999</c:v>
                </c:pt>
                <c:pt idx="633">
                  <c:v>1.0049999999999999</c:v>
                </c:pt>
                <c:pt idx="634">
                  <c:v>1.0049999999999999</c:v>
                </c:pt>
                <c:pt idx="635">
                  <c:v>1.0049999999999999</c:v>
                </c:pt>
                <c:pt idx="636">
                  <c:v>1.0049999999999999</c:v>
                </c:pt>
                <c:pt idx="637">
                  <c:v>1.0049999999999999</c:v>
                </c:pt>
                <c:pt idx="638">
                  <c:v>1.0049999999999999</c:v>
                </c:pt>
                <c:pt idx="639">
                  <c:v>1.0049999999999999</c:v>
                </c:pt>
                <c:pt idx="640">
                  <c:v>1.0049999999999999</c:v>
                </c:pt>
                <c:pt idx="641">
                  <c:v>1.0049999999999999</c:v>
                </c:pt>
                <c:pt idx="642">
                  <c:v>1.0049999999999999</c:v>
                </c:pt>
                <c:pt idx="643">
                  <c:v>1.0049999999999999</c:v>
                </c:pt>
                <c:pt idx="644">
                  <c:v>1.0049999999999999</c:v>
                </c:pt>
                <c:pt idx="645">
                  <c:v>1.0049999999999999</c:v>
                </c:pt>
                <c:pt idx="646">
                  <c:v>1.0049999999999999</c:v>
                </c:pt>
                <c:pt idx="647">
                  <c:v>1.0049999999999999</c:v>
                </c:pt>
                <c:pt idx="648">
                  <c:v>1.0049999999999999</c:v>
                </c:pt>
                <c:pt idx="649">
                  <c:v>1.0049999999999999</c:v>
                </c:pt>
                <c:pt idx="650">
                  <c:v>1.0049999999999999</c:v>
                </c:pt>
                <c:pt idx="651">
                  <c:v>1.0049999999999999</c:v>
                </c:pt>
                <c:pt idx="652">
                  <c:v>1.0049999999999999</c:v>
                </c:pt>
                <c:pt idx="653">
                  <c:v>1.0049999999999999</c:v>
                </c:pt>
                <c:pt idx="654">
                  <c:v>1.0049999999999999</c:v>
                </c:pt>
                <c:pt idx="655">
                  <c:v>1.0049999999999999</c:v>
                </c:pt>
                <c:pt idx="656">
                  <c:v>1.0049999999999999</c:v>
                </c:pt>
                <c:pt idx="657">
                  <c:v>1.0049999999999999</c:v>
                </c:pt>
                <c:pt idx="658">
                  <c:v>1.0049999999999999</c:v>
                </c:pt>
                <c:pt idx="659">
                  <c:v>1.0049999999999999</c:v>
                </c:pt>
                <c:pt idx="660">
                  <c:v>1.0049999999999999</c:v>
                </c:pt>
                <c:pt idx="661">
                  <c:v>1.0049999999999999</c:v>
                </c:pt>
                <c:pt idx="662">
                  <c:v>1.0049999999999999</c:v>
                </c:pt>
                <c:pt idx="663">
                  <c:v>1.0049999999999999</c:v>
                </c:pt>
                <c:pt idx="664">
                  <c:v>1.0049999999999999</c:v>
                </c:pt>
                <c:pt idx="665">
                  <c:v>1.0049999999999999</c:v>
                </c:pt>
                <c:pt idx="666">
                  <c:v>1.0049999999999999</c:v>
                </c:pt>
                <c:pt idx="667">
                  <c:v>1.0049999999999999</c:v>
                </c:pt>
                <c:pt idx="668">
                  <c:v>1.0049999999999999</c:v>
                </c:pt>
                <c:pt idx="669">
                  <c:v>1.0049999999999999</c:v>
                </c:pt>
                <c:pt idx="670">
                  <c:v>1.0049999999999999</c:v>
                </c:pt>
                <c:pt idx="671">
                  <c:v>1.0049999999999999</c:v>
                </c:pt>
                <c:pt idx="672">
                  <c:v>1.0049999999999999</c:v>
                </c:pt>
                <c:pt idx="673">
                  <c:v>1.0049999999999999</c:v>
                </c:pt>
                <c:pt idx="674">
                  <c:v>1.0049999999999999</c:v>
                </c:pt>
                <c:pt idx="675">
                  <c:v>1.0049999999999999</c:v>
                </c:pt>
                <c:pt idx="676">
                  <c:v>1.0049999999999999</c:v>
                </c:pt>
                <c:pt idx="677">
                  <c:v>1.0049999999999999</c:v>
                </c:pt>
                <c:pt idx="678">
                  <c:v>1.0049999999999999</c:v>
                </c:pt>
                <c:pt idx="679">
                  <c:v>1.0049999999999999</c:v>
                </c:pt>
                <c:pt idx="680">
                  <c:v>1.0049999999999999</c:v>
                </c:pt>
                <c:pt idx="681">
                  <c:v>1.0049999999999999</c:v>
                </c:pt>
                <c:pt idx="682">
                  <c:v>1.0049999999999999</c:v>
                </c:pt>
                <c:pt idx="683">
                  <c:v>1.0049999999999999</c:v>
                </c:pt>
                <c:pt idx="684">
                  <c:v>1.0049999999999999</c:v>
                </c:pt>
                <c:pt idx="685">
                  <c:v>1.0049999999999999</c:v>
                </c:pt>
                <c:pt idx="686">
                  <c:v>1.0049999999999999</c:v>
                </c:pt>
                <c:pt idx="687">
                  <c:v>1.0049999999999999</c:v>
                </c:pt>
                <c:pt idx="688">
                  <c:v>1.0049999999999999</c:v>
                </c:pt>
                <c:pt idx="689">
                  <c:v>1.0049999999999999</c:v>
                </c:pt>
                <c:pt idx="690">
                  <c:v>1.0049999999999999</c:v>
                </c:pt>
                <c:pt idx="691">
                  <c:v>1.0049999999999999</c:v>
                </c:pt>
                <c:pt idx="692">
                  <c:v>1.0049999999999999</c:v>
                </c:pt>
                <c:pt idx="693">
                  <c:v>1.0049999999999999</c:v>
                </c:pt>
                <c:pt idx="694">
                  <c:v>1.0049999999999999</c:v>
                </c:pt>
                <c:pt idx="695">
                  <c:v>1.0049999999999999</c:v>
                </c:pt>
                <c:pt idx="696">
                  <c:v>1.0049999999999999</c:v>
                </c:pt>
                <c:pt idx="697">
                  <c:v>1.0049999999999999</c:v>
                </c:pt>
                <c:pt idx="698">
                  <c:v>1.0049999999999999</c:v>
                </c:pt>
                <c:pt idx="699">
                  <c:v>1.0049999999999999</c:v>
                </c:pt>
                <c:pt idx="700">
                  <c:v>1.0049999999999999</c:v>
                </c:pt>
                <c:pt idx="701">
                  <c:v>1.0049999999999999</c:v>
                </c:pt>
                <c:pt idx="702">
                  <c:v>1.0049999999999999</c:v>
                </c:pt>
                <c:pt idx="703">
                  <c:v>1.0049999999999999</c:v>
                </c:pt>
                <c:pt idx="704">
                  <c:v>1.0049999999999999</c:v>
                </c:pt>
                <c:pt idx="705">
                  <c:v>1.0049999999999999</c:v>
                </c:pt>
                <c:pt idx="706">
                  <c:v>1.0049999999999999</c:v>
                </c:pt>
                <c:pt idx="707">
                  <c:v>1.0049999999999999</c:v>
                </c:pt>
                <c:pt idx="708">
                  <c:v>1.0049999999999999</c:v>
                </c:pt>
                <c:pt idx="709">
                  <c:v>1.0049999999999999</c:v>
                </c:pt>
                <c:pt idx="710">
                  <c:v>1.0049999999999999</c:v>
                </c:pt>
                <c:pt idx="711">
                  <c:v>1.0049999999999999</c:v>
                </c:pt>
                <c:pt idx="712">
                  <c:v>1.0049999999999999</c:v>
                </c:pt>
                <c:pt idx="713">
                  <c:v>1.0049999999999999</c:v>
                </c:pt>
                <c:pt idx="714">
                  <c:v>1.0049999999999999</c:v>
                </c:pt>
                <c:pt idx="715">
                  <c:v>1.0049999999999999</c:v>
                </c:pt>
                <c:pt idx="716">
                  <c:v>1.0049999999999999</c:v>
                </c:pt>
                <c:pt idx="717">
                  <c:v>1.0049999999999999</c:v>
                </c:pt>
                <c:pt idx="718">
                  <c:v>1.0049999999999999</c:v>
                </c:pt>
                <c:pt idx="719">
                  <c:v>1.0049999999999999</c:v>
                </c:pt>
                <c:pt idx="720">
                  <c:v>1.0049999999999999</c:v>
                </c:pt>
                <c:pt idx="721">
                  <c:v>1.0049999999999999</c:v>
                </c:pt>
                <c:pt idx="722">
                  <c:v>1.0049999999999999</c:v>
                </c:pt>
                <c:pt idx="723">
                  <c:v>1.0049999999999999</c:v>
                </c:pt>
                <c:pt idx="724">
                  <c:v>1.0049999999999999</c:v>
                </c:pt>
                <c:pt idx="725">
                  <c:v>1.0049999999999999</c:v>
                </c:pt>
                <c:pt idx="726">
                  <c:v>1.0049999999999999</c:v>
                </c:pt>
                <c:pt idx="727">
                  <c:v>1.0049999999999999</c:v>
                </c:pt>
                <c:pt idx="728">
                  <c:v>1.0049999999999999</c:v>
                </c:pt>
                <c:pt idx="729">
                  <c:v>1.0049999999999999</c:v>
                </c:pt>
                <c:pt idx="730">
                  <c:v>1.0049999999999999</c:v>
                </c:pt>
                <c:pt idx="731">
                  <c:v>1.0049999999999999</c:v>
                </c:pt>
                <c:pt idx="732">
                  <c:v>1.0049999999999999</c:v>
                </c:pt>
                <c:pt idx="733">
                  <c:v>1.0049999999999999</c:v>
                </c:pt>
                <c:pt idx="734">
                  <c:v>1.0049999999999999</c:v>
                </c:pt>
                <c:pt idx="735">
                  <c:v>1.0049999999999999</c:v>
                </c:pt>
                <c:pt idx="736">
                  <c:v>1.0049999999999999</c:v>
                </c:pt>
                <c:pt idx="737">
                  <c:v>1.0049999999999999</c:v>
                </c:pt>
                <c:pt idx="738">
                  <c:v>1.0049999999999999</c:v>
                </c:pt>
                <c:pt idx="739">
                  <c:v>1.0049999999999999</c:v>
                </c:pt>
                <c:pt idx="740">
                  <c:v>1.0049999999999999</c:v>
                </c:pt>
                <c:pt idx="741">
                  <c:v>1.0049999999999999</c:v>
                </c:pt>
                <c:pt idx="742">
                  <c:v>1.0049999999999999</c:v>
                </c:pt>
                <c:pt idx="743">
                  <c:v>1.0049999999999999</c:v>
                </c:pt>
                <c:pt idx="744">
                  <c:v>1.0049999999999999</c:v>
                </c:pt>
                <c:pt idx="745">
                  <c:v>1.0049999999999999</c:v>
                </c:pt>
                <c:pt idx="746">
                  <c:v>1.0049999999999999</c:v>
                </c:pt>
                <c:pt idx="747">
                  <c:v>1.0049999999999999</c:v>
                </c:pt>
                <c:pt idx="748">
                  <c:v>1.0049999999999999</c:v>
                </c:pt>
                <c:pt idx="749">
                  <c:v>1.0049999999999999</c:v>
                </c:pt>
                <c:pt idx="750">
                  <c:v>1.0049999999999999</c:v>
                </c:pt>
                <c:pt idx="751">
                  <c:v>1.0049999999999999</c:v>
                </c:pt>
                <c:pt idx="752">
                  <c:v>1.0049999999999999</c:v>
                </c:pt>
                <c:pt idx="753">
                  <c:v>1.0049999999999999</c:v>
                </c:pt>
                <c:pt idx="754">
                  <c:v>1.0049999999999999</c:v>
                </c:pt>
                <c:pt idx="755">
                  <c:v>1.0049999999999999</c:v>
                </c:pt>
                <c:pt idx="756">
                  <c:v>1.0049999999999999</c:v>
                </c:pt>
                <c:pt idx="757">
                  <c:v>1.0049999999999999</c:v>
                </c:pt>
                <c:pt idx="758">
                  <c:v>1.0049999999999999</c:v>
                </c:pt>
                <c:pt idx="759">
                  <c:v>1.0049999999999999</c:v>
                </c:pt>
                <c:pt idx="760">
                  <c:v>1.0049999999999999</c:v>
                </c:pt>
                <c:pt idx="761">
                  <c:v>1.0049999999999999</c:v>
                </c:pt>
                <c:pt idx="762">
                  <c:v>1.0049999999999999</c:v>
                </c:pt>
                <c:pt idx="763">
                  <c:v>1.0049999999999999</c:v>
                </c:pt>
                <c:pt idx="764">
                  <c:v>1.0049999999999999</c:v>
                </c:pt>
                <c:pt idx="765">
                  <c:v>1.0049999999999999</c:v>
                </c:pt>
                <c:pt idx="766">
                  <c:v>1.0049999999999999</c:v>
                </c:pt>
                <c:pt idx="767">
                  <c:v>1.0049999999999999</c:v>
                </c:pt>
                <c:pt idx="768">
                  <c:v>1.0049999999999999</c:v>
                </c:pt>
                <c:pt idx="769">
                  <c:v>1.0049999999999999</c:v>
                </c:pt>
                <c:pt idx="770">
                  <c:v>1.0049999999999999</c:v>
                </c:pt>
                <c:pt idx="771">
                  <c:v>1.0049999999999999</c:v>
                </c:pt>
                <c:pt idx="772">
                  <c:v>1.0049999999999999</c:v>
                </c:pt>
                <c:pt idx="773">
                  <c:v>1.0049999999999999</c:v>
                </c:pt>
                <c:pt idx="774">
                  <c:v>1.0049999999999999</c:v>
                </c:pt>
                <c:pt idx="775">
                  <c:v>1.0049999999999999</c:v>
                </c:pt>
                <c:pt idx="776">
                  <c:v>1.0049999999999999</c:v>
                </c:pt>
                <c:pt idx="777">
                  <c:v>1.0049999999999999</c:v>
                </c:pt>
                <c:pt idx="778">
                  <c:v>1.0049999999999999</c:v>
                </c:pt>
                <c:pt idx="779">
                  <c:v>1.0049999999999999</c:v>
                </c:pt>
                <c:pt idx="780">
                  <c:v>1.0049999999999999</c:v>
                </c:pt>
                <c:pt idx="781">
                  <c:v>1.0049999999999999</c:v>
                </c:pt>
                <c:pt idx="782">
                  <c:v>1.0049999999999999</c:v>
                </c:pt>
                <c:pt idx="783">
                  <c:v>1.0049999999999999</c:v>
                </c:pt>
                <c:pt idx="784">
                  <c:v>1.0049999999999999</c:v>
                </c:pt>
                <c:pt idx="785">
                  <c:v>1.0049999999999999</c:v>
                </c:pt>
                <c:pt idx="786">
                  <c:v>1.0049999999999999</c:v>
                </c:pt>
                <c:pt idx="787">
                  <c:v>1.0049999999999999</c:v>
                </c:pt>
                <c:pt idx="788">
                  <c:v>1.0049999999999999</c:v>
                </c:pt>
                <c:pt idx="789">
                  <c:v>1.0049999999999999</c:v>
                </c:pt>
                <c:pt idx="790">
                  <c:v>1.0049999999999999</c:v>
                </c:pt>
                <c:pt idx="791">
                  <c:v>1.0049999999999999</c:v>
                </c:pt>
                <c:pt idx="792">
                  <c:v>1.0049999999999999</c:v>
                </c:pt>
                <c:pt idx="793">
                  <c:v>1.0049999999999999</c:v>
                </c:pt>
                <c:pt idx="794">
                  <c:v>1.0049999999999999</c:v>
                </c:pt>
                <c:pt idx="795">
                  <c:v>1.0049999999999999</c:v>
                </c:pt>
                <c:pt idx="796">
                  <c:v>1.0049999999999999</c:v>
                </c:pt>
                <c:pt idx="797">
                  <c:v>1.0049999999999999</c:v>
                </c:pt>
                <c:pt idx="798">
                  <c:v>1.0049999999999999</c:v>
                </c:pt>
                <c:pt idx="799">
                  <c:v>1.0049999999999999</c:v>
                </c:pt>
                <c:pt idx="800">
                  <c:v>1.0049999999999999</c:v>
                </c:pt>
                <c:pt idx="801">
                  <c:v>1.0049999999999999</c:v>
                </c:pt>
                <c:pt idx="802">
                  <c:v>1.0049999999999999</c:v>
                </c:pt>
                <c:pt idx="803">
                  <c:v>1.0049999999999999</c:v>
                </c:pt>
                <c:pt idx="804">
                  <c:v>1.0049999999999999</c:v>
                </c:pt>
              </c:numCache>
            </c:numRef>
          </c:val>
          <c:smooth val="0"/>
          <c:extLst>
            <c:ext xmlns:c16="http://schemas.microsoft.com/office/drawing/2014/chart" uri="{C3380CC4-5D6E-409C-BE32-E72D297353CC}">
              <c16:uniqueId val="{00000001-E4D9-45BC-8967-670194C9B1CF}"/>
            </c:ext>
          </c:extLst>
        </c:ser>
        <c:ser>
          <c:idx val="4"/>
          <c:order val="2"/>
          <c:spPr>
            <a:ln>
              <a:solidFill>
                <a:srgbClr val="B50A00"/>
              </a:solidFill>
            </a:ln>
          </c:spPr>
          <c:marker>
            <c:symbol val="none"/>
          </c:marker>
          <c:cat>
            <c:numRef>
              <c:f>Sheet1!$A$1796:$A$2600</c:f>
              <c:numCache>
                <c:formatCode>m/d/yyyy</c:formatCode>
                <c:ptCount val="805"/>
                <c:pt idx="0">
                  <c:v>43616</c:v>
                </c:pt>
                <c:pt idx="1">
                  <c:v>43619</c:v>
                </c:pt>
                <c:pt idx="2">
                  <c:v>43620</c:v>
                </c:pt>
                <c:pt idx="3">
                  <c:v>43621</c:v>
                </c:pt>
                <c:pt idx="4">
                  <c:v>43622</c:v>
                </c:pt>
                <c:pt idx="5">
                  <c:v>43623</c:v>
                </c:pt>
                <c:pt idx="6">
                  <c:v>43626</c:v>
                </c:pt>
                <c:pt idx="7">
                  <c:v>43627</c:v>
                </c:pt>
                <c:pt idx="8">
                  <c:v>43628</c:v>
                </c:pt>
                <c:pt idx="9">
                  <c:v>43629</c:v>
                </c:pt>
                <c:pt idx="10">
                  <c:v>43630</c:v>
                </c:pt>
                <c:pt idx="11">
                  <c:v>43633</c:v>
                </c:pt>
                <c:pt idx="12">
                  <c:v>43634</c:v>
                </c:pt>
                <c:pt idx="13">
                  <c:v>43635</c:v>
                </c:pt>
                <c:pt idx="14">
                  <c:v>43636</c:v>
                </c:pt>
                <c:pt idx="15">
                  <c:v>43637</c:v>
                </c:pt>
                <c:pt idx="16">
                  <c:v>43640</c:v>
                </c:pt>
                <c:pt idx="17">
                  <c:v>43641</c:v>
                </c:pt>
                <c:pt idx="18">
                  <c:v>43642</c:v>
                </c:pt>
                <c:pt idx="19">
                  <c:v>43643</c:v>
                </c:pt>
                <c:pt idx="20">
                  <c:v>43644</c:v>
                </c:pt>
                <c:pt idx="21">
                  <c:v>43647</c:v>
                </c:pt>
                <c:pt idx="22">
                  <c:v>43648</c:v>
                </c:pt>
                <c:pt idx="23">
                  <c:v>43649</c:v>
                </c:pt>
                <c:pt idx="24">
                  <c:v>43650</c:v>
                </c:pt>
                <c:pt idx="25">
                  <c:v>43651</c:v>
                </c:pt>
                <c:pt idx="26">
                  <c:v>43654</c:v>
                </c:pt>
                <c:pt idx="27">
                  <c:v>43655</c:v>
                </c:pt>
                <c:pt idx="28">
                  <c:v>43656</c:v>
                </c:pt>
                <c:pt idx="29">
                  <c:v>43657</c:v>
                </c:pt>
                <c:pt idx="30">
                  <c:v>43658</c:v>
                </c:pt>
                <c:pt idx="31">
                  <c:v>43661</c:v>
                </c:pt>
                <c:pt idx="32">
                  <c:v>43662</c:v>
                </c:pt>
                <c:pt idx="33">
                  <c:v>43663</c:v>
                </c:pt>
                <c:pt idx="34">
                  <c:v>43664</c:v>
                </c:pt>
                <c:pt idx="35">
                  <c:v>43665</c:v>
                </c:pt>
                <c:pt idx="36">
                  <c:v>43668</c:v>
                </c:pt>
                <c:pt idx="37">
                  <c:v>43669</c:v>
                </c:pt>
                <c:pt idx="38">
                  <c:v>43670</c:v>
                </c:pt>
                <c:pt idx="39">
                  <c:v>43671</c:v>
                </c:pt>
                <c:pt idx="40">
                  <c:v>43672</c:v>
                </c:pt>
                <c:pt idx="41">
                  <c:v>43675</c:v>
                </c:pt>
                <c:pt idx="42">
                  <c:v>43676</c:v>
                </c:pt>
                <c:pt idx="43">
                  <c:v>43677</c:v>
                </c:pt>
                <c:pt idx="44">
                  <c:v>43678</c:v>
                </c:pt>
                <c:pt idx="45">
                  <c:v>43679</c:v>
                </c:pt>
                <c:pt idx="46">
                  <c:v>43682</c:v>
                </c:pt>
                <c:pt idx="47">
                  <c:v>43683</c:v>
                </c:pt>
                <c:pt idx="48">
                  <c:v>43684</c:v>
                </c:pt>
                <c:pt idx="49">
                  <c:v>43685</c:v>
                </c:pt>
                <c:pt idx="50">
                  <c:v>43686</c:v>
                </c:pt>
                <c:pt idx="51">
                  <c:v>43689</c:v>
                </c:pt>
                <c:pt idx="52">
                  <c:v>43690</c:v>
                </c:pt>
                <c:pt idx="53">
                  <c:v>43691</c:v>
                </c:pt>
                <c:pt idx="54">
                  <c:v>43692</c:v>
                </c:pt>
                <c:pt idx="55">
                  <c:v>43693</c:v>
                </c:pt>
                <c:pt idx="56">
                  <c:v>43696</c:v>
                </c:pt>
                <c:pt idx="57">
                  <c:v>43697</c:v>
                </c:pt>
                <c:pt idx="58">
                  <c:v>43698</c:v>
                </c:pt>
                <c:pt idx="59">
                  <c:v>43699</c:v>
                </c:pt>
                <c:pt idx="60">
                  <c:v>43700</c:v>
                </c:pt>
                <c:pt idx="61">
                  <c:v>43703</c:v>
                </c:pt>
                <c:pt idx="62">
                  <c:v>43704</c:v>
                </c:pt>
                <c:pt idx="63">
                  <c:v>43705</c:v>
                </c:pt>
                <c:pt idx="64">
                  <c:v>43706</c:v>
                </c:pt>
                <c:pt idx="65">
                  <c:v>43707</c:v>
                </c:pt>
                <c:pt idx="66">
                  <c:v>43710</c:v>
                </c:pt>
                <c:pt idx="67">
                  <c:v>43711</c:v>
                </c:pt>
                <c:pt idx="68">
                  <c:v>43712</c:v>
                </c:pt>
                <c:pt idx="69">
                  <c:v>43713</c:v>
                </c:pt>
                <c:pt idx="70">
                  <c:v>43714</c:v>
                </c:pt>
                <c:pt idx="71">
                  <c:v>43717</c:v>
                </c:pt>
                <c:pt idx="72">
                  <c:v>43718</c:v>
                </c:pt>
                <c:pt idx="73">
                  <c:v>43719</c:v>
                </c:pt>
                <c:pt idx="74">
                  <c:v>43720</c:v>
                </c:pt>
                <c:pt idx="75">
                  <c:v>43721</c:v>
                </c:pt>
                <c:pt idx="76">
                  <c:v>43724</c:v>
                </c:pt>
                <c:pt idx="77">
                  <c:v>43725</c:v>
                </c:pt>
                <c:pt idx="78">
                  <c:v>43726</c:v>
                </c:pt>
                <c:pt idx="79">
                  <c:v>43727</c:v>
                </c:pt>
                <c:pt idx="80">
                  <c:v>43728</c:v>
                </c:pt>
                <c:pt idx="81">
                  <c:v>43731</c:v>
                </c:pt>
                <c:pt idx="82">
                  <c:v>43732</c:v>
                </c:pt>
                <c:pt idx="83">
                  <c:v>43733</c:v>
                </c:pt>
                <c:pt idx="84">
                  <c:v>43734</c:v>
                </c:pt>
                <c:pt idx="85">
                  <c:v>43735</c:v>
                </c:pt>
                <c:pt idx="86">
                  <c:v>43738</c:v>
                </c:pt>
                <c:pt idx="87">
                  <c:v>43739</c:v>
                </c:pt>
                <c:pt idx="88">
                  <c:v>43740</c:v>
                </c:pt>
                <c:pt idx="89">
                  <c:v>43741</c:v>
                </c:pt>
                <c:pt idx="90">
                  <c:v>43742</c:v>
                </c:pt>
                <c:pt idx="91">
                  <c:v>43745</c:v>
                </c:pt>
                <c:pt idx="92">
                  <c:v>43746</c:v>
                </c:pt>
                <c:pt idx="93">
                  <c:v>43747</c:v>
                </c:pt>
                <c:pt idx="94">
                  <c:v>43748</c:v>
                </c:pt>
                <c:pt idx="95">
                  <c:v>43749</c:v>
                </c:pt>
                <c:pt idx="96">
                  <c:v>43752</c:v>
                </c:pt>
                <c:pt idx="97">
                  <c:v>43753</c:v>
                </c:pt>
                <c:pt idx="98">
                  <c:v>43754</c:v>
                </c:pt>
                <c:pt idx="99">
                  <c:v>43755</c:v>
                </c:pt>
                <c:pt idx="100">
                  <c:v>43756</c:v>
                </c:pt>
                <c:pt idx="101">
                  <c:v>43759</c:v>
                </c:pt>
                <c:pt idx="102">
                  <c:v>43760</c:v>
                </c:pt>
                <c:pt idx="103">
                  <c:v>43761</c:v>
                </c:pt>
                <c:pt idx="104">
                  <c:v>43762</c:v>
                </c:pt>
                <c:pt idx="105">
                  <c:v>43763</c:v>
                </c:pt>
                <c:pt idx="106">
                  <c:v>43766</c:v>
                </c:pt>
                <c:pt idx="107">
                  <c:v>43767</c:v>
                </c:pt>
                <c:pt idx="108">
                  <c:v>43768</c:v>
                </c:pt>
                <c:pt idx="109">
                  <c:v>43769</c:v>
                </c:pt>
                <c:pt idx="110">
                  <c:v>43770</c:v>
                </c:pt>
                <c:pt idx="111">
                  <c:v>43773</c:v>
                </c:pt>
                <c:pt idx="112">
                  <c:v>43774</c:v>
                </c:pt>
                <c:pt idx="113">
                  <c:v>43775</c:v>
                </c:pt>
                <c:pt idx="114">
                  <c:v>43776</c:v>
                </c:pt>
                <c:pt idx="115">
                  <c:v>43777</c:v>
                </c:pt>
                <c:pt idx="116">
                  <c:v>43780</c:v>
                </c:pt>
                <c:pt idx="117">
                  <c:v>43781</c:v>
                </c:pt>
                <c:pt idx="118">
                  <c:v>43782</c:v>
                </c:pt>
                <c:pt idx="119">
                  <c:v>43783</c:v>
                </c:pt>
                <c:pt idx="120">
                  <c:v>43784</c:v>
                </c:pt>
                <c:pt idx="121">
                  <c:v>43787</c:v>
                </c:pt>
                <c:pt idx="122">
                  <c:v>43788</c:v>
                </c:pt>
                <c:pt idx="123">
                  <c:v>43789</c:v>
                </c:pt>
                <c:pt idx="124">
                  <c:v>43790</c:v>
                </c:pt>
                <c:pt idx="125">
                  <c:v>43791</c:v>
                </c:pt>
                <c:pt idx="126">
                  <c:v>43794</c:v>
                </c:pt>
                <c:pt idx="127">
                  <c:v>43795</c:v>
                </c:pt>
                <c:pt idx="128">
                  <c:v>43796</c:v>
                </c:pt>
                <c:pt idx="129">
                  <c:v>43797</c:v>
                </c:pt>
                <c:pt idx="130">
                  <c:v>43798</c:v>
                </c:pt>
                <c:pt idx="131">
                  <c:v>43801</c:v>
                </c:pt>
                <c:pt idx="132">
                  <c:v>43802</c:v>
                </c:pt>
                <c:pt idx="133">
                  <c:v>43803</c:v>
                </c:pt>
                <c:pt idx="134">
                  <c:v>43804</c:v>
                </c:pt>
                <c:pt idx="135">
                  <c:v>43805</c:v>
                </c:pt>
                <c:pt idx="136">
                  <c:v>43808</c:v>
                </c:pt>
                <c:pt idx="137">
                  <c:v>43809</c:v>
                </c:pt>
                <c:pt idx="138">
                  <c:v>43810</c:v>
                </c:pt>
                <c:pt idx="139">
                  <c:v>43811</c:v>
                </c:pt>
                <c:pt idx="140">
                  <c:v>43812</c:v>
                </c:pt>
                <c:pt idx="141">
                  <c:v>43815</c:v>
                </c:pt>
                <c:pt idx="142">
                  <c:v>43816</c:v>
                </c:pt>
                <c:pt idx="143">
                  <c:v>43817</c:v>
                </c:pt>
                <c:pt idx="144">
                  <c:v>43818</c:v>
                </c:pt>
                <c:pt idx="145">
                  <c:v>43819</c:v>
                </c:pt>
                <c:pt idx="146">
                  <c:v>43822</c:v>
                </c:pt>
                <c:pt idx="147">
                  <c:v>43823</c:v>
                </c:pt>
                <c:pt idx="148">
                  <c:v>43824</c:v>
                </c:pt>
                <c:pt idx="149">
                  <c:v>43825</c:v>
                </c:pt>
                <c:pt idx="150">
                  <c:v>43826</c:v>
                </c:pt>
                <c:pt idx="151">
                  <c:v>43829</c:v>
                </c:pt>
                <c:pt idx="152">
                  <c:v>43830</c:v>
                </c:pt>
                <c:pt idx="153">
                  <c:v>43831</c:v>
                </c:pt>
                <c:pt idx="154">
                  <c:v>43832</c:v>
                </c:pt>
                <c:pt idx="155">
                  <c:v>43833</c:v>
                </c:pt>
                <c:pt idx="156">
                  <c:v>43836</c:v>
                </c:pt>
                <c:pt idx="157">
                  <c:v>43837</c:v>
                </c:pt>
                <c:pt idx="158">
                  <c:v>43838</c:v>
                </c:pt>
                <c:pt idx="159">
                  <c:v>43839</c:v>
                </c:pt>
                <c:pt idx="160">
                  <c:v>43840</c:v>
                </c:pt>
                <c:pt idx="161">
                  <c:v>43843</c:v>
                </c:pt>
                <c:pt idx="162">
                  <c:v>43844</c:v>
                </c:pt>
                <c:pt idx="163">
                  <c:v>43845</c:v>
                </c:pt>
                <c:pt idx="164">
                  <c:v>43846</c:v>
                </c:pt>
                <c:pt idx="165">
                  <c:v>43847</c:v>
                </c:pt>
                <c:pt idx="166">
                  <c:v>43850</c:v>
                </c:pt>
                <c:pt idx="167">
                  <c:v>43851</c:v>
                </c:pt>
                <c:pt idx="168">
                  <c:v>43852</c:v>
                </c:pt>
                <c:pt idx="169">
                  <c:v>43853</c:v>
                </c:pt>
                <c:pt idx="170">
                  <c:v>43854</c:v>
                </c:pt>
                <c:pt idx="171">
                  <c:v>43857</c:v>
                </c:pt>
                <c:pt idx="172">
                  <c:v>43858</c:v>
                </c:pt>
                <c:pt idx="173">
                  <c:v>43859</c:v>
                </c:pt>
                <c:pt idx="174">
                  <c:v>43860</c:v>
                </c:pt>
                <c:pt idx="175">
                  <c:v>43861</c:v>
                </c:pt>
                <c:pt idx="176">
                  <c:v>43864</c:v>
                </c:pt>
                <c:pt idx="177">
                  <c:v>43865</c:v>
                </c:pt>
                <c:pt idx="178">
                  <c:v>43866</c:v>
                </c:pt>
                <c:pt idx="179">
                  <c:v>43867</c:v>
                </c:pt>
                <c:pt idx="180">
                  <c:v>43868</c:v>
                </c:pt>
                <c:pt idx="181">
                  <c:v>43871</c:v>
                </c:pt>
                <c:pt idx="182">
                  <c:v>43872</c:v>
                </c:pt>
                <c:pt idx="183">
                  <c:v>43873</c:v>
                </c:pt>
                <c:pt idx="184">
                  <c:v>43874</c:v>
                </c:pt>
                <c:pt idx="185">
                  <c:v>43875</c:v>
                </c:pt>
                <c:pt idx="186">
                  <c:v>43878</c:v>
                </c:pt>
                <c:pt idx="187">
                  <c:v>43879</c:v>
                </c:pt>
                <c:pt idx="188">
                  <c:v>43880</c:v>
                </c:pt>
                <c:pt idx="189">
                  <c:v>43881</c:v>
                </c:pt>
                <c:pt idx="190">
                  <c:v>43882</c:v>
                </c:pt>
                <c:pt idx="191">
                  <c:v>43885</c:v>
                </c:pt>
                <c:pt idx="192">
                  <c:v>43886</c:v>
                </c:pt>
                <c:pt idx="193">
                  <c:v>43887</c:v>
                </c:pt>
                <c:pt idx="194">
                  <c:v>43888</c:v>
                </c:pt>
                <c:pt idx="195">
                  <c:v>43889</c:v>
                </c:pt>
                <c:pt idx="196">
                  <c:v>43892</c:v>
                </c:pt>
                <c:pt idx="197">
                  <c:v>43893</c:v>
                </c:pt>
                <c:pt idx="198">
                  <c:v>43894</c:v>
                </c:pt>
                <c:pt idx="199">
                  <c:v>43895</c:v>
                </c:pt>
                <c:pt idx="200">
                  <c:v>43896</c:v>
                </c:pt>
                <c:pt idx="201">
                  <c:v>43899</c:v>
                </c:pt>
                <c:pt idx="202">
                  <c:v>43900</c:v>
                </c:pt>
                <c:pt idx="203">
                  <c:v>43901</c:v>
                </c:pt>
                <c:pt idx="204">
                  <c:v>43902</c:v>
                </c:pt>
                <c:pt idx="205">
                  <c:v>43903</c:v>
                </c:pt>
                <c:pt idx="206">
                  <c:v>43906</c:v>
                </c:pt>
                <c:pt idx="207">
                  <c:v>43907</c:v>
                </c:pt>
                <c:pt idx="208">
                  <c:v>43908</c:v>
                </c:pt>
                <c:pt idx="209">
                  <c:v>43909</c:v>
                </c:pt>
                <c:pt idx="210">
                  <c:v>43910</c:v>
                </c:pt>
                <c:pt idx="211">
                  <c:v>43913</c:v>
                </c:pt>
                <c:pt idx="212">
                  <c:v>43914</c:v>
                </c:pt>
                <c:pt idx="213">
                  <c:v>43915</c:v>
                </c:pt>
                <c:pt idx="214">
                  <c:v>43916</c:v>
                </c:pt>
                <c:pt idx="215">
                  <c:v>43917</c:v>
                </c:pt>
                <c:pt idx="216">
                  <c:v>43920</c:v>
                </c:pt>
                <c:pt idx="217">
                  <c:v>43921</c:v>
                </c:pt>
                <c:pt idx="218">
                  <c:v>43922</c:v>
                </c:pt>
                <c:pt idx="219">
                  <c:v>43923</c:v>
                </c:pt>
                <c:pt idx="220">
                  <c:v>43924</c:v>
                </c:pt>
                <c:pt idx="221">
                  <c:v>43927</c:v>
                </c:pt>
                <c:pt idx="222">
                  <c:v>43928</c:v>
                </c:pt>
                <c:pt idx="223">
                  <c:v>43929</c:v>
                </c:pt>
                <c:pt idx="224">
                  <c:v>43930</c:v>
                </c:pt>
                <c:pt idx="225">
                  <c:v>43931</c:v>
                </c:pt>
                <c:pt idx="226">
                  <c:v>43934</c:v>
                </c:pt>
                <c:pt idx="227">
                  <c:v>43935</c:v>
                </c:pt>
                <c:pt idx="228">
                  <c:v>43936</c:v>
                </c:pt>
                <c:pt idx="229">
                  <c:v>43937</c:v>
                </c:pt>
                <c:pt idx="230">
                  <c:v>43938</c:v>
                </c:pt>
                <c:pt idx="231">
                  <c:v>43941</c:v>
                </c:pt>
                <c:pt idx="232">
                  <c:v>43942</c:v>
                </c:pt>
                <c:pt idx="233">
                  <c:v>43943</c:v>
                </c:pt>
                <c:pt idx="234">
                  <c:v>43944</c:v>
                </c:pt>
                <c:pt idx="235">
                  <c:v>43945</c:v>
                </c:pt>
                <c:pt idx="236">
                  <c:v>43948</c:v>
                </c:pt>
                <c:pt idx="237">
                  <c:v>43949</c:v>
                </c:pt>
                <c:pt idx="238">
                  <c:v>43950</c:v>
                </c:pt>
                <c:pt idx="239">
                  <c:v>43951</c:v>
                </c:pt>
                <c:pt idx="240">
                  <c:v>43952</c:v>
                </c:pt>
                <c:pt idx="241">
                  <c:v>43955</c:v>
                </c:pt>
                <c:pt idx="242">
                  <c:v>43956</c:v>
                </c:pt>
                <c:pt idx="243">
                  <c:v>43957</c:v>
                </c:pt>
                <c:pt idx="244">
                  <c:v>43958</c:v>
                </c:pt>
                <c:pt idx="245">
                  <c:v>43959</c:v>
                </c:pt>
                <c:pt idx="246">
                  <c:v>43962</c:v>
                </c:pt>
                <c:pt idx="247">
                  <c:v>43963</c:v>
                </c:pt>
                <c:pt idx="248">
                  <c:v>43964</c:v>
                </c:pt>
                <c:pt idx="249">
                  <c:v>43965</c:v>
                </c:pt>
                <c:pt idx="250">
                  <c:v>43966</c:v>
                </c:pt>
                <c:pt idx="251">
                  <c:v>43969</c:v>
                </c:pt>
                <c:pt idx="252">
                  <c:v>43970</c:v>
                </c:pt>
                <c:pt idx="253">
                  <c:v>43971</c:v>
                </c:pt>
                <c:pt idx="254">
                  <c:v>43972</c:v>
                </c:pt>
                <c:pt idx="255">
                  <c:v>43973</c:v>
                </c:pt>
                <c:pt idx="256">
                  <c:v>43976</c:v>
                </c:pt>
                <c:pt idx="257">
                  <c:v>43977</c:v>
                </c:pt>
                <c:pt idx="258">
                  <c:v>43978</c:v>
                </c:pt>
                <c:pt idx="259">
                  <c:v>43979</c:v>
                </c:pt>
                <c:pt idx="260">
                  <c:v>43980</c:v>
                </c:pt>
                <c:pt idx="261">
                  <c:v>43983</c:v>
                </c:pt>
                <c:pt idx="262">
                  <c:v>43984</c:v>
                </c:pt>
                <c:pt idx="263">
                  <c:v>43985</c:v>
                </c:pt>
                <c:pt idx="264">
                  <c:v>43986</c:v>
                </c:pt>
                <c:pt idx="265">
                  <c:v>43987</c:v>
                </c:pt>
                <c:pt idx="266">
                  <c:v>43990</c:v>
                </c:pt>
                <c:pt idx="267">
                  <c:v>43991</c:v>
                </c:pt>
                <c:pt idx="268">
                  <c:v>43992</c:v>
                </c:pt>
                <c:pt idx="269">
                  <c:v>43993</c:v>
                </c:pt>
                <c:pt idx="270">
                  <c:v>43994</c:v>
                </c:pt>
                <c:pt idx="271">
                  <c:v>43997</c:v>
                </c:pt>
                <c:pt idx="272">
                  <c:v>43998</c:v>
                </c:pt>
                <c:pt idx="273">
                  <c:v>43999</c:v>
                </c:pt>
                <c:pt idx="274">
                  <c:v>44000</c:v>
                </c:pt>
                <c:pt idx="275">
                  <c:v>44001</c:v>
                </c:pt>
                <c:pt idx="276">
                  <c:v>44004</c:v>
                </c:pt>
                <c:pt idx="277">
                  <c:v>44005</c:v>
                </c:pt>
                <c:pt idx="278">
                  <c:v>44006</c:v>
                </c:pt>
                <c:pt idx="279">
                  <c:v>44007</c:v>
                </c:pt>
                <c:pt idx="280">
                  <c:v>44008</c:v>
                </c:pt>
                <c:pt idx="281">
                  <c:v>44011</c:v>
                </c:pt>
                <c:pt idx="282">
                  <c:v>44012</c:v>
                </c:pt>
                <c:pt idx="283">
                  <c:v>44013</c:v>
                </c:pt>
                <c:pt idx="284">
                  <c:v>44014</c:v>
                </c:pt>
                <c:pt idx="285">
                  <c:v>44015</c:v>
                </c:pt>
                <c:pt idx="286">
                  <c:v>44018</c:v>
                </c:pt>
                <c:pt idx="287">
                  <c:v>44019</c:v>
                </c:pt>
                <c:pt idx="288">
                  <c:v>44020</c:v>
                </c:pt>
                <c:pt idx="289">
                  <c:v>44021</c:v>
                </c:pt>
                <c:pt idx="290">
                  <c:v>44022</c:v>
                </c:pt>
                <c:pt idx="291">
                  <c:v>44025</c:v>
                </c:pt>
                <c:pt idx="292">
                  <c:v>44026</c:v>
                </c:pt>
                <c:pt idx="293">
                  <c:v>44027</c:v>
                </c:pt>
                <c:pt idx="294">
                  <c:v>44028</c:v>
                </c:pt>
                <c:pt idx="295">
                  <c:v>44029</c:v>
                </c:pt>
                <c:pt idx="296">
                  <c:v>44032</c:v>
                </c:pt>
                <c:pt idx="297">
                  <c:v>44033</c:v>
                </c:pt>
                <c:pt idx="298">
                  <c:v>44034</c:v>
                </c:pt>
                <c:pt idx="299">
                  <c:v>44035</c:v>
                </c:pt>
                <c:pt idx="300">
                  <c:v>44036</c:v>
                </c:pt>
                <c:pt idx="301">
                  <c:v>44039</c:v>
                </c:pt>
                <c:pt idx="302">
                  <c:v>44040</c:v>
                </c:pt>
                <c:pt idx="303">
                  <c:v>44041</c:v>
                </c:pt>
                <c:pt idx="304">
                  <c:v>44042</c:v>
                </c:pt>
                <c:pt idx="305">
                  <c:v>44043</c:v>
                </c:pt>
                <c:pt idx="306">
                  <c:v>44046</c:v>
                </c:pt>
                <c:pt idx="307">
                  <c:v>44047</c:v>
                </c:pt>
                <c:pt idx="308">
                  <c:v>44048</c:v>
                </c:pt>
                <c:pt idx="309">
                  <c:v>44049</c:v>
                </c:pt>
                <c:pt idx="310">
                  <c:v>44050</c:v>
                </c:pt>
                <c:pt idx="311">
                  <c:v>44053</c:v>
                </c:pt>
                <c:pt idx="312">
                  <c:v>44054</c:v>
                </c:pt>
                <c:pt idx="313">
                  <c:v>44055</c:v>
                </c:pt>
                <c:pt idx="314">
                  <c:v>44056</c:v>
                </c:pt>
                <c:pt idx="315">
                  <c:v>44057</c:v>
                </c:pt>
                <c:pt idx="316">
                  <c:v>44060</c:v>
                </c:pt>
                <c:pt idx="317">
                  <c:v>44061</c:v>
                </c:pt>
                <c:pt idx="318">
                  <c:v>44062</c:v>
                </c:pt>
                <c:pt idx="319">
                  <c:v>44063</c:v>
                </c:pt>
                <c:pt idx="320">
                  <c:v>44064</c:v>
                </c:pt>
                <c:pt idx="321">
                  <c:v>44067</c:v>
                </c:pt>
                <c:pt idx="322">
                  <c:v>44068</c:v>
                </c:pt>
                <c:pt idx="323">
                  <c:v>44069</c:v>
                </c:pt>
                <c:pt idx="324">
                  <c:v>44070</c:v>
                </c:pt>
                <c:pt idx="325">
                  <c:v>44071</c:v>
                </c:pt>
                <c:pt idx="326">
                  <c:v>44074</c:v>
                </c:pt>
                <c:pt idx="327">
                  <c:v>44075</c:v>
                </c:pt>
                <c:pt idx="328">
                  <c:v>44076</c:v>
                </c:pt>
                <c:pt idx="329">
                  <c:v>44077</c:v>
                </c:pt>
                <c:pt idx="330">
                  <c:v>44078</c:v>
                </c:pt>
                <c:pt idx="331">
                  <c:v>44081</c:v>
                </c:pt>
                <c:pt idx="332">
                  <c:v>44082</c:v>
                </c:pt>
                <c:pt idx="333">
                  <c:v>44083</c:v>
                </c:pt>
                <c:pt idx="334">
                  <c:v>44084</c:v>
                </c:pt>
                <c:pt idx="335">
                  <c:v>44085</c:v>
                </c:pt>
                <c:pt idx="336">
                  <c:v>44088</c:v>
                </c:pt>
                <c:pt idx="337">
                  <c:v>44089</c:v>
                </c:pt>
                <c:pt idx="338">
                  <c:v>44090</c:v>
                </c:pt>
                <c:pt idx="339">
                  <c:v>44091</c:v>
                </c:pt>
                <c:pt idx="340">
                  <c:v>44092</c:v>
                </c:pt>
                <c:pt idx="341">
                  <c:v>44095</c:v>
                </c:pt>
                <c:pt idx="342">
                  <c:v>44096</c:v>
                </c:pt>
                <c:pt idx="343">
                  <c:v>44097</c:v>
                </c:pt>
                <c:pt idx="344">
                  <c:v>44098</c:v>
                </c:pt>
                <c:pt idx="345">
                  <c:v>44099</c:v>
                </c:pt>
                <c:pt idx="346">
                  <c:v>44102</c:v>
                </c:pt>
                <c:pt idx="347">
                  <c:v>44103</c:v>
                </c:pt>
                <c:pt idx="348">
                  <c:v>44104</c:v>
                </c:pt>
                <c:pt idx="349">
                  <c:v>44105</c:v>
                </c:pt>
                <c:pt idx="350">
                  <c:v>44106</c:v>
                </c:pt>
                <c:pt idx="351">
                  <c:v>44109</c:v>
                </c:pt>
                <c:pt idx="352">
                  <c:v>44110</c:v>
                </c:pt>
                <c:pt idx="353">
                  <c:v>44111</c:v>
                </c:pt>
                <c:pt idx="354">
                  <c:v>44112</c:v>
                </c:pt>
                <c:pt idx="355">
                  <c:v>44113</c:v>
                </c:pt>
                <c:pt idx="356">
                  <c:v>44116</c:v>
                </c:pt>
                <c:pt idx="357">
                  <c:v>44117</c:v>
                </c:pt>
                <c:pt idx="358">
                  <c:v>44118</c:v>
                </c:pt>
                <c:pt idx="359">
                  <c:v>44119</c:v>
                </c:pt>
                <c:pt idx="360">
                  <c:v>44120</c:v>
                </c:pt>
                <c:pt idx="361">
                  <c:v>44123</c:v>
                </c:pt>
                <c:pt idx="362">
                  <c:v>44124</c:v>
                </c:pt>
                <c:pt idx="363">
                  <c:v>44125</c:v>
                </c:pt>
                <c:pt idx="364">
                  <c:v>44126</c:v>
                </c:pt>
                <c:pt idx="365">
                  <c:v>44127</c:v>
                </c:pt>
                <c:pt idx="366">
                  <c:v>44130</c:v>
                </c:pt>
                <c:pt idx="367">
                  <c:v>44131</c:v>
                </c:pt>
                <c:pt idx="368">
                  <c:v>44132</c:v>
                </c:pt>
                <c:pt idx="369">
                  <c:v>44133</c:v>
                </c:pt>
                <c:pt idx="370">
                  <c:v>44134</c:v>
                </c:pt>
                <c:pt idx="371">
                  <c:v>44137</c:v>
                </c:pt>
                <c:pt idx="372">
                  <c:v>44138</c:v>
                </c:pt>
                <c:pt idx="373">
                  <c:v>44139</c:v>
                </c:pt>
                <c:pt idx="374">
                  <c:v>44140</c:v>
                </c:pt>
                <c:pt idx="375">
                  <c:v>44141</c:v>
                </c:pt>
                <c:pt idx="376">
                  <c:v>44144</c:v>
                </c:pt>
                <c:pt idx="377">
                  <c:v>44145</c:v>
                </c:pt>
                <c:pt idx="378">
                  <c:v>44146</c:v>
                </c:pt>
                <c:pt idx="379">
                  <c:v>44147</c:v>
                </c:pt>
                <c:pt idx="380">
                  <c:v>44148</c:v>
                </c:pt>
                <c:pt idx="381">
                  <c:v>44151</c:v>
                </c:pt>
                <c:pt idx="382">
                  <c:v>44152</c:v>
                </c:pt>
                <c:pt idx="383">
                  <c:v>44153</c:v>
                </c:pt>
                <c:pt idx="384">
                  <c:v>44154</c:v>
                </c:pt>
                <c:pt idx="385">
                  <c:v>44155</c:v>
                </c:pt>
                <c:pt idx="386">
                  <c:v>44158</c:v>
                </c:pt>
                <c:pt idx="387">
                  <c:v>44159</c:v>
                </c:pt>
                <c:pt idx="388">
                  <c:v>44160</c:v>
                </c:pt>
                <c:pt idx="389">
                  <c:v>44161</c:v>
                </c:pt>
                <c:pt idx="390">
                  <c:v>44162</c:v>
                </c:pt>
                <c:pt idx="391">
                  <c:v>44165</c:v>
                </c:pt>
                <c:pt idx="392">
                  <c:v>44166</c:v>
                </c:pt>
                <c:pt idx="393">
                  <c:v>44167</c:v>
                </c:pt>
                <c:pt idx="394">
                  <c:v>44168</c:v>
                </c:pt>
                <c:pt idx="395">
                  <c:v>44169</c:v>
                </c:pt>
                <c:pt idx="396">
                  <c:v>44172</c:v>
                </c:pt>
                <c:pt idx="397">
                  <c:v>44173</c:v>
                </c:pt>
                <c:pt idx="398">
                  <c:v>44174</c:v>
                </c:pt>
                <c:pt idx="399">
                  <c:v>44175</c:v>
                </c:pt>
                <c:pt idx="400">
                  <c:v>44176</c:v>
                </c:pt>
                <c:pt idx="401">
                  <c:v>44179</c:v>
                </c:pt>
                <c:pt idx="402">
                  <c:v>44180</c:v>
                </c:pt>
                <c:pt idx="403">
                  <c:v>44181</c:v>
                </c:pt>
                <c:pt idx="404">
                  <c:v>44182</c:v>
                </c:pt>
                <c:pt idx="405">
                  <c:v>44183</c:v>
                </c:pt>
                <c:pt idx="406">
                  <c:v>44186</c:v>
                </c:pt>
                <c:pt idx="407">
                  <c:v>44187</c:v>
                </c:pt>
                <c:pt idx="408">
                  <c:v>44188</c:v>
                </c:pt>
                <c:pt idx="409">
                  <c:v>44189</c:v>
                </c:pt>
                <c:pt idx="410">
                  <c:v>44190</c:v>
                </c:pt>
                <c:pt idx="411">
                  <c:v>44193</c:v>
                </c:pt>
                <c:pt idx="412">
                  <c:v>44194</c:v>
                </c:pt>
                <c:pt idx="413">
                  <c:v>44195</c:v>
                </c:pt>
                <c:pt idx="414">
                  <c:v>44196</c:v>
                </c:pt>
                <c:pt idx="415">
                  <c:v>44197</c:v>
                </c:pt>
                <c:pt idx="416">
                  <c:v>44200</c:v>
                </c:pt>
                <c:pt idx="417">
                  <c:v>44201</c:v>
                </c:pt>
                <c:pt idx="418">
                  <c:v>44202</c:v>
                </c:pt>
                <c:pt idx="419">
                  <c:v>44203</c:v>
                </c:pt>
                <c:pt idx="420">
                  <c:v>44204</c:v>
                </c:pt>
                <c:pt idx="421">
                  <c:v>44207</c:v>
                </c:pt>
                <c:pt idx="422">
                  <c:v>44208</c:v>
                </c:pt>
                <c:pt idx="423">
                  <c:v>44209</c:v>
                </c:pt>
                <c:pt idx="424">
                  <c:v>44210</c:v>
                </c:pt>
                <c:pt idx="425">
                  <c:v>44211</c:v>
                </c:pt>
                <c:pt idx="426">
                  <c:v>44214</c:v>
                </c:pt>
                <c:pt idx="427">
                  <c:v>44215</c:v>
                </c:pt>
                <c:pt idx="428">
                  <c:v>44216</c:v>
                </c:pt>
                <c:pt idx="429">
                  <c:v>44217</c:v>
                </c:pt>
                <c:pt idx="430">
                  <c:v>44218</c:v>
                </c:pt>
                <c:pt idx="431">
                  <c:v>44221</c:v>
                </c:pt>
                <c:pt idx="432">
                  <c:v>44222</c:v>
                </c:pt>
                <c:pt idx="433">
                  <c:v>44223</c:v>
                </c:pt>
                <c:pt idx="434">
                  <c:v>44224</c:v>
                </c:pt>
                <c:pt idx="435">
                  <c:v>44225</c:v>
                </c:pt>
                <c:pt idx="436">
                  <c:v>44228</c:v>
                </c:pt>
                <c:pt idx="437">
                  <c:v>44229</c:v>
                </c:pt>
                <c:pt idx="438">
                  <c:v>44230</c:v>
                </c:pt>
                <c:pt idx="439">
                  <c:v>44231</c:v>
                </c:pt>
                <c:pt idx="440">
                  <c:v>44232</c:v>
                </c:pt>
                <c:pt idx="441">
                  <c:v>44235</c:v>
                </c:pt>
                <c:pt idx="442">
                  <c:v>44236</c:v>
                </c:pt>
                <c:pt idx="443">
                  <c:v>44237</c:v>
                </c:pt>
                <c:pt idx="444">
                  <c:v>44238</c:v>
                </c:pt>
                <c:pt idx="445">
                  <c:v>44239</c:v>
                </c:pt>
                <c:pt idx="446">
                  <c:v>44242</c:v>
                </c:pt>
                <c:pt idx="447">
                  <c:v>44243</c:v>
                </c:pt>
                <c:pt idx="448">
                  <c:v>44244</c:v>
                </c:pt>
                <c:pt idx="449">
                  <c:v>44245</c:v>
                </c:pt>
                <c:pt idx="450">
                  <c:v>44246</c:v>
                </c:pt>
                <c:pt idx="451">
                  <c:v>44249</c:v>
                </c:pt>
                <c:pt idx="452">
                  <c:v>44250</c:v>
                </c:pt>
                <c:pt idx="453">
                  <c:v>44251</c:v>
                </c:pt>
                <c:pt idx="454">
                  <c:v>44252</c:v>
                </c:pt>
                <c:pt idx="455">
                  <c:v>44253</c:v>
                </c:pt>
                <c:pt idx="456">
                  <c:v>44256</c:v>
                </c:pt>
                <c:pt idx="457">
                  <c:v>44257</c:v>
                </c:pt>
                <c:pt idx="458">
                  <c:v>44258</c:v>
                </c:pt>
                <c:pt idx="459">
                  <c:v>44259</c:v>
                </c:pt>
                <c:pt idx="460">
                  <c:v>44260</c:v>
                </c:pt>
                <c:pt idx="461">
                  <c:v>44263</c:v>
                </c:pt>
                <c:pt idx="462">
                  <c:v>44264</c:v>
                </c:pt>
                <c:pt idx="463">
                  <c:v>44265</c:v>
                </c:pt>
                <c:pt idx="464">
                  <c:v>44266</c:v>
                </c:pt>
                <c:pt idx="465">
                  <c:v>44267</c:v>
                </c:pt>
                <c:pt idx="466">
                  <c:v>44270</c:v>
                </c:pt>
                <c:pt idx="467">
                  <c:v>44271</c:v>
                </c:pt>
                <c:pt idx="468">
                  <c:v>44272</c:v>
                </c:pt>
                <c:pt idx="469">
                  <c:v>44273</c:v>
                </c:pt>
                <c:pt idx="470">
                  <c:v>44274</c:v>
                </c:pt>
                <c:pt idx="471">
                  <c:v>44277</c:v>
                </c:pt>
                <c:pt idx="472">
                  <c:v>44278</c:v>
                </c:pt>
                <c:pt idx="473">
                  <c:v>44279</c:v>
                </c:pt>
                <c:pt idx="474">
                  <c:v>44280</c:v>
                </c:pt>
                <c:pt idx="475">
                  <c:v>44281</c:v>
                </c:pt>
                <c:pt idx="476">
                  <c:v>44284</c:v>
                </c:pt>
                <c:pt idx="477">
                  <c:v>44285</c:v>
                </c:pt>
                <c:pt idx="478">
                  <c:v>44286</c:v>
                </c:pt>
                <c:pt idx="479">
                  <c:v>44287</c:v>
                </c:pt>
                <c:pt idx="480">
                  <c:v>44288</c:v>
                </c:pt>
                <c:pt idx="481">
                  <c:v>44291</c:v>
                </c:pt>
                <c:pt idx="482">
                  <c:v>44292</c:v>
                </c:pt>
                <c:pt idx="483">
                  <c:v>44293</c:v>
                </c:pt>
                <c:pt idx="484">
                  <c:v>44294</c:v>
                </c:pt>
                <c:pt idx="485">
                  <c:v>44295</c:v>
                </c:pt>
                <c:pt idx="486">
                  <c:v>44298</c:v>
                </c:pt>
                <c:pt idx="487">
                  <c:v>44299</c:v>
                </c:pt>
                <c:pt idx="488">
                  <c:v>44300</c:v>
                </c:pt>
                <c:pt idx="489">
                  <c:v>44301</c:v>
                </c:pt>
                <c:pt idx="490">
                  <c:v>44302</c:v>
                </c:pt>
                <c:pt idx="491">
                  <c:v>44305</c:v>
                </c:pt>
                <c:pt idx="492">
                  <c:v>44306</c:v>
                </c:pt>
                <c:pt idx="493">
                  <c:v>44307</c:v>
                </c:pt>
                <c:pt idx="494">
                  <c:v>44308</c:v>
                </c:pt>
                <c:pt idx="495">
                  <c:v>44309</c:v>
                </c:pt>
                <c:pt idx="496">
                  <c:v>44312</c:v>
                </c:pt>
                <c:pt idx="497">
                  <c:v>44313</c:v>
                </c:pt>
                <c:pt idx="498">
                  <c:v>44314</c:v>
                </c:pt>
                <c:pt idx="499">
                  <c:v>44315</c:v>
                </c:pt>
                <c:pt idx="500">
                  <c:v>44316</c:v>
                </c:pt>
                <c:pt idx="501">
                  <c:v>44319</c:v>
                </c:pt>
                <c:pt idx="502">
                  <c:v>44320</c:v>
                </c:pt>
                <c:pt idx="503">
                  <c:v>44321</c:v>
                </c:pt>
                <c:pt idx="504">
                  <c:v>44322</c:v>
                </c:pt>
                <c:pt idx="505">
                  <c:v>44323</c:v>
                </c:pt>
                <c:pt idx="506">
                  <c:v>44326</c:v>
                </c:pt>
                <c:pt idx="507">
                  <c:v>44327</c:v>
                </c:pt>
                <c:pt idx="508">
                  <c:v>44328</c:v>
                </c:pt>
                <c:pt idx="509">
                  <c:v>44329</c:v>
                </c:pt>
                <c:pt idx="510">
                  <c:v>44330</c:v>
                </c:pt>
                <c:pt idx="511">
                  <c:v>44333</c:v>
                </c:pt>
                <c:pt idx="512">
                  <c:v>44334</c:v>
                </c:pt>
                <c:pt idx="513">
                  <c:v>44335</c:v>
                </c:pt>
                <c:pt idx="514">
                  <c:v>44336</c:v>
                </c:pt>
                <c:pt idx="515">
                  <c:v>44337</c:v>
                </c:pt>
                <c:pt idx="516">
                  <c:v>44340</c:v>
                </c:pt>
                <c:pt idx="517">
                  <c:v>44341</c:v>
                </c:pt>
                <c:pt idx="518">
                  <c:v>44342</c:v>
                </c:pt>
                <c:pt idx="519">
                  <c:v>44343</c:v>
                </c:pt>
                <c:pt idx="520">
                  <c:v>44344</c:v>
                </c:pt>
                <c:pt idx="521">
                  <c:v>44347</c:v>
                </c:pt>
                <c:pt idx="522">
                  <c:v>44348</c:v>
                </c:pt>
                <c:pt idx="523">
                  <c:v>44349</c:v>
                </c:pt>
                <c:pt idx="524">
                  <c:v>44350</c:v>
                </c:pt>
                <c:pt idx="525">
                  <c:v>44351</c:v>
                </c:pt>
                <c:pt idx="526">
                  <c:v>44354</c:v>
                </c:pt>
                <c:pt idx="527">
                  <c:v>44355</c:v>
                </c:pt>
                <c:pt idx="528">
                  <c:v>44356</c:v>
                </c:pt>
                <c:pt idx="529">
                  <c:v>44357</c:v>
                </c:pt>
                <c:pt idx="530">
                  <c:v>44358</c:v>
                </c:pt>
                <c:pt idx="531">
                  <c:v>44361</c:v>
                </c:pt>
                <c:pt idx="532">
                  <c:v>44362</c:v>
                </c:pt>
                <c:pt idx="533">
                  <c:v>44363</c:v>
                </c:pt>
                <c:pt idx="534">
                  <c:v>44364</c:v>
                </c:pt>
                <c:pt idx="535">
                  <c:v>44365</c:v>
                </c:pt>
                <c:pt idx="536">
                  <c:v>44368</c:v>
                </c:pt>
                <c:pt idx="537">
                  <c:v>44369</c:v>
                </c:pt>
                <c:pt idx="538">
                  <c:v>44370</c:v>
                </c:pt>
                <c:pt idx="539">
                  <c:v>44371</c:v>
                </c:pt>
                <c:pt idx="540">
                  <c:v>44372</c:v>
                </c:pt>
                <c:pt idx="541">
                  <c:v>44375</c:v>
                </c:pt>
                <c:pt idx="542">
                  <c:v>44376</c:v>
                </c:pt>
                <c:pt idx="543">
                  <c:v>44377</c:v>
                </c:pt>
                <c:pt idx="544">
                  <c:v>44378</c:v>
                </c:pt>
                <c:pt idx="545">
                  <c:v>44379</c:v>
                </c:pt>
                <c:pt idx="546">
                  <c:v>44382</c:v>
                </c:pt>
                <c:pt idx="547">
                  <c:v>44383</c:v>
                </c:pt>
                <c:pt idx="548">
                  <c:v>44384</c:v>
                </c:pt>
                <c:pt idx="549">
                  <c:v>44385</c:v>
                </c:pt>
                <c:pt idx="550">
                  <c:v>44386</c:v>
                </c:pt>
                <c:pt idx="551">
                  <c:v>44389</c:v>
                </c:pt>
                <c:pt idx="552">
                  <c:v>44390</c:v>
                </c:pt>
                <c:pt idx="553">
                  <c:v>44391</c:v>
                </c:pt>
                <c:pt idx="554">
                  <c:v>44392</c:v>
                </c:pt>
                <c:pt idx="555">
                  <c:v>44393</c:v>
                </c:pt>
                <c:pt idx="556">
                  <c:v>44396</c:v>
                </c:pt>
                <c:pt idx="557">
                  <c:v>44397</c:v>
                </c:pt>
                <c:pt idx="558">
                  <c:v>44398</c:v>
                </c:pt>
                <c:pt idx="559">
                  <c:v>44399</c:v>
                </c:pt>
                <c:pt idx="560">
                  <c:v>44400</c:v>
                </c:pt>
                <c:pt idx="561">
                  <c:v>44403</c:v>
                </c:pt>
                <c:pt idx="562">
                  <c:v>44404</c:v>
                </c:pt>
                <c:pt idx="563">
                  <c:v>44405</c:v>
                </c:pt>
                <c:pt idx="564">
                  <c:v>44406</c:v>
                </c:pt>
                <c:pt idx="565">
                  <c:v>44407</c:v>
                </c:pt>
                <c:pt idx="566">
                  <c:v>44410</c:v>
                </c:pt>
                <c:pt idx="567">
                  <c:v>44411</c:v>
                </c:pt>
                <c:pt idx="568">
                  <c:v>44412</c:v>
                </c:pt>
                <c:pt idx="569">
                  <c:v>44413</c:v>
                </c:pt>
                <c:pt idx="570">
                  <c:v>44414</c:v>
                </c:pt>
                <c:pt idx="571">
                  <c:v>44417</c:v>
                </c:pt>
                <c:pt idx="572">
                  <c:v>44418</c:v>
                </c:pt>
                <c:pt idx="573">
                  <c:v>44419</c:v>
                </c:pt>
                <c:pt idx="574">
                  <c:v>44420</c:v>
                </c:pt>
                <c:pt idx="575">
                  <c:v>44421</c:v>
                </c:pt>
                <c:pt idx="576">
                  <c:v>44424</c:v>
                </c:pt>
                <c:pt idx="577">
                  <c:v>44425</c:v>
                </c:pt>
                <c:pt idx="578">
                  <c:v>44426</c:v>
                </c:pt>
                <c:pt idx="579">
                  <c:v>44427</c:v>
                </c:pt>
                <c:pt idx="580">
                  <c:v>44428</c:v>
                </c:pt>
                <c:pt idx="581">
                  <c:v>44431</c:v>
                </c:pt>
                <c:pt idx="582">
                  <c:v>44432</c:v>
                </c:pt>
                <c:pt idx="583">
                  <c:v>44433</c:v>
                </c:pt>
                <c:pt idx="584">
                  <c:v>44434</c:v>
                </c:pt>
                <c:pt idx="585">
                  <c:v>44435</c:v>
                </c:pt>
                <c:pt idx="586">
                  <c:v>44438</c:v>
                </c:pt>
                <c:pt idx="587">
                  <c:v>44439</c:v>
                </c:pt>
                <c:pt idx="588">
                  <c:v>44440</c:v>
                </c:pt>
                <c:pt idx="589">
                  <c:v>44441</c:v>
                </c:pt>
                <c:pt idx="590">
                  <c:v>44442</c:v>
                </c:pt>
                <c:pt idx="591">
                  <c:v>44445</c:v>
                </c:pt>
                <c:pt idx="592">
                  <c:v>44446</c:v>
                </c:pt>
                <c:pt idx="593">
                  <c:v>44447</c:v>
                </c:pt>
                <c:pt idx="594">
                  <c:v>44448</c:v>
                </c:pt>
                <c:pt idx="595">
                  <c:v>44449</c:v>
                </c:pt>
                <c:pt idx="596">
                  <c:v>44452</c:v>
                </c:pt>
                <c:pt idx="597">
                  <c:v>44453</c:v>
                </c:pt>
                <c:pt idx="598">
                  <c:v>44454</c:v>
                </c:pt>
                <c:pt idx="599">
                  <c:v>44455</c:v>
                </c:pt>
                <c:pt idx="600">
                  <c:v>44456</c:v>
                </c:pt>
                <c:pt idx="601">
                  <c:v>44459</c:v>
                </c:pt>
                <c:pt idx="602">
                  <c:v>44460</c:v>
                </c:pt>
                <c:pt idx="603">
                  <c:v>44461</c:v>
                </c:pt>
                <c:pt idx="604">
                  <c:v>44462</c:v>
                </c:pt>
                <c:pt idx="605">
                  <c:v>44463</c:v>
                </c:pt>
                <c:pt idx="606">
                  <c:v>44466</c:v>
                </c:pt>
                <c:pt idx="607">
                  <c:v>44467</c:v>
                </c:pt>
                <c:pt idx="608">
                  <c:v>44468</c:v>
                </c:pt>
                <c:pt idx="609">
                  <c:v>44469</c:v>
                </c:pt>
                <c:pt idx="610">
                  <c:v>44470</c:v>
                </c:pt>
                <c:pt idx="611">
                  <c:v>44473</c:v>
                </c:pt>
                <c:pt idx="612">
                  <c:v>44474</c:v>
                </c:pt>
                <c:pt idx="613">
                  <c:v>44475</c:v>
                </c:pt>
                <c:pt idx="614">
                  <c:v>44476</c:v>
                </c:pt>
                <c:pt idx="615">
                  <c:v>44477</c:v>
                </c:pt>
                <c:pt idx="616">
                  <c:v>44480</c:v>
                </c:pt>
                <c:pt idx="617">
                  <c:v>44481</c:v>
                </c:pt>
                <c:pt idx="618">
                  <c:v>44482</c:v>
                </c:pt>
                <c:pt idx="619">
                  <c:v>44483</c:v>
                </c:pt>
                <c:pt idx="620">
                  <c:v>44484</c:v>
                </c:pt>
                <c:pt idx="621">
                  <c:v>44487</c:v>
                </c:pt>
                <c:pt idx="622">
                  <c:v>44488</c:v>
                </c:pt>
                <c:pt idx="623">
                  <c:v>44489</c:v>
                </c:pt>
                <c:pt idx="624">
                  <c:v>44490</c:v>
                </c:pt>
                <c:pt idx="625">
                  <c:v>44491</c:v>
                </c:pt>
                <c:pt idx="626">
                  <c:v>44494</c:v>
                </c:pt>
                <c:pt idx="627">
                  <c:v>44495</c:v>
                </c:pt>
                <c:pt idx="628">
                  <c:v>44496</c:v>
                </c:pt>
                <c:pt idx="629">
                  <c:v>44497</c:v>
                </c:pt>
                <c:pt idx="630">
                  <c:v>44498</c:v>
                </c:pt>
                <c:pt idx="631">
                  <c:v>44501</c:v>
                </c:pt>
                <c:pt idx="632">
                  <c:v>44502</c:v>
                </c:pt>
                <c:pt idx="633">
                  <c:v>44503</c:v>
                </c:pt>
                <c:pt idx="634">
                  <c:v>44504</c:v>
                </c:pt>
                <c:pt idx="635">
                  <c:v>44505</c:v>
                </c:pt>
                <c:pt idx="636">
                  <c:v>44508</c:v>
                </c:pt>
                <c:pt idx="637">
                  <c:v>44509</c:v>
                </c:pt>
                <c:pt idx="638">
                  <c:v>44510</c:v>
                </c:pt>
                <c:pt idx="639">
                  <c:v>44511</c:v>
                </c:pt>
                <c:pt idx="640">
                  <c:v>44512</c:v>
                </c:pt>
                <c:pt idx="641">
                  <c:v>44515</c:v>
                </c:pt>
                <c:pt idx="642">
                  <c:v>44516</c:v>
                </c:pt>
                <c:pt idx="643">
                  <c:v>44517</c:v>
                </c:pt>
                <c:pt idx="644">
                  <c:v>44518</c:v>
                </c:pt>
                <c:pt idx="645">
                  <c:v>44519</c:v>
                </c:pt>
                <c:pt idx="646">
                  <c:v>44522</c:v>
                </c:pt>
                <c:pt idx="647">
                  <c:v>44523</c:v>
                </c:pt>
                <c:pt idx="648">
                  <c:v>44524</c:v>
                </c:pt>
                <c:pt idx="649">
                  <c:v>44525</c:v>
                </c:pt>
                <c:pt idx="650">
                  <c:v>44526</c:v>
                </c:pt>
                <c:pt idx="651">
                  <c:v>44529</c:v>
                </c:pt>
                <c:pt idx="652">
                  <c:v>44530</c:v>
                </c:pt>
                <c:pt idx="653">
                  <c:v>44531</c:v>
                </c:pt>
                <c:pt idx="654">
                  <c:v>44532</c:v>
                </c:pt>
                <c:pt idx="655">
                  <c:v>44533</c:v>
                </c:pt>
                <c:pt idx="656">
                  <c:v>44536</c:v>
                </c:pt>
                <c:pt idx="657">
                  <c:v>44537</c:v>
                </c:pt>
                <c:pt idx="658">
                  <c:v>44538</c:v>
                </c:pt>
                <c:pt idx="659">
                  <c:v>44539</c:v>
                </c:pt>
                <c:pt idx="660">
                  <c:v>44540</c:v>
                </c:pt>
                <c:pt idx="661">
                  <c:v>44543</c:v>
                </c:pt>
                <c:pt idx="662">
                  <c:v>44544</c:v>
                </c:pt>
                <c:pt idx="663">
                  <c:v>44545</c:v>
                </c:pt>
                <c:pt idx="664">
                  <c:v>44546</c:v>
                </c:pt>
                <c:pt idx="665">
                  <c:v>44547</c:v>
                </c:pt>
                <c:pt idx="666">
                  <c:v>44550</c:v>
                </c:pt>
                <c:pt idx="667">
                  <c:v>44551</c:v>
                </c:pt>
                <c:pt idx="668">
                  <c:v>44552</c:v>
                </c:pt>
                <c:pt idx="669">
                  <c:v>44553</c:v>
                </c:pt>
                <c:pt idx="670">
                  <c:v>44554</c:v>
                </c:pt>
                <c:pt idx="671">
                  <c:v>44557</c:v>
                </c:pt>
                <c:pt idx="672">
                  <c:v>44558</c:v>
                </c:pt>
                <c:pt idx="673">
                  <c:v>44559</c:v>
                </c:pt>
                <c:pt idx="674">
                  <c:v>44560</c:v>
                </c:pt>
                <c:pt idx="675">
                  <c:v>44561</c:v>
                </c:pt>
                <c:pt idx="676">
                  <c:v>44564</c:v>
                </c:pt>
                <c:pt idx="677">
                  <c:v>44565</c:v>
                </c:pt>
                <c:pt idx="678">
                  <c:v>44566</c:v>
                </c:pt>
                <c:pt idx="679">
                  <c:v>44567</c:v>
                </c:pt>
                <c:pt idx="680">
                  <c:v>44568</c:v>
                </c:pt>
                <c:pt idx="681">
                  <c:v>44571</c:v>
                </c:pt>
                <c:pt idx="682">
                  <c:v>44572</c:v>
                </c:pt>
                <c:pt idx="683">
                  <c:v>44573</c:v>
                </c:pt>
                <c:pt idx="684">
                  <c:v>44574</c:v>
                </c:pt>
                <c:pt idx="685">
                  <c:v>44575</c:v>
                </c:pt>
                <c:pt idx="686">
                  <c:v>44578</c:v>
                </c:pt>
                <c:pt idx="687">
                  <c:v>44579</c:v>
                </c:pt>
                <c:pt idx="688">
                  <c:v>44580</c:v>
                </c:pt>
                <c:pt idx="689">
                  <c:v>44581</c:v>
                </c:pt>
                <c:pt idx="690">
                  <c:v>44582</c:v>
                </c:pt>
                <c:pt idx="691">
                  <c:v>44585</c:v>
                </c:pt>
                <c:pt idx="692">
                  <c:v>44586</c:v>
                </c:pt>
                <c:pt idx="693">
                  <c:v>44587</c:v>
                </c:pt>
                <c:pt idx="694">
                  <c:v>44588</c:v>
                </c:pt>
                <c:pt idx="695">
                  <c:v>44589</c:v>
                </c:pt>
                <c:pt idx="696">
                  <c:v>44592</c:v>
                </c:pt>
                <c:pt idx="697">
                  <c:v>44593</c:v>
                </c:pt>
                <c:pt idx="698">
                  <c:v>44594</c:v>
                </c:pt>
                <c:pt idx="699">
                  <c:v>44595</c:v>
                </c:pt>
                <c:pt idx="700">
                  <c:v>44596</c:v>
                </c:pt>
                <c:pt idx="701">
                  <c:v>44599</c:v>
                </c:pt>
                <c:pt idx="702">
                  <c:v>44600</c:v>
                </c:pt>
                <c:pt idx="703">
                  <c:v>44601</c:v>
                </c:pt>
                <c:pt idx="704">
                  <c:v>44602</c:v>
                </c:pt>
                <c:pt idx="705">
                  <c:v>44603</c:v>
                </c:pt>
                <c:pt idx="706">
                  <c:v>44606</c:v>
                </c:pt>
                <c:pt idx="707">
                  <c:v>44607</c:v>
                </c:pt>
                <c:pt idx="708">
                  <c:v>44608</c:v>
                </c:pt>
                <c:pt idx="709">
                  <c:v>44609</c:v>
                </c:pt>
                <c:pt idx="710">
                  <c:v>44610</c:v>
                </c:pt>
                <c:pt idx="711">
                  <c:v>44613</c:v>
                </c:pt>
                <c:pt idx="712">
                  <c:v>44614</c:v>
                </c:pt>
                <c:pt idx="713">
                  <c:v>44615</c:v>
                </c:pt>
                <c:pt idx="714">
                  <c:v>44616</c:v>
                </c:pt>
                <c:pt idx="715">
                  <c:v>44617</c:v>
                </c:pt>
                <c:pt idx="716">
                  <c:v>44620</c:v>
                </c:pt>
                <c:pt idx="717">
                  <c:v>44621</c:v>
                </c:pt>
                <c:pt idx="718">
                  <c:v>44622</c:v>
                </c:pt>
                <c:pt idx="719">
                  <c:v>44623</c:v>
                </c:pt>
                <c:pt idx="720">
                  <c:v>44624</c:v>
                </c:pt>
                <c:pt idx="721">
                  <c:v>44627</c:v>
                </c:pt>
                <c:pt idx="722">
                  <c:v>44628</c:v>
                </c:pt>
                <c:pt idx="723">
                  <c:v>44629</c:v>
                </c:pt>
                <c:pt idx="724">
                  <c:v>44630</c:v>
                </c:pt>
                <c:pt idx="725">
                  <c:v>44631</c:v>
                </c:pt>
                <c:pt idx="726">
                  <c:v>44634</c:v>
                </c:pt>
                <c:pt idx="727">
                  <c:v>44635</c:v>
                </c:pt>
                <c:pt idx="728">
                  <c:v>44636</c:v>
                </c:pt>
                <c:pt idx="729">
                  <c:v>44637</c:v>
                </c:pt>
                <c:pt idx="730">
                  <c:v>44638</c:v>
                </c:pt>
                <c:pt idx="731">
                  <c:v>44641</c:v>
                </c:pt>
                <c:pt idx="732">
                  <c:v>44642</c:v>
                </c:pt>
                <c:pt idx="733">
                  <c:v>44643</c:v>
                </c:pt>
                <c:pt idx="734">
                  <c:v>44644</c:v>
                </c:pt>
                <c:pt idx="735">
                  <c:v>44645</c:v>
                </c:pt>
                <c:pt idx="736">
                  <c:v>44648</c:v>
                </c:pt>
                <c:pt idx="737">
                  <c:v>44649</c:v>
                </c:pt>
                <c:pt idx="738">
                  <c:v>44650</c:v>
                </c:pt>
                <c:pt idx="739">
                  <c:v>44651</c:v>
                </c:pt>
                <c:pt idx="740">
                  <c:v>44652</c:v>
                </c:pt>
                <c:pt idx="741">
                  <c:v>44655</c:v>
                </c:pt>
                <c:pt idx="742">
                  <c:v>44656</c:v>
                </c:pt>
                <c:pt idx="743">
                  <c:v>44657</c:v>
                </c:pt>
                <c:pt idx="744">
                  <c:v>44658</c:v>
                </c:pt>
                <c:pt idx="745">
                  <c:v>44659</c:v>
                </c:pt>
                <c:pt idx="746">
                  <c:v>44662</c:v>
                </c:pt>
                <c:pt idx="747">
                  <c:v>44663</c:v>
                </c:pt>
                <c:pt idx="748">
                  <c:v>44664</c:v>
                </c:pt>
                <c:pt idx="749">
                  <c:v>44665</c:v>
                </c:pt>
                <c:pt idx="750">
                  <c:v>44666</c:v>
                </c:pt>
                <c:pt idx="751">
                  <c:v>44669</c:v>
                </c:pt>
                <c:pt idx="752">
                  <c:v>44670</c:v>
                </c:pt>
                <c:pt idx="753">
                  <c:v>44671</c:v>
                </c:pt>
                <c:pt idx="754">
                  <c:v>44672</c:v>
                </c:pt>
                <c:pt idx="755">
                  <c:v>44673</c:v>
                </c:pt>
                <c:pt idx="756">
                  <c:v>44676</c:v>
                </c:pt>
                <c:pt idx="757">
                  <c:v>44677</c:v>
                </c:pt>
                <c:pt idx="758">
                  <c:v>44678</c:v>
                </c:pt>
                <c:pt idx="759">
                  <c:v>44679</c:v>
                </c:pt>
                <c:pt idx="760">
                  <c:v>44680</c:v>
                </c:pt>
                <c:pt idx="761">
                  <c:v>44683</c:v>
                </c:pt>
                <c:pt idx="762">
                  <c:v>44684</c:v>
                </c:pt>
                <c:pt idx="763">
                  <c:v>44685</c:v>
                </c:pt>
                <c:pt idx="764">
                  <c:v>44686</c:v>
                </c:pt>
                <c:pt idx="765">
                  <c:v>44687</c:v>
                </c:pt>
                <c:pt idx="766">
                  <c:v>44690</c:v>
                </c:pt>
                <c:pt idx="767">
                  <c:v>44691</c:v>
                </c:pt>
                <c:pt idx="768">
                  <c:v>44692</c:v>
                </c:pt>
                <c:pt idx="769">
                  <c:v>44693</c:v>
                </c:pt>
                <c:pt idx="770">
                  <c:v>44694</c:v>
                </c:pt>
                <c:pt idx="771">
                  <c:v>44697</c:v>
                </c:pt>
                <c:pt idx="772">
                  <c:v>44698</c:v>
                </c:pt>
                <c:pt idx="773">
                  <c:v>44699</c:v>
                </c:pt>
                <c:pt idx="774">
                  <c:v>44700</c:v>
                </c:pt>
                <c:pt idx="775">
                  <c:v>44701</c:v>
                </c:pt>
                <c:pt idx="776">
                  <c:v>44704</c:v>
                </c:pt>
                <c:pt idx="777">
                  <c:v>44705</c:v>
                </c:pt>
                <c:pt idx="778">
                  <c:v>44706</c:v>
                </c:pt>
                <c:pt idx="779">
                  <c:v>44707</c:v>
                </c:pt>
                <c:pt idx="780">
                  <c:v>44708</c:v>
                </c:pt>
                <c:pt idx="781">
                  <c:v>44711</c:v>
                </c:pt>
                <c:pt idx="782">
                  <c:v>44712</c:v>
                </c:pt>
                <c:pt idx="783">
                  <c:v>44713</c:v>
                </c:pt>
                <c:pt idx="784">
                  <c:v>44714</c:v>
                </c:pt>
                <c:pt idx="785">
                  <c:v>44715</c:v>
                </c:pt>
                <c:pt idx="786">
                  <c:v>44718</c:v>
                </c:pt>
                <c:pt idx="787">
                  <c:v>44719</c:v>
                </c:pt>
                <c:pt idx="788">
                  <c:v>44720</c:v>
                </c:pt>
                <c:pt idx="789">
                  <c:v>44721</c:v>
                </c:pt>
                <c:pt idx="790">
                  <c:v>44722</c:v>
                </c:pt>
                <c:pt idx="791">
                  <c:v>44725</c:v>
                </c:pt>
                <c:pt idx="792">
                  <c:v>44726</c:v>
                </c:pt>
                <c:pt idx="793">
                  <c:v>44727</c:v>
                </c:pt>
                <c:pt idx="794">
                  <c:v>44728</c:v>
                </c:pt>
                <c:pt idx="795">
                  <c:v>44729</c:v>
                </c:pt>
                <c:pt idx="796">
                  <c:v>44732</c:v>
                </c:pt>
                <c:pt idx="797">
                  <c:v>44733</c:v>
                </c:pt>
                <c:pt idx="798">
                  <c:v>44734</c:v>
                </c:pt>
                <c:pt idx="799">
                  <c:v>44735</c:v>
                </c:pt>
                <c:pt idx="800">
                  <c:v>44736</c:v>
                </c:pt>
                <c:pt idx="801">
                  <c:v>44739</c:v>
                </c:pt>
                <c:pt idx="802">
                  <c:v>44740</c:v>
                </c:pt>
                <c:pt idx="803">
                  <c:v>44741</c:v>
                </c:pt>
                <c:pt idx="804">
                  <c:v>44742</c:v>
                </c:pt>
              </c:numCache>
            </c:numRef>
          </c:cat>
          <c:val>
            <c:numRef>
              <c:f>Sheet1!$F$1796:$F$2600</c:f>
              <c:numCache>
                <c:formatCode>0.0000</c:formatCode>
                <c:ptCount val="805"/>
                <c:pt idx="0">
                  <c:v>0.995</c:v>
                </c:pt>
                <c:pt idx="1">
                  <c:v>0.995</c:v>
                </c:pt>
                <c:pt idx="2">
                  <c:v>0.995</c:v>
                </c:pt>
                <c:pt idx="3">
                  <c:v>0.995</c:v>
                </c:pt>
                <c:pt idx="4">
                  <c:v>0.995</c:v>
                </c:pt>
                <c:pt idx="5">
                  <c:v>0.995</c:v>
                </c:pt>
                <c:pt idx="6">
                  <c:v>0.995</c:v>
                </c:pt>
                <c:pt idx="7">
                  <c:v>0.995</c:v>
                </c:pt>
                <c:pt idx="8">
                  <c:v>0.995</c:v>
                </c:pt>
                <c:pt idx="9">
                  <c:v>0.995</c:v>
                </c:pt>
                <c:pt idx="10">
                  <c:v>0.995</c:v>
                </c:pt>
                <c:pt idx="11">
                  <c:v>0.995</c:v>
                </c:pt>
                <c:pt idx="12">
                  <c:v>0.995</c:v>
                </c:pt>
                <c:pt idx="13">
                  <c:v>0.995</c:v>
                </c:pt>
                <c:pt idx="14">
                  <c:v>0.995</c:v>
                </c:pt>
                <c:pt idx="15">
                  <c:v>0.995</c:v>
                </c:pt>
                <c:pt idx="16">
                  <c:v>0.995</c:v>
                </c:pt>
                <c:pt idx="17">
                  <c:v>0.995</c:v>
                </c:pt>
                <c:pt idx="18">
                  <c:v>0.995</c:v>
                </c:pt>
                <c:pt idx="19">
                  <c:v>0.995</c:v>
                </c:pt>
                <c:pt idx="20">
                  <c:v>0.995</c:v>
                </c:pt>
                <c:pt idx="21">
                  <c:v>0.995</c:v>
                </c:pt>
                <c:pt idx="22">
                  <c:v>0.995</c:v>
                </c:pt>
                <c:pt idx="23">
                  <c:v>0.995</c:v>
                </c:pt>
                <c:pt idx="24">
                  <c:v>0.995</c:v>
                </c:pt>
                <c:pt idx="25">
                  <c:v>0.995</c:v>
                </c:pt>
                <c:pt idx="26">
                  <c:v>0.995</c:v>
                </c:pt>
                <c:pt idx="27">
                  <c:v>0.995</c:v>
                </c:pt>
                <c:pt idx="28">
                  <c:v>0.995</c:v>
                </c:pt>
                <c:pt idx="29">
                  <c:v>0.995</c:v>
                </c:pt>
                <c:pt idx="30">
                  <c:v>0.995</c:v>
                </c:pt>
                <c:pt idx="31">
                  <c:v>0.995</c:v>
                </c:pt>
                <c:pt idx="32">
                  <c:v>0.995</c:v>
                </c:pt>
                <c:pt idx="33">
                  <c:v>0.995</c:v>
                </c:pt>
                <c:pt idx="34">
                  <c:v>0.995</c:v>
                </c:pt>
                <c:pt idx="35">
                  <c:v>0.995</c:v>
                </c:pt>
                <c:pt idx="36">
                  <c:v>0.995</c:v>
                </c:pt>
                <c:pt idx="37">
                  <c:v>0.995</c:v>
                </c:pt>
                <c:pt idx="38">
                  <c:v>0.995</c:v>
                </c:pt>
                <c:pt idx="39">
                  <c:v>0.995</c:v>
                </c:pt>
                <c:pt idx="40">
                  <c:v>0.995</c:v>
                </c:pt>
                <c:pt idx="41">
                  <c:v>0.995</c:v>
                </c:pt>
                <c:pt idx="42">
                  <c:v>0.995</c:v>
                </c:pt>
                <c:pt idx="43">
                  <c:v>0.995</c:v>
                </c:pt>
                <c:pt idx="44">
                  <c:v>0.995</c:v>
                </c:pt>
                <c:pt idx="45">
                  <c:v>0.995</c:v>
                </c:pt>
                <c:pt idx="46">
                  <c:v>0.995</c:v>
                </c:pt>
                <c:pt idx="47">
                  <c:v>0.995</c:v>
                </c:pt>
                <c:pt idx="48">
                  <c:v>0.995</c:v>
                </c:pt>
                <c:pt idx="49">
                  <c:v>0.995</c:v>
                </c:pt>
                <c:pt idx="50">
                  <c:v>0.995</c:v>
                </c:pt>
                <c:pt idx="51">
                  <c:v>0.995</c:v>
                </c:pt>
                <c:pt idx="52">
                  <c:v>0.995</c:v>
                </c:pt>
                <c:pt idx="53">
                  <c:v>0.995</c:v>
                </c:pt>
                <c:pt idx="54">
                  <c:v>0.995</c:v>
                </c:pt>
                <c:pt idx="55">
                  <c:v>0.995</c:v>
                </c:pt>
                <c:pt idx="56">
                  <c:v>0.995</c:v>
                </c:pt>
                <c:pt idx="57">
                  <c:v>0.995</c:v>
                </c:pt>
                <c:pt idx="58">
                  <c:v>0.995</c:v>
                </c:pt>
                <c:pt idx="59">
                  <c:v>0.995</c:v>
                </c:pt>
                <c:pt idx="60">
                  <c:v>0.995</c:v>
                </c:pt>
                <c:pt idx="61">
                  <c:v>0.995</c:v>
                </c:pt>
                <c:pt idx="62">
                  <c:v>0.995</c:v>
                </c:pt>
                <c:pt idx="63">
                  <c:v>0.995</c:v>
                </c:pt>
                <c:pt idx="64">
                  <c:v>0.995</c:v>
                </c:pt>
                <c:pt idx="65">
                  <c:v>0.995</c:v>
                </c:pt>
                <c:pt idx="66">
                  <c:v>0.995</c:v>
                </c:pt>
                <c:pt idx="67">
                  <c:v>0.995</c:v>
                </c:pt>
                <c:pt idx="68">
                  <c:v>0.995</c:v>
                </c:pt>
                <c:pt idx="69">
                  <c:v>0.995</c:v>
                </c:pt>
                <c:pt idx="70">
                  <c:v>0.995</c:v>
                </c:pt>
                <c:pt idx="71">
                  <c:v>0.995</c:v>
                </c:pt>
                <c:pt idx="72">
                  <c:v>0.995</c:v>
                </c:pt>
                <c:pt idx="73">
                  <c:v>0.995</c:v>
                </c:pt>
                <c:pt idx="74">
                  <c:v>0.995</c:v>
                </c:pt>
                <c:pt idx="75">
                  <c:v>0.995</c:v>
                </c:pt>
                <c:pt idx="76">
                  <c:v>0.995</c:v>
                </c:pt>
                <c:pt idx="77">
                  <c:v>0.995</c:v>
                </c:pt>
                <c:pt idx="78">
                  <c:v>0.995</c:v>
                </c:pt>
                <c:pt idx="79">
                  <c:v>0.995</c:v>
                </c:pt>
                <c:pt idx="80">
                  <c:v>0.995</c:v>
                </c:pt>
                <c:pt idx="81">
                  <c:v>0.995</c:v>
                </c:pt>
                <c:pt idx="82">
                  <c:v>0.995</c:v>
                </c:pt>
                <c:pt idx="83">
                  <c:v>0.995</c:v>
                </c:pt>
                <c:pt idx="84">
                  <c:v>0.995</c:v>
                </c:pt>
                <c:pt idx="85">
                  <c:v>0.995</c:v>
                </c:pt>
                <c:pt idx="86">
                  <c:v>0.995</c:v>
                </c:pt>
                <c:pt idx="87">
                  <c:v>0.995</c:v>
                </c:pt>
                <c:pt idx="88">
                  <c:v>0.995</c:v>
                </c:pt>
                <c:pt idx="89">
                  <c:v>0.995</c:v>
                </c:pt>
                <c:pt idx="90">
                  <c:v>0.995</c:v>
                </c:pt>
                <c:pt idx="91">
                  <c:v>0.995</c:v>
                </c:pt>
                <c:pt idx="92">
                  <c:v>0.995</c:v>
                </c:pt>
                <c:pt idx="93">
                  <c:v>0.995</c:v>
                </c:pt>
                <c:pt idx="94">
                  <c:v>0.995</c:v>
                </c:pt>
                <c:pt idx="95">
                  <c:v>0.995</c:v>
                </c:pt>
                <c:pt idx="96">
                  <c:v>0.995</c:v>
                </c:pt>
                <c:pt idx="97">
                  <c:v>0.995</c:v>
                </c:pt>
                <c:pt idx="98">
                  <c:v>0.995</c:v>
                </c:pt>
                <c:pt idx="99">
                  <c:v>0.995</c:v>
                </c:pt>
                <c:pt idx="100">
                  <c:v>0.995</c:v>
                </c:pt>
                <c:pt idx="101">
                  <c:v>0.995</c:v>
                </c:pt>
                <c:pt idx="102">
                  <c:v>0.995</c:v>
                </c:pt>
                <c:pt idx="103">
                  <c:v>0.995</c:v>
                </c:pt>
                <c:pt idx="104">
                  <c:v>0.995</c:v>
                </c:pt>
                <c:pt idx="105">
                  <c:v>0.995</c:v>
                </c:pt>
                <c:pt idx="106">
                  <c:v>0.995</c:v>
                </c:pt>
                <c:pt idx="107">
                  <c:v>0.995</c:v>
                </c:pt>
                <c:pt idx="108">
                  <c:v>0.995</c:v>
                </c:pt>
                <c:pt idx="109">
                  <c:v>0.995</c:v>
                </c:pt>
                <c:pt idx="110">
                  <c:v>0.995</c:v>
                </c:pt>
                <c:pt idx="111">
                  <c:v>0.995</c:v>
                </c:pt>
                <c:pt idx="112">
                  <c:v>0.995</c:v>
                </c:pt>
                <c:pt idx="113">
                  <c:v>0.995</c:v>
                </c:pt>
                <c:pt idx="114">
                  <c:v>0.995</c:v>
                </c:pt>
                <c:pt idx="115">
                  <c:v>0.995</c:v>
                </c:pt>
                <c:pt idx="116">
                  <c:v>0.995</c:v>
                </c:pt>
                <c:pt idx="117">
                  <c:v>0.995</c:v>
                </c:pt>
                <c:pt idx="118">
                  <c:v>0.995</c:v>
                </c:pt>
                <c:pt idx="119">
                  <c:v>0.995</c:v>
                </c:pt>
                <c:pt idx="120">
                  <c:v>0.995</c:v>
                </c:pt>
                <c:pt idx="121">
                  <c:v>0.995</c:v>
                </c:pt>
                <c:pt idx="122">
                  <c:v>0.995</c:v>
                </c:pt>
                <c:pt idx="123">
                  <c:v>0.995</c:v>
                </c:pt>
                <c:pt idx="124">
                  <c:v>0.995</c:v>
                </c:pt>
                <c:pt idx="125">
                  <c:v>0.995</c:v>
                </c:pt>
                <c:pt idx="126">
                  <c:v>0.995</c:v>
                </c:pt>
                <c:pt idx="127">
                  <c:v>0.995</c:v>
                </c:pt>
                <c:pt idx="128">
                  <c:v>0.995</c:v>
                </c:pt>
                <c:pt idx="129">
                  <c:v>0.995</c:v>
                </c:pt>
                <c:pt idx="130">
                  <c:v>0.995</c:v>
                </c:pt>
                <c:pt idx="131">
                  <c:v>0.995</c:v>
                </c:pt>
                <c:pt idx="132">
                  <c:v>0.995</c:v>
                </c:pt>
                <c:pt idx="133">
                  <c:v>0.995</c:v>
                </c:pt>
                <c:pt idx="134">
                  <c:v>0.995</c:v>
                </c:pt>
                <c:pt idx="135">
                  <c:v>0.995</c:v>
                </c:pt>
                <c:pt idx="136">
                  <c:v>0.995</c:v>
                </c:pt>
                <c:pt idx="137">
                  <c:v>0.995</c:v>
                </c:pt>
                <c:pt idx="138">
                  <c:v>0.995</c:v>
                </c:pt>
                <c:pt idx="139">
                  <c:v>0.995</c:v>
                </c:pt>
                <c:pt idx="140">
                  <c:v>0.995</c:v>
                </c:pt>
                <c:pt idx="141">
                  <c:v>0.995</c:v>
                </c:pt>
                <c:pt idx="142">
                  <c:v>0.995</c:v>
                </c:pt>
                <c:pt idx="143">
                  <c:v>0.995</c:v>
                </c:pt>
                <c:pt idx="144">
                  <c:v>0.995</c:v>
                </c:pt>
                <c:pt idx="145">
                  <c:v>0.995</c:v>
                </c:pt>
                <c:pt idx="146">
                  <c:v>0.995</c:v>
                </c:pt>
                <c:pt idx="147">
                  <c:v>0.995</c:v>
                </c:pt>
                <c:pt idx="148">
                  <c:v>0.995</c:v>
                </c:pt>
                <c:pt idx="149">
                  <c:v>0.995</c:v>
                </c:pt>
                <c:pt idx="150">
                  <c:v>0.995</c:v>
                </c:pt>
                <c:pt idx="151">
                  <c:v>0.995</c:v>
                </c:pt>
                <c:pt idx="152">
                  <c:v>0.995</c:v>
                </c:pt>
                <c:pt idx="153">
                  <c:v>0.995</c:v>
                </c:pt>
                <c:pt idx="154">
                  <c:v>0.995</c:v>
                </c:pt>
                <c:pt idx="155">
                  <c:v>0.995</c:v>
                </c:pt>
                <c:pt idx="156">
                  <c:v>0.995</c:v>
                </c:pt>
                <c:pt idx="157">
                  <c:v>0.995</c:v>
                </c:pt>
                <c:pt idx="158">
                  <c:v>0.995</c:v>
                </c:pt>
                <c:pt idx="159">
                  <c:v>0.995</c:v>
                </c:pt>
                <c:pt idx="160">
                  <c:v>0.995</c:v>
                </c:pt>
                <c:pt idx="161">
                  <c:v>0.995</c:v>
                </c:pt>
                <c:pt idx="162">
                  <c:v>0.995</c:v>
                </c:pt>
                <c:pt idx="163">
                  <c:v>0.995</c:v>
                </c:pt>
                <c:pt idx="164">
                  <c:v>0.995</c:v>
                </c:pt>
                <c:pt idx="165">
                  <c:v>0.995</c:v>
                </c:pt>
                <c:pt idx="166">
                  <c:v>0.995</c:v>
                </c:pt>
                <c:pt idx="167">
                  <c:v>0.995</c:v>
                </c:pt>
                <c:pt idx="168">
                  <c:v>0.995</c:v>
                </c:pt>
                <c:pt idx="169">
                  <c:v>0.995</c:v>
                </c:pt>
                <c:pt idx="170">
                  <c:v>0.995</c:v>
                </c:pt>
                <c:pt idx="171">
                  <c:v>0.995</c:v>
                </c:pt>
                <c:pt idx="172">
                  <c:v>0.995</c:v>
                </c:pt>
                <c:pt idx="173">
                  <c:v>0.995</c:v>
                </c:pt>
                <c:pt idx="174">
                  <c:v>0.995</c:v>
                </c:pt>
                <c:pt idx="175">
                  <c:v>0.995</c:v>
                </c:pt>
                <c:pt idx="176">
                  <c:v>0.995</c:v>
                </c:pt>
                <c:pt idx="177">
                  <c:v>0.995</c:v>
                </c:pt>
                <c:pt idx="178">
                  <c:v>0.995</c:v>
                </c:pt>
                <c:pt idx="179">
                  <c:v>0.995</c:v>
                </c:pt>
                <c:pt idx="180">
                  <c:v>0.995</c:v>
                </c:pt>
                <c:pt idx="181">
                  <c:v>0.995</c:v>
                </c:pt>
                <c:pt idx="182">
                  <c:v>0.995</c:v>
                </c:pt>
                <c:pt idx="183">
                  <c:v>0.995</c:v>
                </c:pt>
                <c:pt idx="184">
                  <c:v>0.995</c:v>
                </c:pt>
                <c:pt idx="185">
                  <c:v>0.995</c:v>
                </c:pt>
                <c:pt idx="186">
                  <c:v>0.995</c:v>
                </c:pt>
                <c:pt idx="187">
                  <c:v>0.995</c:v>
                </c:pt>
                <c:pt idx="188">
                  <c:v>0.995</c:v>
                </c:pt>
                <c:pt idx="189">
                  <c:v>0.995</c:v>
                </c:pt>
                <c:pt idx="190">
                  <c:v>0.995</c:v>
                </c:pt>
                <c:pt idx="191">
                  <c:v>0.995</c:v>
                </c:pt>
                <c:pt idx="192">
                  <c:v>0.995</c:v>
                </c:pt>
                <c:pt idx="193">
                  <c:v>0.995</c:v>
                </c:pt>
                <c:pt idx="194">
                  <c:v>0.995</c:v>
                </c:pt>
                <c:pt idx="195">
                  <c:v>0.995</c:v>
                </c:pt>
                <c:pt idx="196">
                  <c:v>0.995</c:v>
                </c:pt>
                <c:pt idx="197">
                  <c:v>0.995</c:v>
                </c:pt>
                <c:pt idx="198">
                  <c:v>0.995</c:v>
                </c:pt>
                <c:pt idx="199">
                  <c:v>0.995</c:v>
                </c:pt>
                <c:pt idx="200">
                  <c:v>0.995</c:v>
                </c:pt>
                <c:pt idx="201">
                  <c:v>0.995</c:v>
                </c:pt>
                <c:pt idx="202">
                  <c:v>0.995</c:v>
                </c:pt>
                <c:pt idx="203">
                  <c:v>0.995</c:v>
                </c:pt>
                <c:pt idx="204">
                  <c:v>0.995</c:v>
                </c:pt>
                <c:pt idx="205">
                  <c:v>0.995</c:v>
                </c:pt>
                <c:pt idx="206">
                  <c:v>0.995</c:v>
                </c:pt>
                <c:pt idx="207">
                  <c:v>0.995</c:v>
                </c:pt>
                <c:pt idx="208">
                  <c:v>0.995</c:v>
                </c:pt>
                <c:pt idx="209">
                  <c:v>0.995</c:v>
                </c:pt>
                <c:pt idx="210">
                  <c:v>0.995</c:v>
                </c:pt>
                <c:pt idx="211">
                  <c:v>0.995</c:v>
                </c:pt>
                <c:pt idx="212">
                  <c:v>0.995</c:v>
                </c:pt>
                <c:pt idx="213">
                  <c:v>0.995</c:v>
                </c:pt>
                <c:pt idx="214">
                  <c:v>0.995</c:v>
                </c:pt>
                <c:pt idx="215">
                  <c:v>0.995</c:v>
                </c:pt>
                <c:pt idx="216">
                  <c:v>0.995</c:v>
                </c:pt>
                <c:pt idx="217">
                  <c:v>0.995</c:v>
                </c:pt>
                <c:pt idx="218">
                  <c:v>0.995</c:v>
                </c:pt>
                <c:pt idx="219">
                  <c:v>0.995</c:v>
                </c:pt>
                <c:pt idx="220">
                  <c:v>0.995</c:v>
                </c:pt>
                <c:pt idx="221">
                  <c:v>0.995</c:v>
                </c:pt>
                <c:pt idx="222">
                  <c:v>0.995</c:v>
                </c:pt>
                <c:pt idx="223">
                  <c:v>0.995</c:v>
                </c:pt>
                <c:pt idx="224">
                  <c:v>0.995</c:v>
                </c:pt>
                <c:pt idx="225">
                  <c:v>0.995</c:v>
                </c:pt>
                <c:pt idx="226">
                  <c:v>0.995</c:v>
                </c:pt>
                <c:pt idx="227">
                  <c:v>0.995</c:v>
                </c:pt>
                <c:pt idx="228">
                  <c:v>0.995</c:v>
                </c:pt>
                <c:pt idx="229">
                  <c:v>0.995</c:v>
                </c:pt>
                <c:pt idx="230">
                  <c:v>0.995</c:v>
                </c:pt>
                <c:pt idx="231">
                  <c:v>0.995</c:v>
                </c:pt>
                <c:pt idx="232">
                  <c:v>0.995</c:v>
                </c:pt>
                <c:pt idx="233">
                  <c:v>0.995</c:v>
                </c:pt>
                <c:pt idx="234">
                  <c:v>0.995</c:v>
                </c:pt>
                <c:pt idx="235">
                  <c:v>0.995</c:v>
                </c:pt>
                <c:pt idx="236">
                  <c:v>0.995</c:v>
                </c:pt>
                <c:pt idx="237">
                  <c:v>0.995</c:v>
                </c:pt>
                <c:pt idx="238">
                  <c:v>0.995</c:v>
                </c:pt>
                <c:pt idx="239">
                  <c:v>0.995</c:v>
                </c:pt>
                <c:pt idx="240">
                  <c:v>0.995</c:v>
                </c:pt>
                <c:pt idx="241">
                  <c:v>0.995</c:v>
                </c:pt>
                <c:pt idx="242">
                  <c:v>0.995</c:v>
                </c:pt>
                <c:pt idx="243">
                  <c:v>0.995</c:v>
                </c:pt>
                <c:pt idx="244">
                  <c:v>0.995</c:v>
                </c:pt>
                <c:pt idx="245">
                  <c:v>0.995</c:v>
                </c:pt>
                <c:pt idx="246">
                  <c:v>0.995</c:v>
                </c:pt>
                <c:pt idx="247">
                  <c:v>0.995</c:v>
                </c:pt>
                <c:pt idx="248">
                  <c:v>0.995</c:v>
                </c:pt>
                <c:pt idx="249">
                  <c:v>0.995</c:v>
                </c:pt>
                <c:pt idx="250">
                  <c:v>0.995</c:v>
                </c:pt>
                <c:pt idx="251">
                  <c:v>0.995</c:v>
                </c:pt>
                <c:pt idx="252">
                  <c:v>0.995</c:v>
                </c:pt>
                <c:pt idx="253">
                  <c:v>0.995</c:v>
                </c:pt>
                <c:pt idx="254">
                  <c:v>0.995</c:v>
                </c:pt>
                <c:pt idx="255">
                  <c:v>0.995</c:v>
                </c:pt>
                <c:pt idx="256">
                  <c:v>0.995</c:v>
                </c:pt>
                <c:pt idx="257">
                  <c:v>0.995</c:v>
                </c:pt>
                <c:pt idx="258">
                  <c:v>0.995</c:v>
                </c:pt>
                <c:pt idx="259">
                  <c:v>0.995</c:v>
                </c:pt>
                <c:pt idx="260">
                  <c:v>0.995</c:v>
                </c:pt>
                <c:pt idx="261">
                  <c:v>0.995</c:v>
                </c:pt>
                <c:pt idx="262">
                  <c:v>0.995</c:v>
                </c:pt>
                <c:pt idx="263">
                  <c:v>0.995</c:v>
                </c:pt>
                <c:pt idx="264">
                  <c:v>0.995</c:v>
                </c:pt>
                <c:pt idx="265">
                  <c:v>0.995</c:v>
                </c:pt>
                <c:pt idx="266">
                  <c:v>0.995</c:v>
                </c:pt>
                <c:pt idx="267">
                  <c:v>0.995</c:v>
                </c:pt>
                <c:pt idx="268">
                  <c:v>0.995</c:v>
                </c:pt>
                <c:pt idx="269">
                  <c:v>0.995</c:v>
                </c:pt>
                <c:pt idx="270">
                  <c:v>0.995</c:v>
                </c:pt>
                <c:pt idx="271">
                  <c:v>0.995</c:v>
                </c:pt>
                <c:pt idx="272">
                  <c:v>0.995</c:v>
                </c:pt>
                <c:pt idx="273">
                  <c:v>0.995</c:v>
                </c:pt>
                <c:pt idx="274">
                  <c:v>0.995</c:v>
                </c:pt>
                <c:pt idx="275">
                  <c:v>0.995</c:v>
                </c:pt>
                <c:pt idx="276">
                  <c:v>0.995</c:v>
                </c:pt>
                <c:pt idx="277">
                  <c:v>0.995</c:v>
                </c:pt>
                <c:pt idx="278">
                  <c:v>0.995</c:v>
                </c:pt>
                <c:pt idx="279">
                  <c:v>0.995</c:v>
                </c:pt>
                <c:pt idx="280">
                  <c:v>0.995</c:v>
                </c:pt>
                <c:pt idx="281">
                  <c:v>0.995</c:v>
                </c:pt>
                <c:pt idx="282">
                  <c:v>0.995</c:v>
                </c:pt>
                <c:pt idx="283">
                  <c:v>0.995</c:v>
                </c:pt>
                <c:pt idx="284">
                  <c:v>0.995</c:v>
                </c:pt>
                <c:pt idx="285">
                  <c:v>0.995</c:v>
                </c:pt>
                <c:pt idx="286">
                  <c:v>0.995</c:v>
                </c:pt>
                <c:pt idx="287">
                  <c:v>0.995</c:v>
                </c:pt>
                <c:pt idx="288">
                  <c:v>0.995</c:v>
                </c:pt>
                <c:pt idx="289">
                  <c:v>0.995</c:v>
                </c:pt>
                <c:pt idx="290">
                  <c:v>0.995</c:v>
                </c:pt>
                <c:pt idx="291">
                  <c:v>0.995</c:v>
                </c:pt>
                <c:pt idx="292">
                  <c:v>0.995</c:v>
                </c:pt>
                <c:pt idx="293">
                  <c:v>0.995</c:v>
                </c:pt>
                <c:pt idx="294">
                  <c:v>0.995</c:v>
                </c:pt>
                <c:pt idx="295">
                  <c:v>0.995</c:v>
                </c:pt>
                <c:pt idx="296">
                  <c:v>0.995</c:v>
                </c:pt>
                <c:pt idx="297">
                  <c:v>0.995</c:v>
                </c:pt>
                <c:pt idx="298">
                  <c:v>0.995</c:v>
                </c:pt>
                <c:pt idx="299">
                  <c:v>0.995</c:v>
                </c:pt>
                <c:pt idx="300">
                  <c:v>0.995</c:v>
                </c:pt>
                <c:pt idx="301">
                  <c:v>0.995</c:v>
                </c:pt>
                <c:pt idx="302">
                  <c:v>0.995</c:v>
                </c:pt>
                <c:pt idx="303">
                  <c:v>0.995</c:v>
                </c:pt>
                <c:pt idx="304">
                  <c:v>0.995</c:v>
                </c:pt>
                <c:pt idx="305">
                  <c:v>0.995</c:v>
                </c:pt>
                <c:pt idx="306">
                  <c:v>0.995</c:v>
                </c:pt>
                <c:pt idx="307">
                  <c:v>0.995</c:v>
                </c:pt>
                <c:pt idx="308">
                  <c:v>0.995</c:v>
                </c:pt>
                <c:pt idx="309">
                  <c:v>0.995</c:v>
                </c:pt>
                <c:pt idx="310">
                  <c:v>0.995</c:v>
                </c:pt>
                <c:pt idx="311">
                  <c:v>0.995</c:v>
                </c:pt>
                <c:pt idx="312">
                  <c:v>0.995</c:v>
                </c:pt>
                <c:pt idx="313">
                  <c:v>0.995</c:v>
                </c:pt>
                <c:pt idx="314">
                  <c:v>0.995</c:v>
                </c:pt>
                <c:pt idx="315">
                  <c:v>0.995</c:v>
                </c:pt>
                <c:pt idx="316">
                  <c:v>0.995</c:v>
                </c:pt>
                <c:pt idx="317">
                  <c:v>0.995</c:v>
                </c:pt>
                <c:pt idx="318">
                  <c:v>0.995</c:v>
                </c:pt>
                <c:pt idx="319">
                  <c:v>0.995</c:v>
                </c:pt>
                <c:pt idx="320">
                  <c:v>0.995</c:v>
                </c:pt>
                <c:pt idx="321">
                  <c:v>0.995</c:v>
                </c:pt>
                <c:pt idx="322">
                  <c:v>0.995</c:v>
                </c:pt>
                <c:pt idx="323">
                  <c:v>0.995</c:v>
                </c:pt>
                <c:pt idx="324">
                  <c:v>0.995</c:v>
                </c:pt>
                <c:pt idx="325">
                  <c:v>0.995</c:v>
                </c:pt>
                <c:pt idx="326">
                  <c:v>0.995</c:v>
                </c:pt>
                <c:pt idx="327">
                  <c:v>0.995</c:v>
                </c:pt>
                <c:pt idx="328">
                  <c:v>0.995</c:v>
                </c:pt>
                <c:pt idx="329">
                  <c:v>0.995</c:v>
                </c:pt>
                <c:pt idx="330">
                  <c:v>0.995</c:v>
                </c:pt>
                <c:pt idx="331">
                  <c:v>0.995</c:v>
                </c:pt>
                <c:pt idx="332">
                  <c:v>0.995</c:v>
                </c:pt>
                <c:pt idx="333">
                  <c:v>0.995</c:v>
                </c:pt>
                <c:pt idx="334">
                  <c:v>0.995</c:v>
                </c:pt>
                <c:pt idx="335">
                  <c:v>0.995</c:v>
                </c:pt>
                <c:pt idx="336">
                  <c:v>0.995</c:v>
                </c:pt>
                <c:pt idx="337">
                  <c:v>0.995</c:v>
                </c:pt>
                <c:pt idx="338">
                  <c:v>0.995</c:v>
                </c:pt>
                <c:pt idx="339">
                  <c:v>0.995</c:v>
                </c:pt>
                <c:pt idx="340">
                  <c:v>0.995</c:v>
                </c:pt>
                <c:pt idx="341">
                  <c:v>0.995</c:v>
                </c:pt>
                <c:pt idx="342">
                  <c:v>0.995</c:v>
                </c:pt>
                <c:pt idx="343">
                  <c:v>0.995</c:v>
                </c:pt>
                <c:pt idx="344">
                  <c:v>0.995</c:v>
                </c:pt>
                <c:pt idx="345">
                  <c:v>0.995</c:v>
                </c:pt>
                <c:pt idx="346">
                  <c:v>0.995</c:v>
                </c:pt>
                <c:pt idx="347">
                  <c:v>0.995</c:v>
                </c:pt>
                <c:pt idx="348">
                  <c:v>0.995</c:v>
                </c:pt>
                <c:pt idx="349">
                  <c:v>0.995</c:v>
                </c:pt>
                <c:pt idx="350">
                  <c:v>0.995</c:v>
                </c:pt>
                <c:pt idx="351">
                  <c:v>0.995</c:v>
                </c:pt>
                <c:pt idx="352">
                  <c:v>0.995</c:v>
                </c:pt>
                <c:pt idx="353">
                  <c:v>0.995</c:v>
                </c:pt>
                <c:pt idx="354">
                  <c:v>0.995</c:v>
                </c:pt>
                <c:pt idx="355">
                  <c:v>0.995</c:v>
                </c:pt>
                <c:pt idx="356">
                  <c:v>0.995</c:v>
                </c:pt>
                <c:pt idx="357">
                  <c:v>0.995</c:v>
                </c:pt>
                <c:pt idx="358">
                  <c:v>0.995</c:v>
                </c:pt>
                <c:pt idx="359">
                  <c:v>0.995</c:v>
                </c:pt>
                <c:pt idx="360">
                  <c:v>0.995</c:v>
                </c:pt>
                <c:pt idx="361">
                  <c:v>0.995</c:v>
                </c:pt>
                <c:pt idx="362">
                  <c:v>0.995</c:v>
                </c:pt>
                <c:pt idx="363">
                  <c:v>0.995</c:v>
                </c:pt>
                <c:pt idx="364">
                  <c:v>0.995</c:v>
                </c:pt>
                <c:pt idx="365">
                  <c:v>0.995</c:v>
                </c:pt>
                <c:pt idx="366">
                  <c:v>0.995</c:v>
                </c:pt>
                <c:pt idx="367">
                  <c:v>0.995</c:v>
                </c:pt>
                <c:pt idx="368">
                  <c:v>0.995</c:v>
                </c:pt>
                <c:pt idx="369">
                  <c:v>0.995</c:v>
                </c:pt>
                <c:pt idx="370">
                  <c:v>0.995</c:v>
                </c:pt>
                <c:pt idx="371">
                  <c:v>0.995</c:v>
                </c:pt>
                <c:pt idx="372">
                  <c:v>0.995</c:v>
                </c:pt>
                <c:pt idx="373">
                  <c:v>0.995</c:v>
                </c:pt>
                <c:pt idx="374">
                  <c:v>0.995</c:v>
                </c:pt>
                <c:pt idx="375">
                  <c:v>0.995</c:v>
                </c:pt>
                <c:pt idx="376">
                  <c:v>0.995</c:v>
                </c:pt>
                <c:pt idx="377">
                  <c:v>0.995</c:v>
                </c:pt>
                <c:pt idx="378">
                  <c:v>0.995</c:v>
                </c:pt>
                <c:pt idx="379">
                  <c:v>0.995</c:v>
                </c:pt>
                <c:pt idx="380">
                  <c:v>0.995</c:v>
                </c:pt>
                <c:pt idx="381">
                  <c:v>0.995</c:v>
                </c:pt>
                <c:pt idx="382">
                  <c:v>0.995</c:v>
                </c:pt>
                <c:pt idx="383">
                  <c:v>0.995</c:v>
                </c:pt>
                <c:pt idx="384">
                  <c:v>0.995</c:v>
                </c:pt>
                <c:pt idx="385">
                  <c:v>0.995</c:v>
                </c:pt>
                <c:pt idx="386">
                  <c:v>0.995</c:v>
                </c:pt>
                <c:pt idx="387">
                  <c:v>0.995</c:v>
                </c:pt>
                <c:pt idx="388">
                  <c:v>0.995</c:v>
                </c:pt>
                <c:pt idx="389">
                  <c:v>0.995</c:v>
                </c:pt>
                <c:pt idx="390">
                  <c:v>0.995</c:v>
                </c:pt>
                <c:pt idx="391">
                  <c:v>0.995</c:v>
                </c:pt>
                <c:pt idx="392">
                  <c:v>0.995</c:v>
                </c:pt>
                <c:pt idx="393">
                  <c:v>0.995</c:v>
                </c:pt>
                <c:pt idx="394">
                  <c:v>0.995</c:v>
                </c:pt>
                <c:pt idx="395">
                  <c:v>0.995</c:v>
                </c:pt>
                <c:pt idx="396">
                  <c:v>0.995</c:v>
                </c:pt>
                <c:pt idx="397">
                  <c:v>0.995</c:v>
                </c:pt>
                <c:pt idx="398">
                  <c:v>0.995</c:v>
                </c:pt>
                <c:pt idx="399">
                  <c:v>0.995</c:v>
                </c:pt>
                <c:pt idx="400">
                  <c:v>0.995</c:v>
                </c:pt>
                <c:pt idx="401">
                  <c:v>0.995</c:v>
                </c:pt>
                <c:pt idx="402">
                  <c:v>0.995</c:v>
                </c:pt>
                <c:pt idx="403">
                  <c:v>0.995</c:v>
                </c:pt>
                <c:pt idx="404">
                  <c:v>0.995</c:v>
                </c:pt>
                <c:pt idx="405">
                  <c:v>0.995</c:v>
                </c:pt>
                <c:pt idx="406">
                  <c:v>0.995</c:v>
                </c:pt>
                <c:pt idx="407">
                  <c:v>0.995</c:v>
                </c:pt>
                <c:pt idx="408">
                  <c:v>0.995</c:v>
                </c:pt>
                <c:pt idx="409">
                  <c:v>0.995</c:v>
                </c:pt>
                <c:pt idx="410">
                  <c:v>0.995</c:v>
                </c:pt>
                <c:pt idx="411">
                  <c:v>0.995</c:v>
                </c:pt>
                <c:pt idx="412">
                  <c:v>0.995</c:v>
                </c:pt>
                <c:pt idx="413">
                  <c:v>0.995</c:v>
                </c:pt>
                <c:pt idx="414">
                  <c:v>0.995</c:v>
                </c:pt>
                <c:pt idx="415">
                  <c:v>0.995</c:v>
                </c:pt>
                <c:pt idx="416">
                  <c:v>0.995</c:v>
                </c:pt>
                <c:pt idx="417">
                  <c:v>0.995</c:v>
                </c:pt>
                <c:pt idx="418">
                  <c:v>0.995</c:v>
                </c:pt>
                <c:pt idx="419">
                  <c:v>0.995</c:v>
                </c:pt>
                <c:pt idx="420">
                  <c:v>0.995</c:v>
                </c:pt>
                <c:pt idx="421">
                  <c:v>0.995</c:v>
                </c:pt>
                <c:pt idx="422">
                  <c:v>0.995</c:v>
                </c:pt>
                <c:pt idx="423">
                  <c:v>0.995</c:v>
                </c:pt>
                <c:pt idx="424">
                  <c:v>0.995</c:v>
                </c:pt>
                <c:pt idx="425">
                  <c:v>0.995</c:v>
                </c:pt>
                <c:pt idx="426">
                  <c:v>0.995</c:v>
                </c:pt>
                <c:pt idx="427">
                  <c:v>0.995</c:v>
                </c:pt>
                <c:pt idx="428">
                  <c:v>0.995</c:v>
                </c:pt>
                <c:pt idx="429">
                  <c:v>0.995</c:v>
                </c:pt>
                <c:pt idx="430">
                  <c:v>0.995</c:v>
                </c:pt>
                <c:pt idx="431">
                  <c:v>0.995</c:v>
                </c:pt>
                <c:pt idx="432">
                  <c:v>0.995</c:v>
                </c:pt>
                <c:pt idx="433">
                  <c:v>0.995</c:v>
                </c:pt>
                <c:pt idx="434">
                  <c:v>0.995</c:v>
                </c:pt>
                <c:pt idx="435">
                  <c:v>0.995</c:v>
                </c:pt>
                <c:pt idx="436">
                  <c:v>0.995</c:v>
                </c:pt>
                <c:pt idx="437">
                  <c:v>0.995</c:v>
                </c:pt>
                <c:pt idx="438">
                  <c:v>0.995</c:v>
                </c:pt>
                <c:pt idx="439">
                  <c:v>0.995</c:v>
                </c:pt>
                <c:pt idx="440">
                  <c:v>0.995</c:v>
                </c:pt>
                <c:pt idx="441">
                  <c:v>0.995</c:v>
                </c:pt>
                <c:pt idx="442">
                  <c:v>0.995</c:v>
                </c:pt>
                <c:pt idx="443">
                  <c:v>0.995</c:v>
                </c:pt>
                <c:pt idx="444">
                  <c:v>0.995</c:v>
                </c:pt>
                <c:pt idx="445">
                  <c:v>0.995</c:v>
                </c:pt>
                <c:pt idx="446">
                  <c:v>0.995</c:v>
                </c:pt>
                <c:pt idx="447">
                  <c:v>0.995</c:v>
                </c:pt>
                <c:pt idx="448">
                  <c:v>0.995</c:v>
                </c:pt>
                <c:pt idx="449">
                  <c:v>0.995</c:v>
                </c:pt>
                <c:pt idx="450">
                  <c:v>0.995</c:v>
                </c:pt>
                <c:pt idx="451">
                  <c:v>0.995</c:v>
                </c:pt>
                <c:pt idx="452">
                  <c:v>0.995</c:v>
                </c:pt>
                <c:pt idx="453">
                  <c:v>0.995</c:v>
                </c:pt>
                <c:pt idx="454">
                  <c:v>0.995</c:v>
                </c:pt>
                <c:pt idx="455">
                  <c:v>0.995</c:v>
                </c:pt>
                <c:pt idx="456">
                  <c:v>0.995</c:v>
                </c:pt>
                <c:pt idx="457">
                  <c:v>0.995</c:v>
                </c:pt>
                <c:pt idx="458">
                  <c:v>0.995</c:v>
                </c:pt>
                <c:pt idx="459">
                  <c:v>0.995</c:v>
                </c:pt>
                <c:pt idx="460">
                  <c:v>0.995</c:v>
                </c:pt>
                <c:pt idx="461">
                  <c:v>0.995</c:v>
                </c:pt>
                <c:pt idx="462">
                  <c:v>0.995</c:v>
                </c:pt>
                <c:pt idx="463">
                  <c:v>0.995</c:v>
                </c:pt>
                <c:pt idx="464">
                  <c:v>0.995</c:v>
                </c:pt>
                <c:pt idx="465">
                  <c:v>0.995</c:v>
                </c:pt>
                <c:pt idx="466">
                  <c:v>0.995</c:v>
                </c:pt>
                <c:pt idx="467">
                  <c:v>0.995</c:v>
                </c:pt>
                <c:pt idx="468">
                  <c:v>0.995</c:v>
                </c:pt>
                <c:pt idx="469">
                  <c:v>0.995</c:v>
                </c:pt>
                <c:pt idx="470">
                  <c:v>0.995</c:v>
                </c:pt>
                <c:pt idx="471">
                  <c:v>0.995</c:v>
                </c:pt>
                <c:pt idx="472">
                  <c:v>0.995</c:v>
                </c:pt>
                <c:pt idx="473">
                  <c:v>0.995</c:v>
                </c:pt>
                <c:pt idx="474">
                  <c:v>0.995</c:v>
                </c:pt>
                <c:pt idx="475">
                  <c:v>0.995</c:v>
                </c:pt>
                <c:pt idx="476">
                  <c:v>0.995</c:v>
                </c:pt>
                <c:pt idx="477">
                  <c:v>0.995</c:v>
                </c:pt>
                <c:pt idx="478">
                  <c:v>0.995</c:v>
                </c:pt>
                <c:pt idx="479">
                  <c:v>0.995</c:v>
                </c:pt>
                <c:pt idx="480">
                  <c:v>0.995</c:v>
                </c:pt>
                <c:pt idx="481">
                  <c:v>0.995</c:v>
                </c:pt>
                <c:pt idx="482">
                  <c:v>0.995</c:v>
                </c:pt>
                <c:pt idx="483">
                  <c:v>0.995</c:v>
                </c:pt>
                <c:pt idx="484">
                  <c:v>0.995</c:v>
                </c:pt>
                <c:pt idx="485">
                  <c:v>0.995</c:v>
                </c:pt>
                <c:pt idx="486">
                  <c:v>0.995</c:v>
                </c:pt>
                <c:pt idx="487">
                  <c:v>0.995</c:v>
                </c:pt>
                <c:pt idx="488">
                  <c:v>0.995</c:v>
                </c:pt>
                <c:pt idx="489">
                  <c:v>0.995</c:v>
                </c:pt>
                <c:pt idx="490">
                  <c:v>0.995</c:v>
                </c:pt>
                <c:pt idx="491">
                  <c:v>0.995</c:v>
                </c:pt>
                <c:pt idx="492">
                  <c:v>0.995</c:v>
                </c:pt>
                <c:pt idx="493">
                  <c:v>0.995</c:v>
                </c:pt>
                <c:pt idx="494">
                  <c:v>0.995</c:v>
                </c:pt>
                <c:pt idx="495">
                  <c:v>0.995</c:v>
                </c:pt>
                <c:pt idx="496">
                  <c:v>0.995</c:v>
                </c:pt>
                <c:pt idx="497">
                  <c:v>0.995</c:v>
                </c:pt>
                <c:pt idx="498">
                  <c:v>0.995</c:v>
                </c:pt>
                <c:pt idx="499">
                  <c:v>0.995</c:v>
                </c:pt>
                <c:pt idx="500">
                  <c:v>0.995</c:v>
                </c:pt>
                <c:pt idx="501">
                  <c:v>0.995</c:v>
                </c:pt>
                <c:pt idx="502">
                  <c:v>0.995</c:v>
                </c:pt>
                <c:pt idx="503">
                  <c:v>0.995</c:v>
                </c:pt>
                <c:pt idx="504">
                  <c:v>0.995</c:v>
                </c:pt>
                <c:pt idx="505">
                  <c:v>0.995</c:v>
                </c:pt>
                <c:pt idx="506">
                  <c:v>0.995</c:v>
                </c:pt>
                <c:pt idx="507">
                  <c:v>0.995</c:v>
                </c:pt>
                <c:pt idx="508">
                  <c:v>0.995</c:v>
                </c:pt>
                <c:pt idx="509">
                  <c:v>0.995</c:v>
                </c:pt>
                <c:pt idx="510">
                  <c:v>0.995</c:v>
                </c:pt>
                <c:pt idx="511">
                  <c:v>0.995</c:v>
                </c:pt>
                <c:pt idx="512">
                  <c:v>0.995</c:v>
                </c:pt>
                <c:pt idx="513">
                  <c:v>0.995</c:v>
                </c:pt>
                <c:pt idx="514">
                  <c:v>0.995</c:v>
                </c:pt>
                <c:pt idx="515">
                  <c:v>0.995</c:v>
                </c:pt>
                <c:pt idx="516">
                  <c:v>0.995</c:v>
                </c:pt>
                <c:pt idx="517">
                  <c:v>0.995</c:v>
                </c:pt>
                <c:pt idx="518">
                  <c:v>0.995</c:v>
                </c:pt>
                <c:pt idx="519">
                  <c:v>0.995</c:v>
                </c:pt>
                <c:pt idx="520">
                  <c:v>0.995</c:v>
                </c:pt>
                <c:pt idx="521">
                  <c:v>0.995</c:v>
                </c:pt>
                <c:pt idx="522">
                  <c:v>0.995</c:v>
                </c:pt>
                <c:pt idx="523">
                  <c:v>0.995</c:v>
                </c:pt>
                <c:pt idx="524">
                  <c:v>0.995</c:v>
                </c:pt>
                <c:pt idx="525">
                  <c:v>0.995</c:v>
                </c:pt>
                <c:pt idx="526">
                  <c:v>0.995</c:v>
                </c:pt>
                <c:pt idx="527">
                  <c:v>0.995</c:v>
                </c:pt>
                <c:pt idx="528">
                  <c:v>0.995</c:v>
                </c:pt>
                <c:pt idx="529">
                  <c:v>0.995</c:v>
                </c:pt>
                <c:pt idx="530">
                  <c:v>0.995</c:v>
                </c:pt>
                <c:pt idx="531">
                  <c:v>0.995</c:v>
                </c:pt>
                <c:pt idx="532">
                  <c:v>0.995</c:v>
                </c:pt>
                <c:pt idx="533">
                  <c:v>0.995</c:v>
                </c:pt>
                <c:pt idx="534">
                  <c:v>0.995</c:v>
                </c:pt>
                <c:pt idx="535">
                  <c:v>0.995</c:v>
                </c:pt>
                <c:pt idx="536">
                  <c:v>0.995</c:v>
                </c:pt>
                <c:pt idx="537">
                  <c:v>0.995</c:v>
                </c:pt>
                <c:pt idx="538">
                  <c:v>0.995</c:v>
                </c:pt>
                <c:pt idx="539">
                  <c:v>0.995</c:v>
                </c:pt>
                <c:pt idx="540">
                  <c:v>0.995</c:v>
                </c:pt>
                <c:pt idx="541">
                  <c:v>0.995</c:v>
                </c:pt>
                <c:pt idx="542">
                  <c:v>0.995</c:v>
                </c:pt>
                <c:pt idx="543">
                  <c:v>0.995</c:v>
                </c:pt>
                <c:pt idx="544">
                  <c:v>0.995</c:v>
                </c:pt>
                <c:pt idx="545">
                  <c:v>0.995</c:v>
                </c:pt>
                <c:pt idx="546">
                  <c:v>0.995</c:v>
                </c:pt>
                <c:pt idx="547">
                  <c:v>0.995</c:v>
                </c:pt>
                <c:pt idx="548">
                  <c:v>0.995</c:v>
                </c:pt>
                <c:pt idx="549">
                  <c:v>0.995</c:v>
                </c:pt>
                <c:pt idx="550">
                  <c:v>0.995</c:v>
                </c:pt>
                <c:pt idx="551">
                  <c:v>0.995</c:v>
                </c:pt>
                <c:pt idx="552">
                  <c:v>0.995</c:v>
                </c:pt>
                <c:pt idx="553">
                  <c:v>0.995</c:v>
                </c:pt>
                <c:pt idx="554">
                  <c:v>0.995</c:v>
                </c:pt>
                <c:pt idx="555">
                  <c:v>0.995</c:v>
                </c:pt>
                <c:pt idx="556">
                  <c:v>0.995</c:v>
                </c:pt>
                <c:pt idx="557">
                  <c:v>0.995</c:v>
                </c:pt>
                <c:pt idx="558">
                  <c:v>0.995</c:v>
                </c:pt>
                <c:pt idx="559">
                  <c:v>0.995</c:v>
                </c:pt>
                <c:pt idx="560">
                  <c:v>0.995</c:v>
                </c:pt>
                <c:pt idx="561">
                  <c:v>0.995</c:v>
                </c:pt>
                <c:pt idx="562">
                  <c:v>0.995</c:v>
                </c:pt>
                <c:pt idx="563">
                  <c:v>0.995</c:v>
                </c:pt>
                <c:pt idx="564">
                  <c:v>0.995</c:v>
                </c:pt>
                <c:pt idx="565">
                  <c:v>0.995</c:v>
                </c:pt>
                <c:pt idx="566">
                  <c:v>0.995</c:v>
                </c:pt>
                <c:pt idx="567">
                  <c:v>0.995</c:v>
                </c:pt>
                <c:pt idx="568">
                  <c:v>0.995</c:v>
                </c:pt>
                <c:pt idx="569">
                  <c:v>0.995</c:v>
                </c:pt>
                <c:pt idx="570">
                  <c:v>0.995</c:v>
                </c:pt>
                <c:pt idx="571">
                  <c:v>0.995</c:v>
                </c:pt>
                <c:pt idx="572">
                  <c:v>0.995</c:v>
                </c:pt>
                <c:pt idx="573">
                  <c:v>0.995</c:v>
                </c:pt>
                <c:pt idx="574">
                  <c:v>0.995</c:v>
                </c:pt>
                <c:pt idx="575">
                  <c:v>0.995</c:v>
                </c:pt>
                <c:pt idx="576">
                  <c:v>0.995</c:v>
                </c:pt>
                <c:pt idx="577">
                  <c:v>0.995</c:v>
                </c:pt>
                <c:pt idx="578">
                  <c:v>0.995</c:v>
                </c:pt>
                <c:pt idx="579">
                  <c:v>0.995</c:v>
                </c:pt>
                <c:pt idx="580">
                  <c:v>0.995</c:v>
                </c:pt>
                <c:pt idx="581">
                  <c:v>0.995</c:v>
                </c:pt>
                <c:pt idx="582">
                  <c:v>0.995</c:v>
                </c:pt>
                <c:pt idx="583">
                  <c:v>0.995</c:v>
                </c:pt>
                <c:pt idx="584">
                  <c:v>0.995</c:v>
                </c:pt>
                <c:pt idx="585">
                  <c:v>0.995</c:v>
                </c:pt>
                <c:pt idx="586">
                  <c:v>0.995</c:v>
                </c:pt>
                <c:pt idx="587">
                  <c:v>0.995</c:v>
                </c:pt>
                <c:pt idx="588">
                  <c:v>0.995</c:v>
                </c:pt>
                <c:pt idx="589">
                  <c:v>0.995</c:v>
                </c:pt>
                <c:pt idx="590">
                  <c:v>0.995</c:v>
                </c:pt>
                <c:pt idx="591">
                  <c:v>0.995</c:v>
                </c:pt>
                <c:pt idx="592">
                  <c:v>0.995</c:v>
                </c:pt>
                <c:pt idx="593">
                  <c:v>0.995</c:v>
                </c:pt>
                <c:pt idx="594">
                  <c:v>0.995</c:v>
                </c:pt>
                <c:pt idx="595">
                  <c:v>0.995</c:v>
                </c:pt>
                <c:pt idx="596">
                  <c:v>0.995</c:v>
                </c:pt>
                <c:pt idx="597">
                  <c:v>0.995</c:v>
                </c:pt>
                <c:pt idx="598">
                  <c:v>0.995</c:v>
                </c:pt>
                <c:pt idx="599">
                  <c:v>0.995</c:v>
                </c:pt>
                <c:pt idx="600">
                  <c:v>0.995</c:v>
                </c:pt>
                <c:pt idx="601">
                  <c:v>0.995</c:v>
                </c:pt>
                <c:pt idx="602">
                  <c:v>0.995</c:v>
                </c:pt>
                <c:pt idx="603">
                  <c:v>0.995</c:v>
                </c:pt>
                <c:pt idx="604">
                  <c:v>0.995</c:v>
                </c:pt>
                <c:pt idx="605">
                  <c:v>0.995</c:v>
                </c:pt>
                <c:pt idx="606">
                  <c:v>0.995</c:v>
                </c:pt>
                <c:pt idx="607">
                  <c:v>0.995</c:v>
                </c:pt>
                <c:pt idx="608">
                  <c:v>0.995</c:v>
                </c:pt>
                <c:pt idx="609">
                  <c:v>0.995</c:v>
                </c:pt>
                <c:pt idx="610">
                  <c:v>0.995</c:v>
                </c:pt>
                <c:pt idx="611">
                  <c:v>0.995</c:v>
                </c:pt>
                <c:pt idx="612">
                  <c:v>0.995</c:v>
                </c:pt>
                <c:pt idx="613">
                  <c:v>0.995</c:v>
                </c:pt>
                <c:pt idx="614">
                  <c:v>0.995</c:v>
                </c:pt>
                <c:pt idx="615">
                  <c:v>0.995</c:v>
                </c:pt>
                <c:pt idx="616">
                  <c:v>0.995</c:v>
                </c:pt>
                <c:pt idx="617">
                  <c:v>0.995</c:v>
                </c:pt>
                <c:pt idx="618">
                  <c:v>0.995</c:v>
                </c:pt>
                <c:pt idx="619">
                  <c:v>0.995</c:v>
                </c:pt>
                <c:pt idx="620">
                  <c:v>0.995</c:v>
                </c:pt>
                <c:pt idx="621">
                  <c:v>0.995</c:v>
                </c:pt>
                <c:pt idx="622">
                  <c:v>0.995</c:v>
                </c:pt>
                <c:pt idx="623">
                  <c:v>0.995</c:v>
                </c:pt>
                <c:pt idx="624">
                  <c:v>0.995</c:v>
                </c:pt>
                <c:pt idx="625">
                  <c:v>0.995</c:v>
                </c:pt>
                <c:pt idx="626">
                  <c:v>0.995</c:v>
                </c:pt>
                <c:pt idx="627">
                  <c:v>0.995</c:v>
                </c:pt>
                <c:pt idx="628">
                  <c:v>0.995</c:v>
                </c:pt>
                <c:pt idx="629">
                  <c:v>0.995</c:v>
                </c:pt>
                <c:pt idx="630">
                  <c:v>0.995</c:v>
                </c:pt>
                <c:pt idx="631">
                  <c:v>0.995</c:v>
                </c:pt>
                <c:pt idx="632">
                  <c:v>0.995</c:v>
                </c:pt>
                <c:pt idx="633">
                  <c:v>0.995</c:v>
                </c:pt>
                <c:pt idx="634">
                  <c:v>0.995</c:v>
                </c:pt>
                <c:pt idx="635">
                  <c:v>0.995</c:v>
                </c:pt>
                <c:pt idx="636">
                  <c:v>0.995</c:v>
                </c:pt>
                <c:pt idx="637">
                  <c:v>0.995</c:v>
                </c:pt>
                <c:pt idx="638">
                  <c:v>0.995</c:v>
                </c:pt>
                <c:pt idx="639">
                  <c:v>0.995</c:v>
                </c:pt>
                <c:pt idx="640">
                  <c:v>0.995</c:v>
                </c:pt>
                <c:pt idx="641">
                  <c:v>0.995</c:v>
                </c:pt>
                <c:pt idx="642">
                  <c:v>0.995</c:v>
                </c:pt>
                <c:pt idx="643">
                  <c:v>0.995</c:v>
                </c:pt>
                <c:pt idx="644">
                  <c:v>0.995</c:v>
                </c:pt>
                <c:pt idx="645">
                  <c:v>0.995</c:v>
                </c:pt>
                <c:pt idx="646">
                  <c:v>0.995</c:v>
                </c:pt>
                <c:pt idx="647">
                  <c:v>0.995</c:v>
                </c:pt>
                <c:pt idx="648">
                  <c:v>0.995</c:v>
                </c:pt>
                <c:pt idx="649">
                  <c:v>0.995</c:v>
                </c:pt>
                <c:pt idx="650">
                  <c:v>0.995</c:v>
                </c:pt>
                <c:pt idx="651">
                  <c:v>0.995</c:v>
                </c:pt>
                <c:pt idx="652">
                  <c:v>0.995</c:v>
                </c:pt>
                <c:pt idx="653">
                  <c:v>0.995</c:v>
                </c:pt>
                <c:pt idx="654">
                  <c:v>0.995</c:v>
                </c:pt>
                <c:pt idx="655">
                  <c:v>0.995</c:v>
                </c:pt>
                <c:pt idx="656">
                  <c:v>0.995</c:v>
                </c:pt>
                <c:pt idx="657">
                  <c:v>0.995</c:v>
                </c:pt>
                <c:pt idx="658">
                  <c:v>0.995</c:v>
                </c:pt>
                <c:pt idx="659">
                  <c:v>0.995</c:v>
                </c:pt>
                <c:pt idx="660">
                  <c:v>0.995</c:v>
                </c:pt>
                <c:pt idx="661">
                  <c:v>0.995</c:v>
                </c:pt>
                <c:pt idx="662">
                  <c:v>0.995</c:v>
                </c:pt>
                <c:pt idx="663">
                  <c:v>0.995</c:v>
                </c:pt>
                <c:pt idx="664">
                  <c:v>0.995</c:v>
                </c:pt>
                <c:pt idx="665">
                  <c:v>0.995</c:v>
                </c:pt>
                <c:pt idx="666">
                  <c:v>0.995</c:v>
                </c:pt>
                <c:pt idx="667">
                  <c:v>0.995</c:v>
                </c:pt>
                <c:pt idx="668">
                  <c:v>0.995</c:v>
                </c:pt>
                <c:pt idx="669">
                  <c:v>0.995</c:v>
                </c:pt>
                <c:pt idx="670">
                  <c:v>0.995</c:v>
                </c:pt>
                <c:pt idx="671">
                  <c:v>0.995</c:v>
                </c:pt>
                <c:pt idx="672">
                  <c:v>0.995</c:v>
                </c:pt>
                <c:pt idx="673">
                  <c:v>0.995</c:v>
                </c:pt>
                <c:pt idx="674">
                  <c:v>0.995</c:v>
                </c:pt>
                <c:pt idx="675">
                  <c:v>0.995</c:v>
                </c:pt>
                <c:pt idx="676">
                  <c:v>0.995</c:v>
                </c:pt>
                <c:pt idx="677">
                  <c:v>0.995</c:v>
                </c:pt>
                <c:pt idx="678">
                  <c:v>0.995</c:v>
                </c:pt>
                <c:pt idx="679">
                  <c:v>0.995</c:v>
                </c:pt>
                <c:pt idx="680">
                  <c:v>0.995</c:v>
                </c:pt>
                <c:pt idx="681">
                  <c:v>0.995</c:v>
                </c:pt>
                <c:pt idx="682">
                  <c:v>0.995</c:v>
                </c:pt>
                <c:pt idx="683">
                  <c:v>0.995</c:v>
                </c:pt>
                <c:pt idx="684">
                  <c:v>0.995</c:v>
                </c:pt>
                <c:pt idx="685">
                  <c:v>0.995</c:v>
                </c:pt>
                <c:pt idx="686">
                  <c:v>0.995</c:v>
                </c:pt>
                <c:pt idx="687">
                  <c:v>0.995</c:v>
                </c:pt>
                <c:pt idx="688">
                  <c:v>0.995</c:v>
                </c:pt>
                <c:pt idx="689">
                  <c:v>0.995</c:v>
                </c:pt>
                <c:pt idx="690">
                  <c:v>0.995</c:v>
                </c:pt>
                <c:pt idx="691">
                  <c:v>0.995</c:v>
                </c:pt>
                <c:pt idx="692">
                  <c:v>0.995</c:v>
                </c:pt>
                <c:pt idx="693">
                  <c:v>0.995</c:v>
                </c:pt>
                <c:pt idx="694">
                  <c:v>0.995</c:v>
                </c:pt>
                <c:pt idx="695">
                  <c:v>0.995</c:v>
                </c:pt>
                <c:pt idx="696">
                  <c:v>0.995</c:v>
                </c:pt>
                <c:pt idx="697">
                  <c:v>0.995</c:v>
                </c:pt>
                <c:pt idx="698">
                  <c:v>0.995</c:v>
                </c:pt>
                <c:pt idx="699">
                  <c:v>0.995</c:v>
                </c:pt>
                <c:pt idx="700">
                  <c:v>0.995</c:v>
                </c:pt>
                <c:pt idx="701">
                  <c:v>0.995</c:v>
                </c:pt>
                <c:pt idx="702">
                  <c:v>0.995</c:v>
                </c:pt>
                <c:pt idx="703">
                  <c:v>0.995</c:v>
                </c:pt>
                <c:pt idx="704">
                  <c:v>0.995</c:v>
                </c:pt>
                <c:pt idx="705">
                  <c:v>0.995</c:v>
                </c:pt>
                <c:pt idx="706">
                  <c:v>0.995</c:v>
                </c:pt>
                <c:pt idx="707">
                  <c:v>0.995</c:v>
                </c:pt>
                <c:pt idx="708">
                  <c:v>0.995</c:v>
                </c:pt>
                <c:pt idx="709">
                  <c:v>0.995</c:v>
                </c:pt>
                <c:pt idx="710">
                  <c:v>0.995</c:v>
                </c:pt>
                <c:pt idx="711">
                  <c:v>0.995</c:v>
                </c:pt>
                <c:pt idx="712">
                  <c:v>0.995</c:v>
                </c:pt>
                <c:pt idx="713">
                  <c:v>0.995</c:v>
                </c:pt>
                <c:pt idx="714">
                  <c:v>0.995</c:v>
                </c:pt>
                <c:pt idx="715">
                  <c:v>0.995</c:v>
                </c:pt>
                <c:pt idx="716">
                  <c:v>0.995</c:v>
                </c:pt>
                <c:pt idx="717">
                  <c:v>0.995</c:v>
                </c:pt>
                <c:pt idx="718">
                  <c:v>0.995</c:v>
                </c:pt>
                <c:pt idx="719">
                  <c:v>0.995</c:v>
                </c:pt>
                <c:pt idx="720">
                  <c:v>0.995</c:v>
                </c:pt>
                <c:pt idx="721">
                  <c:v>0.995</c:v>
                </c:pt>
                <c:pt idx="722">
                  <c:v>0.995</c:v>
                </c:pt>
                <c:pt idx="723">
                  <c:v>0.995</c:v>
                </c:pt>
                <c:pt idx="724">
                  <c:v>0.995</c:v>
                </c:pt>
                <c:pt idx="725">
                  <c:v>0.995</c:v>
                </c:pt>
                <c:pt idx="726">
                  <c:v>0.995</c:v>
                </c:pt>
                <c:pt idx="727">
                  <c:v>0.995</c:v>
                </c:pt>
                <c:pt idx="728">
                  <c:v>0.995</c:v>
                </c:pt>
                <c:pt idx="729">
                  <c:v>0.995</c:v>
                </c:pt>
                <c:pt idx="730">
                  <c:v>0.995</c:v>
                </c:pt>
                <c:pt idx="731">
                  <c:v>0.995</c:v>
                </c:pt>
                <c:pt idx="732">
                  <c:v>0.995</c:v>
                </c:pt>
                <c:pt idx="733">
                  <c:v>0.995</c:v>
                </c:pt>
                <c:pt idx="734">
                  <c:v>0.995</c:v>
                </c:pt>
                <c:pt idx="735">
                  <c:v>0.995</c:v>
                </c:pt>
                <c:pt idx="736">
                  <c:v>0.995</c:v>
                </c:pt>
                <c:pt idx="737">
                  <c:v>0.995</c:v>
                </c:pt>
                <c:pt idx="738">
                  <c:v>0.995</c:v>
                </c:pt>
                <c:pt idx="739">
                  <c:v>0.995</c:v>
                </c:pt>
                <c:pt idx="740">
                  <c:v>0.995</c:v>
                </c:pt>
                <c:pt idx="741">
                  <c:v>0.995</c:v>
                </c:pt>
                <c:pt idx="742">
                  <c:v>0.995</c:v>
                </c:pt>
                <c:pt idx="743">
                  <c:v>0.995</c:v>
                </c:pt>
                <c:pt idx="744">
                  <c:v>0.995</c:v>
                </c:pt>
                <c:pt idx="745">
                  <c:v>0.995</c:v>
                </c:pt>
                <c:pt idx="746">
                  <c:v>0.995</c:v>
                </c:pt>
                <c:pt idx="747">
                  <c:v>0.995</c:v>
                </c:pt>
                <c:pt idx="748">
                  <c:v>0.995</c:v>
                </c:pt>
                <c:pt idx="749">
                  <c:v>0.995</c:v>
                </c:pt>
                <c:pt idx="750">
                  <c:v>0.995</c:v>
                </c:pt>
                <c:pt idx="751">
                  <c:v>0.995</c:v>
                </c:pt>
                <c:pt idx="752">
                  <c:v>0.995</c:v>
                </c:pt>
                <c:pt idx="753">
                  <c:v>0.995</c:v>
                </c:pt>
                <c:pt idx="754">
                  <c:v>0.995</c:v>
                </c:pt>
                <c:pt idx="755">
                  <c:v>0.995</c:v>
                </c:pt>
                <c:pt idx="756">
                  <c:v>0.995</c:v>
                </c:pt>
                <c:pt idx="757">
                  <c:v>0.995</c:v>
                </c:pt>
                <c:pt idx="758">
                  <c:v>0.995</c:v>
                </c:pt>
                <c:pt idx="759">
                  <c:v>0.995</c:v>
                </c:pt>
                <c:pt idx="760">
                  <c:v>0.995</c:v>
                </c:pt>
                <c:pt idx="761">
                  <c:v>0.995</c:v>
                </c:pt>
                <c:pt idx="762">
                  <c:v>0.995</c:v>
                </c:pt>
                <c:pt idx="763">
                  <c:v>0.995</c:v>
                </c:pt>
                <c:pt idx="764">
                  <c:v>0.995</c:v>
                </c:pt>
                <c:pt idx="765">
                  <c:v>0.995</c:v>
                </c:pt>
                <c:pt idx="766">
                  <c:v>0.995</c:v>
                </c:pt>
                <c:pt idx="767">
                  <c:v>0.995</c:v>
                </c:pt>
                <c:pt idx="768">
                  <c:v>0.995</c:v>
                </c:pt>
                <c:pt idx="769">
                  <c:v>0.995</c:v>
                </c:pt>
                <c:pt idx="770">
                  <c:v>0.995</c:v>
                </c:pt>
                <c:pt idx="771">
                  <c:v>0.995</c:v>
                </c:pt>
                <c:pt idx="772">
                  <c:v>0.995</c:v>
                </c:pt>
                <c:pt idx="773">
                  <c:v>0.995</c:v>
                </c:pt>
                <c:pt idx="774">
                  <c:v>0.995</c:v>
                </c:pt>
                <c:pt idx="775">
                  <c:v>0.995</c:v>
                </c:pt>
                <c:pt idx="776">
                  <c:v>0.995</c:v>
                </c:pt>
                <c:pt idx="777">
                  <c:v>0.995</c:v>
                </c:pt>
                <c:pt idx="778">
                  <c:v>0.995</c:v>
                </c:pt>
                <c:pt idx="779">
                  <c:v>0.995</c:v>
                </c:pt>
                <c:pt idx="780">
                  <c:v>0.995</c:v>
                </c:pt>
                <c:pt idx="781">
                  <c:v>0.995</c:v>
                </c:pt>
                <c:pt idx="782">
                  <c:v>0.995</c:v>
                </c:pt>
                <c:pt idx="783">
                  <c:v>0.995</c:v>
                </c:pt>
                <c:pt idx="784">
                  <c:v>0.995</c:v>
                </c:pt>
                <c:pt idx="785">
                  <c:v>0.995</c:v>
                </c:pt>
                <c:pt idx="786">
                  <c:v>0.995</c:v>
                </c:pt>
                <c:pt idx="787">
                  <c:v>0.995</c:v>
                </c:pt>
                <c:pt idx="788">
                  <c:v>0.995</c:v>
                </c:pt>
                <c:pt idx="789">
                  <c:v>0.995</c:v>
                </c:pt>
                <c:pt idx="790">
                  <c:v>0.995</c:v>
                </c:pt>
                <c:pt idx="791">
                  <c:v>0.995</c:v>
                </c:pt>
                <c:pt idx="792">
                  <c:v>0.995</c:v>
                </c:pt>
                <c:pt idx="793">
                  <c:v>0.995</c:v>
                </c:pt>
                <c:pt idx="794">
                  <c:v>0.995</c:v>
                </c:pt>
                <c:pt idx="795">
                  <c:v>0.995</c:v>
                </c:pt>
                <c:pt idx="796">
                  <c:v>0.995</c:v>
                </c:pt>
                <c:pt idx="797">
                  <c:v>0.995</c:v>
                </c:pt>
                <c:pt idx="798">
                  <c:v>0.995</c:v>
                </c:pt>
                <c:pt idx="799">
                  <c:v>0.995</c:v>
                </c:pt>
                <c:pt idx="800">
                  <c:v>0.995</c:v>
                </c:pt>
                <c:pt idx="801">
                  <c:v>0.995</c:v>
                </c:pt>
                <c:pt idx="802">
                  <c:v>0.995</c:v>
                </c:pt>
                <c:pt idx="803">
                  <c:v>0.995</c:v>
                </c:pt>
                <c:pt idx="804">
                  <c:v>0.995</c:v>
                </c:pt>
              </c:numCache>
            </c:numRef>
          </c:val>
          <c:smooth val="0"/>
          <c:extLst>
            <c:ext xmlns:c16="http://schemas.microsoft.com/office/drawing/2014/chart" uri="{C3380CC4-5D6E-409C-BE32-E72D297353CC}">
              <c16:uniqueId val="{00000002-E4D9-45BC-8967-670194C9B1CF}"/>
            </c:ext>
          </c:extLst>
        </c:ser>
        <c:dLbls>
          <c:showLegendKey val="0"/>
          <c:showVal val="0"/>
          <c:showCatName val="0"/>
          <c:showSerName val="0"/>
          <c:showPercent val="0"/>
          <c:showBubbleSize val="0"/>
        </c:dLbls>
        <c:smooth val="0"/>
        <c:axId val="115684480"/>
        <c:axId val="120108160"/>
      </c:lineChart>
      <c:dateAx>
        <c:axId val="115684480"/>
        <c:scaling>
          <c:orientation val="minMax"/>
          <c:max val="44742"/>
          <c:min val="43646"/>
        </c:scaling>
        <c:delete val="0"/>
        <c:axPos val="b"/>
        <c:numFmt formatCode="[$-409]mmm\-yy;@" sourceLinked="0"/>
        <c:majorTickMark val="out"/>
        <c:minorTickMark val="none"/>
        <c:tickLblPos val="nextTo"/>
        <c:spPr>
          <a:ln w="3175">
            <a:solidFill>
              <a:srgbClr val="000000"/>
            </a:solidFill>
          </a:ln>
        </c:spPr>
        <c:txPr>
          <a:bodyPr rot="-5400000" vert="horz"/>
          <a:lstStyle/>
          <a:p>
            <a:pPr>
              <a:defRPr sz="800"/>
            </a:pPr>
            <a:endParaRPr lang="en-US"/>
          </a:p>
        </c:txPr>
        <c:crossAx val="120108160"/>
        <c:crosses val="autoZero"/>
        <c:auto val="1"/>
        <c:lblOffset val="100"/>
        <c:baseTimeUnit val="days"/>
        <c:majorUnit val="3"/>
        <c:majorTimeUnit val="months"/>
      </c:dateAx>
      <c:valAx>
        <c:axId val="120108160"/>
        <c:scaling>
          <c:orientation val="minMax"/>
          <c:max val="1.0049999999999999"/>
          <c:min val="0.995"/>
        </c:scaling>
        <c:delete val="0"/>
        <c:axPos val="l"/>
        <c:numFmt formatCode="#,##0.0000" sourceLinked="0"/>
        <c:majorTickMark val="out"/>
        <c:minorTickMark val="none"/>
        <c:tickLblPos val="nextTo"/>
        <c:spPr>
          <a:ln w="3175">
            <a:solidFill>
              <a:srgbClr val="000000"/>
            </a:solidFill>
          </a:ln>
        </c:spPr>
        <c:txPr>
          <a:bodyPr/>
          <a:lstStyle/>
          <a:p>
            <a:pPr>
              <a:defRPr sz="800"/>
            </a:pPr>
            <a:endParaRPr lang="en-US"/>
          </a:p>
        </c:txPr>
        <c:crossAx val="115684480"/>
        <c:crosses val="autoZero"/>
        <c:crossBetween val="midCat"/>
        <c:majorUnit val="2.5000000000000005E-3"/>
      </c:valAx>
      <c:spPr>
        <a:noFill/>
        <a:ln>
          <a:noFill/>
        </a:ln>
      </c:spPr>
    </c:plotArea>
    <c:plotVisOnly val="1"/>
    <c:dispBlanksAs val="gap"/>
    <c:showDLblsOverMax val="0"/>
  </c:chart>
  <c:spPr>
    <a:noFill/>
    <a:ln>
      <a:noFill/>
    </a:ln>
  </c:spPr>
  <c:txPr>
    <a:bodyPr/>
    <a:lstStyle/>
    <a:p>
      <a:pPr>
        <a:defRPr sz="1400">
          <a:latin typeface="Arial" panose="020B0604020202020204" pitchFamily="34" charset="0"/>
          <a:cs typeface="Arial" panose="020B0604020202020204" pitchFamily="34" charset="0"/>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80326638601247"/>
          <c:y val="0.23819228367623402"/>
          <c:w val="0.84972700348999042"/>
          <c:h val="0.6561204979356372"/>
        </c:manualLayout>
      </c:layout>
      <c:lineChart>
        <c:grouping val="standard"/>
        <c:varyColors val="0"/>
        <c:ser>
          <c:idx val="0"/>
          <c:order val="0"/>
          <c:tx>
            <c:strRef>
              <c:f>'Home _Food Price'!$B$4</c:f>
              <c:strCache>
                <c:ptCount val="1"/>
                <c:pt idx="0">
                  <c:v>Zillow Home Value Index</c:v>
                </c:pt>
              </c:strCache>
            </c:strRef>
          </c:tx>
          <c:spPr>
            <a:ln w="28575" cap="rnd">
              <a:solidFill>
                <a:srgbClr val="298FC2"/>
              </a:solidFill>
              <a:round/>
            </a:ln>
            <a:effectLst/>
          </c:spPr>
          <c:marker>
            <c:symbol val="none"/>
          </c:marker>
          <c:cat>
            <c:numRef>
              <c:f>'Home _Food Price'!$A$5:$A$273</c:f>
              <c:numCache>
                <c:formatCode>yyyymm</c:formatCode>
                <c:ptCount val="269"/>
                <c:pt idx="0">
                  <c:v>36556</c:v>
                </c:pt>
                <c:pt idx="1">
                  <c:v>36585</c:v>
                </c:pt>
                <c:pt idx="2">
                  <c:v>36616</c:v>
                </c:pt>
                <c:pt idx="3">
                  <c:v>36646</c:v>
                </c:pt>
                <c:pt idx="4">
                  <c:v>36677</c:v>
                </c:pt>
                <c:pt idx="5">
                  <c:v>36707</c:v>
                </c:pt>
                <c:pt idx="6">
                  <c:v>36738</c:v>
                </c:pt>
                <c:pt idx="7">
                  <c:v>36769</c:v>
                </c:pt>
                <c:pt idx="8">
                  <c:v>36799</c:v>
                </c:pt>
                <c:pt idx="9">
                  <c:v>36830</c:v>
                </c:pt>
                <c:pt idx="10">
                  <c:v>36860</c:v>
                </c:pt>
                <c:pt idx="11">
                  <c:v>36891</c:v>
                </c:pt>
                <c:pt idx="12">
                  <c:v>36922</c:v>
                </c:pt>
                <c:pt idx="13">
                  <c:v>36950</c:v>
                </c:pt>
                <c:pt idx="14">
                  <c:v>36981</c:v>
                </c:pt>
                <c:pt idx="15">
                  <c:v>37011</c:v>
                </c:pt>
                <c:pt idx="16">
                  <c:v>37042</c:v>
                </c:pt>
                <c:pt idx="17">
                  <c:v>37072</c:v>
                </c:pt>
                <c:pt idx="18">
                  <c:v>37103</c:v>
                </c:pt>
                <c:pt idx="19">
                  <c:v>37134</c:v>
                </c:pt>
                <c:pt idx="20">
                  <c:v>37164</c:v>
                </c:pt>
                <c:pt idx="21">
                  <c:v>37195</c:v>
                </c:pt>
                <c:pt idx="22">
                  <c:v>37225</c:v>
                </c:pt>
                <c:pt idx="23">
                  <c:v>37256</c:v>
                </c:pt>
                <c:pt idx="24">
                  <c:v>37287</c:v>
                </c:pt>
                <c:pt idx="25">
                  <c:v>37315</c:v>
                </c:pt>
                <c:pt idx="26">
                  <c:v>37346</c:v>
                </c:pt>
                <c:pt idx="27">
                  <c:v>37376</c:v>
                </c:pt>
                <c:pt idx="28">
                  <c:v>37407</c:v>
                </c:pt>
                <c:pt idx="29">
                  <c:v>37437</c:v>
                </c:pt>
                <c:pt idx="30">
                  <c:v>37468</c:v>
                </c:pt>
                <c:pt idx="31">
                  <c:v>37499</c:v>
                </c:pt>
                <c:pt idx="32">
                  <c:v>37529</c:v>
                </c:pt>
                <c:pt idx="33">
                  <c:v>37560</c:v>
                </c:pt>
                <c:pt idx="34">
                  <c:v>37590</c:v>
                </c:pt>
                <c:pt idx="35">
                  <c:v>37621</c:v>
                </c:pt>
                <c:pt idx="36">
                  <c:v>37652</c:v>
                </c:pt>
                <c:pt idx="37">
                  <c:v>37680</c:v>
                </c:pt>
                <c:pt idx="38">
                  <c:v>37711</c:v>
                </c:pt>
                <c:pt idx="39">
                  <c:v>37741</c:v>
                </c:pt>
                <c:pt idx="40">
                  <c:v>37772</c:v>
                </c:pt>
                <c:pt idx="41">
                  <c:v>37802</c:v>
                </c:pt>
                <c:pt idx="42">
                  <c:v>37833</c:v>
                </c:pt>
                <c:pt idx="43">
                  <c:v>37864</c:v>
                </c:pt>
                <c:pt idx="44">
                  <c:v>37894</c:v>
                </c:pt>
                <c:pt idx="45">
                  <c:v>37925</c:v>
                </c:pt>
                <c:pt idx="46">
                  <c:v>37955</c:v>
                </c:pt>
                <c:pt idx="47">
                  <c:v>37986</c:v>
                </c:pt>
                <c:pt idx="48">
                  <c:v>38017</c:v>
                </c:pt>
                <c:pt idx="49">
                  <c:v>38046</c:v>
                </c:pt>
                <c:pt idx="50">
                  <c:v>38077</c:v>
                </c:pt>
                <c:pt idx="51">
                  <c:v>38107</c:v>
                </c:pt>
                <c:pt idx="52">
                  <c:v>38138</c:v>
                </c:pt>
                <c:pt idx="53">
                  <c:v>38168</c:v>
                </c:pt>
                <c:pt idx="54">
                  <c:v>38199</c:v>
                </c:pt>
                <c:pt idx="55">
                  <c:v>38230</c:v>
                </c:pt>
                <c:pt idx="56">
                  <c:v>38260</c:v>
                </c:pt>
                <c:pt idx="57">
                  <c:v>38291</c:v>
                </c:pt>
                <c:pt idx="58">
                  <c:v>38321</c:v>
                </c:pt>
                <c:pt idx="59">
                  <c:v>38352</c:v>
                </c:pt>
                <c:pt idx="60">
                  <c:v>38383</c:v>
                </c:pt>
                <c:pt idx="61">
                  <c:v>38411</c:v>
                </c:pt>
                <c:pt idx="62">
                  <c:v>38442</c:v>
                </c:pt>
                <c:pt idx="63">
                  <c:v>38472</c:v>
                </c:pt>
                <c:pt idx="64">
                  <c:v>38503</c:v>
                </c:pt>
                <c:pt idx="65">
                  <c:v>38533</c:v>
                </c:pt>
                <c:pt idx="66">
                  <c:v>38564</c:v>
                </c:pt>
                <c:pt idx="67">
                  <c:v>38595</c:v>
                </c:pt>
                <c:pt idx="68">
                  <c:v>38625</c:v>
                </c:pt>
                <c:pt idx="69">
                  <c:v>38656</c:v>
                </c:pt>
                <c:pt idx="70">
                  <c:v>38686</c:v>
                </c:pt>
                <c:pt idx="71">
                  <c:v>38717</c:v>
                </c:pt>
                <c:pt idx="72">
                  <c:v>38748</c:v>
                </c:pt>
                <c:pt idx="73">
                  <c:v>38776</c:v>
                </c:pt>
                <c:pt idx="74">
                  <c:v>38807</c:v>
                </c:pt>
                <c:pt idx="75">
                  <c:v>38837</c:v>
                </c:pt>
                <c:pt idx="76">
                  <c:v>38868</c:v>
                </c:pt>
                <c:pt idx="77">
                  <c:v>38898</c:v>
                </c:pt>
                <c:pt idx="78">
                  <c:v>38929</c:v>
                </c:pt>
                <c:pt idx="79">
                  <c:v>38960</c:v>
                </c:pt>
                <c:pt idx="80">
                  <c:v>38990</c:v>
                </c:pt>
                <c:pt idx="81">
                  <c:v>39021</c:v>
                </c:pt>
                <c:pt idx="82">
                  <c:v>39051</c:v>
                </c:pt>
                <c:pt idx="83">
                  <c:v>39082</c:v>
                </c:pt>
                <c:pt idx="84">
                  <c:v>39113</c:v>
                </c:pt>
                <c:pt idx="85">
                  <c:v>39141</c:v>
                </c:pt>
                <c:pt idx="86">
                  <c:v>39172</c:v>
                </c:pt>
                <c:pt idx="87">
                  <c:v>39202</c:v>
                </c:pt>
                <c:pt idx="88">
                  <c:v>39233</c:v>
                </c:pt>
                <c:pt idx="89">
                  <c:v>39263</c:v>
                </c:pt>
                <c:pt idx="90">
                  <c:v>39294</c:v>
                </c:pt>
                <c:pt idx="91">
                  <c:v>39325</c:v>
                </c:pt>
                <c:pt idx="92">
                  <c:v>39355</c:v>
                </c:pt>
                <c:pt idx="93">
                  <c:v>39386</c:v>
                </c:pt>
                <c:pt idx="94">
                  <c:v>39416</c:v>
                </c:pt>
                <c:pt idx="95">
                  <c:v>39447</c:v>
                </c:pt>
                <c:pt idx="96">
                  <c:v>39478</c:v>
                </c:pt>
                <c:pt idx="97">
                  <c:v>39507</c:v>
                </c:pt>
                <c:pt idx="98">
                  <c:v>39538</c:v>
                </c:pt>
                <c:pt idx="99">
                  <c:v>39568</c:v>
                </c:pt>
                <c:pt idx="100">
                  <c:v>39599</c:v>
                </c:pt>
                <c:pt idx="101">
                  <c:v>39629</c:v>
                </c:pt>
                <c:pt idx="102">
                  <c:v>39660</c:v>
                </c:pt>
                <c:pt idx="103">
                  <c:v>39691</c:v>
                </c:pt>
                <c:pt idx="104">
                  <c:v>39721</c:v>
                </c:pt>
                <c:pt idx="105">
                  <c:v>39752</c:v>
                </c:pt>
                <c:pt idx="106">
                  <c:v>39782</c:v>
                </c:pt>
                <c:pt idx="107">
                  <c:v>39813</c:v>
                </c:pt>
                <c:pt idx="108">
                  <c:v>39844</c:v>
                </c:pt>
                <c:pt idx="109">
                  <c:v>39872</c:v>
                </c:pt>
                <c:pt idx="110">
                  <c:v>39903</c:v>
                </c:pt>
                <c:pt idx="111">
                  <c:v>39933</c:v>
                </c:pt>
                <c:pt idx="112">
                  <c:v>39964</c:v>
                </c:pt>
                <c:pt idx="113">
                  <c:v>39994</c:v>
                </c:pt>
                <c:pt idx="114">
                  <c:v>40025</c:v>
                </c:pt>
                <c:pt idx="115">
                  <c:v>40056</c:v>
                </c:pt>
                <c:pt idx="116">
                  <c:v>40086</c:v>
                </c:pt>
                <c:pt idx="117">
                  <c:v>40117</c:v>
                </c:pt>
                <c:pt idx="118">
                  <c:v>40147</c:v>
                </c:pt>
                <c:pt idx="119">
                  <c:v>40178</c:v>
                </c:pt>
                <c:pt idx="120">
                  <c:v>40209</c:v>
                </c:pt>
                <c:pt idx="121">
                  <c:v>40237</c:v>
                </c:pt>
                <c:pt idx="122">
                  <c:v>40268</c:v>
                </c:pt>
                <c:pt idx="123">
                  <c:v>40298</c:v>
                </c:pt>
                <c:pt idx="124">
                  <c:v>40329</c:v>
                </c:pt>
                <c:pt idx="125">
                  <c:v>40359</c:v>
                </c:pt>
                <c:pt idx="126">
                  <c:v>40390</c:v>
                </c:pt>
                <c:pt idx="127">
                  <c:v>40421</c:v>
                </c:pt>
                <c:pt idx="128">
                  <c:v>40451</c:v>
                </c:pt>
                <c:pt idx="129">
                  <c:v>40482</c:v>
                </c:pt>
                <c:pt idx="130">
                  <c:v>40512</c:v>
                </c:pt>
                <c:pt idx="131">
                  <c:v>40543</c:v>
                </c:pt>
                <c:pt idx="132">
                  <c:v>40574</c:v>
                </c:pt>
                <c:pt idx="133">
                  <c:v>40602</c:v>
                </c:pt>
                <c:pt idx="134">
                  <c:v>40633</c:v>
                </c:pt>
                <c:pt idx="135">
                  <c:v>40663</c:v>
                </c:pt>
                <c:pt idx="136">
                  <c:v>40694</c:v>
                </c:pt>
                <c:pt idx="137">
                  <c:v>40724</c:v>
                </c:pt>
                <c:pt idx="138">
                  <c:v>40755</c:v>
                </c:pt>
                <c:pt idx="139">
                  <c:v>40786</c:v>
                </c:pt>
                <c:pt idx="140">
                  <c:v>40816</c:v>
                </c:pt>
                <c:pt idx="141">
                  <c:v>40847</c:v>
                </c:pt>
                <c:pt idx="142">
                  <c:v>40877</c:v>
                </c:pt>
                <c:pt idx="143">
                  <c:v>40908</c:v>
                </c:pt>
                <c:pt idx="144">
                  <c:v>40939</c:v>
                </c:pt>
                <c:pt idx="145">
                  <c:v>40968</c:v>
                </c:pt>
                <c:pt idx="146">
                  <c:v>40999</c:v>
                </c:pt>
                <c:pt idx="147">
                  <c:v>41029</c:v>
                </c:pt>
                <c:pt idx="148">
                  <c:v>41060</c:v>
                </c:pt>
                <c:pt idx="149">
                  <c:v>41090</c:v>
                </c:pt>
                <c:pt idx="150">
                  <c:v>41121</c:v>
                </c:pt>
                <c:pt idx="151">
                  <c:v>41152</c:v>
                </c:pt>
                <c:pt idx="152">
                  <c:v>41182</c:v>
                </c:pt>
                <c:pt idx="153">
                  <c:v>41213</c:v>
                </c:pt>
                <c:pt idx="154">
                  <c:v>41243</c:v>
                </c:pt>
                <c:pt idx="155">
                  <c:v>41274</c:v>
                </c:pt>
                <c:pt idx="156">
                  <c:v>41305</c:v>
                </c:pt>
                <c:pt idx="157">
                  <c:v>41333</c:v>
                </c:pt>
                <c:pt idx="158">
                  <c:v>41364</c:v>
                </c:pt>
                <c:pt idx="159">
                  <c:v>41394</c:v>
                </c:pt>
                <c:pt idx="160">
                  <c:v>41425</c:v>
                </c:pt>
                <c:pt idx="161">
                  <c:v>41455</c:v>
                </c:pt>
                <c:pt idx="162">
                  <c:v>41486</c:v>
                </c:pt>
                <c:pt idx="163">
                  <c:v>41517</c:v>
                </c:pt>
                <c:pt idx="164">
                  <c:v>41547</c:v>
                </c:pt>
                <c:pt idx="165">
                  <c:v>41578</c:v>
                </c:pt>
                <c:pt idx="166">
                  <c:v>41608</c:v>
                </c:pt>
                <c:pt idx="167">
                  <c:v>41639</c:v>
                </c:pt>
                <c:pt idx="168">
                  <c:v>41670</c:v>
                </c:pt>
                <c:pt idx="169">
                  <c:v>41698</c:v>
                </c:pt>
                <c:pt idx="170">
                  <c:v>41729</c:v>
                </c:pt>
                <c:pt idx="171">
                  <c:v>41759</c:v>
                </c:pt>
                <c:pt idx="172">
                  <c:v>41790</c:v>
                </c:pt>
                <c:pt idx="173">
                  <c:v>41820</c:v>
                </c:pt>
                <c:pt idx="174">
                  <c:v>41851</c:v>
                </c:pt>
                <c:pt idx="175">
                  <c:v>41882</c:v>
                </c:pt>
                <c:pt idx="176">
                  <c:v>41912</c:v>
                </c:pt>
                <c:pt idx="177">
                  <c:v>41943</c:v>
                </c:pt>
                <c:pt idx="178">
                  <c:v>41973</c:v>
                </c:pt>
                <c:pt idx="179">
                  <c:v>42004</c:v>
                </c:pt>
                <c:pt idx="180">
                  <c:v>42035</c:v>
                </c:pt>
                <c:pt idx="181">
                  <c:v>42063</c:v>
                </c:pt>
                <c:pt idx="182">
                  <c:v>42094</c:v>
                </c:pt>
                <c:pt idx="183">
                  <c:v>42124</c:v>
                </c:pt>
                <c:pt idx="184">
                  <c:v>42155</c:v>
                </c:pt>
                <c:pt idx="185">
                  <c:v>42185</c:v>
                </c:pt>
                <c:pt idx="186">
                  <c:v>42216</c:v>
                </c:pt>
                <c:pt idx="187">
                  <c:v>42247</c:v>
                </c:pt>
                <c:pt idx="188">
                  <c:v>42277</c:v>
                </c:pt>
                <c:pt idx="189">
                  <c:v>42308</c:v>
                </c:pt>
                <c:pt idx="190">
                  <c:v>42338</c:v>
                </c:pt>
                <c:pt idx="191">
                  <c:v>42369</c:v>
                </c:pt>
                <c:pt idx="192">
                  <c:v>42400</c:v>
                </c:pt>
                <c:pt idx="193">
                  <c:v>42429</c:v>
                </c:pt>
                <c:pt idx="194">
                  <c:v>42460</c:v>
                </c:pt>
                <c:pt idx="195">
                  <c:v>42490</c:v>
                </c:pt>
                <c:pt idx="196">
                  <c:v>42521</c:v>
                </c:pt>
                <c:pt idx="197">
                  <c:v>42551</c:v>
                </c:pt>
                <c:pt idx="198">
                  <c:v>42582</c:v>
                </c:pt>
                <c:pt idx="199">
                  <c:v>42613</c:v>
                </c:pt>
                <c:pt idx="200">
                  <c:v>42643</c:v>
                </c:pt>
                <c:pt idx="201">
                  <c:v>42674</c:v>
                </c:pt>
                <c:pt idx="202">
                  <c:v>42704</c:v>
                </c:pt>
                <c:pt idx="203">
                  <c:v>42735</c:v>
                </c:pt>
                <c:pt idx="204">
                  <c:v>42766</c:v>
                </c:pt>
                <c:pt idx="205">
                  <c:v>42794</c:v>
                </c:pt>
                <c:pt idx="206">
                  <c:v>42825</c:v>
                </c:pt>
                <c:pt idx="207">
                  <c:v>42855</c:v>
                </c:pt>
                <c:pt idx="208">
                  <c:v>42886</c:v>
                </c:pt>
                <c:pt idx="209">
                  <c:v>42916</c:v>
                </c:pt>
                <c:pt idx="210">
                  <c:v>42947</c:v>
                </c:pt>
                <c:pt idx="211">
                  <c:v>42978</c:v>
                </c:pt>
                <c:pt idx="212">
                  <c:v>43008</c:v>
                </c:pt>
                <c:pt idx="213">
                  <c:v>43039</c:v>
                </c:pt>
                <c:pt idx="214">
                  <c:v>43069</c:v>
                </c:pt>
                <c:pt idx="215">
                  <c:v>43100</c:v>
                </c:pt>
                <c:pt idx="216">
                  <c:v>43131</c:v>
                </c:pt>
                <c:pt idx="217">
                  <c:v>43159</c:v>
                </c:pt>
                <c:pt idx="218">
                  <c:v>43190</c:v>
                </c:pt>
                <c:pt idx="219">
                  <c:v>43220</c:v>
                </c:pt>
                <c:pt idx="220">
                  <c:v>43251</c:v>
                </c:pt>
                <c:pt idx="221">
                  <c:v>43281</c:v>
                </c:pt>
                <c:pt idx="222">
                  <c:v>43312</c:v>
                </c:pt>
                <c:pt idx="223">
                  <c:v>43343</c:v>
                </c:pt>
                <c:pt idx="224">
                  <c:v>43373</c:v>
                </c:pt>
                <c:pt idx="225">
                  <c:v>43404</c:v>
                </c:pt>
                <c:pt idx="226">
                  <c:v>43434</c:v>
                </c:pt>
                <c:pt idx="227">
                  <c:v>43465</c:v>
                </c:pt>
                <c:pt idx="228">
                  <c:v>43496</c:v>
                </c:pt>
                <c:pt idx="229">
                  <c:v>43524</c:v>
                </c:pt>
                <c:pt idx="230">
                  <c:v>43555</c:v>
                </c:pt>
                <c:pt idx="231">
                  <c:v>43585</c:v>
                </c:pt>
                <c:pt idx="232">
                  <c:v>43616</c:v>
                </c:pt>
                <c:pt idx="233">
                  <c:v>43646</c:v>
                </c:pt>
                <c:pt idx="234">
                  <c:v>43677</c:v>
                </c:pt>
                <c:pt idx="235">
                  <c:v>43708</c:v>
                </c:pt>
                <c:pt idx="236">
                  <c:v>43738</c:v>
                </c:pt>
                <c:pt idx="237">
                  <c:v>43769</c:v>
                </c:pt>
                <c:pt idx="238">
                  <c:v>43799</c:v>
                </c:pt>
                <c:pt idx="239">
                  <c:v>43830</c:v>
                </c:pt>
                <c:pt idx="240">
                  <c:v>43861</c:v>
                </c:pt>
                <c:pt idx="241">
                  <c:v>43890</c:v>
                </c:pt>
                <c:pt idx="242">
                  <c:v>43921</c:v>
                </c:pt>
                <c:pt idx="243">
                  <c:v>43951</c:v>
                </c:pt>
                <c:pt idx="244">
                  <c:v>43982</c:v>
                </c:pt>
                <c:pt idx="245">
                  <c:v>44012</c:v>
                </c:pt>
                <c:pt idx="246">
                  <c:v>44043</c:v>
                </c:pt>
                <c:pt idx="247">
                  <c:v>44074</c:v>
                </c:pt>
                <c:pt idx="248">
                  <c:v>44104</c:v>
                </c:pt>
                <c:pt idx="249">
                  <c:v>44135</c:v>
                </c:pt>
                <c:pt idx="250">
                  <c:v>44165</c:v>
                </c:pt>
                <c:pt idx="251">
                  <c:v>44196</c:v>
                </c:pt>
                <c:pt idx="252">
                  <c:v>44227</c:v>
                </c:pt>
                <c:pt idx="253">
                  <c:v>44255</c:v>
                </c:pt>
                <c:pt idx="254">
                  <c:v>44286</c:v>
                </c:pt>
                <c:pt idx="255">
                  <c:v>44316</c:v>
                </c:pt>
                <c:pt idx="256">
                  <c:v>44347</c:v>
                </c:pt>
                <c:pt idx="257">
                  <c:v>44377</c:v>
                </c:pt>
                <c:pt idx="258">
                  <c:v>44408</c:v>
                </c:pt>
                <c:pt idx="259">
                  <c:v>44439</c:v>
                </c:pt>
                <c:pt idx="260">
                  <c:v>44469</c:v>
                </c:pt>
                <c:pt idx="261">
                  <c:v>44500</c:v>
                </c:pt>
                <c:pt idx="262">
                  <c:v>44530</c:v>
                </c:pt>
                <c:pt idx="263">
                  <c:v>44561</c:v>
                </c:pt>
                <c:pt idx="264">
                  <c:v>44592</c:v>
                </c:pt>
                <c:pt idx="265">
                  <c:v>44620</c:v>
                </c:pt>
                <c:pt idx="266">
                  <c:v>44651</c:v>
                </c:pt>
                <c:pt idx="267">
                  <c:v>44681</c:v>
                </c:pt>
                <c:pt idx="268">
                  <c:v>44712</c:v>
                </c:pt>
              </c:numCache>
            </c:numRef>
          </c:cat>
          <c:val>
            <c:numRef>
              <c:f>'Home _Food Price'!$B$5:$B$273</c:f>
              <c:numCache>
                <c:formatCode>0.00%</c:formatCode>
                <c:ptCount val="269"/>
                <c:pt idx="0">
                  <c:v>7.3465729673588109E-2</c:v>
                </c:pt>
                <c:pt idx="1">
                  <c:v>7.2053658577280189E-2</c:v>
                </c:pt>
                <c:pt idx="2">
                  <c:v>7.0357142857142785E-2</c:v>
                </c:pt>
                <c:pt idx="3">
                  <c:v>7.0933412653165773E-2</c:v>
                </c:pt>
                <c:pt idx="4">
                  <c:v>7.1800310781146015E-2</c:v>
                </c:pt>
                <c:pt idx="5">
                  <c:v>7.1940152072602404E-2</c:v>
                </c:pt>
                <c:pt idx="6">
                  <c:v>7.2095802541401355E-2</c:v>
                </c:pt>
                <c:pt idx="7">
                  <c:v>7.320052089652429E-2</c:v>
                </c:pt>
                <c:pt idx="8">
                  <c:v>7.4992552274978141E-2</c:v>
                </c:pt>
                <c:pt idx="9">
                  <c:v>7.6834908344755259E-2</c:v>
                </c:pt>
                <c:pt idx="10">
                  <c:v>7.7778575016144158E-2</c:v>
                </c:pt>
                <c:pt idx="11">
                  <c:v>7.8596457847754042E-2</c:v>
                </c:pt>
                <c:pt idx="12">
                  <c:v>6.7860486891385685E-2</c:v>
                </c:pt>
                <c:pt idx="13">
                  <c:v>7.0743778500614862E-2</c:v>
                </c:pt>
                <c:pt idx="14">
                  <c:v>7.3546414631685986E-2</c:v>
                </c:pt>
                <c:pt idx="15">
                  <c:v>7.358772972055494E-2</c:v>
                </c:pt>
                <c:pt idx="16">
                  <c:v>7.3786839723232189E-2</c:v>
                </c:pt>
                <c:pt idx="17">
                  <c:v>7.385457901440784E-2</c:v>
                </c:pt>
                <c:pt idx="18">
                  <c:v>7.3852477041957743E-2</c:v>
                </c:pt>
                <c:pt idx="19">
                  <c:v>7.3656760851050995E-2</c:v>
                </c:pt>
                <c:pt idx="20">
                  <c:v>7.3266273696194428E-2</c:v>
                </c:pt>
                <c:pt idx="21">
                  <c:v>7.2870998235911477E-2</c:v>
                </c:pt>
                <c:pt idx="22">
                  <c:v>7.1899340922708221E-2</c:v>
                </c:pt>
                <c:pt idx="23">
                  <c:v>7.052450533619492E-2</c:v>
                </c:pt>
                <c:pt idx="24">
                  <c:v>6.9145166122302815E-2</c:v>
                </c:pt>
                <c:pt idx="25">
                  <c:v>6.8497132931677251E-2</c:v>
                </c:pt>
                <c:pt idx="26">
                  <c:v>6.8038077615306225E-2</c:v>
                </c:pt>
                <c:pt idx="27">
                  <c:v>6.7508911118776549E-2</c:v>
                </c:pt>
                <c:pt idx="28">
                  <c:v>6.7151970624584667E-2</c:v>
                </c:pt>
                <c:pt idx="29">
                  <c:v>6.7248139098812443E-2</c:v>
                </c:pt>
                <c:pt idx="30">
                  <c:v>6.7813007555963534E-2</c:v>
                </c:pt>
                <c:pt idx="31">
                  <c:v>6.8456225080024691E-2</c:v>
                </c:pt>
                <c:pt idx="32">
                  <c:v>6.9074287309396798E-2</c:v>
                </c:pt>
                <c:pt idx="33">
                  <c:v>6.9690641542421439E-2</c:v>
                </c:pt>
                <c:pt idx="34">
                  <c:v>7.0423507166566646E-2</c:v>
                </c:pt>
                <c:pt idx="35">
                  <c:v>7.1384923822667146E-2</c:v>
                </c:pt>
                <c:pt idx="36">
                  <c:v>7.2252597047566924E-2</c:v>
                </c:pt>
                <c:pt idx="37">
                  <c:v>7.3016283277332672E-2</c:v>
                </c:pt>
                <c:pt idx="38">
                  <c:v>7.3645456883366434E-2</c:v>
                </c:pt>
                <c:pt idx="39">
                  <c:v>7.4434855196370053E-2</c:v>
                </c:pt>
                <c:pt idx="40">
                  <c:v>7.5297393912211019E-2</c:v>
                </c:pt>
                <c:pt idx="41">
                  <c:v>7.5808598429389029E-2</c:v>
                </c:pt>
                <c:pt idx="42">
                  <c:v>7.6084728164906412E-2</c:v>
                </c:pt>
                <c:pt idx="43">
                  <c:v>7.6461158414800723E-2</c:v>
                </c:pt>
                <c:pt idx="44">
                  <c:v>7.732076530911991E-2</c:v>
                </c:pt>
                <c:pt idx="45">
                  <c:v>7.8134931444656219E-2</c:v>
                </c:pt>
                <c:pt idx="46">
                  <c:v>7.858736155343804E-2</c:v>
                </c:pt>
                <c:pt idx="47">
                  <c:v>7.8747020071261886E-2</c:v>
                </c:pt>
                <c:pt idx="48">
                  <c:v>7.9436810034928529E-2</c:v>
                </c:pt>
                <c:pt idx="49">
                  <c:v>8.095995740284101E-2</c:v>
                </c:pt>
                <c:pt idx="50">
                  <c:v>8.3186253498398921E-2</c:v>
                </c:pt>
                <c:pt idx="51">
                  <c:v>8.5668815749077476E-2</c:v>
                </c:pt>
                <c:pt idx="52">
                  <c:v>8.8601684627308996E-2</c:v>
                </c:pt>
                <c:pt idx="53">
                  <c:v>9.2167694601332562E-2</c:v>
                </c:pt>
                <c:pt idx="54">
                  <c:v>9.6049607296058159E-2</c:v>
                </c:pt>
                <c:pt idx="55">
                  <c:v>9.9288356139301648E-2</c:v>
                </c:pt>
                <c:pt idx="56">
                  <c:v>0.10178867897090371</c:v>
                </c:pt>
                <c:pt idx="57">
                  <c:v>0.10374844341240097</c:v>
                </c:pt>
                <c:pt idx="58">
                  <c:v>0.10581336967436528</c:v>
                </c:pt>
                <c:pt idx="59">
                  <c:v>0.1083097687902479</c:v>
                </c:pt>
                <c:pt idx="60">
                  <c:v>0.11064332319683512</c:v>
                </c:pt>
                <c:pt idx="61">
                  <c:v>0.11241489717291486</c:v>
                </c:pt>
                <c:pt idx="62">
                  <c:v>0.11362247659173308</c:v>
                </c:pt>
                <c:pt idx="63">
                  <c:v>0.11544010711235253</c:v>
                </c:pt>
                <c:pt idx="64">
                  <c:v>0.11672700030309779</c:v>
                </c:pt>
                <c:pt idx="65">
                  <c:v>0.11780798640611723</c:v>
                </c:pt>
                <c:pt idx="66">
                  <c:v>0.11805637324990048</c:v>
                </c:pt>
                <c:pt idx="67">
                  <c:v>0.11855824644391877</c:v>
                </c:pt>
                <c:pt idx="68">
                  <c:v>0.11894168953513318</c:v>
                </c:pt>
                <c:pt idx="69">
                  <c:v>0.11907344324839886</c:v>
                </c:pt>
                <c:pt idx="70">
                  <c:v>0.11877388423140745</c:v>
                </c:pt>
                <c:pt idx="71">
                  <c:v>0.11740743123003372</c:v>
                </c:pt>
                <c:pt idx="72">
                  <c:v>0.11500693805723761</c:v>
                </c:pt>
                <c:pt idx="73">
                  <c:v>0.11197739576908683</c:v>
                </c:pt>
                <c:pt idx="74">
                  <c:v>0.10892739567112231</c:v>
                </c:pt>
                <c:pt idx="75">
                  <c:v>0.10507090785858786</c:v>
                </c:pt>
                <c:pt idx="76">
                  <c:v>0.10051108197795888</c:v>
                </c:pt>
                <c:pt idx="77">
                  <c:v>9.45127667229122E-2</c:v>
                </c:pt>
                <c:pt idx="78">
                  <c:v>8.7285985095435281E-2</c:v>
                </c:pt>
                <c:pt idx="79">
                  <c:v>7.9158973137173128E-2</c:v>
                </c:pt>
                <c:pt idx="80">
                  <c:v>7.0233209642936112E-2</c:v>
                </c:pt>
                <c:pt idx="81">
                  <c:v>6.1746914602429426E-2</c:v>
                </c:pt>
                <c:pt idx="82">
                  <c:v>5.3608785347447396E-2</c:v>
                </c:pt>
                <c:pt idx="83">
                  <c:v>4.6304468791373177E-2</c:v>
                </c:pt>
                <c:pt idx="84">
                  <c:v>3.9952318512337603E-2</c:v>
                </c:pt>
                <c:pt idx="85">
                  <c:v>3.4042694402700358E-2</c:v>
                </c:pt>
                <c:pt idx="86">
                  <c:v>2.7896763127264856E-2</c:v>
                </c:pt>
                <c:pt idx="87">
                  <c:v>2.1354295907522358E-2</c:v>
                </c:pt>
                <c:pt idx="88">
                  <c:v>1.4378847737774425E-2</c:v>
                </c:pt>
                <c:pt idx="89">
                  <c:v>7.5694094008824653E-3</c:v>
                </c:pt>
                <c:pt idx="90">
                  <c:v>9.9166539825734645E-4</c:v>
                </c:pt>
                <c:pt idx="91">
                  <c:v>-4.7926555543290617E-3</c:v>
                </c:pt>
                <c:pt idx="92">
                  <c:v>-9.9699203232991307E-3</c:v>
                </c:pt>
                <c:pt idx="93">
                  <c:v>-1.4853211009174361E-2</c:v>
                </c:pt>
                <c:pt idx="94">
                  <c:v>-1.9947082911081826E-2</c:v>
                </c:pt>
                <c:pt idx="95">
                  <c:v>-2.4935700826605456E-2</c:v>
                </c:pt>
                <c:pt idx="96">
                  <c:v>-3.0581740820892822E-2</c:v>
                </c:pt>
                <c:pt idx="97">
                  <c:v>-3.6855521222068366E-2</c:v>
                </c:pt>
                <c:pt idx="98">
                  <c:v>-4.3826874676226701E-2</c:v>
                </c:pt>
                <c:pt idx="99">
                  <c:v>-5.1144177347488884E-2</c:v>
                </c:pt>
                <c:pt idx="100">
                  <c:v>-5.7759795219024856E-2</c:v>
                </c:pt>
                <c:pt idx="101">
                  <c:v>-6.3964601444613911E-2</c:v>
                </c:pt>
                <c:pt idx="102">
                  <c:v>-6.9628885550773623E-2</c:v>
                </c:pt>
                <c:pt idx="103">
                  <c:v>-7.6358527364655648E-2</c:v>
                </c:pt>
                <c:pt idx="104">
                  <c:v>-8.2306664687546438E-2</c:v>
                </c:pt>
                <c:pt idx="105">
                  <c:v>-8.7804173922760964E-2</c:v>
                </c:pt>
                <c:pt idx="106">
                  <c:v>-9.232338450453148E-2</c:v>
                </c:pt>
                <c:pt idx="107">
                  <c:v>-9.6815903555543037E-2</c:v>
                </c:pt>
                <c:pt idx="108">
                  <c:v>-0.10026296622113762</c:v>
                </c:pt>
                <c:pt idx="109">
                  <c:v>-0.10139801887825284</c:v>
                </c:pt>
                <c:pt idx="110">
                  <c:v>-0.10142349607567691</c:v>
                </c:pt>
                <c:pt idx="111">
                  <c:v>-0.10069519930818249</c:v>
                </c:pt>
                <c:pt idx="112">
                  <c:v>-0.10010321424746105</c:v>
                </c:pt>
                <c:pt idx="113">
                  <c:v>-9.8554352894975827E-2</c:v>
                </c:pt>
                <c:pt idx="114">
                  <c:v>-9.5824397878273126E-2</c:v>
                </c:pt>
                <c:pt idx="115">
                  <c:v>-9.169785641374617E-2</c:v>
                </c:pt>
                <c:pt idx="116">
                  <c:v>-8.7307925596441516E-2</c:v>
                </c:pt>
                <c:pt idx="117">
                  <c:v>-8.2101018350731247E-2</c:v>
                </c:pt>
                <c:pt idx="118">
                  <c:v>-7.4831825562514442E-2</c:v>
                </c:pt>
                <c:pt idx="119">
                  <c:v>-6.6406026310446564E-2</c:v>
                </c:pt>
                <c:pt idx="120">
                  <c:v>-5.7670775619628301E-2</c:v>
                </c:pt>
                <c:pt idx="121">
                  <c:v>-5.0985003787457406E-2</c:v>
                </c:pt>
                <c:pt idx="122">
                  <c:v>-4.4030157349653432E-2</c:v>
                </c:pt>
                <c:pt idx="123">
                  <c:v>-3.6610653888303979E-2</c:v>
                </c:pt>
                <c:pt idx="124">
                  <c:v>-2.9393465594009904E-2</c:v>
                </c:pt>
                <c:pt idx="125">
                  <c:v>-2.4210675350417654E-2</c:v>
                </c:pt>
                <c:pt idx="126">
                  <c:v>-2.2403225188017295E-2</c:v>
                </c:pt>
                <c:pt idx="127">
                  <c:v>-2.2068464021682832E-2</c:v>
                </c:pt>
                <c:pt idx="128">
                  <c:v>-2.3121611368633221E-2</c:v>
                </c:pt>
                <c:pt idx="129">
                  <c:v>-2.516947408812098E-2</c:v>
                </c:pt>
                <c:pt idx="130">
                  <c:v>-2.9569083675993757E-2</c:v>
                </c:pt>
                <c:pt idx="131">
                  <c:v>-3.4477374745587874E-2</c:v>
                </c:pt>
                <c:pt idx="132">
                  <c:v>-3.9455774723313075E-2</c:v>
                </c:pt>
                <c:pt idx="133">
                  <c:v>-4.3693764093862386E-2</c:v>
                </c:pt>
                <c:pt idx="134">
                  <c:v>-4.8301844668322547E-2</c:v>
                </c:pt>
                <c:pt idx="135">
                  <c:v>-5.3972219279218026E-2</c:v>
                </c:pt>
                <c:pt idx="136">
                  <c:v>-5.9313058794675744E-2</c:v>
                </c:pt>
                <c:pt idx="137">
                  <c:v>-6.293249698647263E-2</c:v>
                </c:pt>
                <c:pt idx="138">
                  <c:v>-6.2911476806015498E-2</c:v>
                </c:pt>
                <c:pt idx="139">
                  <c:v>-6.1181838666065747E-2</c:v>
                </c:pt>
                <c:pt idx="140">
                  <c:v>-5.8103542110753303E-2</c:v>
                </c:pt>
                <c:pt idx="141">
                  <c:v>-5.5312473259362838E-2</c:v>
                </c:pt>
                <c:pt idx="142">
                  <c:v>-5.1805409626171972E-2</c:v>
                </c:pt>
                <c:pt idx="143">
                  <c:v>-4.8581593051192029E-2</c:v>
                </c:pt>
                <c:pt idx="144">
                  <c:v>-4.4613249240668784E-2</c:v>
                </c:pt>
                <c:pt idx="145">
                  <c:v>-4.0442893163989524E-2</c:v>
                </c:pt>
                <c:pt idx="146">
                  <c:v>-3.4848191612271373E-2</c:v>
                </c:pt>
                <c:pt idx="147">
                  <c:v>-2.8057104459664917E-2</c:v>
                </c:pt>
                <c:pt idx="148">
                  <c:v>-2.0075490480733316E-2</c:v>
                </c:pt>
                <c:pt idx="149">
                  <c:v>-1.2422952088854466E-2</c:v>
                </c:pt>
                <c:pt idx="150">
                  <c:v>-5.6802893957965672E-3</c:v>
                </c:pt>
                <c:pt idx="151">
                  <c:v>4.6802152899028115E-4</c:v>
                </c:pt>
                <c:pt idx="152">
                  <c:v>6.5365378017732123E-3</c:v>
                </c:pt>
                <c:pt idx="153">
                  <c:v>1.3369645951968323E-2</c:v>
                </c:pt>
                <c:pt idx="154">
                  <c:v>2.0454380313415843E-2</c:v>
                </c:pt>
                <c:pt idx="155">
                  <c:v>2.7849945368459306E-2</c:v>
                </c:pt>
                <c:pt idx="156">
                  <c:v>3.5238193655058314E-2</c:v>
                </c:pt>
                <c:pt idx="157">
                  <c:v>4.2579334424175386E-2</c:v>
                </c:pt>
                <c:pt idx="158">
                  <c:v>4.9097946757894917E-2</c:v>
                </c:pt>
                <c:pt idx="159">
                  <c:v>5.4683614928378255E-2</c:v>
                </c:pt>
                <c:pt idx="160">
                  <c:v>5.9736961451247073E-2</c:v>
                </c:pt>
                <c:pt idx="161">
                  <c:v>6.507908749374347E-2</c:v>
                </c:pt>
                <c:pt idx="162">
                  <c:v>7.0338855648095278E-2</c:v>
                </c:pt>
                <c:pt idx="163">
                  <c:v>7.5124297546435459E-2</c:v>
                </c:pt>
                <c:pt idx="164">
                  <c:v>7.9202769854510802E-2</c:v>
                </c:pt>
                <c:pt idx="165">
                  <c:v>8.2371449172590872E-2</c:v>
                </c:pt>
                <c:pt idx="166">
                  <c:v>8.4236260280312836E-2</c:v>
                </c:pt>
                <c:pt idx="167">
                  <c:v>8.5236936596428281E-2</c:v>
                </c:pt>
                <c:pt idx="168">
                  <c:v>8.5052787335736957E-2</c:v>
                </c:pt>
                <c:pt idx="169">
                  <c:v>8.4323712507074156E-2</c:v>
                </c:pt>
                <c:pt idx="170">
                  <c:v>8.1546953645836417E-2</c:v>
                </c:pt>
                <c:pt idx="171">
                  <c:v>7.7838664604308994E-2</c:v>
                </c:pt>
                <c:pt idx="172">
                  <c:v>7.3322149565773209E-2</c:v>
                </c:pt>
                <c:pt idx="173">
                  <c:v>6.8825337870355163E-2</c:v>
                </c:pt>
                <c:pt idx="174">
                  <c:v>6.3912984853251809E-2</c:v>
                </c:pt>
                <c:pt idx="175">
                  <c:v>5.8645677022029163E-2</c:v>
                </c:pt>
                <c:pt idx="176">
                  <c:v>5.3658698759932122E-2</c:v>
                </c:pt>
                <c:pt idx="177">
                  <c:v>4.9621220462903848E-2</c:v>
                </c:pt>
                <c:pt idx="178">
                  <c:v>4.6929214872867053E-2</c:v>
                </c:pt>
                <c:pt idx="179">
                  <c:v>4.5004108597580528E-2</c:v>
                </c:pt>
                <c:pt idx="180">
                  <c:v>4.318933281382753E-2</c:v>
                </c:pt>
                <c:pt idx="181">
                  <c:v>4.1672944063017914E-2</c:v>
                </c:pt>
                <c:pt idx="182">
                  <c:v>4.1664881538922893E-2</c:v>
                </c:pt>
                <c:pt idx="183">
                  <c:v>4.2710511715249089E-2</c:v>
                </c:pt>
                <c:pt idx="184">
                  <c:v>4.4066048568876859E-2</c:v>
                </c:pt>
                <c:pt idx="185">
                  <c:v>4.4639972030491082E-2</c:v>
                </c:pt>
                <c:pt idx="186">
                  <c:v>4.5139622322673212E-2</c:v>
                </c:pt>
                <c:pt idx="187">
                  <c:v>4.6491653317595416E-2</c:v>
                </c:pt>
                <c:pt idx="188">
                  <c:v>4.8223056616077065E-2</c:v>
                </c:pt>
                <c:pt idx="189">
                  <c:v>4.9530813169751831E-2</c:v>
                </c:pt>
                <c:pt idx="190">
                  <c:v>4.9838732442223366E-2</c:v>
                </c:pt>
                <c:pt idx="191">
                  <c:v>5.0377282834542347E-2</c:v>
                </c:pt>
                <c:pt idx="192">
                  <c:v>5.1397505861847215E-2</c:v>
                </c:pt>
                <c:pt idx="193">
                  <c:v>5.2387175421106713E-2</c:v>
                </c:pt>
                <c:pt idx="194">
                  <c:v>5.2218931869126184E-2</c:v>
                </c:pt>
                <c:pt idx="195">
                  <c:v>5.2227122494295397E-2</c:v>
                </c:pt>
                <c:pt idx="196">
                  <c:v>5.2104708416287782E-2</c:v>
                </c:pt>
                <c:pt idx="197">
                  <c:v>5.2737266992555876E-2</c:v>
                </c:pt>
                <c:pt idx="198">
                  <c:v>5.3376179793447776E-2</c:v>
                </c:pt>
                <c:pt idx="199">
                  <c:v>5.3978116707536383E-2</c:v>
                </c:pt>
                <c:pt idx="200">
                  <c:v>5.4528214801733865E-2</c:v>
                </c:pt>
                <c:pt idx="201">
                  <c:v>5.5229594386582148E-2</c:v>
                </c:pt>
                <c:pt idx="202">
                  <c:v>5.6639662203544328E-2</c:v>
                </c:pt>
                <c:pt idx="203">
                  <c:v>5.7494856349619594E-2</c:v>
                </c:pt>
                <c:pt idx="204">
                  <c:v>5.7849812512334786E-2</c:v>
                </c:pt>
                <c:pt idx="205">
                  <c:v>5.7892696047393999E-2</c:v>
                </c:pt>
                <c:pt idx="206">
                  <c:v>5.8827840617594607E-2</c:v>
                </c:pt>
                <c:pt idx="207">
                  <c:v>5.9777693497097273E-2</c:v>
                </c:pt>
                <c:pt idx="208">
                  <c:v>6.0626445849021993E-2</c:v>
                </c:pt>
                <c:pt idx="209">
                  <c:v>6.1154891042561887E-2</c:v>
                </c:pt>
                <c:pt idx="210">
                  <c:v>6.1511895625479651E-2</c:v>
                </c:pt>
                <c:pt idx="211">
                  <c:v>6.2063166745493614E-2</c:v>
                </c:pt>
                <c:pt idx="212">
                  <c:v>6.2864836320214001E-2</c:v>
                </c:pt>
                <c:pt idx="213">
                  <c:v>6.385246018101487E-2</c:v>
                </c:pt>
                <c:pt idx="214">
                  <c:v>6.4531634355296186E-2</c:v>
                </c:pt>
                <c:pt idx="215">
                  <c:v>6.5184573984303995E-2</c:v>
                </c:pt>
                <c:pt idx="216">
                  <c:v>6.5772719852615458E-2</c:v>
                </c:pt>
                <c:pt idx="217">
                  <c:v>6.6588102109180092E-2</c:v>
                </c:pt>
                <c:pt idx="218">
                  <c:v>6.7017373849242112E-2</c:v>
                </c:pt>
                <c:pt idx="219">
                  <c:v>6.6985997173741429E-2</c:v>
                </c:pt>
                <c:pt idx="220">
                  <c:v>6.6747888461485827E-2</c:v>
                </c:pt>
                <c:pt idx="221">
                  <c:v>6.628234226055385E-2</c:v>
                </c:pt>
                <c:pt idx="222">
                  <c:v>6.6144308281820496E-2</c:v>
                </c:pt>
                <c:pt idx="223">
                  <c:v>6.5750528541226316E-2</c:v>
                </c:pt>
                <c:pt idx="224">
                  <c:v>6.4898326402907713E-2</c:v>
                </c:pt>
                <c:pt idx="225">
                  <c:v>6.3470228158041264E-2</c:v>
                </c:pt>
                <c:pt idx="226">
                  <c:v>6.1814962372731319E-2</c:v>
                </c:pt>
                <c:pt idx="227">
                  <c:v>6.0108447840286017E-2</c:v>
                </c:pt>
                <c:pt idx="228">
                  <c:v>5.856713361078647E-2</c:v>
                </c:pt>
                <c:pt idx="229">
                  <c:v>5.6336619019861978E-2</c:v>
                </c:pt>
                <c:pt idx="230">
                  <c:v>5.3730517065407213E-2</c:v>
                </c:pt>
                <c:pt idx="231">
                  <c:v>5.0740466812294605E-2</c:v>
                </c:pt>
                <c:pt idx="232">
                  <c:v>4.80150226066276E-2</c:v>
                </c:pt>
                <c:pt idx="233">
                  <c:v>4.5593481536981395E-2</c:v>
                </c:pt>
                <c:pt idx="234">
                  <c:v>4.333692178586257E-2</c:v>
                </c:pt>
                <c:pt idx="235">
                  <c:v>4.1375613585619142E-2</c:v>
                </c:pt>
                <c:pt idx="236">
                  <c:v>3.9754529023580343E-2</c:v>
                </c:pt>
                <c:pt idx="237">
                  <c:v>3.8529483175793855E-2</c:v>
                </c:pt>
                <c:pt idx="238">
                  <c:v>3.7367007971183641E-2</c:v>
                </c:pt>
                <c:pt idx="239">
                  <c:v>3.6522836633272826E-2</c:v>
                </c:pt>
                <c:pt idx="240">
                  <c:v>3.6223076605068405E-2</c:v>
                </c:pt>
                <c:pt idx="241">
                  <c:v>3.6926003862673307E-2</c:v>
                </c:pt>
                <c:pt idx="242">
                  <c:v>3.8772511614926231E-2</c:v>
                </c:pt>
                <c:pt idx="243">
                  <c:v>4.0813403395046466E-2</c:v>
                </c:pt>
                <c:pt idx="244">
                  <c:v>4.1533676726284163E-2</c:v>
                </c:pt>
                <c:pt idx="245">
                  <c:v>4.1862775434424959E-2</c:v>
                </c:pt>
                <c:pt idx="246">
                  <c:v>4.4006710891386636E-2</c:v>
                </c:pt>
                <c:pt idx="247">
                  <c:v>4.9446763668787641E-2</c:v>
                </c:pt>
                <c:pt idx="248">
                  <c:v>5.6959671420717228E-2</c:v>
                </c:pt>
                <c:pt idx="249">
                  <c:v>6.5348306635602205E-2</c:v>
                </c:pt>
                <c:pt idx="250">
                  <c:v>7.4421184196248769E-2</c:v>
                </c:pt>
                <c:pt idx="251">
                  <c:v>8.311703917327562E-2</c:v>
                </c:pt>
                <c:pt idx="252">
                  <c:v>9.1820532052407255E-2</c:v>
                </c:pt>
                <c:pt idx="253">
                  <c:v>0.10025257740147109</c:v>
                </c:pt>
                <c:pt idx="254">
                  <c:v>0.10917862180411619</c:v>
                </c:pt>
                <c:pt idx="255">
                  <c:v>0.11910556798477567</c:v>
                </c:pt>
                <c:pt idx="256">
                  <c:v>0.13395145425617794</c:v>
                </c:pt>
                <c:pt idx="257">
                  <c:v>0.1525592628197614</c:v>
                </c:pt>
                <c:pt idx="258">
                  <c:v>0.17066147859922176</c:v>
                </c:pt>
                <c:pt idx="259">
                  <c:v>0.18292974935310702</c:v>
                </c:pt>
                <c:pt idx="260">
                  <c:v>0.18931147641303769</c:v>
                </c:pt>
                <c:pt idx="261">
                  <c:v>0.19214674344868299</c:v>
                </c:pt>
                <c:pt idx="262">
                  <c:v>0.19319979801380249</c:v>
                </c:pt>
                <c:pt idx="263">
                  <c:v>0.19581304014999379</c:v>
                </c:pt>
                <c:pt idx="264">
                  <c:v>0.19888404520822744</c:v>
                </c:pt>
                <c:pt idx="265">
                  <c:v>0.20308755161560454</c:v>
                </c:pt>
                <c:pt idx="266">
                  <c:v>0.20607910747616942</c:v>
                </c:pt>
                <c:pt idx="267">
                  <c:v>0.20912019843932805</c:v>
                </c:pt>
                <c:pt idx="268">
                  <c:v>0.20669481469216544</c:v>
                </c:pt>
              </c:numCache>
            </c:numRef>
          </c:val>
          <c:smooth val="0"/>
          <c:extLst>
            <c:ext xmlns:c16="http://schemas.microsoft.com/office/drawing/2014/chart" uri="{C3380CC4-5D6E-409C-BE32-E72D297353CC}">
              <c16:uniqueId val="{00000000-038F-4BEF-B31D-29B6BA97E513}"/>
            </c:ext>
          </c:extLst>
        </c:ser>
        <c:ser>
          <c:idx val="1"/>
          <c:order val="1"/>
          <c:tx>
            <c:strRef>
              <c:f>'Home _Food Price'!$C$4</c:f>
              <c:strCache>
                <c:ptCount val="1"/>
                <c:pt idx="0">
                  <c:v>PPI Food Manufacturing</c:v>
                </c:pt>
              </c:strCache>
            </c:strRef>
          </c:tx>
          <c:spPr>
            <a:ln w="28575" cap="rnd">
              <a:solidFill>
                <a:srgbClr val="7A9A3D"/>
              </a:solidFill>
              <a:round/>
            </a:ln>
            <a:effectLst/>
          </c:spPr>
          <c:marker>
            <c:symbol val="none"/>
          </c:marker>
          <c:cat>
            <c:numRef>
              <c:f>'Home _Food Price'!$A$5:$A$273</c:f>
              <c:numCache>
                <c:formatCode>yyyymm</c:formatCode>
                <c:ptCount val="269"/>
                <c:pt idx="0">
                  <c:v>36556</c:v>
                </c:pt>
                <c:pt idx="1">
                  <c:v>36585</c:v>
                </c:pt>
                <c:pt idx="2">
                  <c:v>36616</c:v>
                </c:pt>
                <c:pt idx="3">
                  <c:v>36646</c:v>
                </c:pt>
                <c:pt idx="4">
                  <c:v>36677</c:v>
                </c:pt>
                <c:pt idx="5">
                  <c:v>36707</c:v>
                </c:pt>
                <c:pt idx="6">
                  <c:v>36738</c:v>
                </c:pt>
                <c:pt idx="7">
                  <c:v>36769</c:v>
                </c:pt>
                <c:pt idx="8">
                  <c:v>36799</c:v>
                </c:pt>
                <c:pt idx="9">
                  <c:v>36830</c:v>
                </c:pt>
                <c:pt idx="10">
                  <c:v>36860</c:v>
                </c:pt>
                <c:pt idx="11">
                  <c:v>36891</c:v>
                </c:pt>
                <c:pt idx="12">
                  <c:v>36922</c:v>
                </c:pt>
                <c:pt idx="13">
                  <c:v>36950</c:v>
                </c:pt>
                <c:pt idx="14">
                  <c:v>36981</c:v>
                </c:pt>
                <c:pt idx="15">
                  <c:v>37011</c:v>
                </c:pt>
                <c:pt idx="16">
                  <c:v>37042</c:v>
                </c:pt>
                <c:pt idx="17">
                  <c:v>37072</c:v>
                </c:pt>
                <c:pt idx="18">
                  <c:v>37103</c:v>
                </c:pt>
                <c:pt idx="19">
                  <c:v>37134</c:v>
                </c:pt>
                <c:pt idx="20">
                  <c:v>37164</c:v>
                </c:pt>
                <c:pt idx="21">
                  <c:v>37195</c:v>
                </c:pt>
                <c:pt idx="22">
                  <c:v>37225</c:v>
                </c:pt>
                <c:pt idx="23">
                  <c:v>37256</c:v>
                </c:pt>
                <c:pt idx="24">
                  <c:v>37287</c:v>
                </c:pt>
                <c:pt idx="25">
                  <c:v>37315</c:v>
                </c:pt>
                <c:pt idx="26">
                  <c:v>37346</c:v>
                </c:pt>
                <c:pt idx="27">
                  <c:v>37376</c:v>
                </c:pt>
                <c:pt idx="28">
                  <c:v>37407</c:v>
                </c:pt>
                <c:pt idx="29">
                  <c:v>37437</c:v>
                </c:pt>
                <c:pt idx="30">
                  <c:v>37468</c:v>
                </c:pt>
                <c:pt idx="31">
                  <c:v>37499</c:v>
                </c:pt>
                <c:pt idx="32">
                  <c:v>37529</c:v>
                </c:pt>
                <c:pt idx="33">
                  <c:v>37560</c:v>
                </c:pt>
                <c:pt idx="34">
                  <c:v>37590</c:v>
                </c:pt>
                <c:pt idx="35">
                  <c:v>37621</c:v>
                </c:pt>
                <c:pt idx="36">
                  <c:v>37652</c:v>
                </c:pt>
                <c:pt idx="37">
                  <c:v>37680</c:v>
                </c:pt>
                <c:pt idx="38">
                  <c:v>37711</c:v>
                </c:pt>
                <c:pt idx="39">
                  <c:v>37741</c:v>
                </c:pt>
                <c:pt idx="40">
                  <c:v>37772</c:v>
                </c:pt>
                <c:pt idx="41">
                  <c:v>37802</c:v>
                </c:pt>
                <c:pt idx="42">
                  <c:v>37833</c:v>
                </c:pt>
                <c:pt idx="43">
                  <c:v>37864</c:v>
                </c:pt>
                <c:pt idx="44">
                  <c:v>37894</c:v>
                </c:pt>
                <c:pt idx="45">
                  <c:v>37925</c:v>
                </c:pt>
                <c:pt idx="46">
                  <c:v>37955</c:v>
                </c:pt>
                <c:pt idx="47">
                  <c:v>37986</c:v>
                </c:pt>
                <c:pt idx="48">
                  <c:v>38017</c:v>
                </c:pt>
                <c:pt idx="49">
                  <c:v>38046</c:v>
                </c:pt>
                <c:pt idx="50">
                  <c:v>38077</c:v>
                </c:pt>
                <c:pt idx="51">
                  <c:v>38107</c:v>
                </c:pt>
                <c:pt idx="52">
                  <c:v>38138</c:v>
                </c:pt>
                <c:pt idx="53">
                  <c:v>38168</c:v>
                </c:pt>
                <c:pt idx="54">
                  <c:v>38199</c:v>
                </c:pt>
                <c:pt idx="55">
                  <c:v>38230</c:v>
                </c:pt>
                <c:pt idx="56">
                  <c:v>38260</c:v>
                </c:pt>
                <c:pt idx="57">
                  <c:v>38291</c:v>
                </c:pt>
                <c:pt idx="58">
                  <c:v>38321</c:v>
                </c:pt>
                <c:pt idx="59">
                  <c:v>38352</c:v>
                </c:pt>
                <c:pt idx="60">
                  <c:v>38383</c:v>
                </c:pt>
                <c:pt idx="61">
                  <c:v>38411</c:v>
                </c:pt>
                <c:pt idx="62">
                  <c:v>38442</c:v>
                </c:pt>
                <c:pt idx="63">
                  <c:v>38472</c:v>
                </c:pt>
                <c:pt idx="64">
                  <c:v>38503</c:v>
                </c:pt>
                <c:pt idx="65">
                  <c:v>38533</c:v>
                </c:pt>
                <c:pt idx="66">
                  <c:v>38564</c:v>
                </c:pt>
                <c:pt idx="67">
                  <c:v>38595</c:v>
                </c:pt>
                <c:pt idx="68">
                  <c:v>38625</c:v>
                </c:pt>
                <c:pt idx="69">
                  <c:v>38656</c:v>
                </c:pt>
                <c:pt idx="70">
                  <c:v>38686</c:v>
                </c:pt>
                <c:pt idx="71">
                  <c:v>38717</c:v>
                </c:pt>
                <c:pt idx="72">
                  <c:v>38748</c:v>
                </c:pt>
                <c:pt idx="73">
                  <c:v>38776</c:v>
                </c:pt>
                <c:pt idx="74">
                  <c:v>38807</c:v>
                </c:pt>
                <c:pt idx="75">
                  <c:v>38837</c:v>
                </c:pt>
                <c:pt idx="76">
                  <c:v>38868</c:v>
                </c:pt>
                <c:pt idx="77">
                  <c:v>38898</c:v>
                </c:pt>
                <c:pt idx="78">
                  <c:v>38929</c:v>
                </c:pt>
                <c:pt idx="79">
                  <c:v>38960</c:v>
                </c:pt>
                <c:pt idx="80">
                  <c:v>38990</c:v>
                </c:pt>
                <c:pt idx="81">
                  <c:v>39021</c:v>
                </c:pt>
                <c:pt idx="82">
                  <c:v>39051</c:v>
                </c:pt>
                <c:pt idx="83">
                  <c:v>39082</c:v>
                </c:pt>
                <c:pt idx="84">
                  <c:v>39113</c:v>
                </c:pt>
                <c:pt idx="85">
                  <c:v>39141</c:v>
                </c:pt>
                <c:pt idx="86">
                  <c:v>39172</c:v>
                </c:pt>
                <c:pt idx="87">
                  <c:v>39202</c:v>
                </c:pt>
                <c:pt idx="88">
                  <c:v>39233</c:v>
                </c:pt>
                <c:pt idx="89">
                  <c:v>39263</c:v>
                </c:pt>
                <c:pt idx="90">
                  <c:v>39294</c:v>
                </c:pt>
                <c:pt idx="91">
                  <c:v>39325</c:v>
                </c:pt>
                <c:pt idx="92">
                  <c:v>39355</c:v>
                </c:pt>
                <c:pt idx="93">
                  <c:v>39386</c:v>
                </c:pt>
                <c:pt idx="94">
                  <c:v>39416</c:v>
                </c:pt>
                <c:pt idx="95">
                  <c:v>39447</c:v>
                </c:pt>
                <c:pt idx="96">
                  <c:v>39478</c:v>
                </c:pt>
                <c:pt idx="97">
                  <c:v>39507</c:v>
                </c:pt>
                <c:pt idx="98">
                  <c:v>39538</c:v>
                </c:pt>
                <c:pt idx="99">
                  <c:v>39568</c:v>
                </c:pt>
                <c:pt idx="100">
                  <c:v>39599</c:v>
                </c:pt>
                <c:pt idx="101">
                  <c:v>39629</c:v>
                </c:pt>
                <c:pt idx="102">
                  <c:v>39660</c:v>
                </c:pt>
                <c:pt idx="103">
                  <c:v>39691</c:v>
                </c:pt>
                <c:pt idx="104">
                  <c:v>39721</c:v>
                </c:pt>
                <c:pt idx="105">
                  <c:v>39752</c:v>
                </c:pt>
                <c:pt idx="106">
                  <c:v>39782</c:v>
                </c:pt>
                <c:pt idx="107">
                  <c:v>39813</c:v>
                </c:pt>
                <c:pt idx="108">
                  <c:v>39844</c:v>
                </c:pt>
                <c:pt idx="109">
                  <c:v>39872</c:v>
                </c:pt>
                <c:pt idx="110">
                  <c:v>39903</c:v>
                </c:pt>
                <c:pt idx="111">
                  <c:v>39933</c:v>
                </c:pt>
                <c:pt idx="112">
                  <c:v>39964</c:v>
                </c:pt>
                <c:pt idx="113">
                  <c:v>39994</c:v>
                </c:pt>
                <c:pt idx="114">
                  <c:v>40025</c:v>
                </c:pt>
                <c:pt idx="115">
                  <c:v>40056</c:v>
                </c:pt>
                <c:pt idx="116">
                  <c:v>40086</c:v>
                </c:pt>
                <c:pt idx="117">
                  <c:v>40117</c:v>
                </c:pt>
                <c:pt idx="118">
                  <c:v>40147</c:v>
                </c:pt>
                <c:pt idx="119">
                  <c:v>40178</c:v>
                </c:pt>
                <c:pt idx="120">
                  <c:v>40209</c:v>
                </c:pt>
                <c:pt idx="121">
                  <c:v>40237</c:v>
                </c:pt>
                <c:pt idx="122">
                  <c:v>40268</c:v>
                </c:pt>
                <c:pt idx="123">
                  <c:v>40298</c:v>
                </c:pt>
                <c:pt idx="124">
                  <c:v>40329</c:v>
                </c:pt>
                <c:pt idx="125">
                  <c:v>40359</c:v>
                </c:pt>
                <c:pt idx="126">
                  <c:v>40390</c:v>
                </c:pt>
                <c:pt idx="127">
                  <c:v>40421</c:v>
                </c:pt>
                <c:pt idx="128">
                  <c:v>40451</c:v>
                </c:pt>
                <c:pt idx="129">
                  <c:v>40482</c:v>
                </c:pt>
                <c:pt idx="130">
                  <c:v>40512</c:v>
                </c:pt>
                <c:pt idx="131">
                  <c:v>40543</c:v>
                </c:pt>
                <c:pt idx="132">
                  <c:v>40574</c:v>
                </c:pt>
                <c:pt idx="133">
                  <c:v>40602</c:v>
                </c:pt>
                <c:pt idx="134">
                  <c:v>40633</c:v>
                </c:pt>
                <c:pt idx="135">
                  <c:v>40663</c:v>
                </c:pt>
                <c:pt idx="136">
                  <c:v>40694</c:v>
                </c:pt>
                <c:pt idx="137">
                  <c:v>40724</c:v>
                </c:pt>
                <c:pt idx="138">
                  <c:v>40755</c:v>
                </c:pt>
                <c:pt idx="139">
                  <c:v>40786</c:v>
                </c:pt>
                <c:pt idx="140">
                  <c:v>40816</c:v>
                </c:pt>
                <c:pt idx="141">
                  <c:v>40847</c:v>
                </c:pt>
                <c:pt idx="142">
                  <c:v>40877</c:v>
                </c:pt>
                <c:pt idx="143">
                  <c:v>40908</c:v>
                </c:pt>
                <c:pt idx="144">
                  <c:v>40939</c:v>
                </c:pt>
                <c:pt idx="145">
                  <c:v>40968</c:v>
                </c:pt>
                <c:pt idx="146">
                  <c:v>40999</c:v>
                </c:pt>
                <c:pt idx="147">
                  <c:v>41029</c:v>
                </c:pt>
                <c:pt idx="148">
                  <c:v>41060</c:v>
                </c:pt>
                <c:pt idx="149">
                  <c:v>41090</c:v>
                </c:pt>
                <c:pt idx="150">
                  <c:v>41121</c:v>
                </c:pt>
                <c:pt idx="151">
                  <c:v>41152</c:v>
                </c:pt>
                <c:pt idx="152">
                  <c:v>41182</c:v>
                </c:pt>
                <c:pt idx="153">
                  <c:v>41213</c:v>
                </c:pt>
                <c:pt idx="154">
                  <c:v>41243</c:v>
                </c:pt>
                <c:pt idx="155">
                  <c:v>41274</c:v>
                </c:pt>
                <c:pt idx="156">
                  <c:v>41305</c:v>
                </c:pt>
                <c:pt idx="157">
                  <c:v>41333</c:v>
                </c:pt>
                <c:pt idx="158">
                  <c:v>41364</c:v>
                </c:pt>
                <c:pt idx="159">
                  <c:v>41394</c:v>
                </c:pt>
                <c:pt idx="160">
                  <c:v>41425</c:v>
                </c:pt>
                <c:pt idx="161">
                  <c:v>41455</c:v>
                </c:pt>
                <c:pt idx="162">
                  <c:v>41486</c:v>
                </c:pt>
                <c:pt idx="163">
                  <c:v>41517</c:v>
                </c:pt>
                <c:pt idx="164">
                  <c:v>41547</c:v>
                </c:pt>
                <c:pt idx="165">
                  <c:v>41578</c:v>
                </c:pt>
                <c:pt idx="166">
                  <c:v>41608</c:v>
                </c:pt>
                <c:pt idx="167">
                  <c:v>41639</c:v>
                </c:pt>
                <c:pt idx="168">
                  <c:v>41670</c:v>
                </c:pt>
                <c:pt idx="169">
                  <c:v>41698</c:v>
                </c:pt>
                <c:pt idx="170">
                  <c:v>41729</c:v>
                </c:pt>
                <c:pt idx="171">
                  <c:v>41759</c:v>
                </c:pt>
                <c:pt idx="172">
                  <c:v>41790</c:v>
                </c:pt>
                <c:pt idx="173">
                  <c:v>41820</c:v>
                </c:pt>
                <c:pt idx="174">
                  <c:v>41851</c:v>
                </c:pt>
                <c:pt idx="175">
                  <c:v>41882</c:v>
                </c:pt>
                <c:pt idx="176">
                  <c:v>41912</c:v>
                </c:pt>
                <c:pt idx="177">
                  <c:v>41943</c:v>
                </c:pt>
                <c:pt idx="178">
                  <c:v>41973</c:v>
                </c:pt>
                <c:pt idx="179">
                  <c:v>42004</c:v>
                </c:pt>
                <c:pt idx="180">
                  <c:v>42035</c:v>
                </c:pt>
                <c:pt idx="181">
                  <c:v>42063</c:v>
                </c:pt>
                <c:pt idx="182">
                  <c:v>42094</c:v>
                </c:pt>
                <c:pt idx="183">
                  <c:v>42124</c:v>
                </c:pt>
                <c:pt idx="184">
                  <c:v>42155</c:v>
                </c:pt>
                <c:pt idx="185">
                  <c:v>42185</c:v>
                </c:pt>
                <c:pt idx="186">
                  <c:v>42216</c:v>
                </c:pt>
                <c:pt idx="187">
                  <c:v>42247</c:v>
                </c:pt>
                <c:pt idx="188">
                  <c:v>42277</c:v>
                </c:pt>
                <c:pt idx="189">
                  <c:v>42308</c:v>
                </c:pt>
                <c:pt idx="190">
                  <c:v>42338</c:v>
                </c:pt>
                <c:pt idx="191">
                  <c:v>42369</c:v>
                </c:pt>
                <c:pt idx="192">
                  <c:v>42400</c:v>
                </c:pt>
                <c:pt idx="193">
                  <c:v>42429</c:v>
                </c:pt>
                <c:pt idx="194">
                  <c:v>42460</c:v>
                </c:pt>
                <c:pt idx="195">
                  <c:v>42490</c:v>
                </c:pt>
                <c:pt idx="196">
                  <c:v>42521</c:v>
                </c:pt>
                <c:pt idx="197">
                  <c:v>42551</c:v>
                </c:pt>
                <c:pt idx="198">
                  <c:v>42582</c:v>
                </c:pt>
                <c:pt idx="199">
                  <c:v>42613</c:v>
                </c:pt>
                <c:pt idx="200">
                  <c:v>42643</c:v>
                </c:pt>
                <c:pt idx="201">
                  <c:v>42674</c:v>
                </c:pt>
                <c:pt idx="202">
                  <c:v>42704</c:v>
                </c:pt>
                <c:pt idx="203">
                  <c:v>42735</c:v>
                </c:pt>
                <c:pt idx="204">
                  <c:v>42766</c:v>
                </c:pt>
                <c:pt idx="205">
                  <c:v>42794</c:v>
                </c:pt>
                <c:pt idx="206">
                  <c:v>42825</c:v>
                </c:pt>
                <c:pt idx="207">
                  <c:v>42855</c:v>
                </c:pt>
                <c:pt idx="208">
                  <c:v>42886</c:v>
                </c:pt>
                <c:pt idx="209">
                  <c:v>42916</c:v>
                </c:pt>
                <c:pt idx="210">
                  <c:v>42947</c:v>
                </c:pt>
                <c:pt idx="211">
                  <c:v>42978</c:v>
                </c:pt>
                <c:pt idx="212">
                  <c:v>43008</c:v>
                </c:pt>
                <c:pt idx="213">
                  <c:v>43039</c:v>
                </c:pt>
                <c:pt idx="214">
                  <c:v>43069</c:v>
                </c:pt>
                <c:pt idx="215">
                  <c:v>43100</c:v>
                </c:pt>
                <c:pt idx="216">
                  <c:v>43131</c:v>
                </c:pt>
                <c:pt idx="217">
                  <c:v>43159</c:v>
                </c:pt>
                <c:pt idx="218">
                  <c:v>43190</c:v>
                </c:pt>
                <c:pt idx="219">
                  <c:v>43220</c:v>
                </c:pt>
                <c:pt idx="220">
                  <c:v>43251</c:v>
                </c:pt>
                <c:pt idx="221">
                  <c:v>43281</c:v>
                </c:pt>
                <c:pt idx="222">
                  <c:v>43312</c:v>
                </c:pt>
                <c:pt idx="223">
                  <c:v>43343</c:v>
                </c:pt>
                <c:pt idx="224">
                  <c:v>43373</c:v>
                </c:pt>
                <c:pt idx="225">
                  <c:v>43404</c:v>
                </c:pt>
                <c:pt idx="226">
                  <c:v>43434</c:v>
                </c:pt>
                <c:pt idx="227">
                  <c:v>43465</c:v>
                </c:pt>
                <c:pt idx="228">
                  <c:v>43496</c:v>
                </c:pt>
                <c:pt idx="229">
                  <c:v>43524</c:v>
                </c:pt>
                <c:pt idx="230">
                  <c:v>43555</c:v>
                </c:pt>
                <c:pt idx="231">
                  <c:v>43585</c:v>
                </c:pt>
                <c:pt idx="232">
                  <c:v>43616</c:v>
                </c:pt>
                <c:pt idx="233">
                  <c:v>43646</c:v>
                </c:pt>
                <c:pt idx="234">
                  <c:v>43677</c:v>
                </c:pt>
                <c:pt idx="235">
                  <c:v>43708</c:v>
                </c:pt>
                <c:pt idx="236">
                  <c:v>43738</c:v>
                </c:pt>
                <c:pt idx="237">
                  <c:v>43769</c:v>
                </c:pt>
                <c:pt idx="238">
                  <c:v>43799</c:v>
                </c:pt>
                <c:pt idx="239">
                  <c:v>43830</c:v>
                </c:pt>
                <c:pt idx="240">
                  <c:v>43861</c:v>
                </c:pt>
                <c:pt idx="241">
                  <c:v>43890</c:v>
                </c:pt>
                <c:pt idx="242">
                  <c:v>43921</c:v>
                </c:pt>
                <c:pt idx="243">
                  <c:v>43951</c:v>
                </c:pt>
                <c:pt idx="244">
                  <c:v>43982</c:v>
                </c:pt>
                <c:pt idx="245">
                  <c:v>44012</c:v>
                </c:pt>
                <c:pt idx="246">
                  <c:v>44043</c:v>
                </c:pt>
                <c:pt idx="247">
                  <c:v>44074</c:v>
                </c:pt>
                <c:pt idx="248">
                  <c:v>44104</c:v>
                </c:pt>
                <c:pt idx="249">
                  <c:v>44135</c:v>
                </c:pt>
                <c:pt idx="250">
                  <c:v>44165</c:v>
                </c:pt>
                <c:pt idx="251">
                  <c:v>44196</c:v>
                </c:pt>
                <c:pt idx="252">
                  <c:v>44227</c:v>
                </c:pt>
                <c:pt idx="253">
                  <c:v>44255</c:v>
                </c:pt>
                <c:pt idx="254">
                  <c:v>44286</c:v>
                </c:pt>
                <c:pt idx="255">
                  <c:v>44316</c:v>
                </c:pt>
                <c:pt idx="256">
                  <c:v>44347</c:v>
                </c:pt>
                <c:pt idx="257">
                  <c:v>44377</c:v>
                </c:pt>
                <c:pt idx="258">
                  <c:v>44408</c:v>
                </c:pt>
                <c:pt idx="259">
                  <c:v>44439</c:v>
                </c:pt>
                <c:pt idx="260">
                  <c:v>44469</c:v>
                </c:pt>
                <c:pt idx="261">
                  <c:v>44500</c:v>
                </c:pt>
                <c:pt idx="262">
                  <c:v>44530</c:v>
                </c:pt>
                <c:pt idx="263">
                  <c:v>44561</c:v>
                </c:pt>
                <c:pt idx="264">
                  <c:v>44592</c:v>
                </c:pt>
                <c:pt idx="265">
                  <c:v>44620</c:v>
                </c:pt>
                <c:pt idx="266">
                  <c:v>44651</c:v>
                </c:pt>
                <c:pt idx="267">
                  <c:v>44681</c:v>
                </c:pt>
                <c:pt idx="268">
                  <c:v>44712</c:v>
                </c:pt>
              </c:numCache>
            </c:numRef>
          </c:cat>
          <c:val>
            <c:numRef>
              <c:f>'Home _Food Price'!$C$5:$C$273</c:f>
              <c:numCache>
                <c:formatCode>0.00%</c:formatCode>
                <c:ptCount val="269"/>
                <c:pt idx="0">
                  <c:v>7.898894154818592E-4</c:v>
                </c:pt>
                <c:pt idx="1">
                  <c:v>1.1128775834658322E-2</c:v>
                </c:pt>
                <c:pt idx="2">
                  <c:v>1.4331210191082855E-2</c:v>
                </c:pt>
                <c:pt idx="3">
                  <c:v>3.0571198712791681E-2</c:v>
                </c:pt>
                <c:pt idx="4">
                  <c:v>3.1923383878691203E-2</c:v>
                </c:pt>
                <c:pt idx="5">
                  <c:v>2.698412698412711E-2</c:v>
                </c:pt>
                <c:pt idx="6">
                  <c:v>2.7799841143764992E-2</c:v>
                </c:pt>
                <c:pt idx="7">
                  <c:v>1.4984227129337446E-2</c:v>
                </c:pt>
                <c:pt idx="8">
                  <c:v>7.8431372549019329E-3</c:v>
                </c:pt>
                <c:pt idx="9">
                  <c:v>9.4117647058822307E-3</c:v>
                </c:pt>
                <c:pt idx="10">
                  <c:v>1.3375295043273061E-2</c:v>
                </c:pt>
                <c:pt idx="11">
                  <c:v>2.2888713496448165E-2</c:v>
                </c:pt>
                <c:pt idx="12">
                  <c:v>2.8413575374901301E-2</c:v>
                </c:pt>
                <c:pt idx="13">
                  <c:v>2.8301886792452935E-2</c:v>
                </c:pt>
                <c:pt idx="14">
                  <c:v>3.4536891679748827E-2</c:v>
                </c:pt>
                <c:pt idx="15">
                  <c:v>3.4348165495706517E-2</c:v>
                </c:pt>
                <c:pt idx="16">
                  <c:v>3.1709203402938924E-2</c:v>
                </c:pt>
                <c:pt idx="17">
                  <c:v>3.3230293663060184E-2</c:v>
                </c:pt>
                <c:pt idx="18">
                  <c:v>3.5548686244204042E-2</c:v>
                </c:pt>
                <c:pt idx="19">
                  <c:v>4.5843045843045882E-2</c:v>
                </c:pt>
                <c:pt idx="20">
                  <c:v>4.6692607003891107E-2</c:v>
                </c:pt>
                <c:pt idx="21">
                  <c:v>4.1958041958042092E-2</c:v>
                </c:pt>
                <c:pt idx="22">
                  <c:v>2.7950310559006208E-2</c:v>
                </c:pt>
                <c:pt idx="23">
                  <c:v>1.620370370370372E-2</c:v>
                </c:pt>
                <c:pt idx="24">
                  <c:v>9.2095165003835966E-3</c:v>
                </c:pt>
                <c:pt idx="25">
                  <c:v>9.1743119266054496E-3</c:v>
                </c:pt>
                <c:pt idx="26">
                  <c:v>1.5174506828528056E-3</c:v>
                </c:pt>
                <c:pt idx="27">
                  <c:v>-7.547169811320753E-3</c:v>
                </c:pt>
                <c:pt idx="28">
                  <c:v>-1.8740629685157439E-2</c:v>
                </c:pt>
                <c:pt idx="29">
                  <c:v>-1.7950635751682653E-2</c:v>
                </c:pt>
                <c:pt idx="30">
                  <c:v>-1.8656716417910446E-2</c:v>
                </c:pt>
                <c:pt idx="31">
                  <c:v>-2.4517087667161874E-2</c:v>
                </c:pt>
                <c:pt idx="32">
                  <c:v>1.1895910780669094E-2</c:v>
                </c:pt>
                <c:pt idx="33">
                  <c:v>-1.8642803877703229E-2</c:v>
                </c:pt>
                <c:pt idx="34">
                  <c:v>-6.0422960725076136E-3</c:v>
                </c:pt>
                <c:pt idx="35">
                  <c:v>6.8337129840547739E-3</c:v>
                </c:pt>
                <c:pt idx="36">
                  <c:v>1.8250950570342317E-2</c:v>
                </c:pt>
                <c:pt idx="37">
                  <c:v>1.8939393939394034E-2</c:v>
                </c:pt>
                <c:pt idx="38">
                  <c:v>2.1212121212121238E-2</c:v>
                </c:pt>
                <c:pt idx="39">
                  <c:v>2.7376425855513364E-2</c:v>
                </c:pt>
                <c:pt idx="40">
                  <c:v>3.6669213139801204E-2</c:v>
                </c:pt>
                <c:pt idx="41">
                  <c:v>4.4173648134044008E-2</c:v>
                </c:pt>
                <c:pt idx="42">
                  <c:v>4.1825095057034245E-2</c:v>
                </c:pt>
                <c:pt idx="43">
                  <c:v>4.9504950495049549E-2</c:v>
                </c:pt>
                <c:pt idx="44">
                  <c:v>2.1307861866274758E-2</c:v>
                </c:pt>
                <c:pt idx="45">
                  <c:v>7.7507598784194665E-2</c:v>
                </c:pt>
                <c:pt idx="46">
                  <c:v>7.5227963525835939E-2</c:v>
                </c:pt>
                <c:pt idx="47">
                  <c:v>6.4102564102564097E-2</c:v>
                </c:pt>
                <c:pt idx="48">
                  <c:v>4.0328603435399568E-2</c:v>
                </c:pt>
                <c:pt idx="49">
                  <c:v>4.3866171003717591E-2</c:v>
                </c:pt>
                <c:pt idx="50">
                  <c:v>5.6379821958457033E-2</c:v>
                </c:pt>
                <c:pt idx="51">
                  <c:v>8.1421169504070967E-2</c:v>
                </c:pt>
                <c:pt idx="52">
                  <c:v>9.8747236551215867E-2</c:v>
                </c:pt>
                <c:pt idx="53">
                  <c:v>8.3880379285193207E-2</c:v>
                </c:pt>
                <c:pt idx="54">
                  <c:v>6.9343065693430628E-2</c:v>
                </c:pt>
                <c:pt idx="55">
                  <c:v>4.9346879535558719E-2</c:v>
                </c:pt>
                <c:pt idx="56">
                  <c:v>3.4532374100719521E-2</c:v>
                </c:pt>
                <c:pt idx="57">
                  <c:v>1.1988716502115526E-2</c:v>
                </c:pt>
                <c:pt idx="58">
                  <c:v>1.2720848056537282E-2</c:v>
                </c:pt>
                <c:pt idx="59">
                  <c:v>2.1970233876683176E-2</c:v>
                </c:pt>
                <c:pt idx="60">
                  <c:v>3.8765254845656738E-2</c:v>
                </c:pt>
                <c:pt idx="61">
                  <c:v>3.2763532763532721E-2</c:v>
                </c:pt>
                <c:pt idx="62">
                  <c:v>2.528089887640439E-2</c:v>
                </c:pt>
                <c:pt idx="63">
                  <c:v>1.368925393566256E-3</c:v>
                </c:pt>
                <c:pt idx="64">
                  <c:v>-1.341381623071769E-2</c:v>
                </c:pt>
                <c:pt idx="65">
                  <c:v>-1.4804845222072593E-2</c:v>
                </c:pt>
                <c:pt idx="66">
                  <c:v>-1.3651877133105117E-3</c:v>
                </c:pt>
                <c:pt idx="67">
                  <c:v>9.6818810511756226E-3</c:v>
                </c:pt>
                <c:pt idx="68">
                  <c:v>1.7385257301808066E-2</c:v>
                </c:pt>
                <c:pt idx="69">
                  <c:v>2.2299651567944112E-2</c:v>
                </c:pt>
                <c:pt idx="70">
                  <c:v>1.9539427773900719E-2</c:v>
                </c:pt>
                <c:pt idx="71">
                  <c:v>1.3869625520110951E-2</c:v>
                </c:pt>
                <c:pt idx="72">
                  <c:v>1.1748445058742396E-2</c:v>
                </c:pt>
                <c:pt idx="73">
                  <c:v>6.8965517241381669E-4</c:v>
                </c:pt>
                <c:pt idx="74">
                  <c:v>-5.4794520547946091E-3</c:v>
                </c:pt>
                <c:pt idx="75">
                  <c:v>-1.5037593984962516E-2</c:v>
                </c:pt>
                <c:pt idx="76">
                  <c:v>-1.6315431679129855E-2</c:v>
                </c:pt>
                <c:pt idx="77">
                  <c:v>0</c:v>
                </c:pt>
                <c:pt idx="78">
                  <c:v>7.5187969924812581E-3</c:v>
                </c:pt>
                <c:pt idx="79">
                  <c:v>1.0273972602739656E-2</c:v>
                </c:pt>
                <c:pt idx="80">
                  <c:v>1.0936431989063466E-2</c:v>
                </c:pt>
                <c:pt idx="81">
                  <c:v>6.1349693251533388E-3</c:v>
                </c:pt>
                <c:pt idx="82">
                  <c:v>1.9849418206707714E-2</c:v>
                </c:pt>
                <c:pt idx="83">
                  <c:v>2.4623803009576006E-2</c:v>
                </c:pt>
                <c:pt idx="84">
                  <c:v>3.5519125683060038E-2</c:v>
                </c:pt>
                <c:pt idx="85">
                  <c:v>5.9958649207443315E-2</c:v>
                </c:pt>
                <c:pt idx="86">
                  <c:v>7.3002754820936877E-2</c:v>
                </c:pt>
                <c:pt idx="87">
                  <c:v>8.8827203331020232E-2</c:v>
                </c:pt>
                <c:pt idx="88">
                  <c:v>9.675190048375959E-2</c:v>
                </c:pt>
                <c:pt idx="89">
                  <c:v>9.4945355191256908E-2</c:v>
                </c:pt>
                <c:pt idx="90">
                  <c:v>8.8195386702849321E-2</c:v>
                </c:pt>
                <c:pt idx="91">
                  <c:v>8.6779661016949339E-2</c:v>
                </c:pt>
                <c:pt idx="92">
                  <c:v>8.7221095334685694E-2</c:v>
                </c:pt>
                <c:pt idx="93">
                  <c:v>8.8753387533875294E-2</c:v>
                </c:pt>
                <c:pt idx="94">
                  <c:v>8.3221476510067172E-2</c:v>
                </c:pt>
                <c:pt idx="95">
                  <c:v>8.6782376502002601E-2</c:v>
                </c:pt>
                <c:pt idx="96">
                  <c:v>9.3667546174142524E-2</c:v>
                </c:pt>
                <c:pt idx="97">
                  <c:v>8.9076723016904946E-2</c:v>
                </c:pt>
                <c:pt idx="98">
                  <c:v>8.9858793324775421E-2</c:v>
                </c:pt>
                <c:pt idx="99">
                  <c:v>9.1140854047163655E-2</c:v>
                </c:pt>
                <c:pt idx="100">
                  <c:v>9.6408317580340297E-2</c:v>
                </c:pt>
                <c:pt idx="101">
                  <c:v>9.8565190268246949E-2</c:v>
                </c:pt>
                <c:pt idx="102">
                  <c:v>0.12406483790523692</c:v>
                </c:pt>
                <c:pt idx="103">
                  <c:v>0.12601372426699919</c:v>
                </c:pt>
                <c:pt idx="104">
                  <c:v>0.11442786069651723</c:v>
                </c:pt>
                <c:pt idx="105">
                  <c:v>9.7697573117610625E-2</c:v>
                </c:pt>
                <c:pt idx="106">
                  <c:v>7.4349442379182173E-2</c:v>
                </c:pt>
                <c:pt idx="107">
                  <c:v>5.0982800982800835E-2</c:v>
                </c:pt>
                <c:pt idx="108">
                  <c:v>2.5934861278648969E-2</c:v>
                </c:pt>
                <c:pt idx="109">
                  <c:v>7.1641791044776415E-3</c:v>
                </c:pt>
                <c:pt idx="110">
                  <c:v>-1.2956419316843437E-2</c:v>
                </c:pt>
                <c:pt idx="111">
                  <c:v>-1.5186915887850483E-2</c:v>
                </c:pt>
                <c:pt idx="112">
                  <c:v>-2.011494252873558E-2</c:v>
                </c:pt>
                <c:pt idx="113">
                  <c:v>-2.6689381033503601E-2</c:v>
                </c:pt>
                <c:pt idx="114">
                  <c:v>-5.8790904048807713E-2</c:v>
                </c:pt>
                <c:pt idx="115">
                  <c:v>-5.9833795013850444E-2</c:v>
                </c:pt>
                <c:pt idx="116">
                  <c:v>-5.4129464285714191E-2</c:v>
                </c:pt>
                <c:pt idx="117">
                  <c:v>-4.5918367346938771E-2</c:v>
                </c:pt>
                <c:pt idx="118">
                  <c:v>-2.4798154555940033E-2</c:v>
                </c:pt>
                <c:pt idx="119">
                  <c:v>5.8445353594382965E-4</c:v>
                </c:pt>
                <c:pt idx="120">
                  <c:v>1.2345679012345734E-2</c:v>
                </c:pt>
                <c:pt idx="121">
                  <c:v>2.1932424422051122E-2</c:v>
                </c:pt>
                <c:pt idx="122">
                  <c:v>2.9832935560859086E-2</c:v>
                </c:pt>
                <c:pt idx="123">
                  <c:v>2.9655990510083052E-2</c:v>
                </c:pt>
                <c:pt idx="124">
                  <c:v>3.1085043988269945E-2</c:v>
                </c:pt>
                <c:pt idx="125">
                  <c:v>1.8669778296382722E-2</c:v>
                </c:pt>
                <c:pt idx="126">
                  <c:v>2.8874484384207477E-2</c:v>
                </c:pt>
                <c:pt idx="127">
                  <c:v>3.2999410724808609E-2</c:v>
                </c:pt>
                <c:pt idx="128">
                  <c:v>4.6017699115044275E-2</c:v>
                </c:pt>
                <c:pt idx="129">
                  <c:v>5.8823529411764497E-2</c:v>
                </c:pt>
                <c:pt idx="130">
                  <c:v>6.0910703725606252E-2</c:v>
                </c:pt>
                <c:pt idx="131">
                  <c:v>5.0233644859813298E-2</c:v>
                </c:pt>
                <c:pt idx="132">
                  <c:v>5.1684088269454254E-2</c:v>
                </c:pt>
                <c:pt idx="133">
                  <c:v>7.0765661252900181E-2</c:v>
                </c:pt>
                <c:pt idx="134">
                  <c:v>8.8064889918887612E-2</c:v>
                </c:pt>
                <c:pt idx="135">
                  <c:v>9.9078341013824955E-2</c:v>
                </c:pt>
                <c:pt idx="136">
                  <c:v>8.7599544937428719E-2</c:v>
                </c:pt>
                <c:pt idx="137">
                  <c:v>9.8510882016036749E-2</c:v>
                </c:pt>
                <c:pt idx="138">
                  <c:v>0.10767468499427268</c:v>
                </c:pt>
                <c:pt idx="139">
                  <c:v>0.11523103251568734</c:v>
                </c:pt>
                <c:pt idx="140">
                  <c:v>0.10772701635645787</c:v>
                </c:pt>
                <c:pt idx="141">
                  <c:v>9.090909090909105E-2</c:v>
                </c:pt>
                <c:pt idx="142">
                  <c:v>8.5841694537346802E-2</c:v>
                </c:pt>
                <c:pt idx="143">
                  <c:v>8.0088987764182384E-2</c:v>
                </c:pt>
                <c:pt idx="144">
                  <c:v>7.6200993926007765E-2</c:v>
                </c:pt>
                <c:pt idx="145">
                  <c:v>5.5796316359696618E-2</c:v>
                </c:pt>
                <c:pt idx="146">
                  <c:v>4.2066027689030783E-2</c:v>
                </c:pt>
                <c:pt idx="147">
                  <c:v>2.7253668763102645E-2</c:v>
                </c:pt>
                <c:pt idx="148">
                  <c:v>2.8242677824267703E-2</c:v>
                </c:pt>
                <c:pt idx="149">
                  <c:v>2.7632950990615024E-2</c:v>
                </c:pt>
                <c:pt idx="150">
                  <c:v>2.4819027921406223E-2</c:v>
                </c:pt>
                <c:pt idx="151">
                  <c:v>2.6086956521739202E-2</c:v>
                </c:pt>
                <c:pt idx="152">
                  <c:v>2.9022403258655682E-2</c:v>
                </c:pt>
                <c:pt idx="153">
                  <c:v>4.1152263374485631E-2</c:v>
                </c:pt>
                <c:pt idx="154">
                  <c:v>4.0041067761806826E-2</c:v>
                </c:pt>
                <c:pt idx="155">
                  <c:v>3.8619979402677584E-2</c:v>
                </c:pt>
                <c:pt idx="156">
                  <c:v>2.9245767060030792E-2</c:v>
                </c:pt>
                <c:pt idx="157">
                  <c:v>2.9245767060030792E-2</c:v>
                </c:pt>
                <c:pt idx="158">
                  <c:v>2.6571282575370558E-2</c:v>
                </c:pt>
                <c:pt idx="159">
                  <c:v>2.3469387755101989E-2</c:v>
                </c:pt>
                <c:pt idx="160">
                  <c:v>2.5940996948117911E-2</c:v>
                </c:pt>
                <c:pt idx="161">
                  <c:v>2.8411973617453068E-2</c:v>
                </c:pt>
                <c:pt idx="162">
                  <c:v>2.5227043390514625E-2</c:v>
                </c:pt>
                <c:pt idx="163">
                  <c:v>8.4745762711864181E-3</c:v>
                </c:pt>
                <c:pt idx="164">
                  <c:v>1.4844136566056765E-3</c:v>
                </c:pt>
                <c:pt idx="165">
                  <c:v>-6.9169960474309011E-3</c:v>
                </c:pt>
                <c:pt idx="166">
                  <c:v>-1.1352418558736366E-2</c:v>
                </c:pt>
                <c:pt idx="167">
                  <c:v>-4.9578582052552944E-3</c:v>
                </c:pt>
                <c:pt idx="168">
                  <c:v>3.9880358923229942E-3</c:v>
                </c:pt>
                <c:pt idx="169">
                  <c:v>8.4745762711864181E-3</c:v>
                </c:pt>
                <c:pt idx="170">
                  <c:v>2.4888003982080686E-2</c:v>
                </c:pt>
                <c:pt idx="171">
                  <c:v>5.134596211365916E-2</c:v>
                </c:pt>
                <c:pt idx="172">
                  <c:v>4.610808130887456E-2</c:v>
                </c:pt>
                <c:pt idx="173">
                  <c:v>4.4893931919092411E-2</c:v>
                </c:pt>
                <c:pt idx="174">
                  <c:v>4.7736220472440971E-2</c:v>
                </c:pt>
                <c:pt idx="175">
                  <c:v>5.2397429560059328E-2</c:v>
                </c:pt>
                <c:pt idx="176">
                  <c:v>5.039525691699609E-2</c:v>
                </c:pt>
                <c:pt idx="177">
                  <c:v>5.37313432835822E-2</c:v>
                </c:pt>
                <c:pt idx="178">
                  <c:v>4.8427358961557587E-2</c:v>
                </c:pt>
                <c:pt idx="179">
                  <c:v>3.8863976083707064E-2</c:v>
                </c:pt>
                <c:pt idx="180">
                  <c:v>1.8371400198609722E-2</c:v>
                </c:pt>
                <c:pt idx="181">
                  <c:v>9.8863074641619697E-4</c:v>
                </c:pt>
                <c:pt idx="182">
                  <c:v>-1.9912578921806645E-2</c:v>
                </c:pt>
                <c:pt idx="183">
                  <c:v>-4.5993361782835529E-2</c:v>
                </c:pt>
                <c:pt idx="184">
                  <c:v>-3.9810426540284438E-2</c:v>
                </c:pt>
                <c:pt idx="185">
                  <c:v>-3.3994334277620442E-2</c:v>
                </c:pt>
                <c:pt idx="186">
                  <c:v>-4.4152184124001903E-2</c:v>
                </c:pt>
                <c:pt idx="187">
                  <c:v>-4.4152184124001903E-2</c:v>
                </c:pt>
                <c:pt idx="188">
                  <c:v>-5.2681091251175816E-2</c:v>
                </c:pt>
                <c:pt idx="189">
                  <c:v>-5.8073654390934926E-2</c:v>
                </c:pt>
                <c:pt idx="190">
                  <c:v>-5.6666666666666643E-2</c:v>
                </c:pt>
                <c:pt idx="191">
                  <c:v>-6.4268585131894485E-2</c:v>
                </c:pt>
                <c:pt idx="192">
                  <c:v>-5.7045343734763443E-2</c:v>
                </c:pt>
                <c:pt idx="193">
                  <c:v>-4.0493827160493767E-2</c:v>
                </c:pt>
                <c:pt idx="194">
                  <c:v>-3.815659068384547E-2</c:v>
                </c:pt>
                <c:pt idx="195">
                  <c:v>-3.1809145129224503E-2</c:v>
                </c:pt>
                <c:pt idx="196">
                  <c:v>-3.4057255676209319E-2</c:v>
                </c:pt>
                <c:pt idx="197">
                  <c:v>-3.4701857282502413E-2</c:v>
                </c:pt>
                <c:pt idx="198">
                  <c:v>-3.0466830466830408E-2</c:v>
                </c:pt>
                <c:pt idx="199">
                  <c:v>-3.587223587223598E-2</c:v>
                </c:pt>
                <c:pt idx="200">
                  <c:v>-2.6315789473684292E-2</c:v>
                </c:pt>
                <c:pt idx="201">
                  <c:v>-2.4561403508772006E-2</c:v>
                </c:pt>
                <c:pt idx="202">
                  <c:v>-2.3725391216557257E-2</c:v>
                </c:pt>
                <c:pt idx="203">
                  <c:v>-3.075345976422339E-3</c:v>
                </c:pt>
                <c:pt idx="204">
                  <c:v>9.3071354705274167E-3</c:v>
                </c:pt>
                <c:pt idx="205">
                  <c:v>6.1760164693771546E-3</c:v>
                </c:pt>
                <c:pt idx="206">
                  <c:v>1.3395157135497104E-2</c:v>
                </c:pt>
                <c:pt idx="207">
                  <c:v>1.2320328542094305E-2</c:v>
                </c:pt>
                <c:pt idx="208">
                  <c:v>1.6351558507920361E-2</c:v>
                </c:pt>
                <c:pt idx="209">
                  <c:v>1.9240506329113893E-2</c:v>
                </c:pt>
                <c:pt idx="210">
                  <c:v>1.5205271160668943E-2</c:v>
                </c:pt>
                <c:pt idx="211">
                  <c:v>2.0897043832823758E-2</c:v>
                </c:pt>
                <c:pt idx="212">
                  <c:v>1.2238653748087636E-2</c:v>
                </c:pt>
                <c:pt idx="213">
                  <c:v>1.747173689619741E-2</c:v>
                </c:pt>
                <c:pt idx="214">
                  <c:v>1.8097207859358866E-2</c:v>
                </c:pt>
                <c:pt idx="215">
                  <c:v>1.0796915167095023E-2</c:v>
                </c:pt>
                <c:pt idx="216">
                  <c:v>7.1721311475410054E-3</c:v>
                </c:pt>
                <c:pt idx="217">
                  <c:v>8.6956521739129933E-3</c:v>
                </c:pt>
                <c:pt idx="218">
                  <c:v>1.1184544992374201E-2</c:v>
                </c:pt>
                <c:pt idx="219">
                  <c:v>1.1156186612576224E-2</c:v>
                </c:pt>
                <c:pt idx="220">
                  <c:v>1.1060834590246316E-2</c:v>
                </c:pt>
                <c:pt idx="221">
                  <c:v>-5.464480874317057E-3</c:v>
                </c:pt>
                <c:pt idx="222">
                  <c:v>-7.4887668497254367E-3</c:v>
                </c:pt>
                <c:pt idx="223">
                  <c:v>-1.2980529206190861E-2</c:v>
                </c:pt>
                <c:pt idx="224">
                  <c:v>-7.0528967254408492E-3</c:v>
                </c:pt>
                <c:pt idx="225">
                  <c:v>-3.0303030303030498E-3</c:v>
                </c:pt>
                <c:pt idx="226">
                  <c:v>1.5236160487557271E-3</c:v>
                </c:pt>
                <c:pt idx="227">
                  <c:v>7.1210579857579059E-3</c:v>
                </c:pt>
                <c:pt idx="228">
                  <c:v>8.6469989827060445E-3</c:v>
                </c:pt>
                <c:pt idx="229">
                  <c:v>8.113590263691739E-3</c:v>
                </c:pt>
                <c:pt idx="230">
                  <c:v>2.513826043237799E-3</c:v>
                </c:pt>
                <c:pt idx="231">
                  <c:v>8.5255767301906094E-3</c:v>
                </c:pt>
                <c:pt idx="232">
                  <c:v>4.4753853804078148E-3</c:v>
                </c:pt>
                <c:pt idx="233">
                  <c:v>9.9900099900100958E-3</c:v>
                </c:pt>
                <c:pt idx="234">
                  <c:v>1.609657947686105E-2</c:v>
                </c:pt>
                <c:pt idx="235">
                  <c:v>2.2761760242792084E-2</c:v>
                </c:pt>
                <c:pt idx="236">
                  <c:v>2.5875190258751957E-2</c:v>
                </c:pt>
                <c:pt idx="237">
                  <c:v>2.228976697061813E-2</c:v>
                </c:pt>
                <c:pt idx="238">
                  <c:v>3.0425963488843744E-2</c:v>
                </c:pt>
                <c:pt idx="239">
                  <c:v>2.5252525252525304E-2</c:v>
                </c:pt>
                <c:pt idx="240">
                  <c:v>2.0675743822491155E-2</c:v>
                </c:pt>
                <c:pt idx="241">
                  <c:v>1.0563380281690016E-2</c:v>
                </c:pt>
                <c:pt idx="242">
                  <c:v>8.0240722166500245E-3</c:v>
                </c:pt>
                <c:pt idx="243">
                  <c:v>2.9835902536050618E-3</c:v>
                </c:pt>
                <c:pt idx="244">
                  <c:v>7.0792079207920855E-2</c:v>
                </c:pt>
                <c:pt idx="245">
                  <c:v>1.0880316518298905E-2</c:v>
                </c:pt>
                <c:pt idx="246">
                  <c:v>4.9504950495049549E-4</c:v>
                </c:pt>
                <c:pt idx="247">
                  <c:v>-3.4619188921859445E-3</c:v>
                </c:pt>
                <c:pt idx="248">
                  <c:v>-1.9782393669632858E-3</c:v>
                </c:pt>
                <c:pt idx="249">
                  <c:v>6.9375619425171564E-3</c:v>
                </c:pt>
                <c:pt idx="250">
                  <c:v>8.8582677165354173E-3</c:v>
                </c:pt>
                <c:pt idx="251">
                  <c:v>7.8817733990148575E-3</c:v>
                </c:pt>
                <c:pt idx="252">
                  <c:v>1.2845849802371578E-2</c:v>
                </c:pt>
                <c:pt idx="253">
                  <c:v>3.8327526132404088E-2</c:v>
                </c:pt>
                <c:pt idx="254">
                  <c:v>5.37313432835822E-2</c:v>
                </c:pt>
                <c:pt idx="255">
                  <c:v>7.9325731284085377E-2</c:v>
                </c:pt>
                <c:pt idx="256">
                  <c:v>3.5136384650947816E-2</c:v>
                </c:pt>
                <c:pt idx="257">
                  <c:v>0.11986301369863006</c:v>
                </c:pt>
                <c:pt idx="258">
                  <c:v>0.11496783770410701</c:v>
                </c:pt>
                <c:pt idx="259">
                  <c:v>0.1374094292803969</c:v>
                </c:pt>
                <c:pt idx="260">
                  <c:v>0.14910307234886022</c:v>
                </c:pt>
                <c:pt idx="261">
                  <c:v>0.12871555118110245</c:v>
                </c:pt>
                <c:pt idx="262">
                  <c:v>0.11947804878048784</c:v>
                </c:pt>
                <c:pt idx="263">
                  <c:v>0.12227272727272731</c:v>
                </c:pt>
                <c:pt idx="264">
                  <c:v>0.14253658536585356</c:v>
                </c:pt>
                <c:pt idx="265">
                  <c:v>0.14446308724832235</c:v>
                </c:pt>
                <c:pt idx="266">
                  <c:v>0.14614730878186966</c:v>
                </c:pt>
                <c:pt idx="267">
                  <c:v>0.14513550757923754</c:v>
                </c:pt>
                <c:pt idx="268">
                  <c:v>0.12634211701652509</c:v>
                </c:pt>
              </c:numCache>
            </c:numRef>
          </c:val>
          <c:smooth val="0"/>
          <c:extLst>
            <c:ext xmlns:c16="http://schemas.microsoft.com/office/drawing/2014/chart" uri="{C3380CC4-5D6E-409C-BE32-E72D297353CC}">
              <c16:uniqueId val="{00000001-038F-4BEF-B31D-29B6BA97E513}"/>
            </c:ext>
          </c:extLst>
        </c:ser>
        <c:dLbls>
          <c:showLegendKey val="0"/>
          <c:showVal val="0"/>
          <c:showCatName val="0"/>
          <c:showSerName val="0"/>
          <c:showPercent val="0"/>
          <c:showBubbleSize val="0"/>
        </c:dLbls>
        <c:smooth val="0"/>
        <c:axId val="1094385024"/>
        <c:axId val="1094385352"/>
      </c:lineChart>
      <c:dateAx>
        <c:axId val="1094385024"/>
        <c:scaling>
          <c:orientation val="minMax"/>
        </c:scaling>
        <c:delete val="0"/>
        <c:axPos val="b"/>
        <c:numFmt formatCode="yyyy" sourceLinked="0"/>
        <c:majorTickMark val="out"/>
        <c:minorTickMark val="none"/>
        <c:tickLblPos val="low"/>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094385352"/>
        <c:crosses val="autoZero"/>
        <c:auto val="1"/>
        <c:lblOffset val="100"/>
        <c:baseTimeUnit val="months"/>
      </c:dateAx>
      <c:valAx>
        <c:axId val="1094385352"/>
        <c:scaling>
          <c:orientation val="minMax"/>
          <c:max val="0.25"/>
          <c:min val="-0.15000000000000002"/>
        </c:scaling>
        <c:delete val="0"/>
        <c:axPos val="l"/>
        <c:majorGridlines>
          <c:spPr>
            <a:ln w="9525" cap="flat" cmpd="sng" algn="ctr">
              <a:noFill/>
              <a:round/>
            </a:ln>
            <a:effectLst/>
          </c:spPr>
        </c:majorGridlines>
        <c:numFmt formatCode="0%" sourceLinked="0"/>
        <c:majorTickMark val="out"/>
        <c:minorTickMark val="none"/>
        <c:tickLblPos val="nextTo"/>
        <c:spPr>
          <a:noFill/>
          <a:ln w="9525">
            <a:solidFill>
              <a:schemeClr val="bg1">
                <a:lumMod val="50000"/>
              </a:schemeClr>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094385024"/>
        <c:crosses val="autoZero"/>
        <c:crossBetween val="between"/>
        <c:majorUnit val="5.000000000000001E-2"/>
      </c:valAx>
      <c:spPr>
        <a:noFill/>
        <a:ln>
          <a:noFill/>
        </a:ln>
        <a:effectLst/>
      </c:spPr>
    </c:plotArea>
    <c:legend>
      <c:legendPos val="t"/>
      <c:layout>
        <c:manualLayout>
          <c:xMode val="edge"/>
          <c:yMode val="edge"/>
          <c:x val="1.3735974469274491E-3"/>
          <c:y val="8.6805555555555552E-2"/>
          <c:w val="0.84225621277646645"/>
          <c:h val="8.418242704540965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048256442260758"/>
          <c:y val="0.21954166711580128"/>
          <c:w val="0.84908329306559316"/>
          <c:h val="0.70872945209170968"/>
        </c:manualLayout>
      </c:layout>
      <c:lineChart>
        <c:grouping val="standard"/>
        <c:varyColors val="0"/>
        <c:ser>
          <c:idx val="0"/>
          <c:order val="0"/>
          <c:tx>
            <c:strRef>
              <c:f>Sheet1!$B$1</c:f>
              <c:strCache>
                <c:ptCount val="1"/>
                <c:pt idx="0">
                  <c:v>AART Proprietary Fed Financial Conditions Indicator</c:v>
                </c:pt>
              </c:strCache>
            </c:strRef>
          </c:tx>
          <c:spPr>
            <a:ln w="28575" cap="rnd">
              <a:solidFill>
                <a:srgbClr val="7A9A3D"/>
              </a:solidFill>
              <a:round/>
            </a:ln>
            <a:effectLst/>
          </c:spPr>
          <c:marker>
            <c:symbol val="none"/>
          </c:marker>
          <c:cat>
            <c:numRef>
              <c:f>Sheet1!$A$2:$A$4240</c:f>
              <c:numCache>
                <c:formatCode>m/d/yyyy</c:formatCode>
                <c:ptCount val="4239"/>
                <c:pt idx="0">
                  <c:v>40911</c:v>
                </c:pt>
                <c:pt idx="1">
                  <c:v>40912</c:v>
                </c:pt>
                <c:pt idx="2">
                  <c:v>40913</c:v>
                </c:pt>
                <c:pt idx="3">
                  <c:v>40914</c:v>
                </c:pt>
                <c:pt idx="4">
                  <c:v>40917</c:v>
                </c:pt>
                <c:pt idx="5">
                  <c:v>40918</c:v>
                </c:pt>
                <c:pt idx="6">
                  <c:v>40919</c:v>
                </c:pt>
                <c:pt idx="7">
                  <c:v>40920</c:v>
                </c:pt>
                <c:pt idx="8">
                  <c:v>40921</c:v>
                </c:pt>
                <c:pt idx="9">
                  <c:v>40925</c:v>
                </c:pt>
                <c:pt idx="10">
                  <c:v>40926</c:v>
                </c:pt>
                <c:pt idx="11">
                  <c:v>40927</c:v>
                </c:pt>
                <c:pt idx="12">
                  <c:v>40928</c:v>
                </c:pt>
                <c:pt idx="13">
                  <c:v>40931</c:v>
                </c:pt>
                <c:pt idx="14">
                  <c:v>40932</c:v>
                </c:pt>
                <c:pt idx="15">
                  <c:v>40933</c:v>
                </c:pt>
                <c:pt idx="16">
                  <c:v>40934</c:v>
                </c:pt>
                <c:pt idx="17">
                  <c:v>40935</c:v>
                </c:pt>
                <c:pt idx="18">
                  <c:v>40938</c:v>
                </c:pt>
                <c:pt idx="19">
                  <c:v>40939</c:v>
                </c:pt>
                <c:pt idx="20">
                  <c:v>40940</c:v>
                </c:pt>
                <c:pt idx="21">
                  <c:v>40941</c:v>
                </c:pt>
                <c:pt idx="22">
                  <c:v>40942</c:v>
                </c:pt>
                <c:pt idx="23">
                  <c:v>40945</c:v>
                </c:pt>
                <c:pt idx="24">
                  <c:v>40946</c:v>
                </c:pt>
                <c:pt idx="25">
                  <c:v>40947</c:v>
                </c:pt>
                <c:pt idx="26">
                  <c:v>40948</c:v>
                </c:pt>
                <c:pt idx="27">
                  <c:v>40949</c:v>
                </c:pt>
                <c:pt idx="28">
                  <c:v>40952</c:v>
                </c:pt>
                <c:pt idx="29">
                  <c:v>40953</c:v>
                </c:pt>
                <c:pt idx="30">
                  <c:v>40954</c:v>
                </c:pt>
                <c:pt idx="31">
                  <c:v>40955</c:v>
                </c:pt>
                <c:pt idx="32">
                  <c:v>40956</c:v>
                </c:pt>
                <c:pt idx="33">
                  <c:v>40960</c:v>
                </c:pt>
                <c:pt idx="34">
                  <c:v>40961</c:v>
                </c:pt>
                <c:pt idx="35">
                  <c:v>40962</c:v>
                </c:pt>
                <c:pt idx="36">
                  <c:v>40963</c:v>
                </c:pt>
                <c:pt idx="37">
                  <c:v>40966</c:v>
                </c:pt>
                <c:pt idx="38">
                  <c:v>40967</c:v>
                </c:pt>
                <c:pt idx="39">
                  <c:v>40968</c:v>
                </c:pt>
                <c:pt idx="40">
                  <c:v>40969</c:v>
                </c:pt>
                <c:pt idx="41">
                  <c:v>40970</c:v>
                </c:pt>
                <c:pt idx="42">
                  <c:v>40973</c:v>
                </c:pt>
                <c:pt idx="43">
                  <c:v>40974</c:v>
                </c:pt>
                <c:pt idx="44">
                  <c:v>40975</c:v>
                </c:pt>
                <c:pt idx="45">
                  <c:v>40976</c:v>
                </c:pt>
                <c:pt idx="46">
                  <c:v>40977</c:v>
                </c:pt>
                <c:pt idx="47">
                  <c:v>40980</c:v>
                </c:pt>
                <c:pt idx="48">
                  <c:v>40981</c:v>
                </c:pt>
                <c:pt idx="49">
                  <c:v>40982</c:v>
                </c:pt>
                <c:pt idx="50">
                  <c:v>40983</c:v>
                </c:pt>
                <c:pt idx="51">
                  <c:v>40984</c:v>
                </c:pt>
                <c:pt idx="52">
                  <c:v>40987</c:v>
                </c:pt>
                <c:pt idx="53">
                  <c:v>40988</c:v>
                </c:pt>
                <c:pt idx="54">
                  <c:v>40989</c:v>
                </c:pt>
                <c:pt idx="55">
                  <c:v>40990</c:v>
                </c:pt>
                <c:pt idx="56">
                  <c:v>40991</c:v>
                </c:pt>
                <c:pt idx="57">
                  <c:v>40994</c:v>
                </c:pt>
                <c:pt idx="58">
                  <c:v>40995</c:v>
                </c:pt>
                <c:pt idx="59">
                  <c:v>40996</c:v>
                </c:pt>
                <c:pt idx="60">
                  <c:v>40997</c:v>
                </c:pt>
                <c:pt idx="61">
                  <c:v>40998</c:v>
                </c:pt>
                <c:pt idx="62">
                  <c:v>41001</c:v>
                </c:pt>
                <c:pt idx="63">
                  <c:v>41002</c:v>
                </c:pt>
                <c:pt idx="64">
                  <c:v>41003</c:v>
                </c:pt>
                <c:pt idx="65">
                  <c:v>41004</c:v>
                </c:pt>
                <c:pt idx="66">
                  <c:v>41008</c:v>
                </c:pt>
                <c:pt idx="67">
                  <c:v>41009</c:v>
                </c:pt>
                <c:pt idx="68">
                  <c:v>41010</c:v>
                </c:pt>
                <c:pt idx="69">
                  <c:v>41011</c:v>
                </c:pt>
                <c:pt idx="70">
                  <c:v>41012</c:v>
                </c:pt>
                <c:pt idx="71">
                  <c:v>41015</c:v>
                </c:pt>
                <c:pt idx="72">
                  <c:v>41016</c:v>
                </c:pt>
                <c:pt idx="73">
                  <c:v>41017</c:v>
                </c:pt>
                <c:pt idx="74">
                  <c:v>41018</c:v>
                </c:pt>
                <c:pt idx="75">
                  <c:v>41019</c:v>
                </c:pt>
                <c:pt idx="76">
                  <c:v>41022</c:v>
                </c:pt>
                <c:pt idx="77">
                  <c:v>41023</c:v>
                </c:pt>
                <c:pt idx="78">
                  <c:v>41024</c:v>
                </c:pt>
                <c:pt idx="79">
                  <c:v>41025</c:v>
                </c:pt>
                <c:pt idx="80">
                  <c:v>41026</c:v>
                </c:pt>
                <c:pt idx="81">
                  <c:v>41029</c:v>
                </c:pt>
                <c:pt idx="82">
                  <c:v>41030</c:v>
                </c:pt>
                <c:pt idx="83">
                  <c:v>41031</c:v>
                </c:pt>
                <c:pt idx="84">
                  <c:v>41032</c:v>
                </c:pt>
                <c:pt idx="85">
                  <c:v>41033</c:v>
                </c:pt>
                <c:pt idx="86">
                  <c:v>41036</c:v>
                </c:pt>
                <c:pt idx="87">
                  <c:v>41037</c:v>
                </c:pt>
                <c:pt idx="88">
                  <c:v>41038</c:v>
                </c:pt>
                <c:pt idx="89">
                  <c:v>41039</c:v>
                </c:pt>
                <c:pt idx="90">
                  <c:v>41040</c:v>
                </c:pt>
                <c:pt idx="91">
                  <c:v>41043</c:v>
                </c:pt>
                <c:pt idx="92">
                  <c:v>41044</c:v>
                </c:pt>
                <c:pt idx="93">
                  <c:v>41045</c:v>
                </c:pt>
                <c:pt idx="94">
                  <c:v>41046</c:v>
                </c:pt>
                <c:pt idx="95">
                  <c:v>41047</c:v>
                </c:pt>
                <c:pt idx="96">
                  <c:v>41050</c:v>
                </c:pt>
                <c:pt idx="97">
                  <c:v>41051</c:v>
                </c:pt>
                <c:pt idx="98">
                  <c:v>41052</c:v>
                </c:pt>
                <c:pt idx="99">
                  <c:v>41053</c:v>
                </c:pt>
                <c:pt idx="100">
                  <c:v>41054</c:v>
                </c:pt>
                <c:pt idx="101">
                  <c:v>41058</c:v>
                </c:pt>
                <c:pt idx="102">
                  <c:v>41059</c:v>
                </c:pt>
                <c:pt idx="103">
                  <c:v>41060</c:v>
                </c:pt>
                <c:pt idx="104">
                  <c:v>41061</c:v>
                </c:pt>
                <c:pt idx="105">
                  <c:v>41064</c:v>
                </c:pt>
                <c:pt idx="106">
                  <c:v>41065</c:v>
                </c:pt>
                <c:pt idx="107">
                  <c:v>41066</c:v>
                </c:pt>
                <c:pt idx="108">
                  <c:v>41067</c:v>
                </c:pt>
                <c:pt idx="109">
                  <c:v>41068</c:v>
                </c:pt>
                <c:pt idx="110">
                  <c:v>41071</c:v>
                </c:pt>
                <c:pt idx="111">
                  <c:v>41072</c:v>
                </c:pt>
                <c:pt idx="112">
                  <c:v>41073</c:v>
                </c:pt>
                <c:pt idx="113">
                  <c:v>41074</c:v>
                </c:pt>
                <c:pt idx="114">
                  <c:v>41075</c:v>
                </c:pt>
                <c:pt idx="115">
                  <c:v>41078</c:v>
                </c:pt>
                <c:pt idx="116">
                  <c:v>41079</c:v>
                </c:pt>
                <c:pt idx="117">
                  <c:v>41080</c:v>
                </c:pt>
                <c:pt idx="118">
                  <c:v>41081</c:v>
                </c:pt>
                <c:pt idx="119">
                  <c:v>41082</c:v>
                </c:pt>
                <c:pt idx="120">
                  <c:v>41085</c:v>
                </c:pt>
                <c:pt idx="121">
                  <c:v>41086</c:v>
                </c:pt>
                <c:pt idx="122">
                  <c:v>41087</c:v>
                </c:pt>
                <c:pt idx="123">
                  <c:v>41088</c:v>
                </c:pt>
                <c:pt idx="124">
                  <c:v>41089</c:v>
                </c:pt>
                <c:pt idx="125">
                  <c:v>41092</c:v>
                </c:pt>
                <c:pt idx="126">
                  <c:v>41093</c:v>
                </c:pt>
                <c:pt idx="127">
                  <c:v>41095</c:v>
                </c:pt>
                <c:pt idx="128">
                  <c:v>41096</c:v>
                </c:pt>
                <c:pt idx="129">
                  <c:v>41099</c:v>
                </c:pt>
                <c:pt idx="130">
                  <c:v>41100</c:v>
                </c:pt>
                <c:pt idx="131">
                  <c:v>41101</c:v>
                </c:pt>
                <c:pt idx="132">
                  <c:v>41102</c:v>
                </c:pt>
                <c:pt idx="133">
                  <c:v>41103</c:v>
                </c:pt>
                <c:pt idx="134">
                  <c:v>41106</c:v>
                </c:pt>
                <c:pt idx="135">
                  <c:v>41107</c:v>
                </c:pt>
                <c:pt idx="136">
                  <c:v>41108</c:v>
                </c:pt>
                <c:pt idx="137">
                  <c:v>41109</c:v>
                </c:pt>
                <c:pt idx="138">
                  <c:v>41110</c:v>
                </c:pt>
                <c:pt idx="139">
                  <c:v>41113</c:v>
                </c:pt>
                <c:pt idx="140">
                  <c:v>41114</c:v>
                </c:pt>
                <c:pt idx="141">
                  <c:v>41115</c:v>
                </c:pt>
                <c:pt idx="142">
                  <c:v>41116</c:v>
                </c:pt>
                <c:pt idx="143">
                  <c:v>41117</c:v>
                </c:pt>
                <c:pt idx="144">
                  <c:v>41120</c:v>
                </c:pt>
                <c:pt idx="145">
                  <c:v>41121</c:v>
                </c:pt>
                <c:pt idx="146">
                  <c:v>41122</c:v>
                </c:pt>
                <c:pt idx="147">
                  <c:v>41123</c:v>
                </c:pt>
                <c:pt idx="148">
                  <c:v>41124</c:v>
                </c:pt>
                <c:pt idx="149">
                  <c:v>41127</c:v>
                </c:pt>
                <c:pt idx="150">
                  <c:v>41128</c:v>
                </c:pt>
                <c:pt idx="151">
                  <c:v>41129</c:v>
                </c:pt>
                <c:pt idx="152">
                  <c:v>41130</c:v>
                </c:pt>
                <c:pt idx="153">
                  <c:v>41131</c:v>
                </c:pt>
                <c:pt idx="154">
                  <c:v>41134</c:v>
                </c:pt>
                <c:pt idx="155">
                  <c:v>41135</c:v>
                </c:pt>
                <c:pt idx="156">
                  <c:v>41136</c:v>
                </c:pt>
                <c:pt idx="157">
                  <c:v>41137</c:v>
                </c:pt>
                <c:pt idx="158">
                  <c:v>41138</c:v>
                </c:pt>
                <c:pt idx="159">
                  <c:v>41141</c:v>
                </c:pt>
                <c:pt idx="160">
                  <c:v>41142</c:v>
                </c:pt>
                <c:pt idx="161">
                  <c:v>41143</c:v>
                </c:pt>
                <c:pt idx="162">
                  <c:v>41144</c:v>
                </c:pt>
                <c:pt idx="163">
                  <c:v>41145</c:v>
                </c:pt>
                <c:pt idx="164">
                  <c:v>41148</c:v>
                </c:pt>
                <c:pt idx="165">
                  <c:v>41149</c:v>
                </c:pt>
                <c:pt idx="166">
                  <c:v>41150</c:v>
                </c:pt>
                <c:pt idx="167">
                  <c:v>41151</c:v>
                </c:pt>
                <c:pt idx="168">
                  <c:v>41152</c:v>
                </c:pt>
                <c:pt idx="169">
                  <c:v>41156</c:v>
                </c:pt>
                <c:pt idx="170">
                  <c:v>41157</c:v>
                </c:pt>
                <c:pt idx="171">
                  <c:v>41158</c:v>
                </c:pt>
                <c:pt idx="172">
                  <c:v>41159</c:v>
                </c:pt>
                <c:pt idx="173">
                  <c:v>41162</c:v>
                </c:pt>
                <c:pt idx="174">
                  <c:v>41163</c:v>
                </c:pt>
                <c:pt idx="175">
                  <c:v>41164</c:v>
                </c:pt>
                <c:pt idx="176">
                  <c:v>41165</c:v>
                </c:pt>
                <c:pt idx="177">
                  <c:v>41166</c:v>
                </c:pt>
                <c:pt idx="178">
                  <c:v>41169</c:v>
                </c:pt>
                <c:pt idx="179">
                  <c:v>41170</c:v>
                </c:pt>
                <c:pt idx="180">
                  <c:v>41171</c:v>
                </c:pt>
                <c:pt idx="181">
                  <c:v>41172</c:v>
                </c:pt>
                <c:pt idx="182">
                  <c:v>41173</c:v>
                </c:pt>
                <c:pt idx="183">
                  <c:v>41176</c:v>
                </c:pt>
                <c:pt idx="184">
                  <c:v>41177</c:v>
                </c:pt>
                <c:pt idx="185">
                  <c:v>41178</c:v>
                </c:pt>
                <c:pt idx="186">
                  <c:v>41179</c:v>
                </c:pt>
                <c:pt idx="187">
                  <c:v>41180</c:v>
                </c:pt>
                <c:pt idx="188">
                  <c:v>41183</c:v>
                </c:pt>
                <c:pt idx="189">
                  <c:v>41184</c:v>
                </c:pt>
                <c:pt idx="190">
                  <c:v>41185</c:v>
                </c:pt>
                <c:pt idx="191">
                  <c:v>41186</c:v>
                </c:pt>
                <c:pt idx="192">
                  <c:v>41187</c:v>
                </c:pt>
                <c:pt idx="193">
                  <c:v>41190</c:v>
                </c:pt>
                <c:pt idx="194">
                  <c:v>41191</c:v>
                </c:pt>
                <c:pt idx="195">
                  <c:v>41192</c:v>
                </c:pt>
                <c:pt idx="196">
                  <c:v>41193</c:v>
                </c:pt>
                <c:pt idx="197">
                  <c:v>41194</c:v>
                </c:pt>
                <c:pt idx="198">
                  <c:v>41197</c:v>
                </c:pt>
                <c:pt idx="199">
                  <c:v>41198</c:v>
                </c:pt>
                <c:pt idx="200">
                  <c:v>41199</c:v>
                </c:pt>
                <c:pt idx="201">
                  <c:v>41200</c:v>
                </c:pt>
                <c:pt idx="202">
                  <c:v>41201</c:v>
                </c:pt>
                <c:pt idx="203">
                  <c:v>41204</c:v>
                </c:pt>
                <c:pt idx="204">
                  <c:v>41205</c:v>
                </c:pt>
                <c:pt idx="205">
                  <c:v>41206</c:v>
                </c:pt>
                <c:pt idx="206">
                  <c:v>41207</c:v>
                </c:pt>
                <c:pt idx="207">
                  <c:v>41208</c:v>
                </c:pt>
                <c:pt idx="208">
                  <c:v>41213</c:v>
                </c:pt>
                <c:pt idx="209">
                  <c:v>41214</c:v>
                </c:pt>
                <c:pt idx="210">
                  <c:v>41215</c:v>
                </c:pt>
                <c:pt idx="211">
                  <c:v>41218</c:v>
                </c:pt>
                <c:pt idx="212">
                  <c:v>41219</c:v>
                </c:pt>
                <c:pt idx="213">
                  <c:v>41220</c:v>
                </c:pt>
                <c:pt idx="214">
                  <c:v>41221</c:v>
                </c:pt>
                <c:pt idx="215">
                  <c:v>41222</c:v>
                </c:pt>
                <c:pt idx="216">
                  <c:v>41225</c:v>
                </c:pt>
                <c:pt idx="217">
                  <c:v>41226</c:v>
                </c:pt>
                <c:pt idx="218">
                  <c:v>41227</c:v>
                </c:pt>
                <c:pt idx="219">
                  <c:v>41228</c:v>
                </c:pt>
                <c:pt idx="220">
                  <c:v>41229</c:v>
                </c:pt>
                <c:pt idx="221">
                  <c:v>41232</c:v>
                </c:pt>
                <c:pt idx="222">
                  <c:v>41233</c:v>
                </c:pt>
                <c:pt idx="223">
                  <c:v>41234</c:v>
                </c:pt>
                <c:pt idx="224">
                  <c:v>41236</c:v>
                </c:pt>
                <c:pt idx="225">
                  <c:v>41239</c:v>
                </c:pt>
                <c:pt idx="226">
                  <c:v>41240</c:v>
                </c:pt>
                <c:pt idx="227">
                  <c:v>41241</c:v>
                </c:pt>
                <c:pt idx="228">
                  <c:v>41242</c:v>
                </c:pt>
                <c:pt idx="229">
                  <c:v>41243</c:v>
                </c:pt>
                <c:pt idx="230">
                  <c:v>41246</c:v>
                </c:pt>
                <c:pt idx="231">
                  <c:v>41247</c:v>
                </c:pt>
                <c:pt idx="232">
                  <c:v>41248</c:v>
                </c:pt>
                <c:pt idx="233">
                  <c:v>41249</c:v>
                </c:pt>
                <c:pt idx="234">
                  <c:v>41250</c:v>
                </c:pt>
                <c:pt idx="235">
                  <c:v>41253</c:v>
                </c:pt>
                <c:pt idx="236">
                  <c:v>41254</c:v>
                </c:pt>
                <c:pt idx="237">
                  <c:v>41255</c:v>
                </c:pt>
                <c:pt idx="238">
                  <c:v>41256</c:v>
                </c:pt>
                <c:pt idx="239">
                  <c:v>41257</c:v>
                </c:pt>
                <c:pt idx="240">
                  <c:v>41260</c:v>
                </c:pt>
                <c:pt idx="241">
                  <c:v>41261</c:v>
                </c:pt>
                <c:pt idx="242">
                  <c:v>41262</c:v>
                </c:pt>
                <c:pt idx="243">
                  <c:v>41263</c:v>
                </c:pt>
                <c:pt idx="244">
                  <c:v>41264</c:v>
                </c:pt>
                <c:pt idx="245">
                  <c:v>41267</c:v>
                </c:pt>
                <c:pt idx="246">
                  <c:v>41269</c:v>
                </c:pt>
                <c:pt idx="247">
                  <c:v>41270</c:v>
                </c:pt>
                <c:pt idx="248">
                  <c:v>41271</c:v>
                </c:pt>
                <c:pt idx="249">
                  <c:v>41274</c:v>
                </c:pt>
                <c:pt idx="250">
                  <c:v>41276</c:v>
                </c:pt>
                <c:pt idx="251">
                  <c:v>41277</c:v>
                </c:pt>
                <c:pt idx="252">
                  <c:v>41278</c:v>
                </c:pt>
                <c:pt idx="253">
                  <c:v>41281</c:v>
                </c:pt>
                <c:pt idx="254">
                  <c:v>41282</c:v>
                </c:pt>
                <c:pt idx="255">
                  <c:v>41283</c:v>
                </c:pt>
                <c:pt idx="256">
                  <c:v>41284</c:v>
                </c:pt>
                <c:pt idx="257">
                  <c:v>41285</c:v>
                </c:pt>
                <c:pt idx="258">
                  <c:v>41288</c:v>
                </c:pt>
                <c:pt idx="259">
                  <c:v>41289</c:v>
                </c:pt>
                <c:pt idx="260">
                  <c:v>41290</c:v>
                </c:pt>
                <c:pt idx="261">
                  <c:v>41291</c:v>
                </c:pt>
                <c:pt idx="262">
                  <c:v>41292</c:v>
                </c:pt>
                <c:pt idx="263">
                  <c:v>41296</c:v>
                </c:pt>
                <c:pt idx="264">
                  <c:v>41297</c:v>
                </c:pt>
                <c:pt idx="265">
                  <c:v>41298</c:v>
                </c:pt>
                <c:pt idx="266">
                  <c:v>41299</c:v>
                </c:pt>
                <c:pt idx="267">
                  <c:v>41302</c:v>
                </c:pt>
                <c:pt idx="268">
                  <c:v>41303</c:v>
                </c:pt>
                <c:pt idx="269">
                  <c:v>41304</c:v>
                </c:pt>
                <c:pt idx="270">
                  <c:v>41305</c:v>
                </c:pt>
                <c:pt idx="271">
                  <c:v>41306</c:v>
                </c:pt>
                <c:pt idx="272">
                  <c:v>41309</c:v>
                </c:pt>
                <c:pt idx="273">
                  <c:v>41310</c:v>
                </c:pt>
                <c:pt idx="274">
                  <c:v>41311</c:v>
                </c:pt>
                <c:pt idx="275">
                  <c:v>41312</c:v>
                </c:pt>
                <c:pt idx="276">
                  <c:v>41313</c:v>
                </c:pt>
                <c:pt idx="277">
                  <c:v>41316</c:v>
                </c:pt>
                <c:pt idx="278">
                  <c:v>41317</c:v>
                </c:pt>
                <c:pt idx="279">
                  <c:v>41318</c:v>
                </c:pt>
                <c:pt idx="280">
                  <c:v>41319</c:v>
                </c:pt>
                <c:pt idx="281">
                  <c:v>41320</c:v>
                </c:pt>
                <c:pt idx="282">
                  <c:v>41324</c:v>
                </c:pt>
                <c:pt idx="283">
                  <c:v>41325</c:v>
                </c:pt>
                <c:pt idx="284">
                  <c:v>41326</c:v>
                </c:pt>
                <c:pt idx="285">
                  <c:v>41327</c:v>
                </c:pt>
                <c:pt idx="286">
                  <c:v>41330</c:v>
                </c:pt>
                <c:pt idx="287">
                  <c:v>41331</c:v>
                </c:pt>
                <c:pt idx="288">
                  <c:v>41332</c:v>
                </c:pt>
                <c:pt idx="289">
                  <c:v>41333</c:v>
                </c:pt>
                <c:pt idx="290">
                  <c:v>41334</c:v>
                </c:pt>
                <c:pt idx="291">
                  <c:v>41337</c:v>
                </c:pt>
                <c:pt idx="292">
                  <c:v>41338</c:v>
                </c:pt>
                <c:pt idx="293">
                  <c:v>41339</c:v>
                </c:pt>
                <c:pt idx="294">
                  <c:v>41340</c:v>
                </c:pt>
                <c:pt idx="295">
                  <c:v>41341</c:v>
                </c:pt>
                <c:pt idx="296">
                  <c:v>41344</c:v>
                </c:pt>
                <c:pt idx="297">
                  <c:v>41345</c:v>
                </c:pt>
                <c:pt idx="298">
                  <c:v>41346</c:v>
                </c:pt>
                <c:pt idx="299">
                  <c:v>41347</c:v>
                </c:pt>
                <c:pt idx="300">
                  <c:v>41348</c:v>
                </c:pt>
                <c:pt idx="301">
                  <c:v>41351</c:v>
                </c:pt>
                <c:pt idx="302">
                  <c:v>41352</c:v>
                </c:pt>
                <c:pt idx="303">
                  <c:v>41353</c:v>
                </c:pt>
                <c:pt idx="304">
                  <c:v>41354</c:v>
                </c:pt>
                <c:pt idx="305">
                  <c:v>41355</c:v>
                </c:pt>
                <c:pt idx="306">
                  <c:v>41358</c:v>
                </c:pt>
                <c:pt idx="307">
                  <c:v>41359</c:v>
                </c:pt>
                <c:pt idx="308">
                  <c:v>41360</c:v>
                </c:pt>
                <c:pt idx="309">
                  <c:v>41361</c:v>
                </c:pt>
                <c:pt idx="310">
                  <c:v>41365</c:v>
                </c:pt>
                <c:pt idx="311">
                  <c:v>41366</c:v>
                </c:pt>
                <c:pt idx="312">
                  <c:v>41367</c:v>
                </c:pt>
                <c:pt idx="313">
                  <c:v>41368</c:v>
                </c:pt>
                <c:pt idx="314">
                  <c:v>41369</c:v>
                </c:pt>
                <c:pt idx="315">
                  <c:v>41372</c:v>
                </c:pt>
                <c:pt idx="316">
                  <c:v>41373</c:v>
                </c:pt>
                <c:pt idx="317">
                  <c:v>41374</c:v>
                </c:pt>
                <c:pt idx="318">
                  <c:v>41375</c:v>
                </c:pt>
                <c:pt idx="319">
                  <c:v>41376</c:v>
                </c:pt>
                <c:pt idx="320">
                  <c:v>41379</c:v>
                </c:pt>
                <c:pt idx="321">
                  <c:v>41380</c:v>
                </c:pt>
                <c:pt idx="322">
                  <c:v>41381</c:v>
                </c:pt>
                <c:pt idx="323">
                  <c:v>41382</c:v>
                </c:pt>
                <c:pt idx="324">
                  <c:v>41383</c:v>
                </c:pt>
                <c:pt idx="325">
                  <c:v>41386</c:v>
                </c:pt>
                <c:pt idx="326">
                  <c:v>41387</c:v>
                </c:pt>
                <c:pt idx="327">
                  <c:v>41388</c:v>
                </c:pt>
                <c:pt idx="328">
                  <c:v>41389</c:v>
                </c:pt>
                <c:pt idx="329">
                  <c:v>41390</c:v>
                </c:pt>
                <c:pt idx="330">
                  <c:v>41393</c:v>
                </c:pt>
                <c:pt idx="331">
                  <c:v>41394</c:v>
                </c:pt>
                <c:pt idx="332">
                  <c:v>41395</c:v>
                </c:pt>
                <c:pt idx="333">
                  <c:v>41396</c:v>
                </c:pt>
                <c:pt idx="334">
                  <c:v>41397</c:v>
                </c:pt>
                <c:pt idx="335">
                  <c:v>41400</c:v>
                </c:pt>
                <c:pt idx="336">
                  <c:v>41401</c:v>
                </c:pt>
                <c:pt idx="337">
                  <c:v>41402</c:v>
                </c:pt>
                <c:pt idx="338">
                  <c:v>41403</c:v>
                </c:pt>
                <c:pt idx="339">
                  <c:v>41404</c:v>
                </c:pt>
                <c:pt idx="340">
                  <c:v>41407</c:v>
                </c:pt>
                <c:pt idx="341">
                  <c:v>41408</c:v>
                </c:pt>
                <c:pt idx="342">
                  <c:v>41409</c:v>
                </c:pt>
                <c:pt idx="343">
                  <c:v>41410</c:v>
                </c:pt>
                <c:pt idx="344">
                  <c:v>41411</c:v>
                </c:pt>
                <c:pt idx="345">
                  <c:v>41414</c:v>
                </c:pt>
                <c:pt idx="346">
                  <c:v>41415</c:v>
                </c:pt>
                <c:pt idx="347">
                  <c:v>41416</c:v>
                </c:pt>
                <c:pt idx="348">
                  <c:v>41417</c:v>
                </c:pt>
                <c:pt idx="349">
                  <c:v>41418</c:v>
                </c:pt>
                <c:pt idx="350">
                  <c:v>41422</c:v>
                </c:pt>
                <c:pt idx="351">
                  <c:v>41423</c:v>
                </c:pt>
                <c:pt idx="352">
                  <c:v>41424</c:v>
                </c:pt>
                <c:pt idx="353">
                  <c:v>41425</c:v>
                </c:pt>
                <c:pt idx="354">
                  <c:v>41428</c:v>
                </c:pt>
                <c:pt idx="355">
                  <c:v>41429</c:v>
                </c:pt>
                <c:pt idx="356">
                  <c:v>41430</c:v>
                </c:pt>
                <c:pt idx="357">
                  <c:v>41431</c:v>
                </c:pt>
                <c:pt idx="358">
                  <c:v>41432</c:v>
                </c:pt>
                <c:pt idx="359">
                  <c:v>41435</c:v>
                </c:pt>
                <c:pt idx="360">
                  <c:v>41436</c:v>
                </c:pt>
                <c:pt idx="361">
                  <c:v>41437</c:v>
                </c:pt>
                <c:pt idx="362">
                  <c:v>41438</c:v>
                </c:pt>
                <c:pt idx="363">
                  <c:v>41439</c:v>
                </c:pt>
                <c:pt idx="364">
                  <c:v>41442</c:v>
                </c:pt>
                <c:pt idx="365">
                  <c:v>41443</c:v>
                </c:pt>
                <c:pt idx="366">
                  <c:v>41444</c:v>
                </c:pt>
                <c:pt idx="367">
                  <c:v>41445</c:v>
                </c:pt>
                <c:pt idx="368">
                  <c:v>41446</c:v>
                </c:pt>
                <c:pt idx="369">
                  <c:v>41449</c:v>
                </c:pt>
                <c:pt idx="370">
                  <c:v>41450</c:v>
                </c:pt>
                <c:pt idx="371">
                  <c:v>41451</c:v>
                </c:pt>
                <c:pt idx="372">
                  <c:v>41452</c:v>
                </c:pt>
                <c:pt idx="373">
                  <c:v>41453</c:v>
                </c:pt>
                <c:pt idx="374">
                  <c:v>41456</c:v>
                </c:pt>
                <c:pt idx="375">
                  <c:v>41457</c:v>
                </c:pt>
                <c:pt idx="376">
                  <c:v>41458</c:v>
                </c:pt>
                <c:pt idx="377">
                  <c:v>41460</c:v>
                </c:pt>
                <c:pt idx="378">
                  <c:v>41463</c:v>
                </c:pt>
                <c:pt idx="379">
                  <c:v>41464</c:v>
                </c:pt>
                <c:pt idx="380">
                  <c:v>41465</c:v>
                </c:pt>
                <c:pt idx="381">
                  <c:v>41466</c:v>
                </c:pt>
                <c:pt idx="382">
                  <c:v>41467</c:v>
                </c:pt>
                <c:pt idx="383">
                  <c:v>41470</c:v>
                </c:pt>
                <c:pt idx="384">
                  <c:v>41471</c:v>
                </c:pt>
                <c:pt idx="385">
                  <c:v>41472</c:v>
                </c:pt>
                <c:pt idx="386">
                  <c:v>41473</c:v>
                </c:pt>
                <c:pt idx="387">
                  <c:v>41474</c:v>
                </c:pt>
                <c:pt idx="388">
                  <c:v>41477</c:v>
                </c:pt>
                <c:pt idx="389">
                  <c:v>41478</c:v>
                </c:pt>
                <c:pt idx="390">
                  <c:v>41479</c:v>
                </c:pt>
                <c:pt idx="391">
                  <c:v>41480</c:v>
                </c:pt>
                <c:pt idx="392">
                  <c:v>41481</c:v>
                </c:pt>
                <c:pt idx="393">
                  <c:v>41484</c:v>
                </c:pt>
                <c:pt idx="394">
                  <c:v>41485</c:v>
                </c:pt>
                <c:pt idx="395">
                  <c:v>41486</c:v>
                </c:pt>
                <c:pt idx="396">
                  <c:v>41487</c:v>
                </c:pt>
                <c:pt idx="397">
                  <c:v>41488</c:v>
                </c:pt>
                <c:pt idx="398">
                  <c:v>41491</c:v>
                </c:pt>
                <c:pt idx="399">
                  <c:v>41492</c:v>
                </c:pt>
                <c:pt idx="400">
                  <c:v>41493</c:v>
                </c:pt>
                <c:pt idx="401">
                  <c:v>41494</c:v>
                </c:pt>
                <c:pt idx="402">
                  <c:v>41495</c:v>
                </c:pt>
                <c:pt idx="403">
                  <c:v>41498</c:v>
                </c:pt>
                <c:pt idx="404">
                  <c:v>41499</c:v>
                </c:pt>
                <c:pt idx="405">
                  <c:v>41500</c:v>
                </c:pt>
                <c:pt idx="406">
                  <c:v>41501</c:v>
                </c:pt>
                <c:pt idx="407">
                  <c:v>41502</c:v>
                </c:pt>
                <c:pt idx="408">
                  <c:v>41505</c:v>
                </c:pt>
                <c:pt idx="409">
                  <c:v>41506</c:v>
                </c:pt>
                <c:pt idx="410">
                  <c:v>41507</c:v>
                </c:pt>
                <c:pt idx="411">
                  <c:v>41508</c:v>
                </c:pt>
                <c:pt idx="412">
                  <c:v>41509</c:v>
                </c:pt>
                <c:pt idx="413">
                  <c:v>41512</c:v>
                </c:pt>
                <c:pt idx="414">
                  <c:v>41513</c:v>
                </c:pt>
                <c:pt idx="415">
                  <c:v>41514</c:v>
                </c:pt>
                <c:pt idx="416">
                  <c:v>41515</c:v>
                </c:pt>
                <c:pt idx="417">
                  <c:v>41516</c:v>
                </c:pt>
                <c:pt idx="418">
                  <c:v>41520</c:v>
                </c:pt>
                <c:pt idx="419">
                  <c:v>41521</c:v>
                </c:pt>
                <c:pt idx="420">
                  <c:v>41522</c:v>
                </c:pt>
                <c:pt idx="421">
                  <c:v>41523</c:v>
                </c:pt>
                <c:pt idx="422">
                  <c:v>41526</c:v>
                </c:pt>
                <c:pt idx="423">
                  <c:v>41527</c:v>
                </c:pt>
                <c:pt idx="424">
                  <c:v>41528</c:v>
                </c:pt>
                <c:pt idx="425">
                  <c:v>41529</c:v>
                </c:pt>
                <c:pt idx="426">
                  <c:v>41530</c:v>
                </c:pt>
                <c:pt idx="427">
                  <c:v>41533</c:v>
                </c:pt>
                <c:pt idx="428">
                  <c:v>41534</c:v>
                </c:pt>
                <c:pt idx="429">
                  <c:v>41535</c:v>
                </c:pt>
                <c:pt idx="430">
                  <c:v>41536</c:v>
                </c:pt>
                <c:pt idx="431">
                  <c:v>41537</c:v>
                </c:pt>
                <c:pt idx="432">
                  <c:v>41540</c:v>
                </c:pt>
                <c:pt idx="433">
                  <c:v>41541</c:v>
                </c:pt>
                <c:pt idx="434">
                  <c:v>41542</c:v>
                </c:pt>
                <c:pt idx="435">
                  <c:v>41543</c:v>
                </c:pt>
                <c:pt idx="436">
                  <c:v>41544</c:v>
                </c:pt>
                <c:pt idx="437">
                  <c:v>41547</c:v>
                </c:pt>
                <c:pt idx="438">
                  <c:v>41548</c:v>
                </c:pt>
                <c:pt idx="439">
                  <c:v>41549</c:v>
                </c:pt>
                <c:pt idx="440">
                  <c:v>41550</c:v>
                </c:pt>
                <c:pt idx="441">
                  <c:v>41551</c:v>
                </c:pt>
                <c:pt idx="442">
                  <c:v>41554</c:v>
                </c:pt>
                <c:pt idx="443">
                  <c:v>41555</c:v>
                </c:pt>
                <c:pt idx="444">
                  <c:v>41556</c:v>
                </c:pt>
                <c:pt idx="445">
                  <c:v>41557</c:v>
                </c:pt>
                <c:pt idx="446">
                  <c:v>41558</c:v>
                </c:pt>
                <c:pt idx="447">
                  <c:v>41561</c:v>
                </c:pt>
                <c:pt idx="448">
                  <c:v>41562</c:v>
                </c:pt>
                <c:pt idx="449">
                  <c:v>41563</c:v>
                </c:pt>
                <c:pt idx="450">
                  <c:v>41564</c:v>
                </c:pt>
                <c:pt idx="451">
                  <c:v>41565</c:v>
                </c:pt>
                <c:pt idx="452">
                  <c:v>41568</c:v>
                </c:pt>
                <c:pt idx="453">
                  <c:v>41569</c:v>
                </c:pt>
                <c:pt idx="454">
                  <c:v>41570</c:v>
                </c:pt>
                <c:pt idx="455">
                  <c:v>41571</c:v>
                </c:pt>
                <c:pt idx="456">
                  <c:v>41572</c:v>
                </c:pt>
                <c:pt idx="457">
                  <c:v>41575</c:v>
                </c:pt>
                <c:pt idx="458">
                  <c:v>41576</c:v>
                </c:pt>
                <c:pt idx="459">
                  <c:v>41577</c:v>
                </c:pt>
                <c:pt idx="460">
                  <c:v>41578</c:v>
                </c:pt>
                <c:pt idx="461">
                  <c:v>41579</c:v>
                </c:pt>
                <c:pt idx="462">
                  <c:v>41582</c:v>
                </c:pt>
                <c:pt idx="463">
                  <c:v>41583</c:v>
                </c:pt>
                <c:pt idx="464">
                  <c:v>41584</c:v>
                </c:pt>
                <c:pt idx="465">
                  <c:v>41585</c:v>
                </c:pt>
                <c:pt idx="466">
                  <c:v>41586</c:v>
                </c:pt>
                <c:pt idx="467">
                  <c:v>41589</c:v>
                </c:pt>
                <c:pt idx="468">
                  <c:v>41590</c:v>
                </c:pt>
                <c:pt idx="469">
                  <c:v>41591</c:v>
                </c:pt>
                <c:pt idx="470">
                  <c:v>41592</c:v>
                </c:pt>
                <c:pt idx="471">
                  <c:v>41593</c:v>
                </c:pt>
                <c:pt idx="472">
                  <c:v>41596</c:v>
                </c:pt>
                <c:pt idx="473">
                  <c:v>41597</c:v>
                </c:pt>
                <c:pt idx="474">
                  <c:v>41598</c:v>
                </c:pt>
                <c:pt idx="475">
                  <c:v>41599</c:v>
                </c:pt>
                <c:pt idx="476">
                  <c:v>41600</c:v>
                </c:pt>
                <c:pt idx="477">
                  <c:v>41603</c:v>
                </c:pt>
                <c:pt idx="478">
                  <c:v>41604</c:v>
                </c:pt>
                <c:pt idx="479">
                  <c:v>41605</c:v>
                </c:pt>
                <c:pt idx="480">
                  <c:v>41607</c:v>
                </c:pt>
                <c:pt idx="481">
                  <c:v>41610</c:v>
                </c:pt>
                <c:pt idx="482">
                  <c:v>41611</c:v>
                </c:pt>
                <c:pt idx="483">
                  <c:v>41612</c:v>
                </c:pt>
                <c:pt idx="484">
                  <c:v>41613</c:v>
                </c:pt>
                <c:pt idx="485">
                  <c:v>41614</c:v>
                </c:pt>
                <c:pt idx="486">
                  <c:v>41617</c:v>
                </c:pt>
                <c:pt idx="487">
                  <c:v>41618</c:v>
                </c:pt>
                <c:pt idx="488">
                  <c:v>41619</c:v>
                </c:pt>
                <c:pt idx="489">
                  <c:v>41620</c:v>
                </c:pt>
                <c:pt idx="490">
                  <c:v>41621</c:v>
                </c:pt>
                <c:pt idx="491">
                  <c:v>41624</c:v>
                </c:pt>
                <c:pt idx="492">
                  <c:v>41625</c:v>
                </c:pt>
                <c:pt idx="493">
                  <c:v>41626</c:v>
                </c:pt>
                <c:pt idx="494">
                  <c:v>41627</c:v>
                </c:pt>
                <c:pt idx="495">
                  <c:v>41628</c:v>
                </c:pt>
                <c:pt idx="496">
                  <c:v>41631</c:v>
                </c:pt>
                <c:pt idx="497">
                  <c:v>41632</c:v>
                </c:pt>
                <c:pt idx="498">
                  <c:v>41634</c:v>
                </c:pt>
                <c:pt idx="499">
                  <c:v>41635</c:v>
                </c:pt>
                <c:pt idx="500">
                  <c:v>41638</c:v>
                </c:pt>
                <c:pt idx="501">
                  <c:v>41639</c:v>
                </c:pt>
                <c:pt idx="502">
                  <c:v>41641</c:v>
                </c:pt>
                <c:pt idx="503">
                  <c:v>41642</c:v>
                </c:pt>
                <c:pt idx="504">
                  <c:v>41645</c:v>
                </c:pt>
                <c:pt idx="505">
                  <c:v>41646</c:v>
                </c:pt>
                <c:pt idx="506">
                  <c:v>41647</c:v>
                </c:pt>
                <c:pt idx="507">
                  <c:v>41648</c:v>
                </c:pt>
                <c:pt idx="508">
                  <c:v>41649</c:v>
                </c:pt>
                <c:pt idx="509">
                  <c:v>41652</c:v>
                </c:pt>
                <c:pt idx="510">
                  <c:v>41653</c:v>
                </c:pt>
                <c:pt idx="511">
                  <c:v>41654</c:v>
                </c:pt>
                <c:pt idx="512">
                  <c:v>41655</c:v>
                </c:pt>
                <c:pt idx="513">
                  <c:v>41656</c:v>
                </c:pt>
                <c:pt idx="514">
                  <c:v>41660</c:v>
                </c:pt>
                <c:pt idx="515">
                  <c:v>41661</c:v>
                </c:pt>
                <c:pt idx="516">
                  <c:v>41662</c:v>
                </c:pt>
                <c:pt idx="517">
                  <c:v>41663</c:v>
                </c:pt>
                <c:pt idx="518">
                  <c:v>41666</c:v>
                </c:pt>
                <c:pt idx="519">
                  <c:v>41667</c:v>
                </c:pt>
                <c:pt idx="520">
                  <c:v>41668</c:v>
                </c:pt>
                <c:pt idx="521">
                  <c:v>41669</c:v>
                </c:pt>
                <c:pt idx="522">
                  <c:v>41670</c:v>
                </c:pt>
                <c:pt idx="523">
                  <c:v>41673</c:v>
                </c:pt>
                <c:pt idx="524">
                  <c:v>41674</c:v>
                </c:pt>
                <c:pt idx="525">
                  <c:v>41675</c:v>
                </c:pt>
                <c:pt idx="526">
                  <c:v>41676</c:v>
                </c:pt>
                <c:pt idx="527">
                  <c:v>41677</c:v>
                </c:pt>
                <c:pt idx="528">
                  <c:v>41680</c:v>
                </c:pt>
                <c:pt idx="529">
                  <c:v>41681</c:v>
                </c:pt>
                <c:pt idx="530">
                  <c:v>41682</c:v>
                </c:pt>
                <c:pt idx="531">
                  <c:v>41683</c:v>
                </c:pt>
                <c:pt idx="532">
                  <c:v>41684</c:v>
                </c:pt>
                <c:pt idx="533">
                  <c:v>41688</c:v>
                </c:pt>
                <c:pt idx="534">
                  <c:v>41689</c:v>
                </c:pt>
                <c:pt idx="535">
                  <c:v>41690</c:v>
                </c:pt>
                <c:pt idx="536">
                  <c:v>41691</c:v>
                </c:pt>
                <c:pt idx="537">
                  <c:v>41694</c:v>
                </c:pt>
                <c:pt idx="538">
                  <c:v>41695</c:v>
                </c:pt>
                <c:pt idx="539">
                  <c:v>41696</c:v>
                </c:pt>
                <c:pt idx="540">
                  <c:v>41697</c:v>
                </c:pt>
                <c:pt idx="541">
                  <c:v>41698</c:v>
                </c:pt>
                <c:pt idx="542">
                  <c:v>41701</c:v>
                </c:pt>
                <c:pt idx="543">
                  <c:v>41702</c:v>
                </c:pt>
                <c:pt idx="544">
                  <c:v>41703</c:v>
                </c:pt>
                <c:pt idx="545">
                  <c:v>41704</c:v>
                </c:pt>
                <c:pt idx="546">
                  <c:v>41705</c:v>
                </c:pt>
                <c:pt idx="547">
                  <c:v>41708</c:v>
                </c:pt>
                <c:pt idx="548">
                  <c:v>41709</c:v>
                </c:pt>
                <c:pt idx="549">
                  <c:v>41710</c:v>
                </c:pt>
                <c:pt idx="550">
                  <c:v>41711</c:v>
                </c:pt>
                <c:pt idx="551">
                  <c:v>41712</c:v>
                </c:pt>
                <c:pt idx="552">
                  <c:v>41715</c:v>
                </c:pt>
                <c:pt idx="553">
                  <c:v>41716</c:v>
                </c:pt>
                <c:pt idx="554">
                  <c:v>41717</c:v>
                </c:pt>
                <c:pt idx="555">
                  <c:v>41718</c:v>
                </c:pt>
                <c:pt idx="556">
                  <c:v>41719</c:v>
                </c:pt>
                <c:pt idx="557">
                  <c:v>41722</c:v>
                </c:pt>
                <c:pt idx="558">
                  <c:v>41723</c:v>
                </c:pt>
                <c:pt idx="559">
                  <c:v>41724</c:v>
                </c:pt>
                <c:pt idx="560">
                  <c:v>41725</c:v>
                </c:pt>
                <c:pt idx="561">
                  <c:v>41726</c:v>
                </c:pt>
                <c:pt idx="562">
                  <c:v>41729</c:v>
                </c:pt>
                <c:pt idx="563">
                  <c:v>41730</c:v>
                </c:pt>
                <c:pt idx="564">
                  <c:v>41731</c:v>
                </c:pt>
                <c:pt idx="565">
                  <c:v>41732</c:v>
                </c:pt>
                <c:pt idx="566">
                  <c:v>41733</c:v>
                </c:pt>
                <c:pt idx="567">
                  <c:v>41736</c:v>
                </c:pt>
                <c:pt idx="568">
                  <c:v>41737</c:v>
                </c:pt>
                <c:pt idx="569">
                  <c:v>41738</c:v>
                </c:pt>
                <c:pt idx="570">
                  <c:v>41739</c:v>
                </c:pt>
                <c:pt idx="571">
                  <c:v>41740</c:v>
                </c:pt>
                <c:pt idx="572">
                  <c:v>41743</c:v>
                </c:pt>
                <c:pt idx="573">
                  <c:v>41744</c:v>
                </c:pt>
                <c:pt idx="574">
                  <c:v>41745</c:v>
                </c:pt>
                <c:pt idx="575">
                  <c:v>41746</c:v>
                </c:pt>
                <c:pt idx="576">
                  <c:v>41750</c:v>
                </c:pt>
                <c:pt idx="577">
                  <c:v>41751</c:v>
                </c:pt>
                <c:pt idx="578">
                  <c:v>41752</c:v>
                </c:pt>
                <c:pt idx="579">
                  <c:v>41753</c:v>
                </c:pt>
                <c:pt idx="580">
                  <c:v>41754</c:v>
                </c:pt>
                <c:pt idx="581">
                  <c:v>41757</c:v>
                </c:pt>
                <c:pt idx="582">
                  <c:v>41758</c:v>
                </c:pt>
                <c:pt idx="583">
                  <c:v>41759</c:v>
                </c:pt>
                <c:pt idx="584">
                  <c:v>41760</c:v>
                </c:pt>
                <c:pt idx="585">
                  <c:v>41761</c:v>
                </c:pt>
                <c:pt idx="586">
                  <c:v>41764</c:v>
                </c:pt>
                <c:pt idx="587">
                  <c:v>41765</c:v>
                </c:pt>
                <c:pt idx="588">
                  <c:v>41766</c:v>
                </c:pt>
                <c:pt idx="589">
                  <c:v>41767</c:v>
                </c:pt>
                <c:pt idx="590">
                  <c:v>41768</c:v>
                </c:pt>
                <c:pt idx="591">
                  <c:v>41771</c:v>
                </c:pt>
                <c:pt idx="592">
                  <c:v>41772</c:v>
                </c:pt>
                <c:pt idx="593">
                  <c:v>41773</c:v>
                </c:pt>
                <c:pt idx="594">
                  <c:v>41774</c:v>
                </c:pt>
                <c:pt idx="595">
                  <c:v>41775</c:v>
                </c:pt>
                <c:pt idx="596">
                  <c:v>41778</c:v>
                </c:pt>
                <c:pt idx="597">
                  <c:v>41779</c:v>
                </c:pt>
                <c:pt idx="598">
                  <c:v>41780</c:v>
                </c:pt>
                <c:pt idx="599">
                  <c:v>41781</c:v>
                </c:pt>
                <c:pt idx="600">
                  <c:v>41782</c:v>
                </c:pt>
                <c:pt idx="601">
                  <c:v>41786</c:v>
                </c:pt>
                <c:pt idx="602">
                  <c:v>41787</c:v>
                </c:pt>
                <c:pt idx="603">
                  <c:v>41788</c:v>
                </c:pt>
                <c:pt idx="604">
                  <c:v>41789</c:v>
                </c:pt>
                <c:pt idx="605">
                  <c:v>41792</c:v>
                </c:pt>
                <c:pt idx="606">
                  <c:v>41793</c:v>
                </c:pt>
                <c:pt idx="607">
                  <c:v>41794</c:v>
                </c:pt>
                <c:pt idx="608">
                  <c:v>41795</c:v>
                </c:pt>
                <c:pt idx="609">
                  <c:v>41796</c:v>
                </c:pt>
                <c:pt idx="610">
                  <c:v>41799</c:v>
                </c:pt>
                <c:pt idx="611">
                  <c:v>41800</c:v>
                </c:pt>
                <c:pt idx="612">
                  <c:v>41801</c:v>
                </c:pt>
                <c:pt idx="613">
                  <c:v>41802</c:v>
                </c:pt>
                <c:pt idx="614">
                  <c:v>41803</c:v>
                </c:pt>
                <c:pt idx="615">
                  <c:v>41806</c:v>
                </c:pt>
                <c:pt idx="616">
                  <c:v>41807</c:v>
                </c:pt>
                <c:pt idx="617">
                  <c:v>41808</c:v>
                </c:pt>
                <c:pt idx="618">
                  <c:v>41809</c:v>
                </c:pt>
                <c:pt idx="619">
                  <c:v>41810</c:v>
                </c:pt>
                <c:pt idx="620">
                  <c:v>41813</c:v>
                </c:pt>
                <c:pt idx="621">
                  <c:v>41814</c:v>
                </c:pt>
                <c:pt idx="622">
                  <c:v>41815</c:v>
                </c:pt>
                <c:pt idx="623">
                  <c:v>41816</c:v>
                </c:pt>
                <c:pt idx="624">
                  <c:v>41817</c:v>
                </c:pt>
                <c:pt idx="625">
                  <c:v>41820</c:v>
                </c:pt>
                <c:pt idx="626">
                  <c:v>41821</c:v>
                </c:pt>
                <c:pt idx="627">
                  <c:v>41822</c:v>
                </c:pt>
                <c:pt idx="628">
                  <c:v>41823</c:v>
                </c:pt>
                <c:pt idx="629">
                  <c:v>41827</c:v>
                </c:pt>
                <c:pt idx="630">
                  <c:v>41828</c:v>
                </c:pt>
                <c:pt idx="631">
                  <c:v>41829</c:v>
                </c:pt>
                <c:pt idx="632">
                  <c:v>41830</c:v>
                </c:pt>
                <c:pt idx="633">
                  <c:v>41831</c:v>
                </c:pt>
                <c:pt idx="634">
                  <c:v>41834</c:v>
                </c:pt>
                <c:pt idx="635">
                  <c:v>41835</c:v>
                </c:pt>
                <c:pt idx="636">
                  <c:v>41836</c:v>
                </c:pt>
                <c:pt idx="637">
                  <c:v>41837</c:v>
                </c:pt>
                <c:pt idx="638">
                  <c:v>41838</c:v>
                </c:pt>
                <c:pt idx="639">
                  <c:v>41841</c:v>
                </c:pt>
                <c:pt idx="640">
                  <c:v>41842</c:v>
                </c:pt>
                <c:pt idx="641">
                  <c:v>41843</c:v>
                </c:pt>
                <c:pt idx="642">
                  <c:v>41844</c:v>
                </c:pt>
                <c:pt idx="643">
                  <c:v>41845</c:v>
                </c:pt>
                <c:pt idx="644">
                  <c:v>41848</c:v>
                </c:pt>
                <c:pt idx="645">
                  <c:v>41849</c:v>
                </c:pt>
                <c:pt idx="646">
                  <c:v>41850</c:v>
                </c:pt>
                <c:pt idx="647">
                  <c:v>41851</c:v>
                </c:pt>
                <c:pt idx="648">
                  <c:v>41852</c:v>
                </c:pt>
                <c:pt idx="649">
                  <c:v>41855</c:v>
                </c:pt>
                <c:pt idx="650">
                  <c:v>41856</c:v>
                </c:pt>
                <c:pt idx="651">
                  <c:v>41857</c:v>
                </c:pt>
                <c:pt idx="652">
                  <c:v>41858</c:v>
                </c:pt>
                <c:pt idx="653">
                  <c:v>41859</c:v>
                </c:pt>
                <c:pt idx="654">
                  <c:v>41862</c:v>
                </c:pt>
                <c:pt idx="655">
                  <c:v>41863</c:v>
                </c:pt>
                <c:pt idx="656">
                  <c:v>41864</c:v>
                </c:pt>
                <c:pt idx="657">
                  <c:v>41865</c:v>
                </c:pt>
                <c:pt idx="658">
                  <c:v>41866</c:v>
                </c:pt>
                <c:pt idx="659">
                  <c:v>41869</c:v>
                </c:pt>
                <c:pt idx="660">
                  <c:v>41870</c:v>
                </c:pt>
                <c:pt idx="661">
                  <c:v>41871</c:v>
                </c:pt>
                <c:pt idx="662">
                  <c:v>41872</c:v>
                </c:pt>
                <c:pt idx="663">
                  <c:v>41873</c:v>
                </c:pt>
                <c:pt idx="664">
                  <c:v>41876</c:v>
                </c:pt>
                <c:pt idx="665">
                  <c:v>41877</c:v>
                </c:pt>
                <c:pt idx="666">
                  <c:v>41878</c:v>
                </c:pt>
                <c:pt idx="667">
                  <c:v>41879</c:v>
                </c:pt>
                <c:pt idx="668">
                  <c:v>41880</c:v>
                </c:pt>
                <c:pt idx="669">
                  <c:v>41884</c:v>
                </c:pt>
                <c:pt idx="670">
                  <c:v>41885</c:v>
                </c:pt>
                <c:pt idx="671">
                  <c:v>41886</c:v>
                </c:pt>
                <c:pt idx="672">
                  <c:v>41887</c:v>
                </c:pt>
                <c:pt idx="673">
                  <c:v>41890</c:v>
                </c:pt>
                <c:pt idx="674">
                  <c:v>41891</c:v>
                </c:pt>
                <c:pt idx="675">
                  <c:v>41892</c:v>
                </c:pt>
                <c:pt idx="676">
                  <c:v>41893</c:v>
                </c:pt>
                <c:pt idx="677">
                  <c:v>41894</c:v>
                </c:pt>
                <c:pt idx="678">
                  <c:v>41897</c:v>
                </c:pt>
                <c:pt idx="679">
                  <c:v>41898</c:v>
                </c:pt>
                <c:pt idx="680">
                  <c:v>41899</c:v>
                </c:pt>
                <c:pt idx="681">
                  <c:v>41900</c:v>
                </c:pt>
                <c:pt idx="682">
                  <c:v>41901</c:v>
                </c:pt>
                <c:pt idx="683">
                  <c:v>41904</c:v>
                </c:pt>
                <c:pt idx="684">
                  <c:v>41905</c:v>
                </c:pt>
                <c:pt idx="685">
                  <c:v>41906</c:v>
                </c:pt>
                <c:pt idx="686">
                  <c:v>41907</c:v>
                </c:pt>
                <c:pt idx="687">
                  <c:v>41908</c:v>
                </c:pt>
                <c:pt idx="688">
                  <c:v>41911</c:v>
                </c:pt>
                <c:pt idx="689">
                  <c:v>41912</c:v>
                </c:pt>
                <c:pt idx="690">
                  <c:v>41913</c:v>
                </c:pt>
                <c:pt idx="691">
                  <c:v>41914</c:v>
                </c:pt>
                <c:pt idx="692">
                  <c:v>41915</c:v>
                </c:pt>
                <c:pt idx="693">
                  <c:v>41918</c:v>
                </c:pt>
                <c:pt idx="694">
                  <c:v>41919</c:v>
                </c:pt>
                <c:pt idx="695">
                  <c:v>41920</c:v>
                </c:pt>
                <c:pt idx="696">
                  <c:v>41921</c:v>
                </c:pt>
                <c:pt idx="697">
                  <c:v>41922</c:v>
                </c:pt>
                <c:pt idx="698">
                  <c:v>41925</c:v>
                </c:pt>
                <c:pt idx="699">
                  <c:v>41926</c:v>
                </c:pt>
                <c:pt idx="700">
                  <c:v>41927</c:v>
                </c:pt>
                <c:pt idx="701">
                  <c:v>41928</c:v>
                </c:pt>
                <c:pt idx="702">
                  <c:v>41929</c:v>
                </c:pt>
                <c:pt idx="703">
                  <c:v>41932</c:v>
                </c:pt>
                <c:pt idx="704">
                  <c:v>41933</c:v>
                </c:pt>
                <c:pt idx="705">
                  <c:v>41934</c:v>
                </c:pt>
                <c:pt idx="706">
                  <c:v>41935</c:v>
                </c:pt>
                <c:pt idx="707">
                  <c:v>41936</c:v>
                </c:pt>
                <c:pt idx="708">
                  <c:v>41939</c:v>
                </c:pt>
                <c:pt idx="709">
                  <c:v>41940</c:v>
                </c:pt>
                <c:pt idx="710">
                  <c:v>41941</c:v>
                </c:pt>
                <c:pt idx="711">
                  <c:v>41942</c:v>
                </c:pt>
                <c:pt idx="712">
                  <c:v>41943</c:v>
                </c:pt>
                <c:pt idx="713">
                  <c:v>41946</c:v>
                </c:pt>
                <c:pt idx="714">
                  <c:v>41947</c:v>
                </c:pt>
                <c:pt idx="715">
                  <c:v>41948</c:v>
                </c:pt>
                <c:pt idx="716">
                  <c:v>41949</c:v>
                </c:pt>
                <c:pt idx="717">
                  <c:v>41950</c:v>
                </c:pt>
                <c:pt idx="718">
                  <c:v>41953</c:v>
                </c:pt>
                <c:pt idx="719">
                  <c:v>41954</c:v>
                </c:pt>
                <c:pt idx="720">
                  <c:v>41955</c:v>
                </c:pt>
                <c:pt idx="721">
                  <c:v>41956</c:v>
                </c:pt>
                <c:pt idx="722">
                  <c:v>41957</c:v>
                </c:pt>
                <c:pt idx="723">
                  <c:v>41960</c:v>
                </c:pt>
                <c:pt idx="724">
                  <c:v>41961</c:v>
                </c:pt>
                <c:pt idx="725">
                  <c:v>41962</c:v>
                </c:pt>
                <c:pt idx="726">
                  <c:v>41963</c:v>
                </c:pt>
                <c:pt idx="727">
                  <c:v>41964</c:v>
                </c:pt>
                <c:pt idx="728">
                  <c:v>41967</c:v>
                </c:pt>
                <c:pt idx="729">
                  <c:v>41968</c:v>
                </c:pt>
                <c:pt idx="730">
                  <c:v>41969</c:v>
                </c:pt>
                <c:pt idx="731">
                  <c:v>41971</c:v>
                </c:pt>
                <c:pt idx="732">
                  <c:v>41974</c:v>
                </c:pt>
                <c:pt idx="733">
                  <c:v>41975</c:v>
                </c:pt>
                <c:pt idx="734">
                  <c:v>41976</c:v>
                </c:pt>
                <c:pt idx="735">
                  <c:v>41977</c:v>
                </c:pt>
                <c:pt idx="736">
                  <c:v>41978</c:v>
                </c:pt>
                <c:pt idx="737">
                  <c:v>41981</c:v>
                </c:pt>
                <c:pt idx="738">
                  <c:v>41982</c:v>
                </c:pt>
                <c:pt idx="739">
                  <c:v>41983</c:v>
                </c:pt>
                <c:pt idx="740">
                  <c:v>41984</c:v>
                </c:pt>
                <c:pt idx="741">
                  <c:v>41985</c:v>
                </c:pt>
                <c:pt idx="742">
                  <c:v>41988</c:v>
                </c:pt>
                <c:pt idx="743">
                  <c:v>41989</c:v>
                </c:pt>
                <c:pt idx="744">
                  <c:v>41990</c:v>
                </c:pt>
                <c:pt idx="745">
                  <c:v>41991</c:v>
                </c:pt>
                <c:pt idx="746">
                  <c:v>41992</c:v>
                </c:pt>
                <c:pt idx="747">
                  <c:v>41995</c:v>
                </c:pt>
                <c:pt idx="748">
                  <c:v>41996</c:v>
                </c:pt>
                <c:pt idx="749">
                  <c:v>41997</c:v>
                </c:pt>
                <c:pt idx="750">
                  <c:v>41999</c:v>
                </c:pt>
                <c:pt idx="751">
                  <c:v>42002</c:v>
                </c:pt>
                <c:pt idx="752">
                  <c:v>42003</c:v>
                </c:pt>
                <c:pt idx="753">
                  <c:v>42004</c:v>
                </c:pt>
                <c:pt idx="754">
                  <c:v>42006</c:v>
                </c:pt>
                <c:pt idx="755">
                  <c:v>42009</c:v>
                </c:pt>
                <c:pt idx="756">
                  <c:v>42010</c:v>
                </c:pt>
                <c:pt idx="757">
                  <c:v>42011</c:v>
                </c:pt>
                <c:pt idx="758">
                  <c:v>42012</c:v>
                </c:pt>
                <c:pt idx="759">
                  <c:v>42013</c:v>
                </c:pt>
                <c:pt idx="760">
                  <c:v>42016</c:v>
                </c:pt>
                <c:pt idx="761">
                  <c:v>42017</c:v>
                </c:pt>
                <c:pt idx="762">
                  <c:v>42018</c:v>
                </c:pt>
                <c:pt idx="763">
                  <c:v>42019</c:v>
                </c:pt>
                <c:pt idx="764">
                  <c:v>42020</c:v>
                </c:pt>
                <c:pt idx="765">
                  <c:v>42024</c:v>
                </c:pt>
                <c:pt idx="766">
                  <c:v>42025</c:v>
                </c:pt>
                <c:pt idx="767">
                  <c:v>42026</c:v>
                </c:pt>
                <c:pt idx="768">
                  <c:v>42027</c:v>
                </c:pt>
                <c:pt idx="769">
                  <c:v>42030</c:v>
                </c:pt>
                <c:pt idx="770">
                  <c:v>42031</c:v>
                </c:pt>
                <c:pt idx="771">
                  <c:v>42032</c:v>
                </c:pt>
                <c:pt idx="772">
                  <c:v>42033</c:v>
                </c:pt>
                <c:pt idx="773">
                  <c:v>42034</c:v>
                </c:pt>
                <c:pt idx="774">
                  <c:v>42037</c:v>
                </c:pt>
                <c:pt idx="775">
                  <c:v>42038</c:v>
                </c:pt>
                <c:pt idx="776">
                  <c:v>42039</c:v>
                </c:pt>
                <c:pt idx="777">
                  <c:v>42040</c:v>
                </c:pt>
                <c:pt idx="778">
                  <c:v>42041</c:v>
                </c:pt>
                <c:pt idx="779">
                  <c:v>42044</c:v>
                </c:pt>
                <c:pt idx="780">
                  <c:v>42045</c:v>
                </c:pt>
                <c:pt idx="781">
                  <c:v>42046</c:v>
                </c:pt>
                <c:pt idx="782">
                  <c:v>42047</c:v>
                </c:pt>
                <c:pt idx="783">
                  <c:v>42048</c:v>
                </c:pt>
                <c:pt idx="784">
                  <c:v>42052</c:v>
                </c:pt>
                <c:pt idx="785">
                  <c:v>42053</c:v>
                </c:pt>
                <c:pt idx="786">
                  <c:v>42054</c:v>
                </c:pt>
                <c:pt idx="787">
                  <c:v>42055</c:v>
                </c:pt>
                <c:pt idx="788">
                  <c:v>42058</c:v>
                </c:pt>
                <c:pt idx="789">
                  <c:v>42059</c:v>
                </c:pt>
                <c:pt idx="790">
                  <c:v>42060</c:v>
                </c:pt>
                <c:pt idx="791">
                  <c:v>42061</c:v>
                </c:pt>
                <c:pt idx="792">
                  <c:v>42062</c:v>
                </c:pt>
                <c:pt idx="793">
                  <c:v>42065</c:v>
                </c:pt>
                <c:pt idx="794">
                  <c:v>42066</c:v>
                </c:pt>
                <c:pt idx="795">
                  <c:v>42067</c:v>
                </c:pt>
                <c:pt idx="796">
                  <c:v>42068</c:v>
                </c:pt>
                <c:pt idx="797">
                  <c:v>42069</c:v>
                </c:pt>
                <c:pt idx="798">
                  <c:v>42072</c:v>
                </c:pt>
                <c:pt idx="799">
                  <c:v>42073</c:v>
                </c:pt>
                <c:pt idx="800">
                  <c:v>42074</c:v>
                </c:pt>
                <c:pt idx="801">
                  <c:v>42075</c:v>
                </c:pt>
                <c:pt idx="802">
                  <c:v>42076</c:v>
                </c:pt>
                <c:pt idx="803">
                  <c:v>42079</c:v>
                </c:pt>
                <c:pt idx="804">
                  <c:v>42080</c:v>
                </c:pt>
                <c:pt idx="805">
                  <c:v>42081</c:v>
                </c:pt>
                <c:pt idx="806">
                  <c:v>42082</c:v>
                </c:pt>
                <c:pt idx="807">
                  <c:v>42083</c:v>
                </c:pt>
                <c:pt idx="808">
                  <c:v>42086</c:v>
                </c:pt>
                <c:pt idx="809">
                  <c:v>42087</c:v>
                </c:pt>
                <c:pt idx="810">
                  <c:v>42088</c:v>
                </c:pt>
                <c:pt idx="811">
                  <c:v>42089</c:v>
                </c:pt>
                <c:pt idx="812">
                  <c:v>42090</c:v>
                </c:pt>
                <c:pt idx="813">
                  <c:v>42093</c:v>
                </c:pt>
                <c:pt idx="814">
                  <c:v>42094</c:v>
                </c:pt>
                <c:pt idx="815">
                  <c:v>42095</c:v>
                </c:pt>
                <c:pt idx="816">
                  <c:v>42096</c:v>
                </c:pt>
                <c:pt idx="817">
                  <c:v>42100</c:v>
                </c:pt>
                <c:pt idx="818">
                  <c:v>42101</c:v>
                </c:pt>
                <c:pt idx="819">
                  <c:v>42102</c:v>
                </c:pt>
                <c:pt idx="820">
                  <c:v>42103</c:v>
                </c:pt>
                <c:pt idx="821">
                  <c:v>42104</c:v>
                </c:pt>
                <c:pt idx="822">
                  <c:v>42107</c:v>
                </c:pt>
                <c:pt idx="823">
                  <c:v>42108</c:v>
                </c:pt>
                <c:pt idx="824">
                  <c:v>42109</c:v>
                </c:pt>
                <c:pt idx="825">
                  <c:v>42110</c:v>
                </c:pt>
                <c:pt idx="826">
                  <c:v>42111</c:v>
                </c:pt>
                <c:pt idx="827">
                  <c:v>42114</c:v>
                </c:pt>
                <c:pt idx="828">
                  <c:v>42115</c:v>
                </c:pt>
                <c:pt idx="829">
                  <c:v>42116</c:v>
                </c:pt>
                <c:pt idx="830">
                  <c:v>42117</c:v>
                </c:pt>
                <c:pt idx="831">
                  <c:v>42118</c:v>
                </c:pt>
                <c:pt idx="832">
                  <c:v>42121</c:v>
                </c:pt>
                <c:pt idx="833">
                  <c:v>42122</c:v>
                </c:pt>
                <c:pt idx="834">
                  <c:v>42123</c:v>
                </c:pt>
                <c:pt idx="835">
                  <c:v>42124</c:v>
                </c:pt>
                <c:pt idx="836">
                  <c:v>42125</c:v>
                </c:pt>
                <c:pt idx="837">
                  <c:v>42128</c:v>
                </c:pt>
                <c:pt idx="838">
                  <c:v>42129</c:v>
                </c:pt>
                <c:pt idx="839">
                  <c:v>42130</c:v>
                </c:pt>
                <c:pt idx="840">
                  <c:v>42131</c:v>
                </c:pt>
                <c:pt idx="841">
                  <c:v>42132</c:v>
                </c:pt>
                <c:pt idx="842">
                  <c:v>42135</c:v>
                </c:pt>
                <c:pt idx="843">
                  <c:v>42136</c:v>
                </c:pt>
                <c:pt idx="844">
                  <c:v>42137</c:v>
                </c:pt>
                <c:pt idx="845">
                  <c:v>42138</c:v>
                </c:pt>
                <c:pt idx="846">
                  <c:v>42139</c:v>
                </c:pt>
                <c:pt idx="847">
                  <c:v>42142</c:v>
                </c:pt>
                <c:pt idx="848">
                  <c:v>42143</c:v>
                </c:pt>
                <c:pt idx="849">
                  <c:v>42144</c:v>
                </c:pt>
                <c:pt idx="850">
                  <c:v>42145</c:v>
                </c:pt>
                <c:pt idx="851">
                  <c:v>42146</c:v>
                </c:pt>
                <c:pt idx="852">
                  <c:v>42150</c:v>
                </c:pt>
                <c:pt idx="853">
                  <c:v>42151</c:v>
                </c:pt>
                <c:pt idx="854">
                  <c:v>42152</c:v>
                </c:pt>
                <c:pt idx="855">
                  <c:v>42153</c:v>
                </c:pt>
                <c:pt idx="856">
                  <c:v>42156</c:v>
                </c:pt>
                <c:pt idx="857">
                  <c:v>42157</c:v>
                </c:pt>
                <c:pt idx="858">
                  <c:v>42158</c:v>
                </c:pt>
                <c:pt idx="859">
                  <c:v>42159</c:v>
                </c:pt>
                <c:pt idx="860">
                  <c:v>42160</c:v>
                </c:pt>
                <c:pt idx="861">
                  <c:v>42163</c:v>
                </c:pt>
                <c:pt idx="862">
                  <c:v>42164</c:v>
                </c:pt>
                <c:pt idx="863">
                  <c:v>42165</c:v>
                </c:pt>
                <c:pt idx="864">
                  <c:v>42166</c:v>
                </c:pt>
                <c:pt idx="865">
                  <c:v>42167</c:v>
                </c:pt>
                <c:pt idx="866">
                  <c:v>42170</c:v>
                </c:pt>
                <c:pt idx="867">
                  <c:v>42171</c:v>
                </c:pt>
                <c:pt idx="868">
                  <c:v>42172</c:v>
                </c:pt>
                <c:pt idx="869">
                  <c:v>42173</c:v>
                </c:pt>
                <c:pt idx="870">
                  <c:v>42174</c:v>
                </c:pt>
                <c:pt idx="871">
                  <c:v>42177</c:v>
                </c:pt>
                <c:pt idx="872">
                  <c:v>42178</c:v>
                </c:pt>
                <c:pt idx="873">
                  <c:v>42179</c:v>
                </c:pt>
                <c:pt idx="874">
                  <c:v>42180</c:v>
                </c:pt>
                <c:pt idx="875">
                  <c:v>42181</c:v>
                </c:pt>
                <c:pt idx="876">
                  <c:v>42184</c:v>
                </c:pt>
                <c:pt idx="877">
                  <c:v>42185</c:v>
                </c:pt>
                <c:pt idx="878">
                  <c:v>42186</c:v>
                </c:pt>
                <c:pt idx="879">
                  <c:v>42187</c:v>
                </c:pt>
                <c:pt idx="880">
                  <c:v>42191</c:v>
                </c:pt>
                <c:pt idx="881">
                  <c:v>42192</c:v>
                </c:pt>
                <c:pt idx="882">
                  <c:v>42193</c:v>
                </c:pt>
                <c:pt idx="883">
                  <c:v>42194</c:v>
                </c:pt>
                <c:pt idx="884">
                  <c:v>42195</c:v>
                </c:pt>
                <c:pt idx="885">
                  <c:v>42198</c:v>
                </c:pt>
                <c:pt idx="886">
                  <c:v>42199</c:v>
                </c:pt>
                <c:pt idx="887">
                  <c:v>42200</c:v>
                </c:pt>
                <c:pt idx="888">
                  <c:v>42201</c:v>
                </c:pt>
                <c:pt idx="889">
                  <c:v>42202</c:v>
                </c:pt>
                <c:pt idx="890">
                  <c:v>42205</c:v>
                </c:pt>
                <c:pt idx="891">
                  <c:v>42206</c:v>
                </c:pt>
                <c:pt idx="892">
                  <c:v>42207</c:v>
                </c:pt>
                <c:pt idx="893">
                  <c:v>42208</c:v>
                </c:pt>
                <c:pt idx="894">
                  <c:v>42209</c:v>
                </c:pt>
                <c:pt idx="895">
                  <c:v>42212</c:v>
                </c:pt>
                <c:pt idx="896">
                  <c:v>42213</c:v>
                </c:pt>
                <c:pt idx="897">
                  <c:v>42214</c:v>
                </c:pt>
                <c:pt idx="898">
                  <c:v>42215</c:v>
                </c:pt>
                <c:pt idx="899">
                  <c:v>42216</c:v>
                </c:pt>
                <c:pt idx="900">
                  <c:v>42219</c:v>
                </c:pt>
                <c:pt idx="901">
                  <c:v>42220</c:v>
                </c:pt>
                <c:pt idx="902">
                  <c:v>42221</c:v>
                </c:pt>
                <c:pt idx="903">
                  <c:v>42222</c:v>
                </c:pt>
                <c:pt idx="904">
                  <c:v>42223</c:v>
                </c:pt>
                <c:pt idx="905">
                  <c:v>42226</c:v>
                </c:pt>
                <c:pt idx="906">
                  <c:v>42227</c:v>
                </c:pt>
                <c:pt idx="907">
                  <c:v>42228</c:v>
                </c:pt>
                <c:pt idx="908">
                  <c:v>42229</c:v>
                </c:pt>
                <c:pt idx="909">
                  <c:v>42230</c:v>
                </c:pt>
                <c:pt idx="910">
                  <c:v>42233</c:v>
                </c:pt>
                <c:pt idx="911">
                  <c:v>42234</c:v>
                </c:pt>
                <c:pt idx="912">
                  <c:v>42235</c:v>
                </c:pt>
                <c:pt idx="913">
                  <c:v>42236</c:v>
                </c:pt>
                <c:pt idx="914">
                  <c:v>42237</c:v>
                </c:pt>
                <c:pt idx="915">
                  <c:v>42240</c:v>
                </c:pt>
                <c:pt idx="916">
                  <c:v>42241</c:v>
                </c:pt>
                <c:pt idx="917">
                  <c:v>42242</c:v>
                </c:pt>
                <c:pt idx="918">
                  <c:v>42243</c:v>
                </c:pt>
                <c:pt idx="919">
                  <c:v>42244</c:v>
                </c:pt>
                <c:pt idx="920">
                  <c:v>42247</c:v>
                </c:pt>
                <c:pt idx="921">
                  <c:v>42248</c:v>
                </c:pt>
                <c:pt idx="922">
                  <c:v>42249</c:v>
                </c:pt>
                <c:pt idx="923">
                  <c:v>42250</c:v>
                </c:pt>
                <c:pt idx="924">
                  <c:v>42251</c:v>
                </c:pt>
                <c:pt idx="925">
                  <c:v>42255</c:v>
                </c:pt>
                <c:pt idx="926">
                  <c:v>42256</c:v>
                </c:pt>
                <c:pt idx="927">
                  <c:v>42257</c:v>
                </c:pt>
                <c:pt idx="928">
                  <c:v>42258</c:v>
                </c:pt>
                <c:pt idx="929">
                  <c:v>42261</c:v>
                </c:pt>
                <c:pt idx="930">
                  <c:v>42262</c:v>
                </c:pt>
                <c:pt idx="931">
                  <c:v>42263</c:v>
                </c:pt>
                <c:pt idx="932">
                  <c:v>42264</c:v>
                </c:pt>
                <c:pt idx="933">
                  <c:v>42265</c:v>
                </c:pt>
                <c:pt idx="934">
                  <c:v>42268</c:v>
                </c:pt>
                <c:pt idx="935">
                  <c:v>42269</c:v>
                </c:pt>
                <c:pt idx="936">
                  <c:v>42270</c:v>
                </c:pt>
                <c:pt idx="937">
                  <c:v>42271</c:v>
                </c:pt>
                <c:pt idx="938">
                  <c:v>42272</c:v>
                </c:pt>
                <c:pt idx="939">
                  <c:v>42275</c:v>
                </c:pt>
                <c:pt idx="940">
                  <c:v>42276</c:v>
                </c:pt>
                <c:pt idx="941">
                  <c:v>42277</c:v>
                </c:pt>
                <c:pt idx="942">
                  <c:v>42278</c:v>
                </c:pt>
                <c:pt idx="943">
                  <c:v>42279</c:v>
                </c:pt>
                <c:pt idx="944">
                  <c:v>42282</c:v>
                </c:pt>
                <c:pt idx="945">
                  <c:v>42283</c:v>
                </c:pt>
                <c:pt idx="946">
                  <c:v>42284</c:v>
                </c:pt>
                <c:pt idx="947">
                  <c:v>42285</c:v>
                </c:pt>
                <c:pt idx="948">
                  <c:v>42286</c:v>
                </c:pt>
                <c:pt idx="949">
                  <c:v>42289</c:v>
                </c:pt>
                <c:pt idx="950">
                  <c:v>42290</c:v>
                </c:pt>
                <c:pt idx="951">
                  <c:v>42291</c:v>
                </c:pt>
                <c:pt idx="952">
                  <c:v>42292</c:v>
                </c:pt>
                <c:pt idx="953">
                  <c:v>42293</c:v>
                </c:pt>
                <c:pt idx="954">
                  <c:v>42296</c:v>
                </c:pt>
                <c:pt idx="955">
                  <c:v>42297</c:v>
                </c:pt>
                <c:pt idx="956">
                  <c:v>42298</c:v>
                </c:pt>
                <c:pt idx="957">
                  <c:v>42299</c:v>
                </c:pt>
                <c:pt idx="958">
                  <c:v>42300</c:v>
                </c:pt>
                <c:pt idx="959">
                  <c:v>42303</c:v>
                </c:pt>
                <c:pt idx="960">
                  <c:v>42304</c:v>
                </c:pt>
                <c:pt idx="961">
                  <c:v>42305</c:v>
                </c:pt>
                <c:pt idx="962">
                  <c:v>42306</c:v>
                </c:pt>
                <c:pt idx="963">
                  <c:v>42307</c:v>
                </c:pt>
                <c:pt idx="964">
                  <c:v>42310</c:v>
                </c:pt>
                <c:pt idx="965">
                  <c:v>42311</c:v>
                </c:pt>
                <c:pt idx="966">
                  <c:v>42312</c:v>
                </c:pt>
                <c:pt idx="967">
                  <c:v>42313</c:v>
                </c:pt>
                <c:pt idx="968">
                  <c:v>42314</c:v>
                </c:pt>
                <c:pt idx="969">
                  <c:v>42317</c:v>
                </c:pt>
                <c:pt idx="970">
                  <c:v>42318</c:v>
                </c:pt>
                <c:pt idx="971">
                  <c:v>42319</c:v>
                </c:pt>
                <c:pt idx="972">
                  <c:v>42320</c:v>
                </c:pt>
                <c:pt idx="973">
                  <c:v>42321</c:v>
                </c:pt>
                <c:pt idx="974">
                  <c:v>42324</c:v>
                </c:pt>
                <c:pt idx="975">
                  <c:v>42325</c:v>
                </c:pt>
                <c:pt idx="976">
                  <c:v>42326</c:v>
                </c:pt>
                <c:pt idx="977">
                  <c:v>42327</c:v>
                </c:pt>
                <c:pt idx="978">
                  <c:v>42328</c:v>
                </c:pt>
                <c:pt idx="979">
                  <c:v>42331</c:v>
                </c:pt>
                <c:pt idx="980">
                  <c:v>42332</c:v>
                </c:pt>
                <c:pt idx="981">
                  <c:v>42333</c:v>
                </c:pt>
                <c:pt idx="982">
                  <c:v>42335</c:v>
                </c:pt>
                <c:pt idx="983">
                  <c:v>42338</c:v>
                </c:pt>
                <c:pt idx="984">
                  <c:v>42339</c:v>
                </c:pt>
                <c:pt idx="985">
                  <c:v>42340</c:v>
                </c:pt>
                <c:pt idx="986">
                  <c:v>42341</c:v>
                </c:pt>
                <c:pt idx="987">
                  <c:v>42342</c:v>
                </c:pt>
                <c:pt idx="988">
                  <c:v>42345</c:v>
                </c:pt>
                <c:pt idx="989">
                  <c:v>42346</c:v>
                </c:pt>
                <c:pt idx="990">
                  <c:v>42347</c:v>
                </c:pt>
                <c:pt idx="991">
                  <c:v>42348</c:v>
                </c:pt>
                <c:pt idx="992">
                  <c:v>42349</c:v>
                </c:pt>
                <c:pt idx="993">
                  <c:v>42352</c:v>
                </c:pt>
                <c:pt idx="994">
                  <c:v>42353</c:v>
                </c:pt>
                <c:pt idx="995">
                  <c:v>42354</c:v>
                </c:pt>
                <c:pt idx="996">
                  <c:v>42355</c:v>
                </c:pt>
                <c:pt idx="997">
                  <c:v>42356</c:v>
                </c:pt>
                <c:pt idx="998">
                  <c:v>42359</c:v>
                </c:pt>
                <c:pt idx="999">
                  <c:v>42360</c:v>
                </c:pt>
                <c:pt idx="1000">
                  <c:v>42361</c:v>
                </c:pt>
                <c:pt idx="1001">
                  <c:v>42362</c:v>
                </c:pt>
                <c:pt idx="1002">
                  <c:v>42366</c:v>
                </c:pt>
                <c:pt idx="1003">
                  <c:v>42367</c:v>
                </c:pt>
                <c:pt idx="1004">
                  <c:v>42368</c:v>
                </c:pt>
                <c:pt idx="1005">
                  <c:v>42369</c:v>
                </c:pt>
                <c:pt idx="1006">
                  <c:v>42373</c:v>
                </c:pt>
                <c:pt idx="1007">
                  <c:v>42374</c:v>
                </c:pt>
                <c:pt idx="1008">
                  <c:v>42375</c:v>
                </c:pt>
                <c:pt idx="1009">
                  <c:v>42376</c:v>
                </c:pt>
                <c:pt idx="1010">
                  <c:v>42377</c:v>
                </c:pt>
                <c:pt idx="1011">
                  <c:v>42380</c:v>
                </c:pt>
                <c:pt idx="1012">
                  <c:v>42381</c:v>
                </c:pt>
                <c:pt idx="1013">
                  <c:v>42382</c:v>
                </c:pt>
                <c:pt idx="1014">
                  <c:v>42383</c:v>
                </c:pt>
                <c:pt idx="1015">
                  <c:v>42384</c:v>
                </c:pt>
                <c:pt idx="1016">
                  <c:v>42388</c:v>
                </c:pt>
                <c:pt idx="1017">
                  <c:v>42389</c:v>
                </c:pt>
                <c:pt idx="1018">
                  <c:v>42390</c:v>
                </c:pt>
                <c:pt idx="1019">
                  <c:v>42391</c:v>
                </c:pt>
                <c:pt idx="1020">
                  <c:v>42394</c:v>
                </c:pt>
                <c:pt idx="1021">
                  <c:v>42395</c:v>
                </c:pt>
                <c:pt idx="1022">
                  <c:v>42396</c:v>
                </c:pt>
                <c:pt idx="1023">
                  <c:v>42397</c:v>
                </c:pt>
                <c:pt idx="1024">
                  <c:v>42398</c:v>
                </c:pt>
                <c:pt idx="1025">
                  <c:v>42401</c:v>
                </c:pt>
                <c:pt idx="1026">
                  <c:v>42402</c:v>
                </c:pt>
                <c:pt idx="1027">
                  <c:v>42403</c:v>
                </c:pt>
                <c:pt idx="1028">
                  <c:v>42404</c:v>
                </c:pt>
                <c:pt idx="1029">
                  <c:v>42405</c:v>
                </c:pt>
                <c:pt idx="1030">
                  <c:v>42408</c:v>
                </c:pt>
                <c:pt idx="1031">
                  <c:v>42409</c:v>
                </c:pt>
                <c:pt idx="1032">
                  <c:v>42410</c:v>
                </c:pt>
                <c:pt idx="1033">
                  <c:v>42411</c:v>
                </c:pt>
                <c:pt idx="1034">
                  <c:v>42412</c:v>
                </c:pt>
                <c:pt idx="1035">
                  <c:v>42416</c:v>
                </c:pt>
                <c:pt idx="1036">
                  <c:v>42417</c:v>
                </c:pt>
                <c:pt idx="1037">
                  <c:v>42418</c:v>
                </c:pt>
                <c:pt idx="1038">
                  <c:v>42419</c:v>
                </c:pt>
                <c:pt idx="1039">
                  <c:v>42422</c:v>
                </c:pt>
                <c:pt idx="1040">
                  <c:v>42423</c:v>
                </c:pt>
                <c:pt idx="1041">
                  <c:v>42424</c:v>
                </c:pt>
                <c:pt idx="1042">
                  <c:v>42425</c:v>
                </c:pt>
                <c:pt idx="1043">
                  <c:v>42426</c:v>
                </c:pt>
                <c:pt idx="1044">
                  <c:v>42429</c:v>
                </c:pt>
                <c:pt idx="1045">
                  <c:v>42430</c:v>
                </c:pt>
                <c:pt idx="1046">
                  <c:v>42431</c:v>
                </c:pt>
                <c:pt idx="1047">
                  <c:v>42432</c:v>
                </c:pt>
                <c:pt idx="1048">
                  <c:v>42433</c:v>
                </c:pt>
                <c:pt idx="1049">
                  <c:v>42436</c:v>
                </c:pt>
                <c:pt idx="1050">
                  <c:v>42437</c:v>
                </c:pt>
                <c:pt idx="1051">
                  <c:v>42438</c:v>
                </c:pt>
                <c:pt idx="1052">
                  <c:v>42439</c:v>
                </c:pt>
                <c:pt idx="1053">
                  <c:v>42440</c:v>
                </c:pt>
                <c:pt idx="1054">
                  <c:v>42443</c:v>
                </c:pt>
                <c:pt idx="1055">
                  <c:v>42444</c:v>
                </c:pt>
                <c:pt idx="1056">
                  <c:v>42445</c:v>
                </c:pt>
                <c:pt idx="1057">
                  <c:v>42446</c:v>
                </c:pt>
                <c:pt idx="1058">
                  <c:v>42447</c:v>
                </c:pt>
                <c:pt idx="1059">
                  <c:v>42450</c:v>
                </c:pt>
                <c:pt idx="1060">
                  <c:v>42451</c:v>
                </c:pt>
                <c:pt idx="1061">
                  <c:v>42452</c:v>
                </c:pt>
                <c:pt idx="1062">
                  <c:v>42453</c:v>
                </c:pt>
                <c:pt idx="1063">
                  <c:v>42457</c:v>
                </c:pt>
                <c:pt idx="1064">
                  <c:v>42458</c:v>
                </c:pt>
                <c:pt idx="1065">
                  <c:v>42459</c:v>
                </c:pt>
                <c:pt idx="1066">
                  <c:v>42460</c:v>
                </c:pt>
                <c:pt idx="1067">
                  <c:v>42461</c:v>
                </c:pt>
                <c:pt idx="1068">
                  <c:v>42464</c:v>
                </c:pt>
                <c:pt idx="1069">
                  <c:v>42465</c:v>
                </c:pt>
                <c:pt idx="1070">
                  <c:v>42466</c:v>
                </c:pt>
                <c:pt idx="1071">
                  <c:v>42467</c:v>
                </c:pt>
                <c:pt idx="1072">
                  <c:v>42468</c:v>
                </c:pt>
                <c:pt idx="1073">
                  <c:v>42471</c:v>
                </c:pt>
                <c:pt idx="1074">
                  <c:v>42472</c:v>
                </c:pt>
                <c:pt idx="1075">
                  <c:v>42473</c:v>
                </c:pt>
                <c:pt idx="1076">
                  <c:v>42474</c:v>
                </c:pt>
                <c:pt idx="1077">
                  <c:v>42475</c:v>
                </c:pt>
                <c:pt idx="1078">
                  <c:v>42478</c:v>
                </c:pt>
                <c:pt idx="1079">
                  <c:v>42479</c:v>
                </c:pt>
                <c:pt idx="1080">
                  <c:v>42480</c:v>
                </c:pt>
                <c:pt idx="1081">
                  <c:v>42481</c:v>
                </c:pt>
                <c:pt idx="1082">
                  <c:v>42482</c:v>
                </c:pt>
                <c:pt idx="1083">
                  <c:v>42485</c:v>
                </c:pt>
                <c:pt idx="1084">
                  <c:v>42486</c:v>
                </c:pt>
                <c:pt idx="1085">
                  <c:v>42487</c:v>
                </c:pt>
                <c:pt idx="1086">
                  <c:v>42488</c:v>
                </c:pt>
                <c:pt idx="1087">
                  <c:v>42489</c:v>
                </c:pt>
                <c:pt idx="1088">
                  <c:v>42492</c:v>
                </c:pt>
                <c:pt idx="1089">
                  <c:v>42493</c:v>
                </c:pt>
                <c:pt idx="1090">
                  <c:v>42494</c:v>
                </c:pt>
                <c:pt idx="1091">
                  <c:v>42495</c:v>
                </c:pt>
                <c:pt idx="1092">
                  <c:v>42496</c:v>
                </c:pt>
                <c:pt idx="1093">
                  <c:v>42499</c:v>
                </c:pt>
                <c:pt idx="1094">
                  <c:v>42500</c:v>
                </c:pt>
                <c:pt idx="1095">
                  <c:v>42501</c:v>
                </c:pt>
                <c:pt idx="1096">
                  <c:v>42502</c:v>
                </c:pt>
                <c:pt idx="1097">
                  <c:v>42503</c:v>
                </c:pt>
                <c:pt idx="1098">
                  <c:v>42506</c:v>
                </c:pt>
                <c:pt idx="1099">
                  <c:v>42507</c:v>
                </c:pt>
                <c:pt idx="1100">
                  <c:v>42508</c:v>
                </c:pt>
                <c:pt idx="1101">
                  <c:v>42509</c:v>
                </c:pt>
                <c:pt idx="1102">
                  <c:v>42510</c:v>
                </c:pt>
                <c:pt idx="1103">
                  <c:v>42513</c:v>
                </c:pt>
                <c:pt idx="1104">
                  <c:v>42514</c:v>
                </c:pt>
                <c:pt idx="1105">
                  <c:v>42515</c:v>
                </c:pt>
                <c:pt idx="1106">
                  <c:v>42516</c:v>
                </c:pt>
                <c:pt idx="1107">
                  <c:v>42517</c:v>
                </c:pt>
                <c:pt idx="1108">
                  <c:v>42521</c:v>
                </c:pt>
                <c:pt idx="1109">
                  <c:v>42522</c:v>
                </c:pt>
                <c:pt idx="1110">
                  <c:v>42523</c:v>
                </c:pt>
                <c:pt idx="1111">
                  <c:v>42524</c:v>
                </c:pt>
                <c:pt idx="1112">
                  <c:v>42527</c:v>
                </c:pt>
                <c:pt idx="1113">
                  <c:v>42528</c:v>
                </c:pt>
                <c:pt idx="1114">
                  <c:v>42529</c:v>
                </c:pt>
                <c:pt idx="1115">
                  <c:v>42530</c:v>
                </c:pt>
                <c:pt idx="1116">
                  <c:v>42531</c:v>
                </c:pt>
                <c:pt idx="1117">
                  <c:v>42534</c:v>
                </c:pt>
                <c:pt idx="1118">
                  <c:v>42535</c:v>
                </c:pt>
                <c:pt idx="1119">
                  <c:v>42536</c:v>
                </c:pt>
                <c:pt idx="1120">
                  <c:v>42537</c:v>
                </c:pt>
                <c:pt idx="1121">
                  <c:v>42538</c:v>
                </c:pt>
                <c:pt idx="1122">
                  <c:v>42541</c:v>
                </c:pt>
                <c:pt idx="1123">
                  <c:v>42542</c:v>
                </c:pt>
                <c:pt idx="1124">
                  <c:v>42543</c:v>
                </c:pt>
                <c:pt idx="1125">
                  <c:v>42544</c:v>
                </c:pt>
                <c:pt idx="1126">
                  <c:v>42545</c:v>
                </c:pt>
                <c:pt idx="1127">
                  <c:v>42548</c:v>
                </c:pt>
                <c:pt idx="1128">
                  <c:v>42549</c:v>
                </c:pt>
                <c:pt idx="1129">
                  <c:v>42550</c:v>
                </c:pt>
                <c:pt idx="1130">
                  <c:v>42551</c:v>
                </c:pt>
                <c:pt idx="1131">
                  <c:v>42552</c:v>
                </c:pt>
                <c:pt idx="1132">
                  <c:v>42556</c:v>
                </c:pt>
                <c:pt idx="1133">
                  <c:v>42557</c:v>
                </c:pt>
                <c:pt idx="1134">
                  <c:v>42558</c:v>
                </c:pt>
                <c:pt idx="1135">
                  <c:v>42559</c:v>
                </c:pt>
                <c:pt idx="1136">
                  <c:v>42562</c:v>
                </c:pt>
                <c:pt idx="1137">
                  <c:v>42563</c:v>
                </c:pt>
                <c:pt idx="1138">
                  <c:v>42564</c:v>
                </c:pt>
                <c:pt idx="1139">
                  <c:v>42565</c:v>
                </c:pt>
                <c:pt idx="1140">
                  <c:v>42566</c:v>
                </c:pt>
                <c:pt idx="1141">
                  <c:v>42569</c:v>
                </c:pt>
                <c:pt idx="1142">
                  <c:v>42570</c:v>
                </c:pt>
                <c:pt idx="1143">
                  <c:v>42571</c:v>
                </c:pt>
                <c:pt idx="1144">
                  <c:v>42572</c:v>
                </c:pt>
                <c:pt idx="1145">
                  <c:v>42573</c:v>
                </c:pt>
                <c:pt idx="1146">
                  <c:v>42576</c:v>
                </c:pt>
                <c:pt idx="1147">
                  <c:v>42577</c:v>
                </c:pt>
                <c:pt idx="1148">
                  <c:v>42578</c:v>
                </c:pt>
                <c:pt idx="1149">
                  <c:v>42579</c:v>
                </c:pt>
                <c:pt idx="1150">
                  <c:v>42580</c:v>
                </c:pt>
                <c:pt idx="1151">
                  <c:v>42583</c:v>
                </c:pt>
                <c:pt idx="1152">
                  <c:v>42584</c:v>
                </c:pt>
                <c:pt idx="1153">
                  <c:v>42585</c:v>
                </c:pt>
                <c:pt idx="1154">
                  <c:v>42586</c:v>
                </c:pt>
                <c:pt idx="1155">
                  <c:v>42587</c:v>
                </c:pt>
                <c:pt idx="1156">
                  <c:v>42590</c:v>
                </c:pt>
                <c:pt idx="1157">
                  <c:v>42591</c:v>
                </c:pt>
                <c:pt idx="1158">
                  <c:v>42592</c:v>
                </c:pt>
                <c:pt idx="1159">
                  <c:v>42593</c:v>
                </c:pt>
                <c:pt idx="1160">
                  <c:v>42594</c:v>
                </c:pt>
                <c:pt idx="1161">
                  <c:v>42597</c:v>
                </c:pt>
                <c:pt idx="1162">
                  <c:v>42598</c:v>
                </c:pt>
                <c:pt idx="1163">
                  <c:v>42599</c:v>
                </c:pt>
                <c:pt idx="1164">
                  <c:v>42600</c:v>
                </c:pt>
                <c:pt idx="1165">
                  <c:v>42601</c:v>
                </c:pt>
                <c:pt idx="1166">
                  <c:v>42604</c:v>
                </c:pt>
                <c:pt idx="1167">
                  <c:v>42605</c:v>
                </c:pt>
                <c:pt idx="1168">
                  <c:v>42606</c:v>
                </c:pt>
                <c:pt idx="1169">
                  <c:v>42607</c:v>
                </c:pt>
                <c:pt idx="1170">
                  <c:v>42608</c:v>
                </c:pt>
                <c:pt idx="1171">
                  <c:v>42611</c:v>
                </c:pt>
                <c:pt idx="1172">
                  <c:v>42612</c:v>
                </c:pt>
                <c:pt idx="1173">
                  <c:v>42613</c:v>
                </c:pt>
                <c:pt idx="1174">
                  <c:v>42614</c:v>
                </c:pt>
                <c:pt idx="1175">
                  <c:v>42615</c:v>
                </c:pt>
                <c:pt idx="1176">
                  <c:v>42619</c:v>
                </c:pt>
                <c:pt idx="1177">
                  <c:v>42620</c:v>
                </c:pt>
                <c:pt idx="1178">
                  <c:v>42621</c:v>
                </c:pt>
                <c:pt idx="1179">
                  <c:v>42622</c:v>
                </c:pt>
                <c:pt idx="1180">
                  <c:v>42625</c:v>
                </c:pt>
                <c:pt idx="1181">
                  <c:v>42626</c:v>
                </c:pt>
                <c:pt idx="1182">
                  <c:v>42627</c:v>
                </c:pt>
                <c:pt idx="1183">
                  <c:v>42628</c:v>
                </c:pt>
                <c:pt idx="1184">
                  <c:v>42629</c:v>
                </c:pt>
                <c:pt idx="1185">
                  <c:v>42632</c:v>
                </c:pt>
                <c:pt idx="1186">
                  <c:v>42633</c:v>
                </c:pt>
                <c:pt idx="1187">
                  <c:v>42634</c:v>
                </c:pt>
                <c:pt idx="1188">
                  <c:v>42635</c:v>
                </c:pt>
                <c:pt idx="1189">
                  <c:v>42636</c:v>
                </c:pt>
                <c:pt idx="1190">
                  <c:v>42639</c:v>
                </c:pt>
                <c:pt idx="1191">
                  <c:v>42640</c:v>
                </c:pt>
                <c:pt idx="1192">
                  <c:v>42641</c:v>
                </c:pt>
                <c:pt idx="1193">
                  <c:v>42642</c:v>
                </c:pt>
                <c:pt idx="1194">
                  <c:v>42643</c:v>
                </c:pt>
                <c:pt idx="1195">
                  <c:v>42646</c:v>
                </c:pt>
                <c:pt idx="1196">
                  <c:v>42647</c:v>
                </c:pt>
                <c:pt idx="1197">
                  <c:v>42648</c:v>
                </c:pt>
                <c:pt idx="1198">
                  <c:v>42649</c:v>
                </c:pt>
                <c:pt idx="1199">
                  <c:v>42650</c:v>
                </c:pt>
                <c:pt idx="1200">
                  <c:v>42653</c:v>
                </c:pt>
                <c:pt idx="1201">
                  <c:v>42654</c:v>
                </c:pt>
                <c:pt idx="1202">
                  <c:v>42655</c:v>
                </c:pt>
                <c:pt idx="1203">
                  <c:v>42656</c:v>
                </c:pt>
                <c:pt idx="1204">
                  <c:v>42657</c:v>
                </c:pt>
                <c:pt idx="1205">
                  <c:v>42660</c:v>
                </c:pt>
                <c:pt idx="1206">
                  <c:v>42661</c:v>
                </c:pt>
                <c:pt idx="1207">
                  <c:v>42662</c:v>
                </c:pt>
                <c:pt idx="1208">
                  <c:v>42663</c:v>
                </c:pt>
                <c:pt idx="1209">
                  <c:v>42664</c:v>
                </c:pt>
                <c:pt idx="1210">
                  <c:v>42667</c:v>
                </c:pt>
                <c:pt idx="1211">
                  <c:v>42668</c:v>
                </c:pt>
                <c:pt idx="1212">
                  <c:v>42669</c:v>
                </c:pt>
                <c:pt idx="1213">
                  <c:v>42670</c:v>
                </c:pt>
                <c:pt idx="1214">
                  <c:v>42671</c:v>
                </c:pt>
                <c:pt idx="1215">
                  <c:v>42674</c:v>
                </c:pt>
                <c:pt idx="1216">
                  <c:v>42675</c:v>
                </c:pt>
                <c:pt idx="1217">
                  <c:v>42676</c:v>
                </c:pt>
                <c:pt idx="1218">
                  <c:v>42677</c:v>
                </c:pt>
                <c:pt idx="1219">
                  <c:v>42678</c:v>
                </c:pt>
                <c:pt idx="1220">
                  <c:v>42681</c:v>
                </c:pt>
                <c:pt idx="1221">
                  <c:v>42682</c:v>
                </c:pt>
                <c:pt idx="1222">
                  <c:v>42683</c:v>
                </c:pt>
                <c:pt idx="1223">
                  <c:v>42684</c:v>
                </c:pt>
                <c:pt idx="1224">
                  <c:v>42685</c:v>
                </c:pt>
                <c:pt idx="1225">
                  <c:v>42688</c:v>
                </c:pt>
                <c:pt idx="1226">
                  <c:v>42689</c:v>
                </c:pt>
                <c:pt idx="1227">
                  <c:v>42690</c:v>
                </c:pt>
                <c:pt idx="1228">
                  <c:v>42691</c:v>
                </c:pt>
                <c:pt idx="1229">
                  <c:v>42692</c:v>
                </c:pt>
                <c:pt idx="1230">
                  <c:v>42695</c:v>
                </c:pt>
                <c:pt idx="1231">
                  <c:v>42696</c:v>
                </c:pt>
                <c:pt idx="1232">
                  <c:v>42697</c:v>
                </c:pt>
                <c:pt idx="1233">
                  <c:v>42699</c:v>
                </c:pt>
                <c:pt idx="1234">
                  <c:v>42702</c:v>
                </c:pt>
                <c:pt idx="1235">
                  <c:v>42703</c:v>
                </c:pt>
                <c:pt idx="1236">
                  <c:v>42704</c:v>
                </c:pt>
                <c:pt idx="1237">
                  <c:v>42705</c:v>
                </c:pt>
                <c:pt idx="1238">
                  <c:v>42706</c:v>
                </c:pt>
                <c:pt idx="1239">
                  <c:v>42709</c:v>
                </c:pt>
                <c:pt idx="1240">
                  <c:v>42710</c:v>
                </c:pt>
                <c:pt idx="1241">
                  <c:v>42711</c:v>
                </c:pt>
                <c:pt idx="1242">
                  <c:v>42712</c:v>
                </c:pt>
                <c:pt idx="1243">
                  <c:v>42713</c:v>
                </c:pt>
                <c:pt idx="1244">
                  <c:v>42716</c:v>
                </c:pt>
                <c:pt idx="1245">
                  <c:v>42717</c:v>
                </c:pt>
                <c:pt idx="1246">
                  <c:v>42718</c:v>
                </c:pt>
                <c:pt idx="1247">
                  <c:v>42719</c:v>
                </c:pt>
                <c:pt idx="1248">
                  <c:v>42720</c:v>
                </c:pt>
                <c:pt idx="1249">
                  <c:v>42723</c:v>
                </c:pt>
                <c:pt idx="1250">
                  <c:v>42724</c:v>
                </c:pt>
                <c:pt idx="1251">
                  <c:v>42725</c:v>
                </c:pt>
                <c:pt idx="1252">
                  <c:v>42726</c:v>
                </c:pt>
                <c:pt idx="1253">
                  <c:v>42727</c:v>
                </c:pt>
                <c:pt idx="1254">
                  <c:v>42731</c:v>
                </c:pt>
                <c:pt idx="1255">
                  <c:v>42732</c:v>
                </c:pt>
                <c:pt idx="1256">
                  <c:v>42733</c:v>
                </c:pt>
                <c:pt idx="1257">
                  <c:v>42734</c:v>
                </c:pt>
                <c:pt idx="1258">
                  <c:v>42738</c:v>
                </c:pt>
                <c:pt idx="1259">
                  <c:v>42739</c:v>
                </c:pt>
                <c:pt idx="1260">
                  <c:v>42740</c:v>
                </c:pt>
                <c:pt idx="1261">
                  <c:v>42741</c:v>
                </c:pt>
                <c:pt idx="1262">
                  <c:v>42744</c:v>
                </c:pt>
                <c:pt idx="1263">
                  <c:v>42745</c:v>
                </c:pt>
                <c:pt idx="1264">
                  <c:v>42746</c:v>
                </c:pt>
                <c:pt idx="1265">
                  <c:v>42747</c:v>
                </c:pt>
                <c:pt idx="1266">
                  <c:v>42748</c:v>
                </c:pt>
                <c:pt idx="1267">
                  <c:v>42752</c:v>
                </c:pt>
                <c:pt idx="1268">
                  <c:v>42753</c:v>
                </c:pt>
                <c:pt idx="1269">
                  <c:v>42754</c:v>
                </c:pt>
                <c:pt idx="1270">
                  <c:v>42755</c:v>
                </c:pt>
                <c:pt idx="1271">
                  <c:v>42758</c:v>
                </c:pt>
                <c:pt idx="1272">
                  <c:v>42759</c:v>
                </c:pt>
                <c:pt idx="1273">
                  <c:v>42760</c:v>
                </c:pt>
                <c:pt idx="1274">
                  <c:v>42761</c:v>
                </c:pt>
                <c:pt idx="1275">
                  <c:v>42762</c:v>
                </c:pt>
                <c:pt idx="1276">
                  <c:v>42765</c:v>
                </c:pt>
                <c:pt idx="1277">
                  <c:v>42766</c:v>
                </c:pt>
                <c:pt idx="1278">
                  <c:v>42767</c:v>
                </c:pt>
                <c:pt idx="1279">
                  <c:v>42768</c:v>
                </c:pt>
                <c:pt idx="1280">
                  <c:v>42769</c:v>
                </c:pt>
                <c:pt idx="1281">
                  <c:v>42772</c:v>
                </c:pt>
                <c:pt idx="1282">
                  <c:v>42773</c:v>
                </c:pt>
                <c:pt idx="1283">
                  <c:v>42774</c:v>
                </c:pt>
                <c:pt idx="1284">
                  <c:v>42775</c:v>
                </c:pt>
                <c:pt idx="1285">
                  <c:v>42776</c:v>
                </c:pt>
                <c:pt idx="1286">
                  <c:v>42779</c:v>
                </c:pt>
                <c:pt idx="1287">
                  <c:v>42780</c:v>
                </c:pt>
                <c:pt idx="1288">
                  <c:v>42781</c:v>
                </c:pt>
                <c:pt idx="1289">
                  <c:v>42782</c:v>
                </c:pt>
                <c:pt idx="1290">
                  <c:v>42783</c:v>
                </c:pt>
                <c:pt idx="1291">
                  <c:v>42787</c:v>
                </c:pt>
                <c:pt idx="1292">
                  <c:v>42788</c:v>
                </c:pt>
                <c:pt idx="1293">
                  <c:v>42789</c:v>
                </c:pt>
                <c:pt idx="1294">
                  <c:v>42790</c:v>
                </c:pt>
                <c:pt idx="1295">
                  <c:v>42793</c:v>
                </c:pt>
                <c:pt idx="1296">
                  <c:v>42794</c:v>
                </c:pt>
                <c:pt idx="1297">
                  <c:v>42795</c:v>
                </c:pt>
                <c:pt idx="1298">
                  <c:v>42796</c:v>
                </c:pt>
                <c:pt idx="1299">
                  <c:v>42797</c:v>
                </c:pt>
                <c:pt idx="1300">
                  <c:v>42800</c:v>
                </c:pt>
                <c:pt idx="1301">
                  <c:v>42801</c:v>
                </c:pt>
                <c:pt idx="1302">
                  <c:v>42802</c:v>
                </c:pt>
                <c:pt idx="1303">
                  <c:v>42803</c:v>
                </c:pt>
                <c:pt idx="1304">
                  <c:v>42804</c:v>
                </c:pt>
                <c:pt idx="1305">
                  <c:v>42807</c:v>
                </c:pt>
                <c:pt idx="1306">
                  <c:v>42808</c:v>
                </c:pt>
                <c:pt idx="1307">
                  <c:v>42809</c:v>
                </c:pt>
                <c:pt idx="1308">
                  <c:v>42810</c:v>
                </c:pt>
                <c:pt idx="1309">
                  <c:v>42811</c:v>
                </c:pt>
                <c:pt idx="1310">
                  <c:v>42814</c:v>
                </c:pt>
                <c:pt idx="1311">
                  <c:v>42815</c:v>
                </c:pt>
                <c:pt idx="1312">
                  <c:v>42816</c:v>
                </c:pt>
                <c:pt idx="1313">
                  <c:v>42817</c:v>
                </c:pt>
                <c:pt idx="1314">
                  <c:v>42818</c:v>
                </c:pt>
                <c:pt idx="1315">
                  <c:v>42821</c:v>
                </c:pt>
                <c:pt idx="1316">
                  <c:v>42822</c:v>
                </c:pt>
                <c:pt idx="1317">
                  <c:v>42823</c:v>
                </c:pt>
                <c:pt idx="1318">
                  <c:v>42824</c:v>
                </c:pt>
                <c:pt idx="1319">
                  <c:v>42825</c:v>
                </c:pt>
                <c:pt idx="1320">
                  <c:v>42828</c:v>
                </c:pt>
                <c:pt idx="1321">
                  <c:v>42829</c:v>
                </c:pt>
                <c:pt idx="1322">
                  <c:v>42830</c:v>
                </c:pt>
                <c:pt idx="1323">
                  <c:v>42831</c:v>
                </c:pt>
                <c:pt idx="1324">
                  <c:v>42832</c:v>
                </c:pt>
                <c:pt idx="1325">
                  <c:v>42835</c:v>
                </c:pt>
                <c:pt idx="1326">
                  <c:v>42836</c:v>
                </c:pt>
                <c:pt idx="1327">
                  <c:v>42837</c:v>
                </c:pt>
                <c:pt idx="1328">
                  <c:v>42838</c:v>
                </c:pt>
                <c:pt idx="1329">
                  <c:v>42842</c:v>
                </c:pt>
                <c:pt idx="1330">
                  <c:v>42843</c:v>
                </c:pt>
                <c:pt idx="1331">
                  <c:v>42844</c:v>
                </c:pt>
                <c:pt idx="1332">
                  <c:v>42845</c:v>
                </c:pt>
                <c:pt idx="1333">
                  <c:v>42846</c:v>
                </c:pt>
                <c:pt idx="1334">
                  <c:v>42849</c:v>
                </c:pt>
                <c:pt idx="1335">
                  <c:v>42850</c:v>
                </c:pt>
                <c:pt idx="1336">
                  <c:v>42851</c:v>
                </c:pt>
                <c:pt idx="1337">
                  <c:v>42852</c:v>
                </c:pt>
                <c:pt idx="1338">
                  <c:v>42853</c:v>
                </c:pt>
                <c:pt idx="1339">
                  <c:v>42856</c:v>
                </c:pt>
                <c:pt idx="1340">
                  <c:v>42857</c:v>
                </c:pt>
                <c:pt idx="1341">
                  <c:v>42858</c:v>
                </c:pt>
                <c:pt idx="1342">
                  <c:v>42859</c:v>
                </c:pt>
                <c:pt idx="1343">
                  <c:v>42860</c:v>
                </c:pt>
                <c:pt idx="1344">
                  <c:v>42863</c:v>
                </c:pt>
                <c:pt idx="1345">
                  <c:v>42864</c:v>
                </c:pt>
                <c:pt idx="1346">
                  <c:v>42865</c:v>
                </c:pt>
                <c:pt idx="1347">
                  <c:v>42866</c:v>
                </c:pt>
                <c:pt idx="1348">
                  <c:v>42867</c:v>
                </c:pt>
                <c:pt idx="1349">
                  <c:v>42870</c:v>
                </c:pt>
                <c:pt idx="1350">
                  <c:v>42871</c:v>
                </c:pt>
                <c:pt idx="1351">
                  <c:v>42872</c:v>
                </c:pt>
                <c:pt idx="1352">
                  <c:v>42873</c:v>
                </c:pt>
                <c:pt idx="1353">
                  <c:v>42874</c:v>
                </c:pt>
                <c:pt idx="1354">
                  <c:v>42877</c:v>
                </c:pt>
                <c:pt idx="1355">
                  <c:v>42878</c:v>
                </c:pt>
                <c:pt idx="1356">
                  <c:v>42879</c:v>
                </c:pt>
                <c:pt idx="1357">
                  <c:v>42880</c:v>
                </c:pt>
                <c:pt idx="1358">
                  <c:v>42881</c:v>
                </c:pt>
                <c:pt idx="1359">
                  <c:v>42885</c:v>
                </c:pt>
                <c:pt idx="1360">
                  <c:v>42886</c:v>
                </c:pt>
                <c:pt idx="1361">
                  <c:v>42887</c:v>
                </c:pt>
                <c:pt idx="1362">
                  <c:v>42888</c:v>
                </c:pt>
                <c:pt idx="1363">
                  <c:v>42891</c:v>
                </c:pt>
                <c:pt idx="1364">
                  <c:v>42892</c:v>
                </c:pt>
                <c:pt idx="1365">
                  <c:v>42893</c:v>
                </c:pt>
                <c:pt idx="1366">
                  <c:v>42894</c:v>
                </c:pt>
                <c:pt idx="1367">
                  <c:v>42895</c:v>
                </c:pt>
                <c:pt idx="1368">
                  <c:v>42898</c:v>
                </c:pt>
                <c:pt idx="1369">
                  <c:v>42899</c:v>
                </c:pt>
                <c:pt idx="1370">
                  <c:v>42900</c:v>
                </c:pt>
                <c:pt idx="1371">
                  <c:v>42901</c:v>
                </c:pt>
                <c:pt idx="1372">
                  <c:v>42902</c:v>
                </c:pt>
                <c:pt idx="1373">
                  <c:v>42905</c:v>
                </c:pt>
                <c:pt idx="1374">
                  <c:v>42906</c:v>
                </c:pt>
                <c:pt idx="1375">
                  <c:v>42907</c:v>
                </c:pt>
                <c:pt idx="1376">
                  <c:v>42908</c:v>
                </c:pt>
                <c:pt idx="1377">
                  <c:v>42909</c:v>
                </c:pt>
                <c:pt idx="1378">
                  <c:v>42912</c:v>
                </c:pt>
                <c:pt idx="1379">
                  <c:v>42913</c:v>
                </c:pt>
                <c:pt idx="1380">
                  <c:v>42914</c:v>
                </c:pt>
                <c:pt idx="1381">
                  <c:v>42915</c:v>
                </c:pt>
                <c:pt idx="1382">
                  <c:v>42916</c:v>
                </c:pt>
                <c:pt idx="1383">
                  <c:v>42919</c:v>
                </c:pt>
                <c:pt idx="1384">
                  <c:v>42921</c:v>
                </c:pt>
                <c:pt idx="1385">
                  <c:v>42922</c:v>
                </c:pt>
                <c:pt idx="1386">
                  <c:v>42923</c:v>
                </c:pt>
                <c:pt idx="1387">
                  <c:v>42926</c:v>
                </c:pt>
                <c:pt idx="1388">
                  <c:v>42927</c:v>
                </c:pt>
                <c:pt idx="1389">
                  <c:v>42928</c:v>
                </c:pt>
                <c:pt idx="1390">
                  <c:v>42929</c:v>
                </c:pt>
                <c:pt idx="1391">
                  <c:v>42930</c:v>
                </c:pt>
                <c:pt idx="1392">
                  <c:v>42933</c:v>
                </c:pt>
                <c:pt idx="1393">
                  <c:v>42934</c:v>
                </c:pt>
                <c:pt idx="1394">
                  <c:v>42935</c:v>
                </c:pt>
                <c:pt idx="1395">
                  <c:v>42936</c:v>
                </c:pt>
                <c:pt idx="1396">
                  <c:v>42937</c:v>
                </c:pt>
                <c:pt idx="1397">
                  <c:v>42940</c:v>
                </c:pt>
                <c:pt idx="1398">
                  <c:v>42941</c:v>
                </c:pt>
                <c:pt idx="1399">
                  <c:v>42942</c:v>
                </c:pt>
                <c:pt idx="1400">
                  <c:v>42943</c:v>
                </c:pt>
                <c:pt idx="1401">
                  <c:v>42944</c:v>
                </c:pt>
                <c:pt idx="1402">
                  <c:v>42947</c:v>
                </c:pt>
                <c:pt idx="1403">
                  <c:v>42948</c:v>
                </c:pt>
                <c:pt idx="1404">
                  <c:v>42949</c:v>
                </c:pt>
                <c:pt idx="1405">
                  <c:v>42950</c:v>
                </c:pt>
                <c:pt idx="1406">
                  <c:v>42951</c:v>
                </c:pt>
                <c:pt idx="1407">
                  <c:v>42954</c:v>
                </c:pt>
                <c:pt idx="1408">
                  <c:v>42955</c:v>
                </c:pt>
                <c:pt idx="1409">
                  <c:v>42956</c:v>
                </c:pt>
                <c:pt idx="1410">
                  <c:v>42957</c:v>
                </c:pt>
                <c:pt idx="1411">
                  <c:v>42958</c:v>
                </c:pt>
                <c:pt idx="1412">
                  <c:v>42961</c:v>
                </c:pt>
                <c:pt idx="1413">
                  <c:v>42962</c:v>
                </c:pt>
                <c:pt idx="1414">
                  <c:v>42963</c:v>
                </c:pt>
                <c:pt idx="1415">
                  <c:v>42964</c:v>
                </c:pt>
                <c:pt idx="1416">
                  <c:v>42965</c:v>
                </c:pt>
                <c:pt idx="1417">
                  <c:v>42968</c:v>
                </c:pt>
                <c:pt idx="1418">
                  <c:v>42969</c:v>
                </c:pt>
                <c:pt idx="1419">
                  <c:v>42970</c:v>
                </c:pt>
                <c:pt idx="1420">
                  <c:v>42971</c:v>
                </c:pt>
                <c:pt idx="1421">
                  <c:v>42972</c:v>
                </c:pt>
                <c:pt idx="1422">
                  <c:v>42975</c:v>
                </c:pt>
                <c:pt idx="1423">
                  <c:v>42976</c:v>
                </c:pt>
                <c:pt idx="1424">
                  <c:v>42977</c:v>
                </c:pt>
                <c:pt idx="1425">
                  <c:v>42978</c:v>
                </c:pt>
                <c:pt idx="1426">
                  <c:v>42979</c:v>
                </c:pt>
                <c:pt idx="1427">
                  <c:v>42983</c:v>
                </c:pt>
                <c:pt idx="1428">
                  <c:v>42984</c:v>
                </c:pt>
                <c:pt idx="1429">
                  <c:v>42985</c:v>
                </c:pt>
                <c:pt idx="1430">
                  <c:v>42986</c:v>
                </c:pt>
                <c:pt idx="1431">
                  <c:v>42989</c:v>
                </c:pt>
                <c:pt idx="1432">
                  <c:v>42990</c:v>
                </c:pt>
                <c:pt idx="1433">
                  <c:v>42991</c:v>
                </c:pt>
                <c:pt idx="1434">
                  <c:v>42992</c:v>
                </c:pt>
                <c:pt idx="1435">
                  <c:v>42993</c:v>
                </c:pt>
                <c:pt idx="1436">
                  <c:v>42996</c:v>
                </c:pt>
                <c:pt idx="1437">
                  <c:v>42997</c:v>
                </c:pt>
                <c:pt idx="1438">
                  <c:v>42998</c:v>
                </c:pt>
                <c:pt idx="1439">
                  <c:v>42999</c:v>
                </c:pt>
                <c:pt idx="1440">
                  <c:v>43000</c:v>
                </c:pt>
                <c:pt idx="1441">
                  <c:v>43003</c:v>
                </c:pt>
                <c:pt idx="1442">
                  <c:v>43004</c:v>
                </c:pt>
                <c:pt idx="1443">
                  <c:v>43005</c:v>
                </c:pt>
                <c:pt idx="1444">
                  <c:v>43006</c:v>
                </c:pt>
                <c:pt idx="1445">
                  <c:v>43007</c:v>
                </c:pt>
                <c:pt idx="1446">
                  <c:v>43010</c:v>
                </c:pt>
                <c:pt idx="1447">
                  <c:v>43011</c:v>
                </c:pt>
                <c:pt idx="1448">
                  <c:v>43012</c:v>
                </c:pt>
                <c:pt idx="1449">
                  <c:v>43013</c:v>
                </c:pt>
                <c:pt idx="1450">
                  <c:v>43014</c:v>
                </c:pt>
                <c:pt idx="1451">
                  <c:v>43017</c:v>
                </c:pt>
                <c:pt idx="1452">
                  <c:v>43018</c:v>
                </c:pt>
                <c:pt idx="1453">
                  <c:v>43019</c:v>
                </c:pt>
                <c:pt idx="1454">
                  <c:v>43020</c:v>
                </c:pt>
                <c:pt idx="1455">
                  <c:v>43021</c:v>
                </c:pt>
                <c:pt idx="1456">
                  <c:v>43024</c:v>
                </c:pt>
                <c:pt idx="1457">
                  <c:v>43025</c:v>
                </c:pt>
                <c:pt idx="1458">
                  <c:v>43026</c:v>
                </c:pt>
                <c:pt idx="1459">
                  <c:v>43027</c:v>
                </c:pt>
                <c:pt idx="1460">
                  <c:v>43028</c:v>
                </c:pt>
                <c:pt idx="1461">
                  <c:v>43031</c:v>
                </c:pt>
                <c:pt idx="1462">
                  <c:v>43032</c:v>
                </c:pt>
                <c:pt idx="1463">
                  <c:v>43033</c:v>
                </c:pt>
                <c:pt idx="1464">
                  <c:v>43034</c:v>
                </c:pt>
                <c:pt idx="1465">
                  <c:v>43035</c:v>
                </c:pt>
                <c:pt idx="1466">
                  <c:v>43038</c:v>
                </c:pt>
                <c:pt idx="1467">
                  <c:v>43039</c:v>
                </c:pt>
                <c:pt idx="1468">
                  <c:v>43040</c:v>
                </c:pt>
                <c:pt idx="1469">
                  <c:v>43041</c:v>
                </c:pt>
                <c:pt idx="1470">
                  <c:v>43042</c:v>
                </c:pt>
                <c:pt idx="1471">
                  <c:v>43045</c:v>
                </c:pt>
                <c:pt idx="1472">
                  <c:v>43046</c:v>
                </c:pt>
                <c:pt idx="1473">
                  <c:v>43047</c:v>
                </c:pt>
                <c:pt idx="1474">
                  <c:v>43048</c:v>
                </c:pt>
                <c:pt idx="1475">
                  <c:v>43049</c:v>
                </c:pt>
                <c:pt idx="1476">
                  <c:v>43052</c:v>
                </c:pt>
                <c:pt idx="1477">
                  <c:v>43053</c:v>
                </c:pt>
                <c:pt idx="1478">
                  <c:v>43054</c:v>
                </c:pt>
                <c:pt idx="1479">
                  <c:v>43055</c:v>
                </c:pt>
                <c:pt idx="1480">
                  <c:v>43056</c:v>
                </c:pt>
                <c:pt idx="1481">
                  <c:v>43059</c:v>
                </c:pt>
                <c:pt idx="1482">
                  <c:v>43060</c:v>
                </c:pt>
                <c:pt idx="1483">
                  <c:v>43061</c:v>
                </c:pt>
                <c:pt idx="1484">
                  <c:v>43063</c:v>
                </c:pt>
                <c:pt idx="1485">
                  <c:v>43066</c:v>
                </c:pt>
                <c:pt idx="1486">
                  <c:v>43067</c:v>
                </c:pt>
                <c:pt idx="1487">
                  <c:v>43068</c:v>
                </c:pt>
                <c:pt idx="1488">
                  <c:v>43069</c:v>
                </c:pt>
                <c:pt idx="1489">
                  <c:v>43070</c:v>
                </c:pt>
                <c:pt idx="1490">
                  <c:v>43073</c:v>
                </c:pt>
                <c:pt idx="1491">
                  <c:v>43074</c:v>
                </c:pt>
                <c:pt idx="1492">
                  <c:v>43075</c:v>
                </c:pt>
                <c:pt idx="1493">
                  <c:v>43076</c:v>
                </c:pt>
                <c:pt idx="1494">
                  <c:v>43077</c:v>
                </c:pt>
                <c:pt idx="1495">
                  <c:v>43080</c:v>
                </c:pt>
                <c:pt idx="1496">
                  <c:v>43081</c:v>
                </c:pt>
                <c:pt idx="1497">
                  <c:v>43082</c:v>
                </c:pt>
                <c:pt idx="1498">
                  <c:v>43083</c:v>
                </c:pt>
                <c:pt idx="1499">
                  <c:v>43084</c:v>
                </c:pt>
                <c:pt idx="1500">
                  <c:v>43087</c:v>
                </c:pt>
                <c:pt idx="1501">
                  <c:v>43088</c:v>
                </c:pt>
                <c:pt idx="1502">
                  <c:v>43089</c:v>
                </c:pt>
                <c:pt idx="1503">
                  <c:v>43090</c:v>
                </c:pt>
                <c:pt idx="1504">
                  <c:v>43091</c:v>
                </c:pt>
                <c:pt idx="1505">
                  <c:v>43095</c:v>
                </c:pt>
                <c:pt idx="1506">
                  <c:v>43096</c:v>
                </c:pt>
                <c:pt idx="1507">
                  <c:v>43097</c:v>
                </c:pt>
                <c:pt idx="1508">
                  <c:v>43098</c:v>
                </c:pt>
                <c:pt idx="1509">
                  <c:v>43102</c:v>
                </c:pt>
                <c:pt idx="1510">
                  <c:v>43103</c:v>
                </c:pt>
                <c:pt idx="1511">
                  <c:v>43104</c:v>
                </c:pt>
                <c:pt idx="1512">
                  <c:v>43105</c:v>
                </c:pt>
                <c:pt idx="1513">
                  <c:v>43108</c:v>
                </c:pt>
                <c:pt idx="1514">
                  <c:v>43109</c:v>
                </c:pt>
                <c:pt idx="1515">
                  <c:v>43110</c:v>
                </c:pt>
                <c:pt idx="1516">
                  <c:v>43111</c:v>
                </c:pt>
                <c:pt idx="1517">
                  <c:v>43112</c:v>
                </c:pt>
                <c:pt idx="1518">
                  <c:v>43116</c:v>
                </c:pt>
                <c:pt idx="1519">
                  <c:v>43117</c:v>
                </c:pt>
                <c:pt idx="1520">
                  <c:v>43118</c:v>
                </c:pt>
                <c:pt idx="1521">
                  <c:v>43119</c:v>
                </c:pt>
                <c:pt idx="1522">
                  <c:v>43122</c:v>
                </c:pt>
                <c:pt idx="1523">
                  <c:v>43123</c:v>
                </c:pt>
                <c:pt idx="1524">
                  <c:v>43124</c:v>
                </c:pt>
                <c:pt idx="1525">
                  <c:v>43125</c:v>
                </c:pt>
                <c:pt idx="1526">
                  <c:v>43126</c:v>
                </c:pt>
                <c:pt idx="1527">
                  <c:v>43129</c:v>
                </c:pt>
                <c:pt idx="1528">
                  <c:v>43130</c:v>
                </c:pt>
                <c:pt idx="1529">
                  <c:v>43131</c:v>
                </c:pt>
                <c:pt idx="1530">
                  <c:v>43132</c:v>
                </c:pt>
                <c:pt idx="1531">
                  <c:v>43133</c:v>
                </c:pt>
                <c:pt idx="1532">
                  <c:v>43136</c:v>
                </c:pt>
                <c:pt idx="1533">
                  <c:v>43137</c:v>
                </c:pt>
                <c:pt idx="1534">
                  <c:v>43138</c:v>
                </c:pt>
                <c:pt idx="1535">
                  <c:v>43139</c:v>
                </c:pt>
                <c:pt idx="1536">
                  <c:v>43140</c:v>
                </c:pt>
                <c:pt idx="1537">
                  <c:v>43143</c:v>
                </c:pt>
                <c:pt idx="1538">
                  <c:v>43144</c:v>
                </c:pt>
                <c:pt idx="1539">
                  <c:v>43145</c:v>
                </c:pt>
                <c:pt idx="1540">
                  <c:v>43146</c:v>
                </c:pt>
                <c:pt idx="1541">
                  <c:v>43147</c:v>
                </c:pt>
                <c:pt idx="1542">
                  <c:v>43151</c:v>
                </c:pt>
                <c:pt idx="1543">
                  <c:v>43152</c:v>
                </c:pt>
                <c:pt idx="1544">
                  <c:v>43153</c:v>
                </c:pt>
                <c:pt idx="1545">
                  <c:v>43154</c:v>
                </c:pt>
                <c:pt idx="1546">
                  <c:v>43157</c:v>
                </c:pt>
                <c:pt idx="1547">
                  <c:v>43158</c:v>
                </c:pt>
                <c:pt idx="1548">
                  <c:v>43159</c:v>
                </c:pt>
                <c:pt idx="1549">
                  <c:v>43160</c:v>
                </c:pt>
                <c:pt idx="1550">
                  <c:v>43161</c:v>
                </c:pt>
                <c:pt idx="1551">
                  <c:v>43164</c:v>
                </c:pt>
                <c:pt idx="1552">
                  <c:v>43165</c:v>
                </c:pt>
                <c:pt idx="1553">
                  <c:v>43166</c:v>
                </c:pt>
                <c:pt idx="1554">
                  <c:v>43167</c:v>
                </c:pt>
                <c:pt idx="1555">
                  <c:v>43168</c:v>
                </c:pt>
                <c:pt idx="1556">
                  <c:v>43171</c:v>
                </c:pt>
                <c:pt idx="1557">
                  <c:v>43172</c:v>
                </c:pt>
                <c:pt idx="1558">
                  <c:v>43173</c:v>
                </c:pt>
                <c:pt idx="1559">
                  <c:v>43174</c:v>
                </c:pt>
                <c:pt idx="1560">
                  <c:v>43175</c:v>
                </c:pt>
                <c:pt idx="1561">
                  <c:v>43178</c:v>
                </c:pt>
                <c:pt idx="1562">
                  <c:v>43179</c:v>
                </c:pt>
                <c:pt idx="1563">
                  <c:v>43180</c:v>
                </c:pt>
                <c:pt idx="1564">
                  <c:v>43181</c:v>
                </c:pt>
                <c:pt idx="1565">
                  <c:v>43182</c:v>
                </c:pt>
                <c:pt idx="1566">
                  <c:v>43185</c:v>
                </c:pt>
                <c:pt idx="1567">
                  <c:v>43186</c:v>
                </c:pt>
                <c:pt idx="1568">
                  <c:v>43187</c:v>
                </c:pt>
                <c:pt idx="1569">
                  <c:v>43188</c:v>
                </c:pt>
                <c:pt idx="1570">
                  <c:v>43192</c:v>
                </c:pt>
                <c:pt idx="1571">
                  <c:v>43193</c:v>
                </c:pt>
                <c:pt idx="1572">
                  <c:v>43194</c:v>
                </c:pt>
                <c:pt idx="1573">
                  <c:v>43195</c:v>
                </c:pt>
                <c:pt idx="1574">
                  <c:v>43196</c:v>
                </c:pt>
                <c:pt idx="1575">
                  <c:v>43199</c:v>
                </c:pt>
                <c:pt idx="1576">
                  <c:v>43200</c:v>
                </c:pt>
                <c:pt idx="1577">
                  <c:v>43201</c:v>
                </c:pt>
                <c:pt idx="1578">
                  <c:v>43202</c:v>
                </c:pt>
                <c:pt idx="1579">
                  <c:v>43203</c:v>
                </c:pt>
                <c:pt idx="1580">
                  <c:v>43206</c:v>
                </c:pt>
                <c:pt idx="1581">
                  <c:v>43207</c:v>
                </c:pt>
                <c:pt idx="1582">
                  <c:v>43208</c:v>
                </c:pt>
                <c:pt idx="1583">
                  <c:v>43209</c:v>
                </c:pt>
                <c:pt idx="1584">
                  <c:v>43210</c:v>
                </c:pt>
                <c:pt idx="1585">
                  <c:v>43213</c:v>
                </c:pt>
                <c:pt idx="1586">
                  <c:v>43214</c:v>
                </c:pt>
                <c:pt idx="1587">
                  <c:v>43215</c:v>
                </c:pt>
                <c:pt idx="1588">
                  <c:v>43216</c:v>
                </c:pt>
                <c:pt idx="1589">
                  <c:v>43217</c:v>
                </c:pt>
                <c:pt idx="1590">
                  <c:v>43220</c:v>
                </c:pt>
                <c:pt idx="1591">
                  <c:v>43221</c:v>
                </c:pt>
                <c:pt idx="1592">
                  <c:v>43222</c:v>
                </c:pt>
                <c:pt idx="1593">
                  <c:v>43223</c:v>
                </c:pt>
                <c:pt idx="1594">
                  <c:v>43224</c:v>
                </c:pt>
                <c:pt idx="1595">
                  <c:v>43227</c:v>
                </c:pt>
                <c:pt idx="1596">
                  <c:v>43228</c:v>
                </c:pt>
                <c:pt idx="1597">
                  <c:v>43229</c:v>
                </c:pt>
                <c:pt idx="1598">
                  <c:v>43230</c:v>
                </c:pt>
                <c:pt idx="1599">
                  <c:v>43231</c:v>
                </c:pt>
                <c:pt idx="1600">
                  <c:v>43234</c:v>
                </c:pt>
                <c:pt idx="1601">
                  <c:v>43235</c:v>
                </c:pt>
                <c:pt idx="1602">
                  <c:v>43236</c:v>
                </c:pt>
                <c:pt idx="1603">
                  <c:v>43237</c:v>
                </c:pt>
                <c:pt idx="1604">
                  <c:v>43238</c:v>
                </c:pt>
                <c:pt idx="1605">
                  <c:v>43241</c:v>
                </c:pt>
                <c:pt idx="1606">
                  <c:v>43242</c:v>
                </c:pt>
                <c:pt idx="1607">
                  <c:v>43243</c:v>
                </c:pt>
                <c:pt idx="1608">
                  <c:v>43244</c:v>
                </c:pt>
                <c:pt idx="1609">
                  <c:v>43245</c:v>
                </c:pt>
                <c:pt idx="1610">
                  <c:v>43249</c:v>
                </c:pt>
                <c:pt idx="1611">
                  <c:v>43250</c:v>
                </c:pt>
                <c:pt idx="1612">
                  <c:v>43251</c:v>
                </c:pt>
                <c:pt idx="1613">
                  <c:v>43252</c:v>
                </c:pt>
                <c:pt idx="1614">
                  <c:v>43255</c:v>
                </c:pt>
                <c:pt idx="1615">
                  <c:v>43256</c:v>
                </c:pt>
                <c:pt idx="1616">
                  <c:v>43257</c:v>
                </c:pt>
                <c:pt idx="1617">
                  <c:v>43258</c:v>
                </c:pt>
                <c:pt idx="1618">
                  <c:v>43259</c:v>
                </c:pt>
                <c:pt idx="1619">
                  <c:v>43262</c:v>
                </c:pt>
                <c:pt idx="1620">
                  <c:v>43263</c:v>
                </c:pt>
                <c:pt idx="1621">
                  <c:v>43264</c:v>
                </c:pt>
                <c:pt idx="1622">
                  <c:v>43265</c:v>
                </c:pt>
                <c:pt idx="1623">
                  <c:v>43266</c:v>
                </c:pt>
                <c:pt idx="1624">
                  <c:v>43269</c:v>
                </c:pt>
                <c:pt idx="1625">
                  <c:v>43270</c:v>
                </c:pt>
                <c:pt idx="1626">
                  <c:v>43271</c:v>
                </c:pt>
                <c:pt idx="1627">
                  <c:v>43272</c:v>
                </c:pt>
                <c:pt idx="1628">
                  <c:v>43273</c:v>
                </c:pt>
                <c:pt idx="1629">
                  <c:v>43276</c:v>
                </c:pt>
                <c:pt idx="1630">
                  <c:v>43277</c:v>
                </c:pt>
                <c:pt idx="1631">
                  <c:v>43278</c:v>
                </c:pt>
                <c:pt idx="1632">
                  <c:v>43279</c:v>
                </c:pt>
                <c:pt idx="1633">
                  <c:v>43280</c:v>
                </c:pt>
                <c:pt idx="1634">
                  <c:v>43283</c:v>
                </c:pt>
                <c:pt idx="1635">
                  <c:v>43284</c:v>
                </c:pt>
                <c:pt idx="1636">
                  <c:v>43286</c:v>
                </c:pt>
                <c:pt idx="1637">
                  <c:v>43287</c:v>
                </c:pt>
                <c:pt idx="1638">
                  <c:v>43290</c:v>
                </c:pt>
                <c:pt idx="1639">
                  <c:v>43291</c:v>
                </c:pt>
                <c:pt idx="1640">
                  <c:v>43292</c:v>
                </c:pt>
                <c:pt idx="1641">
                  <c:v>43293</c:v>
                </c:pt>
                <c:pt idx="1642">
                  <c:v>43294</c:v>
                </c:pt>
                <c:pt idx="1643">
                  <c:v>43297</c:v>
                </c:pt>
                <c:pt idx="1644">
                  <c:v>43298</c:v>
                </c:pt>
                <c:pt idx="1645">
                  <c:v>43299</c:v>
                </c:pt>
                <c:pt idx="1646">
                  <c:v>43300</c:v>
                </c:pt>
                <c:pt idx="1647">
                  <c:v>43301</c:v>
                </c:pt>
                <c:pt idx="1648">
                  <c:v>43304</c:v>
                </c:pt>
                <c:pt idx="1649">
                  <c:v>43305</c:v>
                </c:pt>
                <c:pt idx="1650">
                  <c:v>43306</c:v>
                </c:pt>
                <c:pt idx="1651">
                  <c:v>43307</c:v>
                </c:pt>
                <c:pt idx="1652">
                  <c:v>43308</c:v>
                </c:pt>
                <c:pt idx="1653">
                  <c:v>43311</c:v>
                </c:pt>
                <c:pt idx="1654">
                  <c:v>43312</c:v>
                </c:pt>
                <c:pt idx="1655">
                  <c:v>43313</c:v>
                </c:pt>
                <c:pt idx="1656">
                  <c:v>43314</c:v>
                </c:pt>
                <c:pt idx="1657">
                  <c:v>43315</c:v>
                </c:pt>
                <c:pt idx="1658">
                  <c:v>43318</c:v>
                </c:pt>
                <c:pt idx="1659">
                  <c:v>43319</c:v>
                </c:pt>
                <c:pt idx="1660">
                  <c:v>43320</c:v>
                </c:pt>
                <c:pt idx="1661">
                  <c:v>43321</c:v>
                </c:pt>
                <c:pt idx="1662">
                  <c:v>43322</c:v>
                </c:pt>
                <c:pt idx="1663">
                  <c:v>43325</c:v>
                </c:pt>
                <c:pt idx="1664">
                  <c:v>43326</c:v>
                </c:pt>
                <c:pt idx="1665">
                  <c:v>43327</c:v>
                </c:pt>
                <c:pt idx="1666">
                  <c:v>43328</c:v>
                </c:pt>
                <c:pt idx="1667">
                  <c:v>43329</c:v>
                </c:pt>
                <c:pt idx="1668">
                  <c:v>43332</c:v>
                </c:pt>
                <c:pt idx="1669">
                  <c:v>43333</c:v>
                </c:pt>
                <c:pt idx="1670">
                  <c:v>43334</c:v>
                </c:pt>
                <c:pt idx="1671">
                  <c:v>43335</c:v>
                </c:pt>
                <c:pt idx="1672">
                  <c:v>43336</c:v>
                </c:pt>
                <c:pt idx="1673">
                  <c:v>43339</c:v>
                </c:pt>
                <c:pt idx="1674">
                  <c:v>43340</c:v>
                </c:pt>
                <c:pt idx="1675">
                  <c:v>43341</c:v>
                </c:pt>
                <c:pt idx="1676">
                  <c:v>43342</c:v>
                </c:pt>
                <c:pt idx="1677">
                  <c:v>43343</c:v>
                </c:pt>
                <c:pt idx="1678">
                  <c:v>43347</c:v>
                </c:pt>
                <c:pt idx="1679">
                  <c:v>43348</c:v>
                </c:pt>
                <c:pt idx="1680">
                  <c:v>43349</c:v>
                </c:pt>
                <c:pt idx="1681">
                  <c:v>43350</c:v>
                </c:pt>
                <c:pt idx="1682">
                  <c:v>43353</c:v>
                </c:pt>
                <c:pt idx="1683">
                  <c:v>43354</c:v>
                </c:pt>
                <c:pt idx="1684">
                  <c:v>43355</c:v>
                </c:pt>
                <c:pt idx="1685">
                  <c:v>43356</c:v>
                </c:pt>
                <c:pt idx="1686">
                  <c:v>43357</c:v>
                </c:pt>
                <c:pt idx="1687">
                  <c:v>43360</c:v>
                </c:pt>
                <c:pt idx="1688">
                  <c:v>43361</c:v>
                </c:pt>
                <c:pt idx="1689">
                  <c:v>43362</c:v>
                </c:pt>
                <c:pt idx="1690">
                  <c:v>43363</c:v>
                </c:pt>
                <c:pt idx="1691">
                  <c:v>43364</c:v>
                </c:pt>
                <c:pt idx="1692">
                  <c:v>43367</c:v>
                </c:pt>
                <c:pt idx="1693">
                  <c:v>43368</c:v>
                </c:pt>
                <c:pt idx="1694">
                  <c:v>43369</c:v>
                </c:pt>
                <c:pt idx="1695">
                  <c:v>43370</c:v>
                </c:pt>
                <c:pt idx="1696">
                  <c:v>43371</c:v>
                </c:pt>
                <c:pt idx="1697">
                  <c:v>43374</c:v>
                </c:pt>
                <c:pt idx="1698">
                  <c:v>43375</c:v>
                </c:pt>
                <c:pt idx="1699">
                  <c:v>43376</c:v>
                </c:pt>
                <c:pt idx="1700">
                  <c:v>43377</c:v>
                </c:pt>
                <c:pt idx="1701">
                  <c:v>43378</c:v>
                </c:pt>
                <c:pt idx="1702">
                  <c:v>43381</c:v>
                </c:pt>
                <c:pt idx="1703">
                  <c:v>43382</c:v>
                </c:pt>
                <c:pt idx="1704">
                  <c:v>43383</c:v>
                </c:pt>
                <c:pt idx="1705">
                  <c:v>43384</c:v>
                </c:pt>
                <c:pt idx="1706">
                  <c:v>43385</c:v>
                </c:pt>
                <c:pt idx="1707">
                  <c:v>43388</c:v>
                </c:pt>
                <c:pt idx="1708">
                  <c:v>43389</c:v>
                </c:pt>
                <c:pt idx="1709">
                  <c:v>43390</c:v>
                </c:pt>
                <c:pt idx="1710">
                  <c:v>43391</c:v>
                </c:pt>
                <c:pt idx="1711">
                  <c:v>43392</c:v>
                </c:pt>
                <c:pt idx="1712">
                  <c:v>43395</c:v>
                </c:pt>
                <c:pt idx="1713">
                  <c:v>43396</c:v>
                </c:pt>
                <c:pt idx="1714">
                  <c:v>43397</c:v>
                </c:pt>
                <c:pt idx="1715">
                  <c:v>43398</c:v>
                </c:pt>
                <c:pt idx="1716">
                  <c:v>43399</c:v>
                </c:pt>
                <c:pt idx="1717">
                  <c:v>43402</c:v>
                </c:pt>
                <c:pt idx="1718">
                  <c:v>43403</c:v>
                </c:pt>
                <c:pt idx="1719">
                  <c:v>43404</c:v>
                </c:pt>
                <c:pt idx="1720">
                  <c:v>43405</c:v>
                </c:pt>
                <c:pt idx="1721">
                  <c:v>43406</c:v>
                </c:pt>
                <c:pt idx="1722">
                  <c:v>43409</c:v>
                </c:pt>
                <c:pt idx="1723">
                  <c:v>43410</c:v>
                </c:pt>
                <c:pt idx="1724">
                  <c:v>43411</c:v>
                </c:pt>
                <c:pt idx="1725">
                  <c:v>43412</c:v>
                </c:pt>
                <c:pt idx="1726">
                  <c:v>43413</c:v>
                </c:pt>
                <c:pt idx="1727">
                  <c:v>43416</c:v>
                </c:pt>
                <c:pt idx="1728">
                  <c:v>43417</c:v>
                </c:pt>
                <c:pt idx="1729">
                  <c:v>43418</c:v>
                </c:pt>
                <c:pt idx="1730">
                  <c:v>43419</c:v>
                </c:pt>
                <c:pt idx="1731">
                  <c:v>43420</c:v>
                </c:pt>
                <c:pt idx="1732">
                  <c:v>43423</c:v>
                </c:pt>
                <c:pt idx="1733">
                  <c:v>43424</c:v>
                </c:pt>
                <c:pt idx="1734">
                  <c:v>43425</c:v>
                </c:pt>
                <c:pt idx="1735">
                  <c:v>43427</c:v>
                </c:pt>
                <c:pt idx="1736">
                  <c:v>43430</c:v>
                </c:pt>
                <c:pt idx="1737">
                  <c:v>43431</c:v>
                </c:pt>
                <c:pt idx="1738">
                  <c:v>43432</c:v>
                </c:pt>
                <c:pt idx="1739">
                  <c:v>43433</c:v>
                </c:pt>
                <c:pt idx="1740">
                  <c:v>43434</c:v>
                </c:pt>
                <c:pt idx="1741">
                  <c:v>43437</c:v>
                </c:pt>
                <c:pt idx="1742">
                  <c:v>43438</c:v>
                </c:pt>
                <c:pt idx="1743">
                  <c:v>43440</c:v>
                </c:pt>
                <c:pt idx="1744">
                  <c:v>43441</c:v>
                </c:pt>
                <c:pt idx="1745">
                  <c:v>43444</c:v>
                </c:pt>
                <c:pt idx="1746">
                  <c:v>43445</c:v>
                </c:pt>
                <c:pt idx="1747">
                  <c:v>43446</c:v>
                </c:pt>
                <c:pt idx="1748">
                  <c:v>43447</c:v>
                </c:pt>
                <c:pt idx="1749">
                  <c:v>43448</c:v>
                </c:pt>
                <c:pt idx="1750">
                  <c:v>43451</c:v>
                </c:pt>
                <c:pt idx="1751">
                  <c:v>43452</c:v>
                </c:pt>
                <c:pt idx="1752">
                  <c:v>43453</c:v>
                </c:pt>
                <c:pt idx="1753">
                  <c:v>43454</c:v>
                </c:pt>
                <c:pt idx="1754">
                  <c:v>43455</c:v>
                </c:pt>
                <c:pt idx="1755">
                  <c:v>43458</c:v>
                </c:pt>
                <c:pt idx="1756">
                  <c:v>43460</c:v>
                </c:pt>
                <c:pt idx="1757">
                  <c:v>43461</c:v>
                </c:pt>
                <c:pt idx="1758">
                  <c:v>43462</c:v>
                </c:pt>
                <c:pt idx="1759">
                  <c:v>43465</c:v>
                </c:pt>
                <c:pt idx="1760">
                  <c:v>43467</c:v>
                </c:pt>
                <c:pt idx="1761">
                  <c:v>43468</c:v>
                </c:pt>
                <c:pt idx="1762">
                  <c:v>43469</c:v>
                </c:pt>
                <c:pt idx="1763">
                  <c:v>43472</c:v>
                </c:pt>
                <c:pt idx="1764">
                  <c:v>43473</c:v>
                </c:pt>
                <c:pt idx="1765">
                  <c:v>43474</c:v>
                </c:pt>
                <c:pt idx="1766">
                  <c:v>43475</c:v>
                </c:pt>
                <c:pt idx="1767">
                  <c:v>43476</c:v>
                </c:pt>
                <c:pt idx="1768">
                  <c:v>43479</c:v>
                </c:pt>
                <c:pt idx="1769">
                  <c:v>43480</c:v>
                </c:pt>
                <c:pt idx="1770">
                  <c:v>43481</c:v>
                </c:pt>
                <c:pt idx="1771">
                  <c:v>43482</c:v>
                </c:pt>
                <c:pt idx="1772">
                  <c:v>43483</c:v>
                </c:pt>
                <c:pt idx="1773">
                  <c:v>43487</c:v>
                </c:pt>
                <c:pt idx="1774">
                  <c:v>43488</c:v>
                </c:pt>
                <c:pt idx="1775">
                  <c:v>43489</c:v>
                </c:pt>
                <c:pt idx="1776">
                  <c:v>43490</c:v>
                </c:pt>
                <c:pt idx="1777">
                  <c:v>43493</c:v>
                </c:pt>
                <c:pt idx="1778">
                  <c:v>43494</c:v>
                </c:pt>
                <c:pt idx="1779">
                  <c:v>43495</c:v>
                </c:pt>
                <c:pt idx="1780">
                  <c:v>43496</c:v>
                </c:pt>
                <c:pt idx="1781">
                  <c:v>43497</c:v>
                </c:pt>
                <c:pt idx="1782">
                  <c:v>43500</c:v>
                </c:pt>
                <c:pt idx="1783">
                  <c:v>43501</c:v>
                </c:pt>
                <c:pt idx="1784">
                  <c:v>43502</c:v>
                </c:pt>
                <c:pt idx="1785">
                  <c:v>43503</c:v>
                </c:pt>
                <c:pt idx="1786">
                  <c:v>43504</c:v>
                </c:pt>
                <c:pt idx="1787">
                  <c:v>43507</c:v>
                </c:pt>
                <c:pt idx="1788">
                  <c:v>43508</c:v>
                </c:pt>
                <c:pt idx="1789">
                  <c:v>43509</c:v>
                </c:pt>
                <c:pt idx="1790">
                  <c:v>43510</c:v>
                </c:pt>
                <c:pt idx="1791">
                  <c:v>43511</c:v>
                </c:pt>
                <c:pt idx="1792">
                  <c:v>43515</c:v>
                </c:pt>
                <c:pt idx="1793">
                  <c:v>43516</c:v>
                </c:pt>
                <c:pt idx="1794">
                  <c:v>43517</c:v>
                </c:pt>
                <c:pt idx="1795">
                  <c:v>43518</c:v>
                </c:pt>
                <c:pt idx="1796">
                  <c:v>43521</c:v>
                </c:pt>
                <c:pt idx="1797">
                  <c:v>43522</c:v>
                </c:pt>
                <c:pt idx="1798">
                  <c:v>43523</c:v>
                </c:pt>
                <c:pt idx="1799">
                  <c:v>43524</c:v>
                </c:pt>
                <c:pt idx="1800">
                  <c:v>43525</c:v>
                </c:pt>
                <c:pt idx="1801">
                  <c:v>43528</c:v>
                </c:pt>
                <c:pt idx="1802">
                  <c:v>43529</c:v>
                </c:pt>
                <c:pt idx="1803">
                  <c:v>43530</c:v>
                </c:pt>
                <c:pt idx="1804">
                  <c:v>43531</c:v>
                </c:pt>
                <c:pt idx="1805">
                  <c:v>43532</c:v>
                </c:pt>
                <c:pt idx="1806">
                  <c:v>43535</c:v>
                </c:pt>
                <c:pt idx="1807">
                  <c:v>43536</c:v>
                </c:pt>
                <c:pt idx="1808">
                  <c:v>43537</c:v>
                </c:pt>
                <c:pt idx="1809">
                  <c:v>43538</c:v>
                </c:pt>
                <c:pt idx="1810">
                  <c:v>43539</c:v>
                </c:pt>
                <c:pt idx="1811">
                  <c:v>43542</c:v>
                </c:pt>
                <c:pt idx="1812">
                  <c:v>43543</c:v>
                </c:pt>
                <c:pt idx="1813">
                  <c:v>43544</c:v>
                </c:pt>
                <c:pt idx="1814">
                  <c:v>43545</c:v>
                </c:pt>
                <c:pt idx="1815">
                  <c:v>43546</c:v>
                </c:pt>
                <c:pt idx="1816">
                  <c:v>43549</c:v>
                </c:pt>
                <c:pt idx="1817">
                  <c:v>43550</c:v>
                </c:pt>
                <c:pt idx="1818">
                  <c:v>43551</c:v>
                </c:pt>
                <c:pt idx="1819">
                  <c:v>43552</c:v>
                </c:pt>
                <c:pt idx="1820">
                  <c:v>43553</c:v>
                </c:pt>
                <c:pt idx="1821">
                  <c:v>43556</c:v>
                </c:pt>
                <c:pt idx="1822">
                  <c:v>43557</c:v>
                </c:pt>
                <c:pt idx="1823">
                  <c:v>43558</c:v>
                </c:pt>
                <c:pt idx="1824">
                  <c:v>43559</c:v>
                </c:pt>
                <c:pt idx="1825">
                  <c:v>43560</c:v>
                </c:pt>
                <c:pt idx="1826">
                  <c:v>43563</c:v>
                </c:pt>
                <c:pt idx="1827">
                  <c:v>43564</c:v>
                </c:pt>
                <c:pt idx="1828">
                  <c:v>43565</c:v>
                </c:pt>
                <c:pt idx="1829">
                  <c:v>43566</c:v>
                </c:pt>
                <c:pt idx="1830">
                  <c:v>43567</c:v>
                </c:pt>
                <c:pt idx="1831">
                  <c:v>43570</c:v>
                </c:pt>
                <c:pt idx="1832">
                  <c:v>43571</c:v>
                </c:pt>
                <c:pt idx="1833">
                  <c:v>43572</c:v>
                </c:pt>
                <c:pt idx="1834">
                  <c:v>43573</c:v>
                </c:pt>
                <c:pt idx="1835">
                  <c:v>43577</c:v>
                </c:pt>
                <c:pt idx="1836">
                  <c:v>43578</c:v>
                </c:pt>
                <c:pt idx="1837">
                  <c:v>43579</c:v>
                </c:pt>
                <c:pt idx="1838">
                  <c:v>43580</c:v>
                </c:pt>
                <c:pt idx="1839">
                  <c:v>43581</c:v>
                </c:pt>
                <c:pt idx="1840">
                  <c:v>43584</c:v>
                </c:pt>
                <c:pt idx="1841">
                  <c:v>43585</c:v>
                </c:pt>
                <c:pt idx="1842">
                  <c:v>43586</c:v>
                </c:pt>
                <c:pt idx="1843">
                  <c:v>43587</c:v>
                </c:pt>
                <c:pt idx="1844">
                  <c:v>43588</c:v>
                </c:pt>
                <c:pt idx="1845">
                  <c:v>43591</c:v>
                </c:pt>
                <c:pt idx="1846">
                  <c:v>43592</c:v>
                </c:pt>
                <c:pt idx="1847">
                  <c:v>43593</c:v>
                </c:pt>
                <c:pt idx="1848">
                  <c:v>43594</c:v>
                </c:pt>
                <c:pt idx="1849">
                  <c:v>43595</c:v>
                </c:pt>
                <c:pt idx="1850">
                  <c:v>43598</c:v>
                </c:pt>
                <c:pt idx="1851">
                  <c:v>43599</c:v>
                </c:pt>
                <c:pt idx="1852">
                  <c:v>43600</c:v>
                </c:pt>
                <c:pt idx="1853">
                  <c:v>43601</c:v>
                </c:pt>
                <c:pt idx="1854">
                  <c:v>43602</c:v>
                </c:pt>
                <c:pt idx="1855">
                  <c:v>43605</c:v>
                </c:pt>
                <c:pt idx="1856">
                  <c:v>43606</c:v>
                </c:pt>
                <c:pt idx="1857">
                  <c:v>43607</c:v>
                </c:pt>
                <c:pt idx="1858">
                  <c:v>43608</c:v>
                </c:pt>
                <c:pt idx="1859">
                  <c:v>43609</c:v>
                </c:pt>
                <c:pt idx="1860">
                  <c:v>43613</c:v>
                </c:pt>
                <c:pt idx="1861">
                  <c:v>43614</c:v>
                </c:pt>
                <c:pt idx="1862">
                  <c:v>43615</c:v>
                </c:pt>
                <c:pt idx="1863">
                  <c:v>43616</c:v>
                </c:pt>
                <c:pt idx="1864">
                  <c:v>43619</c:v>
                </c:pt>
                <c:pt idx="1865">
                  <c:v>43620</c:v>
                </c:pt>
                <c:pt idx="1866">
                  <c:v>43621</c:v>
                </c:pt>
                <c:pt idx="1867">
                  <c:v>43622</c:v>
                </c:pt>
                <c:pt idx="1868">
                  <c:v>43623</c:v>
                </c:pt>
                <c:pt idx="1869">
                  <c:v>43626</c:v>
                </c:pt>
                <c:pt idx="1870">
                  <c:v>43627</c:v>
                </c:pt>
                <c:pt idx="1871">
                  <c:v>43628</c:v>
                </c:pt>
                <c:pt idx="1872">
                  <c:v>43629</c:v>
                </c:pt>
                <c:pt idx="1873">
                  <c:v>43630</c:v>
                </c:pt>
                <c:pt idx="1874">
                  <c:v>43633</c:v>
                </c:pt>
                <c:pt idx="1875">
                  <c:v>43634</c:v>
                </c:pt>
                <c:pt idx="1876">
                  <c:v>43635</c:v>
                </c:pt>
                <c:pt idx="1877">
                  <c:v>43636</c:v>
                </c:pt>
                <c:pt idx="1878">
                  <c:v>43637</c:v>
                </c:pt>
                <c:pt idx="1879">
                  <c:v>43640</c:v>
                </c:pt>
                <c:pt idx="1880">
                  <c:v>43641</c:v>
                </c:pt>
                <c:pt idx="1881">
                  <c:v>43642</c:v>
                </c:pt>
                <c:pt idx="1882">
                  <c:v>43643</c:v>
                </c:pt>
                <c:pt idx="1883">
                  <c:v>43644</c:v>
                </c:pt>
                <c:pt idx="1884">
                  <c:v>43647</c:v>
                </c:pt>
                <c:pt idx="1885">
                  <c:v>43648</c:v>
                </c:pt>
                <c:pt idx="1886">
                  <c:v>43649</c:v>
                </c:pt>
                <c:pt idx="1887">
                  <c:v>43651</c:v>
                </c:pt>
                <c:pt idx="1888">
                  <c:v>43654</c:v>
                </c:pt>
                <c:pt idx="1889">
                  <c:v>43655</c:v>
                </c:pt>
                <c:pt idx="1890">
                  <c:v>43656</c:v>
                </c:pt>
                <c:pt idx="1891">
                  <c:v>43657</c:v>
                </c:pt>
                <c:pt idx="1892">
                  <c:v>43658</c:v>
                </c:pt>
                <c:pt idx="1893">
                  <c:v>43661</c:v>
                </c:pt>
                <c:pt idx="1894">
                  <c:v>43662</c:v>
                </c:pt>
                <c:pt idx="1895">
                  <c:v>43663</c:v>
                </c:pt>
                <c:pt idx="1896">
                  <c:v>43664</c:v>
                </c:pt>
                <c:pt idx="1897">
                  <c:v>43665</c:v>
                </c:pt>
                <c:pt idx="1898">
                  <c:v>43668</c:v>
                </c:pt>
                <c:pt idx="1899">
                  <c:v>43669</c:v>
                </c:pt>
                <c:pt idx="1900">
                  <c:v>43670</c:v>
                </c:pt>
                <c:pt idx="1901">
                  <c:v>43671</c:v>
                </c:pt>
                <c:pt idx="1902">
                  <c:v>43672</c:v>
                </c:pt>
                <c:pt idx="1903">
                  <c:v>43675</c:v>
                </c:pt>
                <c:pt idx="1904">
                  <c:v>43676</c:v>
                </c:pt>
                <c:pt idx="1905">
                  <c:v>43677</c:v>
                </c:pt>
                <c:pt idx="1906">
                  <c:v>43678</c:v>
                </c:pt>
                <c:pt idx="1907">
                  <c:v>43679</c:v>
                </c:pt>
                <c:pt idx="1908">
                  <c:v>43682</c:v>
                </c:pt>
                <c:pt idx="1909">
                  <c:v>43683</c:v>
                </c:pt>
                <c:pt idx="1910">
                  <c:v>43684</c:v>
                </c:pt>
                <c:pt idx="1911">
                  <c:v>43685</c:v>
                </c:pt>
                <c:pt idx="1912">
                  <c:v>43686</c:v>
                </c:pt>
                <c:pt idx="1913">
                  <c:v>43689</c:v>
                </c:pt>
                <c:pt idx="1914">
                  <c:v>43690</c:v>
                </c:pt>
                <c:pt idx="1915">
                  <c:v>43691</c:v>
                </c:pt>
                <c:pt idx="1916">
                  <c:v>43692</c:v>
                </c:pt>
                <c:pt idx="1917">
                  <c:v>43693</c:v>
                </c:pt>
                <c:pt idx="1918">
                  <c:v>43696</c:v>
                </c:pt>
                <c:pt idx="1919">
                  <c:v>43697</c:v>
                </c:pt>
                <c:pt idx="1920">
                  <c:v>43698</c:v>
                </c:pt>
                <c:pt idx="1921">
                  <c:v>43699</c:v>
                </c:pt>
                <c:pt idx="1922">
                  <c:v>43700</c:v>
                </c:pt>
                <c:pt idx="1923">
                  <c:v>43703</c:v>
                </c:pt>
                <c:pt idx="1924">
                  <c:v>43704</c:v>
                </c:pt>
                <c:pt idx="1925">
                  <c:v>43705</c:v>
                </c:pt>
                <c:pt idx="1926">
                  <c:v>43706</c:v>
                </c:pt>
                <c:pt idx="1927">
                  <c:v>43707</c:v>
                </c:pt>
                <c:pt idx="1928">
                  <c:v>43711</c:v>
                </c:pt>
                <c:pt idx="1929">
                  <c:v>43712</c:v>
                </c:pt>
                <c:pt idx="1930">
                  <c:v>43713</c:v>
                </c:pt>
                <c:pt idx="1931">
                  <c:v>43714</c:v>
                </c:pt>
                <c:pt idx="1932">
                  <c:v>43717</c:v>
                </c:pt>
                <c:pt idx="1933">
                  <c:v>43718</c:v>
                </c:pt>
                <c:pt idx="1934">
                  <c:v>43719</c:v>
                </c:pt>
                <c:pt idx="1935">
                  <c:v>43720</c:v>
                </c:pt>
                <c:pt idx="1936">
                  <c:v>43721</c:v>
                </c:pt>
                <c:pt idx="1937">
                  <c:v>43724</c:v>
                </c:pt>
                <c:pt idx="1938">
                  <c:v>43725</c:v>
                </c:pt>
                <c:pt idx="1939">
                  <c:v>43726</c:v>
                </c:pt>
                <c:pt idx="1940">
                  <c:v>43727</c:v>
                </c:pt>
                <c:pt idx="1941">
                  <c:v>43728</c:v>
                </c:pt>
                <c:pt idx="1942">
                  <c:v>43731</c:v>
                </c:pt>
                <c:pt idx="1943">
                  <c:v>43732</c:v>
                </c:pt>
                <c:pt idx="1944">
                  <c:v>43733</c:v>
                </c:pt>
                <c:pt idx="1945">
                  <c:v>43734</c:v>
                </c:pt>
                <c:pt idx="1946">
                  <c:v>43735</c:v>
                </c:pt>
                <c:pt idx="1947">
                  <c:v>43738</c:v>
                </c:pt>
                <c:pt idx="1948">
                  <c:v>43739</c:v>
                </c:pt>
                <c:pt idx="1949">
                  <c:v>43740</c:v>
                </c:pt>
                <c:pt idx="1950">
                  <c:v>43741</c:v>
                </c:pt>
                <c:pt idx="1951">
                  <c:v>43742</c:v>
                </c:pt>
                <c:pt idx="1952">
                  <c:v>43745</c:v>
                </c:pt>
                <c:pt idx="1953">
                  <c:v>43746</c:v>
                </c:pt>
                <c:pt idx="1954">
                  <c:v>43747</c:v>
                </c:pt>
                <c:pt idx="1955">
                  <c:v>43748</c:v>
                </c:pt>
                <c:pt idx="1956">
                  <c:v>43749</c:v>
                </c:pt>
                <c:pt idx="1957">
                  <c:v>43752</c:v>
                </c:pt>
                <c:pt idx="1958">
                  <c:v>43753</c:v>
                </c:pt>
                <c:pt idx="1959">
                  <c:v>43754</c:v>
                </c:pt>
                <c:pt idx="1960">
                  <c:v>43755</c:v>
                </c:pt>
                <c:pt idx="1961">
                  <c:v>43756</c:v>
                </c:pt>
                <c:pt idx="1962">
                  <c:v>43759</c:v>
                </c:pt>
                <c:pt idx="1963">
                  <c:v>43760</c:v>
                </c:pt>
                <c:pt idx="1964">
                  <c:v>43761</c:v>
                </c:pt>
                <c:pt idx="1965">
                  <c:v>43762</c:v>
                </c:pt>
                <c:pt idx="1966">
                  <c:v>43763</c:v>
                </c:pt>
                <c:pt idx="1967">
                  <c:v>43766</c:v>
                </c:pt>
                <c:pt idx="1968">
                  <c:v>43767</c:v>
                </c:pt>
                <c:pt idx="1969">
                  <c:v>43768</c:v>
                </c:pt>
                <c:pt idx="1970">
                  <c:v>43769</c:v>
                </c:pt>
                <c:pt idx="1971">
                  <c:v>43770</c:v>
                </c:pt>
                <c:pt idx="1972">
                  <c:v>43773</c:v>
                </c:pt>
                <c:pt idx="1973">
                  <c:v>43774</c:v>
                </c:pt>
                <c:pt idx="1974">
                  <c:v>43775</c:v>
                </c:pt>
                <c:pt idx="1975">
                  <c:v>43776</c:v>
                </c:pt>
                <c:pt idx="1976">
                  <c:v>43777</c:v>
                </c:pt>
                <c:pt idx="1977">
                  <c:v>43780</c:v>
                </c:pt>
                <c:pt idx="1978">
                  <c:v>43781</c:v>
                </c:pt>
                <c:pt idx="1979">
                  <c:v>43782</c:v>
                </c:pt>
                <c:pt idx="1980">
                  <c:v>43783</c:v>
                </c:pt>
                <c:pt idx="1981">
                  <c:v>43784</c:v>
                </c:pt>
                <c:pt idx="1982">
                  <c:v>43787</c:v>
                </c:pt>
                <c:pt idx="1983">
                  <c:v>43788</c:v>
                </c:pt>
                <c:pt idx="1984">
                  <c:v>43789</c:v>
                </c:pt>
                <c:pt idx="1985">
                  <c:v>43790</c:v>
                </c:pt>
                <c:pt idx="1986">
                  <c:v>43791</c:v>
                </c:pt>
                <c:pt idx="1987">
                  <c:v>43794</c:v>
                </c:pt>
                <c:pt idx="1988">
                  <c:v>43795</c:v>
                </c:pt>
                <c:pt idx="1989">
                  <c:v>43796</c:v>
                </c:pt>
                <c:pt idx="1990">
                  <c:v>43798</c:v>
                </c:pt>
                <c:pt idx="1991">
                  <c:v>43801</c:v>
                </c:pt>
                <c:pt idx="1992">
                  <c:v>43802</c:v>
                </c:pt>
                <c:pt idx="1993">
                  <c:v>43803</c:v>
                </c:pt>
                <c:pt idx="1994">
                  <c:v>43804</c:v>
                </c:pt>
                <c:pt idx="1995">
                  <c:v>43805</c:v>
                </c:pt>
                <c:pt idx="1996">
                  <c:v>43808</c:v>
                </c:pt>
                <c:pt idx="1997">
                  <c:v>43809</c:v>
                </c:pt>
                <c:pt idx="1998">
                  <c:v>43810</c:v>
                </c:pt>
                <c:pt idx="1999">
                  <c:v>43811</c:v>
                </c:pt>
                <c:pt idx="2000">
                  <c:v>43812</c:v>
                </c:pt>
                <c:pt idx="2001">
                  <c:v>43815</c:v>
                </c:pt>
                <c:pt idx="2002">
                  <c:v>43816</c:v>
                </c:pt>
                <c:pt idx="2003">
                  <c:v>43817</c:v>
                </c:pt>
                <c:pt idx="2004">
                  <c:v>43818</c:v>
                </c:pt>
                <c:pt idx="2005">
                  <c:v>43819</c:v>
                </c:pt>
                <c:pt idx="2006">
                  <c:v>43822</c:v>
                </c:pt>
                <c:pt idx="2007">
                  <c:v>43823</c:v>
                </c:pt>
                <c:pt idx="2008">
                  <c:v>43825</c:v>
                </c:pt>
                <c:pt idx="2009">
                  <c:v>43826</c:v>
                </c:pt>
                <c:pt idx="2010">
                  <c:v>43829</c:v>
                </c:pt>
                <c:pt idx="2011">
                  <c:v>43830</c:v>
                </c:pt>
                <c:pt idx="2012">
                  <c:v>43832</c:v>
                </c:pt>
                <c:pt idx="2013">
                  <c:v>43833</c:v>
                </c:pt>
                <c:pt idx="2014">
                  <c:v>43836</c:v>
                </c:pt>
                <c:pt idx="2015">
                  <c:v>43837</c:v>
                </c:pt>
                <c:pt idx="2016">
                  <c:v>43838</c:v>
                </c:pt>
                <c:pt idx="2017">
                  <c:v>43839</c:v>
                </c:pt>
                <c:pt idx="2018">
                  <c:v>43840</c:v>
                </c:pt>
                <c:pt idx="2019">
                  <c:v>43843</c:v>
                </c:pt>
                <c:pt idx="2020">
                  <c:v>43844</c:v>
                </c:pt>
                <c:pt idx="2021">
                  <c:v>43845</c:v>
                </c:pt>
                <c:pt idx="2022">
                  <c:v>43846</c:v>
                </c:pt>
                <c:pt idx="2023">
                  <c:v>43847</c:v>
                </c:pt>
                <c:pt idx="2024">
                  <c:v>43851</c:v>
                </c:pt>
                <c:pt idx="2025">
                  <c:v>43852</c:v>
                </c:pt>
                <c:pt idx="2026">
                  <c:v>43853</c:v>
                </c:pt>
                <c:pt idx="2027">
                  <c:v>43854</c:v>
                </c:pt>
                <c:pt idx="2028">
                  <c:v>43857</c:v>
                </c:pt>
                <c:pt idx="2029">
                  <c:v>43858</c:v>
                </c:pt>
                <c:pt idx="2030">
                  <c:v>43859</c:v>
                </c:pt>
                <c:pt idx="2031">
                  <c:v>43860</c:v>
                </c:pt>
                <c:pt idx="2032">
                  <c:v>43861</c:v>
                </c:pt>
                <c:pt idx="2033">
                  <c:v>43864</c:v>
                </c:pt>
                <c:pt idx="2034">
                  <c:v>43865</c:v>
                </c:pt>
                <c:pt idx="2035">
                  <c:v>43866</c:v>
                </c:pt>
                <c:pt idx="2036">
                  <c:v>43867</c:v>
                </c:pt>
                <c:pt idx="2037">
                  <c:v>43868</c:v>
                </c:pt>
                <c:pt idx="2038">
                  <c:v>43871</c:v>
                </c:pt>
                <c:pt idx="2039">
                  <c:v>43872</c:v>
                </c:pt>
                <c:pt idx="2040">
                  <c:v>43873</c:v>
                </c:pt>
                <c:pt idx="2041">
                  <c:v>43874</c:v>
                </c:pt>
                <c:pt idx="2042">
                  <c:v>43875</c:v>
                </c:pt>
                <c:pt idx="2043">
                  <c:v>43879</c:v>
                </c:pt>
                <c:pt idx="2044">
                  <c:v>43880</c:v>
                </c:pt>
                <c:pt idx="2045">
                  <c:v>43881</c:v>
                </c:pt>
                <c:pt idx="2046">
                  <c:v>43882</c:v>
                </c:pt>
                <c:pt idx="2047">
                  <c:v>43885</c:v>
                </c:pt>
                <c:pt idx="2048">
                  <c:v>43886</c:v>
                </c:pt>
                <c:pt idx="2049">
                  <c:v>43887</c:v>
                </c:pt>
                <c:pt idx="2050">
                  <c:v>43888</c:v>
                </c:pt>
                <c:pt idx="2051">
                  <c:v>43889</c:v>
                </c:pt>
                <c:pt idx="2052">
                  <c:v>43892</c:v>
                </c:pt>
                <c:pt idx="2053">
                  <c:v>43893</c:v>
                </c:pt>
                <c:pt idx="2054">
                  <c:v>43894</c:v>
                </c:pt>
                <c:pt idx="2055">
                  <c:v>43895</c:v>
                </c:pt>
                <c:pt idx="2056">
                  <c:v>43896</c:v>
                </c:pt>
                <c:pt idx="2057">
                  <c:v>43899</c:v>
                </c:pt>
                <c:pt idx="2058">
                  <c:v>43900</c:v>
                </c:pt>
                <c:pt idx="2059">
                  <c:v>43901</c:v>
                </c:pt>
                <c:pt idx="2060">
                  <c:v>43902</c:v>
                </c:pt>
                <c:pt idx="2061">
                  <c:v>43903</c:v>
                </c:pt>
                <c:pt idx="2062">
                  <c:v>43906</c:v>
                </c:pt>
                <c:pt idx="2063">
                  <c:v>43907</c:v>
                </c:pt>
                <c:pt idx="2064">
                  <c:v>43908</c:v>
                </c:pt>
                <c:pt idx="2065">
                  <c:v>43909</c:v>
                </c:pt>
                <c:pt idx="2066">
                  <c:v>43910</c:v>
                </c:pt>
                <c:pt idx="2067">
                  <c:v>43913</c:v>
                </c:pt>
                <c:pt idx="2068">
                  <c:v>43914</c:v>
                </c:pt>
                <c:pt idx="2069">
                  <c:v>43915</c:v>
                </c:pt>
                <c:pt idx="2070">
                  <c:v>43916</c:v>
                </c:pt>
                <c:pt idx="2071">
                  <c:v>43917</c:v>
                </c:pt>
                <c:pt idx="2072">
                  <c:v>43920</c:v>
                </c:pt>
                <c:pt idx="2073">
                  <c:v>43921</c:v>
                </c:pt>
                <c:pt idx="2074">
                  <c:v>43922</c:v>
                </c:pt>
                <c:pt idx="2075">
                  <c:v>43923</c:v>
                </c:pt>
                <c:pt idx="2076">
                  <c:v>43924</c:v>
                </c:pt>
                <c:pt idx="2077">
                  <c:v>43927</c:v>
                </c:pt>
                <c:pt idx="2078">
                  <c:v>43928</c:v>
                </c:pt>
                <c:pt idx="2079">
                  <c:v>43929</c:v>
                </c:pt>
                <c:pt idx="2080">
                  <c:v>43930</c:v>
                </c:pt>
                <c:pt idx="2081">
                  <c:v>43934</c:v>
                </c:pt>
                <c:pt idx="2082">
                  <c:v>43935</c:v>
                </c:pt>
                <c:pt idx="2083">
                  <c:v>43936</c:v>
                </c:pt>
                <c:pt idx="2084">
                  <c:v>43937</c:v>
                </c:pt>
                <c:pt idx="2085">
                  <c:v>43938</c:v>
                </c:pt>
                <c:pt idx="2086">
                  <c:v>43941</c:v>
                </c:pt>
                <c:pt idx="2087">
                  <c:v>43942</c:v>
                </c:pt>
                <c:pt idx="2088">
                  <c:v>43943</c:v>
                </c:pt>
                <c:pt idx="2089">
                  <c:v>43944</c:v>
                </c:pt>
                <c:pt idx="2090">
                  <c:v>43945</c:v>
                </c:pt>
                <c:pt idx="2091">
                  <c:v>43948</c:v>
                </c:pt>
                <c:pt idx="2092">
                  <c:v>43949</c:v>
                </c:pt>
                <c:pt idx="2093">
                  <c:v>43950</c:v>
                </c:pt>
                <c:pt idx="2094">
                  <c:v>43951</c:v>
                </c:pt>
                <c:pt idx="2095">
                  <c:v>43952</c:v>
                </c:pt>
                <c:pt idx="2096">
                  <c:v>43955</c:v>
                </c:pt>
                <c:pt idx="2097">
                  <c:v>43956</c:v>
                </c:pt>
                <c:pt idx="2098">
                  <c:v>43957</c:v>
                </c:pt>
                <c:pt idx="2099">
                  <c:v>43958</c:v>
                </c:pt>
                <c:pt idx="2100">
                  <c:v>43959</c:v>
                </c:pt>
                <c:pt idx="2101">
                  <c:v>43962</c:v>
                </c:pt>
                <c:pt idx="2102">
                  <c:v>43963</c:v>
                </c:pt>
                <c:pt idx="2103">
                  <c:v>43964</c:v>
                </c:pt>
                <c:pt idx="2104">
                  <c:v>43965</c:v>
                </c:pt>
                <c:pt idx="2105">
                  <c:v>43966</c:v>
                </c:pt>
                <c:pt idx="2106">
                  <c:v>43969</c:v>
                </c:pt>
                <c:pt idx="2107">
                  <c:v>43970</c:v>
                </c:pt>
                <c:pt idx="2108">
                  <c:v>43971</c:v>
                </c:pt>
                <c:pt idx="2109">
                  <c:v>43972</c:v>
                </c:pt>
                <c:pt idx="2110">
                  <c:v>43973</c:v>
                </c:pt>
                <c:pt idx="2111">
                  <c:v>43977</c:v>
                </c:pt>
                <c:pt idx="2112">
                  <c:v>43978</c:v>
                </c:pt>
                <c:pt idx="2113">
                  <c:v>43979</c:v>
                </c:pt>
                <c:pt idx="2114">
                  <c:v>43980</c:v>
                </c:pt>
                <c:pt idx="2115">
                  <c:v>43983</c:v>
                </c:pt>
                <c:pt idx="2116">
                  <c:v>43984</c:v>
                </c:pt>
                <c:pt idx="2117">
                  <c:v>43985</c:v>
                </c:pt>
                <c:pt idx="2118">
                  <c:v>43986</c:v>
                </c:pt>
                <c:pt idx="2119">
                  <c:v>43987</c:v>
                </c:pt>
                <c:pt idx="2120">
                  <c:v>43990</c:v>
                </c:pt>
                <c:pt idx="2121">
                  <c:v>43991</c:v>
                </c:pt>
                <c:pt idx="2122">
                  <c:v>43992</c:v>
                </c:pt>
                <c:pt idx="2123">
                  <c:v>43993</c:v>
                </c:pt>
                <c:pt idx="2124">
                  <c:v>43994</c:v>
                </c:pt>
                <c:pt idx="2125">
                  <c:v>43997</c:v>
                </c:pt>
                <c:pt idx="2126">
                  <c:v>43998</c:v>
                </c:pt>
                <c:pt idx="2127">
                  <c:v>43999</c:v>
                </c:pt>
                <c:pt idx="2128">
                  <c:v>44000</c:v>
                </c:pt>
                <c:pt idx="2129">
                  <c:v>44001</c:v>
                </c:pt>
                <c:pt idx="2130">
                  <c:v>44004</c:v>
                </c:pt>
                <c:pt idx="2131">
                  <c:v>44005</c:v>
                </c:pt>
                <c:pt idx="2132">
                  <c:v>44006</c:v>
                </c:pt>
                <c:pt idx="2133">
                  <c:v>44007</c:v>
                </c:pt>
                <c:pt idx="2134">
                  <c:v>44008</c:v>
                </c:pt>
                <c:pt idx="2135">
                  <c:v>44011</c:v>
                </c:pt>
                <c:pt idx="2136">
                  <c:v>44012</c:v>
                </c:pt>
                <c:pt idx="2137">
                  <c:v>44013</c:v>
                </c:pt>
                <c:pt idx="2138">
                  <c:v>44014</c:v>
                </c:pt>
                <c:pt idx="2139">
                  <c:v>44018</c:v>
                </c:pt>
                <c:pt idx="2140">
                  <c:v>44019</c:v>
                </c:pt>
                <c:pt idx="2141">
                  <c:v>44020</c:v>
                </c:pt>
                <c:pt idx="2142">
                  <c:v>44021</c:v>
                </c:pt>
                <c:pt idx="2143">
                  <c:v>44022</c:v>
                </c:pt>
                <c:pt idx="2144">
                  <c:v>44025</c:v>
                </c:pt>
                <c:pt idx="2145">
                  <c:v>44026</c:v>
                </c:pt>
                <c:pt idx="2146">
                  <c:v>44027</c:v>
                </c:pt>
                <c:pt idx="2147">
                  <c:v>44028</c:v>
                </c:pt>
                <c:pt idx="2148">
                  <c:v>44029</c:v>
                </c:pt>
                <c:pt idx="2149">
                  <c:v>44032</c:v>
                </c:pt>
                <c:pt idx="2150">
                  <c:v>44033</c:v>
                </c:pt>
                <c:pt idx="2151">
                  <c:v>44034</c:v>
                </c:pt>
                <c:pt idx="2152">
                  <c:v>44035</c:v>
                </c:pt>
                <c:pt idx="2153">
                  <c:v>44036</c:v>
                </c:pt>
                <c:pt idx="2154">
                  <c:v>44039</c:v>
                </c:pt>
                <c:pt idx="2155">
                  <c:v>44040</c:v>
                </c:pt>
                <c:pt idx="2156">
                  <c:v>44041</c:v>
                </c:pt>
                <c:pt idx="2157">
                  <c:v>44042</c:v>
                </c:pt>
                <c:pt idx="2158">
                  <c:v>44043</c:v>
                </c:pt>
                <c:pt idx="2159">
                  <c:v>44046</c:v>
                </c:pt>
                <c:pt idx="2160">
                  <c:v>44047</c:v>
                </c:pt>
                <c:pt idx="2161">
                  <c:v>44048</c:v>
                </c:pt>
                <c:pt idx="2162">
                  <c:v>44049</c:v>
                </c:pt>
                <c:pt idx="2163">
                  <c:v>44050</c:v>
                </c:pt>
                <c:pt idx="2164">
                  <c:v>44053</c:v>
                </c:pt>
                <c:pt idx="2165">
                  <c:v>44054</c:v>
                </c:pt>
                <c:pt idx="2166">
                  <c:v>44055</c:v>
                </c:pt>
                <c:pt idx="2167">
                  <c:v>44056</c:v>
                </c:pt>
                <c:pt idx="2168">
                  <c:v>44057</c:v>
                </c:pt>
                <c:pt idx="2169">
                  <c:v>44060</c:v>
                </c:pt>
                <c:pt idx="2170">
                  <c:v>44061</c:v>
                </c:pt>
                <c:pt idx="2171">
                  <c:v>44062</c:v>
                </c:pt>
                <c:pt idx="2172">
                  <c:v>44063</c:v>
                </c:pt>
                <c:pt idx="2173">
                  <c:v>44064</c:v>
                </c:pt>
                <c:pt idx="2174">
                  <c:v>44067</c:v>
                </c:pt>
                <c:pt idx="2175">
                  <c:v>44068</c:v>
                </c:pt>
                <c:pt idx="2176">
                  <c:v>44069</c:v>
                </c:pt>
                <c:pt idx="2177">
                  <c:v>44070</c:v>
                </c:pt>
                <c:pt idx="2178">
                  <c:v>44071</c:v>
                </c:pt>
                <c:pt idx="2179">
                  <c:v>44074</c:v>
                </c:pt>
                <c:pt idx="2180">
                  <c:v>44075</c:v>
                </c:pt>
                <c:pt idx="2181">
                  <c:v>44076</c:v>
                </c:pt>
                <c:pt idx="2182">
                  <c:v>44077</c:v>
                </c:pt>
                <c:pt idx="2183">
                  <c:v>44078</c:v>
                </c:pt>
                <c:pt idx="2184">
                  <c:v>44082</c:v>
                </c:pt>
                <c:pt idx="2185">
                  <c:v>44083</c:v>
                </c:pt>
                <c:pt idx="2186">
                  <c:v>44084</c:v>
                </c:pt>
                <c:pt idx="2187">
                  <c:v>44085</c:v>
                </c:pt>
                <c:pt idx="2188">
                  <c:v>44088</c:v>
                </c:pt>
                <c:pt idx="2189">
                  <c:v>44089</c:v>
                </c:pt>
                <c:pt idx="2190">
                  <c:v>44090</c:v>
                </c:pt>
                <c:pt idx="2191">
                  <c:v>44091</c:v>
                </c:pt>
                <c:pt idx="2192">
                  <c:v>44092</c:v>
                </c:pt>
                <c:pt idx="2193">
                  <c:v>44095</c:v>
                </c:pt>
                <c:pt idx="2194">
                  <c:v>44096</c:v>
                </c:pt>
                <c:pt idx="2195">
                  <c:v>44097</c:v>
                </c:pt>
                <c:pt idx="2196">
                  <c:v>44098</c:v>
                </c:pt>
                <c:pt idx="2197">
                  <c:v>44099</c:v>
                </c:pt>
                <c:pt idx="2198">
                  <c:v>44102</c:v>
                </c:pt>
                <c:pt idx="2199">
                  <c:v>44103</c:v>
                </c:pt>
                <c:pt idx="2200">
                  <c:v>44104</c:v>
                </c:pt>
                <c:pt idx="2201">
                  <c:v>44105</c:v>
                </c:pt>
                <c:pt idx="2202">
                  <c:v>44106</c:v>
                </c:pt>
                <c:pt idx="2203">
                  <c:v>44109</c:v>
                </c:pt>
                <c:pt idx="2204">
                  <c:v>44110</c:v>
                </c:pt>
                <c:pt idx="2205">
                  <c:v>44111</c:v>
                </c:pt>
                <c:pt idx="2206">
                  <c:v>44112</c:v>
                </c:pt>
                <c:pt idx="2207">
                  <c:v>44113</c:v>
                </c:pt>
                <c:pt idx="2208">
                  <c:v>44116</c:v>
                </c:pt>
                <c:pt idx="2209">
                  <c:v>44117</c:v>
                </c:pt>
                <c:pt idx="2210">
                  <c:v>44118</c:v>
                </c:pt>
                <c:pt idx="2211">
                  <c:v>44119</c:v>
                </c:pt>
                <c:pt idx="2212">
                  <c:v>44120</c:v>
                </c:pt>
                <c:pt idx="2213">
                  <c:v>44123</c:v>
                </c:pt>
                <c:pt idx="2214">
                  <c:v>44124</c:v>
                </c:pt>
                <c:pt idx="2215">
                  <c:v>44125</c:v>
                </c:pt>
                <c:pt idx="2216">
                  <c:v>44126</c:v>
                </c:pt>
                <c:pt idx="2217">
                  <c:v>44127</c:v>
                </c:pt>
                <c:pt idx="2218">
                  <c:v>44130</c:v>
                </c:pt>
                <c:pt idx="2219">
                  <c:v>44131</c:v>
                </c:pt>
                <c:pt idx="2220">
                  <c:v>44132</c:v>
                </c:pt>
                <c:pt idx="2221">
                  <c:v>44133</c:v>
                </c:pt>
                <c:pt idx="2222">
                  <c:v>44134</c:v>
                </c:pt>
                <c:pt idx="2223">
                  <c:v>44137</c:v>
                </c:pt>
                <c:pt idx="2224">
                  <c:v>44138</c:v>
                </c:pt>
                <c:pt idx="2225">
                  <c:v>44139</c:v>
                </c:pt>
                <c:pt idx="2226">
                  <c:v>44140</c:v>
                </c:pt>
                <c:pt idx="2227">
                  <c:v>44141</c:v>
                </c:pt>
                <c:pt idx="2228">
                  <c:v>44144</c:v>
                </c:pt>
                <c:pt idx="2229">
                  <c:v>44145</c:v>
                </c:pt>
                <c:pt idx="2230">
                  <c:v>44146</c:v>
                </c:pt>
                <c:pt idx="2231">
                  <c:v>44147</c:v>
                </c:pt>
                <c:pt idx="2232">
                  <c:v>44148</c:v>
                </c:pt>
                <c:pt idx="2233">
                  <c:v>44151</c:v>
                </c:pt>
                <c:pt idx="2234">
                  <c:v>44152</c:v>
                </c:pt>
                <c:pt idx="2235">
                  <c:v>44153</c:v>
                </c:pt>
                <c:pt idx="2236">
                  <c:v>44154</c:v>
                </c:pt>
                <c:pt idx="2237">
                  <c:v>44155</c:v>
                </c:pt>
                <c:pt idx="2238">
                  <c:v>44158</c:v>
                </c:pt>
                <c:pt idx="2239">
                  <c:v>44159</c:v>
                </c:pt>
                <c:pt idx="2240">
                  <c:v>44160</c:v>
                </c:pt>
                <c:pt idx="2241">
                  <c:v>44162</c:v>
                </c:pt>
                <c:pt idx="2242">
                  <c:v>44165</c:v>
                </c:pt>
                <c:pt idx="2243">
                  <c:v>44166</c:v>
                </c:pt>
                <c:pt idx="2244">
                  <c:v>44167</c:v>
                </c:pt>
                <c:pt idx="2245">
                  <c:v>44168</c:v>
                </c:pt>
                <c:pt idx="2246">
                  <c:v>44169</c:v>
                </c:pt>
                <c:pt idx="2247">
                  <c:v>44172</c:v>
                </c:pt>
                <c:pt idx="2248">
                  <c:v>44173</c:v>
                </c:pt>
                <c:pt idx="2249">
                  <c:v>44174</c:v>
                </c:pt>
                <c:pt idx="2250">
                  <c:v>44175</c:v>
                </c:pt>
                <c:pt idx="2251">
                  <c:v>44176</c:v>
                </c:pt>
                <c:pt idx="2252">
                  <c:v>44179</c:v>
                </c:pt>
                <c:pt idx="2253">
                  <c:v>44180</c:v>
                </c:pt>
                <c:pt idx="2254">
                  <c:v>44181</c:v>
                </c:pt>
                <c:pt idx="2255">
                  <c:v>44182</c:v>
                </c:pt>
                <c:pt idx="2256">
                  <c:v>44183</c:v>
                </c:pt>
                <c:pt idx="2257">
                  <c:v>44186</c:v>
                </c:pt>
                <c:pt idx="2258">
                  <c:v>44187</c:v>
                </c:pt>
                <c:pt idx="2259">
                  <c:v>44188</c:v>
                </c:pt>
                <c:pt idx="2260">
                  <c:v>44189</c:v>
                </c:pt>
                <c:pt idx="2261">
                  <c:v>44193</c:v>
                </c:pt>
                <c:pt idx="2262">
                  <c:v>44194</c:v>
                </c:pt>
                <c:pt idx="2263">
                  <c:v>44195</c:v>
                </c:pt>
                <c:pt idx="2264">
                  <c:v>44196</c:v>
                </c:pt>
                <c:pt idx="2265">
                  <c:v>44200</c:v>
                </c:pt>
                <c:pt idx="2266">
                  <c:v>44201</c:v>
                </c:pt>
                <c:pt idx="2267">
                  <c:v>44202</c:v>
                </c:pt>
                <c:pt idx="2268">
                  <c:v>44203</c:v>
                </c:pt>
                <c:pt idx="2269">
                  <c:v>44204</c:v>
                </c:pt>
                <c:pt idx="2270">
                  <c:v>44207</c:v>
                </c:pt>
                <c:pt idx="2271">
                  <c:v>44208</c:v>
                </c:pt>
                <c:pt idx="2272">
                  <c:v>44209</c:v>
                </c:pt>
                <c:pt idx="2273">
                  <c:v>44210</c:v>
                </c:pt>
                <c:pt idx="2274">
                  <c:v>44211</c:v>
                </c:pt>
                <c:pt idx="2275">
                  <c:v>44215</c:v>
                </c:pt>
                <c:pt idx="2276">
                  <c:v>44216</c:v>
                </c:pt>
                <c:pt idx="2277">
                  <c:v>44217</c:v>
                </c:pt>
                <c:pt idx="2278">
                  <c:v>44218</c:v>
                </c:pt>
                <c:pt idx="2279">
                  <c:v>44221</c:v>
                </c:pt>
                <c:pt idx="2280">
                  <c:v>44222</c:v>
                </c:pt>
                <c:pt idx="2281">
                  <c:v>44223</c:v>
                </c:pt>
                <c:pt idx="2282">
                  <c:v>44224</c:v>
                </c:pt>
                <c:pt idx="2283">
                  <c:v>44225</c:v>
                </c:pt>
                <c:pt idx="2284">
                  <c:v>44228</c:v>
                </c:pt>
                <c:pt idx="2285">
                  <c:v>44229</c:v>
                </c:pt>
                <c:pt idx="2286">
                  <c:v>44230</c:v>
                </c:pt>
                <c:pt idx="2287">
                  <c:v>44231</c:v>
                </c:pt>
                <c:pt idx="2288">
                  <c:v>44232</c:v>
                </c:pt>
                <c:pt idx="2289">
                  <c:v>44235</c:v>
                </c:pt>
                <c:pt idx="2290">
                  <c:v>44236</c:v>
                </c:pt>
                <c:pt idx="2291">
                  <c:v>44237</c:v>
                </c:pt>
                <c:pt idx="2292">
                  <c:v>44238</c:v>
                </c:pt>
                <c:pt idx="2293">
                  <c:v>44239</c:v>
                </c:pt>
                <c:pt idx="2294">
                  <c:v>44243</c:v>
                </c:pt>
                <c:pt idx="2295">
                  <c:v>44244</c:v>
                </c:pt>
                <c:pt idx="2296">
                  <c:v>44245</c:v>
                </c:pt>
                <c:pt idx="2297">
                  <c:v>44246</c:v>
                </c:pt>
                <c:pt idx="2298">
                  <c:v>44249</c:v>
                </c:pt>
                <c:pt idx="2299">
                  <c:v>44250</c:v>
                </c:pt>
                <c:pt idx="2300">
                  <c:v>44251</c:v>
                </c:pt>
                <c:pt idx="2301">
                  <c:v>44252</c:v>
                </c:pt>
                <c:pt idx="2302">
                  <c:v>44253</c:v>
                </c:pt>
                <c:pt idx="2303">
                  <c:v>44256</c:v>
                </c:pt>
                <c:pt idx="2304">
                  <c:v>44257</c:v>
                </c:pt>
                <c:pt idx="2305">
                  <c:v>44258</c:v>
                </c:pt>
                <c:pt idx="2306">
                  <c:v>44259</c:v>
                </c:pt>
                <c:pt idx="2307">
                  <c:v>44260</c:v>
                </c:pt>
                <c:pt idx="2308">
                  <c:v>44263</c:v>
                </c:pt>
                <c:pt idx="2309">
                  <c:v>44264</c:v>
                </c:pt>
                <c:pt idx="2310">
                  <c:v>44265</c:v>
                </c:pt>
                <c:pt idx="2311">
                  <c:v>44266</c:v>
                </c:pt>
                <c:pt idx="2312">
                  <c:v>44267</c:v>
                </c:pt>
                <c:pt idx="2313">
                  <c:v>44270</c:v>
                </c:pt>
                <c:pt idx="2314">
                  <c:v>44271</c:v>
                </c:pt>
                <c:pt idx="2315">
                  <c:v>44272</c:v>
                </c:pt>
                <c:pt idx="2316">
                  <c:v>44273</c:v>
                </c:pt>
                <c:pt idx="2317">
                  <c:v>44274</c:v>
                </c:pt>
                <c:pt idx="2318">
                  <c:v>44277</c:v>
                </c:pt>
                <c:pt idx="2319">
                  <c:v>44278</c:v>
                </c:pt>
                <c:pt idx="2320">
                  <c:v>44279</c:v>
                </c:pt>
                <c:pt idx="2321">
                  <c:v>44280</c:v>
                </c:pt>
                <c:pt idx="2322">
                  <c:v>44281</c:v>
                </c:pt>
                <c:pt idx="2323">
                  <c:v>44284</c:v>
                </c:pt>
                <c:pt idx="2324">
                  <c:v>44285</c:v>
                </c:pt>
                <c:pt idx="2325">
                  <c:v>44286</c:v>
                </c:pt>
                <c:pt idx="2326">
                  <c:v>44287</c:v>
                </c:pt>
                <c:pt idx="2327">
                  <c:v>44291</c:v>
                </c:pt>
                <c:pt idx="2328">
                  <c:v>44292</c:v>
                </c:pt>
                <c:pt idx="2329">
                  <c:v>44293</c:v>
                </c:pt>
                <c:pt idx="2330">
                  <c:v>44294</c:v>
                </c:pt>
                <c:pt idx="2331">
                  <c:v>44295</c:v>
                </c:pt>
                <c:pt idx="2332">
                  <c:v>44298</c:v>
                </c:pt>
                <c:pt idx="2333">
                  <c:v>44299</c:v>
                </c:pt>
                <c:pt idx="2334">
                  <c:v>44300</c:v>
                </c:pt>
                <c:pt idx="2335">
                  <c:v>44301</c:v>
                </c:pt>
                <c:pt idx="2336">
                  <c:v>44302</c:v>
                </c:pt>
                <c:pt idx="2337">
                  <c:v>44305</c:v>
                </c:pt>
                <c:pt idx="2338">
                  <c:v>44306</c:v>
                </c:pt>
                <c:pt idx="2339">
                  <c:v>44307</c:v>
                </c:pt>
                <c:pt idx="2340">
                  <c:v>44308</c:v>
                </c:pt>
                <c:pt idx="2341">
                  <c:v>44309</c:v>
                </c:pt>
                <c:pt idx="2342">
                  <c:v>44312</c:v>
                </c:pt>
                <c:pt idx="2343">
                  <c:v>44313</c:v>
                </c:pt>
                <c:pt idx="2344">
                  <c:v>44314</c:v>
                </c:pt>
                <c:pt idx="2345">
                  <c:v>44315</c:v>
                </c:pt>
                <c:pt idx="2346">
                  <c:v>44316</c:v>
                </c:pt>
                <c:pt idx="2347">
                  <c:v>44319</c:v>
                </c:pt>
                <c:pt idx="2348">
                  <c:v>44320</c:v>
                </c:pt>
                <c:pt idx="2349">
                  <c:v>44321</c:v>
                </c:pt>
                <c:pt idx="2350">
                  <c:v>44322</c:v>
                </c:pt>
                <c:pt idx="2351">
                  <c:v>44323</c:v>
                </c:pt>
                <c:pt idx="2352">
                  <c:v>44326</c:v>
                </c:pt>
                <c:pt idx="2353">
                  <c:v>44327</c:v>
                </c:pt>
                <c:pt idx="2354">
                  <c:v>44328</c:v>
                </c:pt>
                <c:pt idx="2355">
                  <c:v>44329</c:v>
                </c:pt>
                <c:pt idx="2356">
                  <c:v>44330</c:v>
                </c:pt>
                <c:pt idx="2357">
                  <c:v>44333</c:v>
                </c:pt>
                <c:pt idx="2358">
                  <c:v>44334</c:v>
                </c:pt>
                <c:pt idx="2359">
                  <c:v>44335</c:v>
                </c:pt>
                <c:pt idx="2360">
                  <c:v>44336</c:v>
                </c:pt>
                <c:pt idx="2361">
                  <c:v>44337</c:v>
                </c:pt>
                <c:pt idx="2362">
                  <c:v>44340</c:v>
                </c:pt>
                <c:pt idx="2363">
                  <c:v>44341</c:v>
                </c:pt>
                <c:pt idx="2364">
                  <c:v>44342</c:v>
                </c:pt>
                <c:pt idx="2365">
                  <c:v>44343</c:v>
                </c:pt>
                <c:pt idx="2366">
                  <c:v>44344</c:v>
                </c:pt>
                <c:pt idx="2367">
                  <c:v>44348</c:v>
                </c:pt>
                <c:pt idx="2368">
                  <c:v>44349</c:v>
                </c:pt>
                <c:pt idx="2369">
                  <c:v>44350</c:v>
                </c:pt>
                <c:pt idx="2370">
                  <c:v>44351</c:v>
                </c:pt>
                <c:pt idx="2371">
                  <c:v>44354</c:v>
                </c:pt>
                <c:pt idx="2372">
                  <c:v>44355</c:v>
                </c:pt>
                <c:pt idx="2373">
                  <c:v>44356</c:v>
                </c:pt>
                <c:pt idx="2374">
                  <c:v>44357</c:v>
                </c:pt>
                <c:pt idx="2375">
                  <c:v>44358</c:v>
                </c:pt>
                <c:pt idx="2376">
                  <c:v>44361</c:v>
                </c:pt>
                <c:pt idx="2377">
                  <c:v>44362</c:v>
                </c:pt>
                <c:pt idx="2378">
                  <c:v>44363</c:v>
                </c:pt>
                <c:pt idx="2379">
                  <c:v>44364</c:v>
                </c:pt>
                <c:pt idx="2380">
                  <c:v>44365</c:v>
                </c:pt>
                <c:pt idx="2381">
                  <c:v>44368</c:v>
                </c:pt>
                <c:pt idx="2382">
                  <c:v>44369</c:v>
                </c:pt>
                <c:pt idx="2383">
                  <c:v>44370</c:v>
                </c:pt>
                <c:pt idx="2384">
                  <c:v>44371</c:v>
                </c:pt>
                <c:pt idx="2385">
                  <c:v>44372</c:v>
                </c:pt>
                <c:pt idx="2386">
                  <c:v>44375</c:v>
                </c:pt>
                <c:pt idx="2387">
                  <c:v>44376</c:v>
                </c:pt>
                <c:pt idx="2388">
                  <c:v>44377</c:v>
                </c:pt>
                <c:pt idx="2389">
                  <c:v>44378</c:v>
                </c:pt>
                <c:pt idx="2390">
                  <c:v>44379</c:v>
                </c:pt>
                <c:pt idx="2391">
                  <c:v>44383</c:v>
                </c:pt>
                <c:pt idx="2392">
                  <c:v>44384</c:v>
                </c:pt>
                <c:pt idx="2393">
                  <c:v>44385</c:v>
                </c:pt>
                <c:pt idx="2394">
                  <c:v>44386</c:v>
                </c:pt>
                <c:pt idx="2395">
                  <c:v>44389</c:v>
                </c:pt>
                <c:pt idx="2396">
                  <c:v>44390</c:v>
                </c:pt>
                <c:pt idx="2397">
                  <c:v>44391</c:v>
                </c:pt>
                <c:pt idx="2398">
                  <c:v>44392</c:v>
                </c:pt>
                <c:pt idx="2399">
                  <c:v>44393</c:v>
                </c:pt>
                <c:pt idx="2400">
                  <c:v>44396</c:v>
                </c:pt>
                <c:pt idx="2401">
                  <c:v>44397</c:v>
                </c:pt>
                <c:pt idx="2402">
                  <c:v>44398</c:v>
                </c:pt>
                <c:pt idx="2403">
                  <c:v>44399</c:v>
                </c:pt>
                <c:pt idx="2404">
                  <c:v>44400</c:v>
                </c:pt>
                <c:pt idx="2405">
                  <c:v>44403</c:v>
                </c:pt>
                <c:pt idx="2406">
                  <c:v>44404</c:v>
                </c:pt>
                <c:pt idx="2407">
                  <c:v>44405</c:v>
                </c:pt>
                <c:pt idx="2408">
                  <c:v>44406</c:v>
                </c:pt>
                <c:pt idx="2409">
                  <c:v>44407</c:v>
                </c:pt>
                <c:pt idx="2410">
                  <c:v>44410</c:v>
                </c:pt>
                <c:pt idx="2411">
                  <c:v>44411</c:v>
                </c:pt>
                <c:pt idx="2412">
                  <c:v>44412</c:v>
                </c:pt>
                <c:pt idx="2413">
                  <c:v>44413</c:v>
                </c:pt>
                <c:pt idx="2414">
                  <c:v>44414</c:v>
                </c:pt>
                <c:pt idx="2415">
                  <c:v>44417</c:v>
                </c:pt>
                <c:pt idx="2416">
                  <c:v>44418</c:v>
                </c:pt>
                <c:pt idx="2417">
                  <c:v>44419</c:v>
                </c:pt>
                <c:pt idx="2418">
                  <c:v>44420</c:v>
                </c:pt>
                <c:pt idx="2419">
                  <c:v>44421</c:v>
                </c:pt>
                <c:pt idx="2420">
                  <c:v>44424</c:v>
                </c:pt>
                <c:pt idx="2421">
                  <c:v>44425</c:v>
                </c:pt>
                <c:pt idx="2422">
                  <c:v>44426</c:v>
                </c:pt>
                <c:pt idx="2423">
                  <c:v>44427</c:v>
                </c:pt>
                <c:pt idx="2424">
                  <c:v>44428</c:v>
                </c:pt>
                <c:pt idx="2425">
                  <c:v>44431</c:v>
                </c:pt>
                <c:pt idx="2426">
                  <c:v>44432</c:v>
                </c:pt>
                <c:pt idx="2427">
                  <c:v>44433</c:v>
                </c:pt>
                <c:pt idx="2428">
                  <c:v>44434</c:v>
                </c:pt>
                <c:pt idx="2429">
                  <c:v>44435</c:v>
                </c:pt>
                <c:pt idx="2430">
                  <c:v>44438</c:v>
                </c:pt>
                <c:pt idx="2431">
                  <c:v>44439</c:v>
                </c:pt>
                <c:pt idx="2432">
                  <c:v>44440</c:v>
                </c:pt>
                <c:pt idx="2433">
                  <c:v>44441</c:v>
                </c:pt>
                <c:pt idx="2434">
                  <c:v>44442</c:v>
                </c:pt>
                <c:pt idx="2435">
                  <c:v>44446</c:v>
                </c:pt>
                <c:pt idx="2436">
                  <c:v>44447</c:v>
                </c:pt>
                <c:pt idx="2437">
                  <c:v>44448</c:v>
                </c:pt>
                <c:pt idx="2438">
                  <c:v>44449</c:v>
                </c:pt>
                <c:pt idx="2439">
                  <c:v>44452</c:v>
                </c:pt>
                <c:pt idx="2440">
                  <c:v>44453</c:v>
                </c:pt>
                <c:pt idx="2441">
                  <c:v>44454</c:v>
                </c:pt>
                <c:pt idx="2442">
                  <c:v>44455</c:v>
                </c:pt>
                <c:pt idx="2443">
                  <c:v>44456</c:v>
                </c:pt>
                <c:pt idx="2444">
                  <c:v>44459</c:v>
                </c:pt>
                <c:pt idx="2445">
                  <c:v>44460</c:v>
                </c:pt>
                <c:pt idx="2446">
                  <c:v>44461</c:v>
                </c:pt>
                <c:pt idx="2447">
                  <c:v>44462</c:v>
                </c:pt>
                <c:pt idx="2448">
                  <c:v>44463</c:v>
                </c:pt>
                <c:pt idx="2449">
                  <c:v>44466</c:v>
                </c:pt>
                <c:pt idx="2450">
                  <c:v>44467</c:v>
                </c:pt>
                <c:pt idx="2451">
                  <c:v>44468</c:v>
                </c:pt>
                <c:pt idx="2452">
                  <c:v>44469</c:v>
                </c:pt>
                <c:pt idx="2453">
                  <c:v>44470</c:v>
                </c:pt>
                <c:pt idx="2454">
                  <c:v>44473</c:v>
                </c:pt>
                <c:pt idx="2455">
                  <c:v>44474</c:v>
                </c:pt>
                <c:pt idx="2456">
                  <c:v>44475</c:v>
                </c:pt>
                <c:pt idx="2457">
                  <c:v>44476</c:v>
                </c:pt>
                <c:pt idx="2458">
                  <c:v>44477</c:v>
                </c:pt>
                <c:pt idx="2459">
                  <c:v>44480</c:v>
                </c:pt>
                <c:pt idx="2460">
                  <c:v>44481</c:v>
                </c:pt>
                <c:pt idx="2461">
                  <c:v>44482</c:v>
                </c:pt>
                <c:pt idx="2462">
                  <c:v>44483</c:v>
                </c:pt>
                <c:pt idx="2463">
                  <c:v>44484</c:v>
                </c:pt>
                <c:pt idx="2464">
                  <c:v>44487</c:v>
                </c:pt>
                <c:pt idx="2465">
                  <c:v>44488</c:v>
                </c:pt>
                <c:pt idx="2466">
                  <c:v>44489</c:v>
                </c:pt>
                <c:pt idx="2467">
                  <c:v>44490</c:v>
                </c:pt>
                <c:pt idx="2468">
                  <c:v>44491</c:v>
                </c:pt>
                <c:pt idx="2469">
                  <c:v>44494</c:v>
                </c:pt>
                <c:pt idx="2470">
                  <c:v>44495</c:v>
                </c:pt>
                <c:pt idx="2471">
                  <c:v>44496</c:v>
                </c:pt>
                <c:pt idx="2472">
                  <c:v>44497</c:v>
                </c:pt>
                <c:pt idx="2473">
                  <c:v>44498</c:v>
                </c:pt>
                <c:pt idx="2474">
                  <c:v>44501</c:v>
                </c:pt>
                <c:pt idx="2475">
                  <c:v>44502</c:v>
                </c:pt>
                <c:pt idx="2476">
                  <c:v>44503</c:v>
                </c:pt>
                <c:pt idx="2477">
                  <c:v>44504</c:v>
                </c:pt>
                <c:pt idx="2478">
                  <c:v>44505</c:v>
                </c:pt>
                <c:pt idx="2479">
                  <c:v>44508</c:v>
                </c:pt>
                <c:pt idx="2480">
                  <c:v>44509</c:v>
                </c:pt>
                <c:pt idx="2481">
                  <c:v>44510</c:v>
                </c:pt>
                <c:pt idx="2482">
                  <c:v>44511</c:v>
                </c:pt>
                <c:pt idx="2483">
                  <c:v>44512</c:v>
                </c:pt>
                <c:pt idx="2484">
                  <c:v>44515</c:v>
                </c:pt>
                <c:pt idx="2485">
                  <c:v>44516</c:v>
                </c:pt>
                <c:pt idx="2486">
                  <c:v>44517</c:v>
                </c:pt>
                <c:pt idx="2487">
                  <c:v>44518</c:v>
                </c:pt>
                <c:pt idx="2488">
                  <c:v>44519</c:v>
                </c:pt>
                <c:pt idx="2489">
                  <c:v>44522</c:v>
                </c:pt>
                <c:pt idx="2490">
                  <c:v>44523</c:v>
                </c:pt>
                <c:pt idx="2491">
                  <c:v>44524</c:v>
                </c:pt>
                <c:pt idx="2492">
                  <c:v>44526</c:v>
                </c:pt>
                <c:pt idx="2493">
                  <c:v>44529</c:v>
                </c:pt>
                <c:pt idx="2494">
                  <c:v>44530</c:v>
                </c:pt>
                <c:pt idx="2495">
                  <c:v>44531</c:v>
                </c:pt>
                <c:pt idx="2496">
                  <c:v>44532</c:v>
                </c:pt>
                <c:pt idx="2497">
                  <c:v>44533</c:v>
                </c:pt>
                <c:pt idx="2498">
                  <c:v>44536</c:v>
                </c:pt>
                <c:pt idx="2499">
                  <c:v>44537</c:v>
                </c:pt>
                <c:pt idx="2500">
                  <c:v>44538</c:v>
                </c:pt>
                <c:pt idx="2501">
                  <c:v>44539</c:v>
                </c:pt>
                <c:pt idx="2502">
                  <c:v>44540</c:v>
                </c:pt>
                <c:pt idx="2503">
                  <c:v>44543</c:v>
                </c:pt>
                <c:pt idx="2504">
                  <c:v>44544</c:v>
                </c:pt>
                <c:pt idx="2505">
                  <c:v>44545</c:v>
                </c:pt>
                <c:pt idx="2506">
                  <c:v>44546</c:v>
                </c:pt>
                <c:pt idx="2507">
                  <c:v>44547</c:v>
                </c:pt>
                <c:pt idx="2508">
                  <c:v>44550</c:v>
                </c:pt>
                <c:pt idx="2509">
                  <c:v>44551</c:v>
                </c:pt>
                <c:pt idx="2510">
                  <c:v>44552</c:v>
                </c:pt>
                <c:pt idx="2511">
                  <c:v>44553</c:v>
                </c:pt>
                <c:pt idx="2512">
                  <c:v>44557</c:v>
                </c:pt>
                <c:pt idx="2513">
                  <c:v>44558</c:v>
                </c:pt>
                <c:pt idx="2514">
                  <c:v>44559</c:v>
                </c:pt>
                <c:pt idx="2515">
                  <c:v>44560</c:v>
                </c:pt>
                <c:pt idx="2516">
                  <c:v>44561</c:v>
                </c:pt>
                <c:pt idx="2517">
                  <c:v>44564</c:v>
                </c:pt>
                <c:pt idx="2518">
                  <c:v>44565</c:v>
                </c:pt>
                <c:pt idx="2519">
                  <c:v>44566</c:v>
                </c:pt>
                <c:pt idx="2520">
                  <c:v>44567</c:v>
                </c:pt>
                <c:pt idx="2521">
                  <c:v>44568</c:v>
                </c:pt>
                <c:pt idx="2522">
                  <c:v>44571</c:v>
                </c:pt>
                <c:pt idx="2523">
                  <c:v>44572</c:v>
                </c:pt>
                <c:pt idx="2524">
                  <c:v>44573</c:v>
                </c:pt>
                <c:pt idx="2525">
                  <c:v>44574</c:v>
                </c:pt>
                <c:pt idx="2526">
                  <c:v>44575</c:v>
                </c:pt>
                <c:pt idx="2527">
                  <c:v>44579</c:v>
                </c:pt>
                <c:pt idx="2528">
                  <c:v>44580</c:v>
                </c:pt>
                <c:pt idx="2529">
                  <c:v>44581</c:v>
                </c:pt>
                <c:pt idx="2530">
                  <c:v>44582</c:v>
                </c:pt>
                <c:pt idx="2531">
                  <c:v>44585</c:v>
                </c:pt>
                <c:pt idx="2532">
                  <c:v>44586</c:v>
                </c:pt>
                <c:pt idx="2533">
                  <c:v>44587</c:v>
                </c:pt>
                <c:pt idx="2534">
                  <c:v>44588</c:v>
                </c:pt>
                <c:pt idx="2535">
                  <c:v>44589</c:v>
                </c:pt>
                <c:pt idx="2536">
                  <c:v>44592</c:v>
                </c:pt>
                <c:pt idx="2537">
                  <c:v>44593</c:v>
                </c:pt>
                <c:pt idx="2538">
                  <c:v>44594</c:v>
                </c:pt>
                <c:pt idx="2539">
                  <c:v>44595</c:v>
                </c:pt>
                <c:pt idx="2540">
                  <c:v>44596</c:v>
                </c:pt>
                <c:pt idx="2541">
                  <c:v>44599</c:v>
                </c:pt>
                <c:pt idx="2542">
                  <c:v>44600</c:v>
                </c:pt>
                <c:pt idx="2543">
                  <c:v>44601</c:v>
                </c:pt>
                <c:pt idx="2544">
                  <c:v>44602</c:v>
                </c:pt>
                <c:pt idx="2545">
                  <c:v>44603</c:v>
                </c:pt>
                <c:pt idx="2546">
                  <c:v>44606</c:v>
                </c:pt>
                <c:pt idx="2547">
                  <c:v>44607</c:v>
                </c:pt>
                <c:pt idx="2548">
                  <c:v>44608</c:v>
                </c:pt>
                <c:pt idx="2549">
                  <c:v>44609</c:v>
                </c:pt>
                <c:pt idx="2550">
                  <c:v>44610</c:v>
                </c:pt>
                <c:pt idx="2551">
                  <c:v>44614</c:v>
                </c:pt>
                <c:pt idx="2552">
                  <c:v>44615</c:v>
                </c:pt>
                <c:pt idx="2553">
                  <c:v>44616</c:v>
                </c:pt>
                <c:pt idx="2554">
                  <c:v>44617</c:v>
                </c:pt>
                <c:pt idx="2555">
                  <c:v>44620</c:v>
                </c:pt>
                <c:pt idx="2556">
                  <c:v>44621</c:v>
                </c:pt>
                <c:pt idx="2557">
                  <c:v>44622</c:v>
                </c:pt>
                <c:pt idx="2558">
                  <c:v>44623</c:v>
                </c:pt>
                <c:pt idx="2559">
                  <c:v>44624</c:v>
                </c:pt>
                <c:pt idx="2560">
                  <c:v>44627</c:v>
                </c:pt>
                <c:pt idx="2561">
                  <c:v>44628</c:v>
                </c:pt>
                <c:pt idx="2562">
                  <c:v>44629</c:v>
                </c:pt>
                <c:pt idx="2563">
                  <c:v>44630</c:v>
                </c:pt>
                <c:pt idx="2564">
                  <c:v>44631</c:v>
                </c:pt>
                <c:pt idx="2565">
                  <c:v>44634</c:v>
                </c:pt>
                <c:pt idx="2566">
                  <c:v>44635</c:v>
                </c:pt>
                <c:pt idx="2567">
                  <c:v>44636</c:v>
                </c:pt>
                <c:pt idx="2568">
                  <c:v>44637</c:v>
                </c:pt>
                <c:pt idx="2569">
                  <c:v>44638</c:v>
                </c:pt>
                <c:pt idx="2570">
                  <c:v>44641</c:v>
                </c:pt>
                <c:pt idx="2571">
                  <c:v>44642</c:v>
                </c:pt>
                <c:pt idx="2572">
                  <c:v>44643</c:v>
                </c:pt>
                <c:pt idx="2573">
                  <c:v>44644</c:v>
                </c:pt>
                <c:pt idx="2574">
                  <c:v>44645</c:v>
                </c:pt>
                <c:pt idx="2575">
                  <c:v>44648</c:v>
                </c:pt>
                <c:pt idx="2576">
                  <c:v>44649</c:v>
                </c:pt>
                <c:pt idx="2577">
                  <c:v>44650</c:v>
                </c:pt>
                <c:pt idx="2578">
                  <c:v>44651</c:v>
                </c:pt>
                <c:pt idx="2579">
                  <c:v>44652</c:v>
                </c:pt>
                <c:pt idx="2580">
                  <c:v>44655</c:v>
                </c:pt>
                <c:pt idx="2581">
                  <c:v>44656</c:v>
                </c:pt>
                <c:pt idx="2582">
                  <c:v>44657</c:v>
                </c:pt>
                <c:pt idx="2583">
                  <c:v>44658</c:v>
                </c:pt>
                <c:pt idx="2584">
                  <c:v>44659</c:v>
                </c:pt>
                <c:pt idx="2585">
                  <c:v>44662</c:v>
                </c:pt>
                <c:pt idx="2586">
                  <c:v>44663</c:v>
                </c:pt>
                <c:pt idx="2587">
                  <c:v>44664</c:v>
                </c:pt>
                <c:pt idx="2588">
                  <c:v>44665</c:v>
                </c:pt>
                <c:pt idx="2589">
                  <c:v>44669</c:v>
                </c:pt>
                <c:pt idx="2590">
                  <c:v>44670</c:v>
                </c:pt>
                <c:pt idx="2591">
                  <c:v>44671</c:v>
                </c:pt>
                <c:pt idx="2592">
                  <c:v>44672</c:v>
                </c:pt>
                <c:pt idx="2593">
                  <c:v>44673</c:v>
                </c:pt>
                <c:pt idx="2594">
                  <c:v>44676</c:v>
                </c:pt>
                <c:pt idx="2595">
                  <c:v>44677</c:v>
                </c:pt>
                <c:pt idx="2596">
                  <c:v>44678</c:v>
                </c:pt>
                <c:pt idx="2597">
                  <c:v>44679</c:v>
                </c:pt>
                <c:pt idx="2598">
                  <c:v>44680</c:v>
                </c:pt>
                <c:pt idx="2599">
                  <c:v>44683</c:v>
                </c:pt>
                <c:pt idx="2600">
                  <c:v>44684</c:v>
                </c:pt>
                <c:pt idx="2601">
                  <c:v>44685</c:v>
                </c:pt>
                <c:pt idx="2602">
                  <c:v>44686</c:v>
                </c:pt>
                <c:pt idx="2603">
                  <c:v>44687</c:v>
                </c:pt>
                <c:pt idx="2604">
                  <c:v>44690</c:v>
                </c:pt>
                <c:pt idx="2605">
                  <c:v>44691</c:v>
                </c:pt>
                <c:pt idx="2606">
                  <c:v>44692</c:v>
                </c:pt>
                <c:pt idx="2607">
                  <c:v>44693</c:v>
                </c:pt>
                <c:pt idx="2608">
                  <c:v>44694</c:v>
                </c:pt>
                <c:pt idx="2609">
                  <c:v>44697</c:v>
                </c:pt>
                <c:pt idx="2610">
                  <c:v>44698</c:v>
                </c:pt>
                <c:pt idx="2611">
                  <c:v>44699</c:v>
                </c:pt>
                <c:pt idx="2612">
                  <c:v>44700</c:v>
                </c:pt>
                <c:pt idx="2613">
                  <c:v>44701</c:v>
                </c:pt>
                <c:pt idx="2614">
                  <c:v>44704</c:v>
                </c:pt>
                <c:pt idx="2615">
                  <c:v>44705</c:v>
                </c:pt>
                <c:pt idx="2616">
                  <c:v>44706</c:v>
                </c:pt>
                <c:pt idx="2617">
                  <c:v>44707</c:v>
                </c:pt>
                <c:pt idx="2618">
                  <c:v>44708</c:v>
                </c:pt>
                <c:pt idx="2619">
                  <c:v>44712</c:v>
                </c:pt>
                <c:pt idx="2620">
                  <c:v>44713</c:v>
                </c:pt>
                <c:pt idx="2621">
                  <c:v>44714</c:v>
                </c:pt>
                <c:pt idx="2622">
                  <c:v>44715</c:v>
                </c:pt>
                <c:pt idx="2623">
                  <c:v>44718</c:v>
                </c:pt>
                <c:pt idx="2624">
                  <c:v>44719</c:v>
                </c:pt>
                <c:pt idx="2625">
                  <c:v>44720</c:v>
                </c:pt>
                <c:pt idx="2626">
                  <c:v>44721</c:v>
                </c:pt>
                <c:pt idx="2627">
                  <c:v>44722</c:v>
                </c:pt>
                <c:pt idx="2628">
                  <c:v>44725</c:v>
                </c:pt>
                <c:pt idx="2629">
                  <c:v>44726</c:v>
                </c:pt>
                <c:pt idx="2630">
                  <c:v>44727</c:v>
                </c:pt>
                <c:pt idx="2631">
                  <c:v>44728</c:v>
                </c:pt>
                <c:pt idx="2632">
                  <c:v>44729</c:v>
                </c:pt>
                <c:pt idx="2633">
                  <c:v>44733</c:v>
                </c:pt>
                <c:pt idx="2634">
                  <c:v>44734</c:v>
                </c:pt>
                <c:pt idx="2635">
                  <c:v>44735</c:v>
                </c:pt>
                <c:pt idx="2636">
                  <c:v>44736</c:v>
                </c:pt>
                <c:pt idx="2637">
                  <c:v>44739</c:v>
                </c:pt>
                <c:pt idx="2638">
                  <c:v>44740</c:v>
                </c:pt>
                <c:pt idx="2639">
                  <c:v>44741</c:v>
                </c:pt>
                <c:pt idx="2640">
                  <c:v>44742</c:v>
                </c:pt>
              </c:numCache>
            </c:numRef>
          </c:cat>
          <c:val>
            <c:numRef>
              <c:f>Sheet1!$B$2:$B$4240</c:f>
              <c:numCache>
                <c:formatCode>General</c:formatCode>
                <c:ptCount val="4239"/>
                <c:pt idx="0">
                  <c:v>-0.33375172260492847</c:v>
                </c:pt>
                <c:pt idx="1">
                  <c:v>-0.39608230850783221</c:v>
                </c:pt>
                <c:pt idx="2">
                  <c:v>-0.43808788671409976</c:v>
                </c:pt>
                <c:pt idx="3">
                  <c:v>-0.47691450135001773</c:v>
                </c:pt>
                <c:pt idx="4">
                  <c:v>-0.49632736544690204</c:v>
                </c:pt>
                <c:pt idx="5">
                  <c:v>-0.47824251486856845</c:v>
                </c:pt>
                <c:pt idx="6">
                  <c:v>-0.49851703848711748</c:v>
                </c:pt>
                <c:pt idx="7">
                  <c:v>-0.53134225515235511</c:v>
                </c:pt>
                <c:pt idx="8">
                  <c:v>-0.55186884044580509</c:v>
                </c:pt>
                <c:pt idx="9">
                  <c:v>-0.58659302819847903</c:v>
                </c:pt>
                <c:pt idx="10">
                  <c:v>-0.62494402391432391</c:v>
                </c:pt>
                <c:pt idx="11">
                  <c:v>-0.61409322434783209</c:v>
                </c:pt>
                <c:pt idx="12">
                  <c:v>-0.63156037260618336</c:v>
                </c:pt>
                <c:pt idx="13">
                  <c:v>-0.61358043589788513</c:v>
                </c:pt>
                <c:pt idx="14">
                  <c:v>-0.65730678687507549</c:v>
                </c:pt>
                <c:pt idx="15">
                  <c:v>-0.83022863879155395</c:v>
                </c:pt>
                <c:pt idx="16">
                  <c:v>-0.88826179350307921</c:v>
                </c:pt>
                <c:pt idx="17">
                  <c:v>-0.97022903950951611</c:v>
                </c:pt>
                <c:pt idx="18">
                  <c:v>-0.95470009578234749</c:v>
                </c:pt>
                <c:pt idx="19">
                  <c:v>-1.0184038938177118</c:v>
                </c:pt>
                <c:pt idx="20">
                  <c:v>-1.0708194034876066</c:v>
                </c:pt>
                <c:pt idx="21">
                  <c:v>-1.1062733228156285</c:v>
                </c:pt>
                <c:pt idx="22">
                  <c:v>-1.0648764740822483</c:v>
                </c:pt>
                <c:pt idx="23">
                  <c:v>-1.0918639557067946</c:v>
                </c:pt>
                <c:pt idx="24">
                  <c:v>-1.0807646957397583</c:v>
                </c:pt>
                <c:pt idx="25">
                  <c:v>-1.0570328152169026</c:v>
                </c:pt>
                <c:pt idx="26">
                  <c:v>-1.0395158879194966</c:v>
                </c:pt>
                <c:pt idx="27">
                  <c:v>-1.089815309081642</c:v>
                </c:pt>
                <c:pt idx="28">
                  <c:v>-1.1591242913646687</c:v>
                </c:pt>
                <c:pt idx="29">
                  <c:v>-1.1480812574297163</c:v>
                </c:pt>
                <c:pt idx="30">
                  <c:v>-1.1534773111496675</c:v>
                </c:pt>
                <c:pt idx="31">
                  <c:v>-1.1543165619061841</c:v>
                </c:pt>
                <c:pt idx="32">
                  <c:v>-1.1123746294221433</c:v>
                </c:pt>
                <c:pt idx="33">
                  <c:v>-1.1116958300422755</c:v>
                </c:pt>
                <c:pt idx="34">
                  <c:v>-1.1537093305884907</c:v>
                </c:pt>
                <c:pt idx="35">
                  <c:v>-1.193013282009612</c:v>
                </c:pt>
                <c:pt idx="36">
                  <c:v>-1.2121531460268553</c:v>
                </c:pt>
                <c:pt idx="37">
                  <c:v>-1.2304523754690728</c:v>
                </c:pt>
                <c:pt idx="38">
                  <c:v>-1.2143742392606975</c:v>
                </c:pt>
                <c:pt idx="39">
                  <c:v>-1.226184077216391</c:v>
                </c:pt>
                <c:pt idx="40">
                  <c:v>-1.2273234317751029</c:v>
                </c:pt>
                <c:pt idx="41">
                  <c:v>-1.243468531417885</c:v>
                </c:pt>
                <c:pt idx="42">
                  <c:v>-1.188050603824309</c:v>
                </c:pt>
                <c:pt idx="43">
                  <c:v>-1.1515932351871392</c:v>
                </c:pt>
                <c:pt idx="44">
                  <c:v>-1.1955421013080076</c:v>
                </c:pt>
                <c:pt idx="45">
                  <c:v>-1.1963159704592106</c:v>
                </c:pt>
                <c:pt idx="46">
                  <c:v>-1.2235931357421068</c:v>
                </c:pt>
                <c:pt idx="47">
                  <c:v>-1.2158934250642786</c:v>
                </c:pt>
                <c:pt idx="48">
                  <c:v>-1.2190227083598479</c:v>
                </c:pt>
                <c:pt idx="49">
                  <c:v>-1.08096632526266</c:v>
                </c:pt>
                <c:pt idx="50">
                  <c:v>-1.0751305532705349</c:v>
                </c:pt>
                <c:pt idx="51">
                  <c:v>-1.1530373976151058</c:v>
                </c:pt>
                <c:pt idx="52">
                  <c:v>-1.0740324120666513</c:v>
                </c:pt>
                <c:pt idx="53">
                  <c:v>-1.0541020779066734</c:v>
                </c:pt>
                <c:pt idx="54">
                  <c:v>-1.0716902307604392</c:v>
                </c:pt>
                <c:pt idx="55">
                  <c:v>-0.99682785518904105</c:v>
                </c:pt>
                <c:pt idx="56">
                  <c:v>-1.0169040864082182</c:v>
                </c:pt>
                <c:pt idx="57">
                  <c:v>-1.0278483630254815</c:v>
                </c:pt>
                <c:pt idx="58">
                  <c:v>-1.0920533082913639</c:v>
                </c:pt>
                <c:pt idx="59">
                  <c:v>-1.0778598620510671</c:v>
                </c:pt>
                <c:pt idx="60">
                  <c:v>-1.0779660496291452</c:v>
                </c:pt>
                <c:pt idx="61">
                  <c:v>-1.0235526304601694</c:v>
                </c:pt>
                <c:pt idx="62">
                  <c:v>-1.1266830762171658</c:v>
                </c:pt>
                <c:pt idx="63">
                  <c:v>-1.012804408839403</c:v>
                </c:pt>
                <c:pt idx="64">
                  <c:v>-0.98467488935025749</c:v>
                </c:pt>
                <c:pt idx="65">
                  <c:v>-0.98645783526092523</c:v>
                </c:pt>
                <c:pt idx="66">
                  <c:v>-1.0099530745315886</c:v>
                </c:pt>
                <c:pt idx="67">
                  <c:v>-1.0033362719275365</c:v>
                </c:pt>
                <c:pt idx="68">
                  <c:v>-1.046314432234273</c:v>
                </c:pt>
                <c:pt idx="69">
                  <c:v>-1.1113280748477736</c:v>
                </c:pt>
                <c:pt idx="70">
                  <c:v>-1.0398402428060245</c:v>
                </c:pt>
                <c:pt idx="71">
                  <c:v>-1.0273696927724678</c:v>
                </c:pt>
                <c:pt idx="72">
                  <c:v>-1.0608162818341902</c:v>
                </c:pt>
                <c:pt idx="73">
                  <c:v>-1.0521915434405784</c:v>
                </c:pt>
                <c:pt idx="74">
                  <c:v>-1.0167537767353658</c:v>
                </c:pt>
                <c:pt idx="75">
                  <c:v>-1.1051304530517476</c:v>
                </c:pt>
                <c:pt idx="76">
                  <c:v>-1.0806341586673986</c:v>
                </c:pt>
                <c:pt idx="77">
                  <c:v>-1.1233035256564252</c:v>
                </c:pt>
                <c:pt idx="78">
                  <c:v>-1.1765640724267155</c:v>
                </c:pt>
                <c:pt idx="79">
                  <c:v>-1.231589988511308</c:v>
                </c:pt>
                <c:pt idx="80">
                  <c:v>-1.265508737814385</c:v>
                </c:pt>
                <c:pt idx="81">
                  <c:v>-1.2544058871698323</c:v>
                </c:pt>
                <c:pt idx="82">
                  <c:v>-1.2561472607062447</c:v>
                </c:pt>
                <c:pt idx="83">
                  <c:v>-1.2521711140219935</c:v>
                </c:pt>
                <c:pt idx="84">
                  <c:v>-1.1951146146898295</c:v>
                </c:pt>
                <c:pt idx="85">
                  <c:v>-1.1398529654741996</c:v>
                </c:pt>
                <c:pt idx="86">
                  <c:v>-1.151950549380061</c:v>
                </c:pt>
                <c:pt idx="87">
                  <c:v>-1.1645029320450782</c:v>
                </c:pt>
                <c:pt idx="88">
                  <c:v>-1.1421520616867173</c:v>
                </c:pt>
                <c:pt idx="89">
                  <c:v>-1.1784308470705687</c:v>
                </c:pt>
                <c:pt idx="90">
                  <c:v>-1.0701640606927074</c:v>
                </c:pt>
                <c:pt idx="91">
                  <c:v>-1.0243434989686531</c:v>
                </c:pt>
                <c:pt idx="92">
                  <c:v>-1.0049195505635018</c:v>
                </c:pt>
                <c:pt idx="93">
                  <c:v>-0.99272999613039792</c:v>
                </c:pt>
                <c:pt idx="94">
                  <c:v>-0.90470209376916377</c:v>
                </c:pt>
                <c:pt idx="95">
                  <c:v>-0.74341722846654223</c:v>
                </c:pt>
                <c:pt idx="96">
                  <c:v>-0.82938368632794079</c:v>
                </c:pt>
                <c:pt idx="97">
                  <c:v>-0.79118617117547119</c:v>
                </c:pt>
                <c:pt idx="98">
                  <c:v>-0.73759399707583739</c:v>
                </c:pt>
                <c:pt idx="99">
                  <c:v>-0.6908696149861423</c:v>
                </c:pt>
                <c:pt idx="100">
                  <c:v>-0.72261541677933605</c:v>
                </c:pt>
                <c:pt idx="101">
                  <c:v>-0.70829011836470901</c:v>
                </c:pt>
                <c:pt idx="102">
                  <c:v>-0.68802643211896974</c:v>
                </c:pt>
                <c:pt idx="103">
                  <c:v>-0.64135482390994103</c:v>
                </c:pt>
                <c:pt idx="104">
                  <c:v>-0.46642042391414573</c:v>
                </c:pt>
                <c:pt idx="105">
                  <c:v>-0.45571477176784903</c:v>
                </c:pt>
                <c:pt idx="106">
                  <c:v>-0.51242752406441117</c:v>
                </c:pt>
                <c:pt idx="107">
                  <c:v>-0.52416607018212458</c:v>
                </c:pt>
                <c:pt idx="108">
                  <c:v>-0.57697706462832565</c:v>
                </c:pt>
                <c:pt idx="109">
                  <c:v>-0.62505075302056468</c:v>
                </c:pt>
                <c:pt idx="110">
                  <c:v>-0.57844460268924391</c:v>
                </c:pt>
                <c:pt idx="111">
                  <c:v>-0.58558507921214797</c:v>
                </c:pt>
                <c:pt idx="112">
                  <c:v>-0.58331733849693734</c:v>
                </c:pt>
                <c:pt idx="113">
                  <c:v>-0.59167314899681123</c:v>
                </c:pt>
                <c:pt idx="114">
                  <c:v>-0.81308236286983071</c:v>
                </c:pt>
                <c:pt idx="115">
                  <c:v>-0.83767619463357734</c:v>
                </c:pt>
                <c:pt idx="116">
                  <c:v>-0.8510843860247056</c:v>
                </c:pt>
                <c:pt idx="117">
                  <c:v>-0.84497618541233399</c:v>
                </c:pt>
                <c:pt idx="118">
                  <c:v>-0.6874412151426692</c:v>
                </c:pt>
                <c:pt idx="119">
                  <c:v>-0.72795121159036791</c:v>
                </c:pt>
                <c:pt idx="120">
                  <c:v>-0.69303581384732293</c:v>
                </c:pt>
                <c:pt idx="121">
                  <c:v>-0.68923891265385651</c:v>
                </c:pt>
                <c:pt idx="122">
                  <c:v>-0.73076132184923925</c:v>
                </c:pt>
                <c:pt idx="123">
                  <c:v>-0.70789650969000839</c:v>
                </c:pt>
                <c:pt idx="124">
                  <c:v>-0.84288796765969343</c:v>
                </c:pt>
                <c:pt idx="125">
                  <c:v>-0.89611038392063758</c:v>
                </c:pt>
                <c:pt idx="126">
                  <c:v>-0.94493808830106818</c:v>
                </c:pt>
                <c:pt idx="127">
                  <c:v>-1.0009226772014892</c:v>
                </c:pt>
                <c:pt idx="128">
                  <c:v>-1.0259141814617747</c:v>
                </c:pt>
                <c:pt idx="129">
                  <c:v>-1.050833124000877</c:v>
                </c:pt>
                <c:pt idx="130">
                  <c:v>-1.0590296866324822</c:v>
                </c:pt>
                <c:pt idx="131">
                  <c:v>-1.0531860919624203</c:v>
                </c:pt>
                <c:pt idx="132">
                  <c:v>-1.0469689535962048</c:v>
                </c:pt>
                <c:pt idx="133">
                  <c:v>-1.0862029175950298</c:v>
                </c:pt>
                <c:pt idx="134">
                  <c:v>-1.0985711334803985</c:v>
                </c:pt>
                <c:pt idx="135">
                  <c:v>-1.079920508893164</c:v>
                </c:pt>
                <c:pt idx="136">
                  <c:v>-1.1462622608975352</c:v>
                </c:pt>
                <c:pt idx="137">
                  <c:v>-1.1307524214663338</c:v>
                </c:pt>
                <c:pt idx="138">
                  <c:v>-1.1977107307317101</c:v>
                </c:pt>
                <c:pt idx="139">
                  <c:v>-1.0967717608646563</c:v>
                </c:pt>
                <c:pt idx="140">
                  <c:v>-1.0188388465814777</c:v>
                </c:pt>
                <c:pt idx="141">
                  <c:v>-1.0188994708298433</c:v>
                </c:pt>
                <c:pt idx="142">
                  <c:v>-1.0786416966536199</c:v>
                </c:pt>
                <c:pt idx="143">
                  <c:v>-1.0928358612903435</c:v>
                </c:pt>
                <c:pt idx="144">
                  <c:v>-1.1373156604149088</c:v>
                </c:pt>
                <c:pt idx="145">
                  <c:v>-1.2244687143601165</c:v>
                </c:pt>
                <c:pt idx="146">
                  <c:v>-1.1942347406399763</c:v>
                </c:pt>
                <c:pt idx="147">
                  <c:v>-1.175267458924296</c:v>
                </c:pt>
                <c:pt idx="148">
                  <c:v>-1.3347507354267829</c:v>
                </c:pt>
                <c:pt idx="149">
                  <c:v>-1.3702686433443629</c:v>
                </c:pt>
                <c:pt idx="150">
                  <c:v>-1.3767495123715483</c:v>
                </c:pt>
                <c:pt idx="151">
                  <c:v>-1.329535166505101</c:v>
                </c:pt>
                <c:pt idx="152">
                  <c:v>-1.3041168893568145</c:v>
                </c:pt>
                <c:pt idx="153">
                  <c:v>-1.3371400016007327</c:v>
                </c:pt>
                <c:pt idx="154">
                  <c:v>-1.3417870178649602</c:v>
                </c:pt>
                <c:pt idx="155">
                  <c:v>-1.2778967225959104</c:v>
                </c:pt>
                <c:pt idx="156">
                  <c:v>-1.173848972407574</c:v>
                </c:pt>
                <c:pt idx="157">
                  <c:v>-1.1534593672346753</c:v>
                </c:pt>
                <c:pt idx="158">
                  <c:v>-1.1175459374814163</c:v>
                </c:pt>
                <c:pt idx="159">
                  <c:v>-1.1206955301623909</c:v>
                </c:pt>
                <c:pt idx="160">
                  <c:v>-1.1276311063856754</c:v>
                </c:pt>
                <c:pt idx="161">
                  <c:v>-1.2207846305852401</c:v>
                </c:pt>
                <c:pt idx="162">
                  <c:v>-1.266524738295375</c:v>
                </c:pt>
                <c:pt idx="163">
                  <c:v>-1.2840959770834666</c:v>
                </c:pt>
                <c:pt idx="164">
                  <c:v>-1.3086638773226262</c:v>
                </c:pt>
                <c:pt idx="165">
                  <c:v>-1.3271198609522137</c:v>
                </c:pt>
                <c:pt idx="166">
                  <c:v>-1.2727569546719826</c:v>
                </c:pt>
                <c:pt idx="167">
                  <c:v>-1.2134049453577216</c:v>
                </c:pt>
                <c:pt idx="168">
                  <c:v>-1.4002314517279086</c:v>
                </c:pt>
                <c:pt idx="169">
                  <c:v>-1.3996239442324594</c:v>
                </c:pt>
                <c:pt idx="170">
                  <c:v>-1.3956201978692937</c:v>
                </c:pt>
                <c:pt idx="171">
                  <c:v>-1.4099810943788733</c:v>
                </c:pt>
                <c:pt idx="172">
                  <c:v>-1.5748028722220182</c:v>
                </c:pt>
                <c:pt idx="173">
                  <c:v>-1.5766180731128214</c:v>
                </c:pt>
                <c:pt idx="174">
                  <c:v>-1.5899242210209645</c:v>
                </c:pt>
                <c:pt idx="175">
                  <c:v>-1.5850119769423947</c:v>
                </c:pt>
                <c:pt idx="176">
                  <c:v>-1.8089022555160972</c:v>
                </c:pt>
                <c:pt idx="177">
                  <c:v>-2.032182207080826</c:v>
                </c:pt>
                <c:pt idx="178">
                  <c:v>-1.939375665817467</c:v>
                </c:pt>
                <c:pt idx="179">
                  <c:v>-1.8731448886411268</c:v>
                </c:pt>
                <c:pt idx="180">
                  <c:v>-1.8299089564572553</c:v>
                </c:pt>
                <c:pt idx="181">
                  <c:v>-1.7850271236337711</c:v>
                </c:pt>
                <c:pt idx="182">
                  <c:v>-1.8079386640726804</c:v>
                </c:pt>
                <c:pt idx="183">
                  <c:v>-1.7926634172044693</c:v>
                </c:pt>
                <c:pt idx="184">
                  <c:v>-1.7290854396575004</c:v>
                </c:pt>
                <c:pt idx="185">
                  <c:v>-1.6738338846834724</c:v>
                </c:pt>
                <c:pt idx="186">
                  <c:v>-1.7223898380029738</c:v>
                </c:pt>
                <c:pt idx="187">
                  <c:v>-1.5801089136202648</c:v>
                </c:pt>
                <c:pt idx="188">
                  <c:v>-1.6099179306850127</c:v>
                </c:pt>
                <c:pt idx="189">
                  <c:v>-1.6556331702036029</c:v>
                </c:pt>
                <c:pt idx="190">
                  <c:v>-1.7192730367463502</c:v>
                </c:pt>
                <c:pt idx="191">
                  <c:v>-1.7449269041340796</c:v>
                </c:pt>
                <c:pt idx="192">
                  <c:v>-1.8538923602935204</c:v>
                </c:pt>
                <c:pt idx="193">
                  <c:v>-1.8177780705949043</c:v>
                </c:pt>
                <c:pt idx="194">
                  <c:v>-1.7697636849248226</c:v>
                </c:pt>
                <c:pt idx="195">
                  <c:v>-1.7155132683723431</c:v>
                </c:pt>
                <c:pt idx="196">
                  <c:v>-1.6777449251458796</c:v>
                </c:pt>
                <c:pt idx="197">
                  <c:v>-1.6676044618425783</c:v>
                </c:pt>
                <c:pt idx="198">
                  <c:v>-1.6884586149055512</c:v>
                </c:pt>
                <c:pt idx="199">
                  <c:v>-1.6695109749584973</c:v>
                </c:pt>
                <c:pt idx="200">
                  <c:v>-1.6372907081154966</c:v>
                </c:pt>
                <c:pt idx="201">
                  <c:v>-1.620620406903112</c:v>
                </c:pt>
                <c:pt idx="202">
                  <c:v>-1.5976751910819429</c:v>
                </c:pt>
                <c:pt idx="203">
                  <c:v>-1.5408246588604353</c:v>
                </c:pt>
                <c:pt idx="204">
                  <c:v>-1.4741314216059984</c:v>
                </c:pt>
                <c:pt idx="205">
                  <c:v>-1.4609755241829239</c:v>
                </c:pt>
                <c:pt idx="206">
                  <c:v>-1.3464413304526452</c:v>
                </c:pt>
                <c:pt idx="207">
                  <c:v>-1.30710303915613</c:v>
                </c:pt>
                <c:pt idx="208">
                  <c:v>-1.3155652587983904</c:v>
                </c:pt>
                <c:pt idx="209">
                  <c:v>-1.3774616361122016</c:v>
                </c:pt>
                <c:pt idx="210">
                  <c:v>-1.3051104948179297</c:v>
                </c:pt>
                <c:pt idx="211">
                  <c:v>-1.3066793772062799</c:v>
                </c:pt>
                <c:pt idx="212">
                  <c:v>-1.3225643470222779</c:v>
                </c:pt>
                <c:pt idx="213">
                  <c:v>-1.2869831256025626</c:v>
                </c:pt>
                <c:pt idx="214">
                  <c:v>-1.3005921240482921</c:v>
                </c:pt>
                <c:pt idx="215">
                  <c:v>-1.2817132761734635</c:v>
                </c:pt>
                <c:pt idx="216">
                  <c:v>-1.3118053410050095</c:v>
                </c:pt>
                <c:pt idx="217">
                  <c:v>-1.2937760039845103</c:v>
                </c:pt>
                <c:pt idx="218">
                  <c:v>-1.2086125931079197</c:v>
                </c:pt>
                <c:pt idx="219">
                  <c:v>-1.2058927417369452</c:v>
                </c:pt>
                <c:pt idx="220">
                  <c:v>-1.1943170043664582</c:v>
                </c:pt>
                <c:pt idx="221">
                  <c:v>-1.2408168572805502</c:v>
                </c:pt>
                <c:pt idx="222">
                  <c:v>-1.2355632372567811</c:v>
                </c:pt>
                <c:pt idx="223">
                  <c:v>-1.2307653852308653</c:v>
                </c:pt>
                <c:pt idx="224">
                  <c:v>-1.392465208602546</c:v>
                </c:pt>
                <c:pt idx="225">
                  <c:v>-1.4150572736778924</c:v>
                </c:pt>
                <c:pt idx="226">
                  <c:v>-1.4121658764574394</c:v>
                </c:pt>
                <c:pt idx="227">
                  <c:v>-1.4278115737475732</c:v>
                </c:pt>
                <c:pt idx="228">
                  <c:v>-1.4479947170931213</c:v>
                </c:pt>
                <c:pt idx="229">
                  <c:v>-1.4360274197492688</c:v>
                </c:pt>
                <c:pt idx="230">
                  <c:v>-1.4323445107806632</c:v>
                </c:pt>
                <c:pt idx="231">
                  <c:v>-1.4337071271514392</c:v>
                </c:pt>
                <c:pt idx="232">
                  <c:v>-1.4740313663712721</c:v>
                </c:pt>
                <c:pt idx="233">
                  <c:v>-1.4878218749355847</c:v>
                </c:pt>
                <c:pt idx="234">
                  <c:v>-1.5061798789711465</c:v>
                </c:pt>
                <c:pt idx="235">
                  <c:v>-1.5077581648817058</c:v>
                </c:pt>
                <c:pt idx="236">
                  <c:v>-1.5071827321534723</c:v>
                </c:pt>
                <c:pt idx="237">
                  <c:v>-1.4936948323059527</c:v>
                </c:pt>
                <c:pt idx="238">
                  <c:v>-1.3736337663980192</c:v>
                </c:pt>
                <c:pt idx="239">
                  <c:v>-1.3669293136476952</c:v>
                </c:pt>
                <c:pt idx="240">
                  <c:v>-1.3454110012787477</c:v>
                </c:pt>
                <c:pt idx="241">
                  <c:v>-1.3584036853972377</c:v>
                </c:pt>
                <c:pt idx="242">
                  <c:v>-1.3247625920642987</c:v>
                </c:pt>
                <c:pt idx="243">
                  <c:v>-1.313877750467261</c:v>
                </c:pt>
                <c:pt idx="244">
                  <c:v>-1.2758645541372069</c:v>
                </c:pt>
                <c:pt idx="245">
                  <c:v>-1.2222141292369941</c:v>
                </c:pt>
                <c:pt idx="246">
                  <c:v>-1.2039143462647988</c:v>
                </c:pt>
                <c:pt idx="247">
                  <c:v>-1.2329977545057409</c:v>
                </c:pt>
                <c:pt idx="248">
                  <c:v>-1.0409321313596991</c:v>
                </c:pt>
                <c:pt idx="249">
                  <c:v>-1.1187989641742195</c:v>
                </c:pt>
                <c:pt idx="250">
                  <c:v>-1.253183013979827</c:v>
                </c:pt>
                <c:pt idx="251">
                  <c:v>-1.186044765861954</c:v>
                </c:pt>
                <c:pt idx="252">
                  <c:v>-1.3421952716096601</c:v>
                </c:pt>
                <c:pt idx="253">
                  <c:v>-1.355004812170383</c:v>
                </c:pt>
                <c:pt idx="254">
                  <c:v>-1.3496180808094025</c:v>
                </c:pt>
                <c:pt idx="255">
                  <c:v>-1.3845927517464665</c:v>
                </c:pt>
                <c:pt idx="256">
                  <c:v>-1.4570729216950173</c:v>
                </c:pt>
                <c:pt idx="257">
                  <c:v>-1.4206640585088177</c:v>
                </c:pt>
                <c:pt idx="258">
                  <c:v>-1.4553405347185291</c:v>
                </c:pt>
                <c:pt idx="259">
                  <c:v>-1.4786375124651414</c:v>
                </c:pt>
                <c:pt idx="260">
                  <c:v>-1.460088736591121</c:v>
                </c:pt>
                <c:pt idx="261">
                  <c:v>-1.43498063483678</c:v>
                </c:pt>
                <c:pt idx="262">
                  <c:v>-1.4610040659040744</c:v>
                </c:pt>
                <c:pt idx="263">
                  <c:v>-1.4547266289334841</c:v>
                </c:pt>
                <c:pt idx="264">
                  <c:v>-1.4585614602540986</c:v>
                </c:pt>
                <c:pt idx="265">
                  <c:v>-1.4286390548930776</c:v>
                </c:pt>
                <c:pt idx="266">
                  <c:v>-1.3368674623235246</c:v>
                </c:pt>
                <c:pt idx="267">
                  <c:v>-1.3035477489609524</c:v>
                </c:pt>
                <c:pt idx="268">
                  <c:v>-1.339831153207609</c:v>
                </c:pt>
                <c:pt idx="269">
                  <c:v>-1.3107132525717533</c:v>
                </c:pt>
                <c:pt idx="270">
                  <c:v>-1.3268997585279321</c:v>
                </c:pt>
                <c:pt idx="271">
                  <c:v>-1.3470180142576003</c:v>
                </c:pt>
                <c:pt idx="272">
                  <c:v>-1.2993543345788938</c:v>
                </c:pt>
                <c:pt idx="273">
                  <c:v>-1.3008826024907545</c:v>
                </c:pt>
                <c:pt idx="274">
                  <c:v>-1.3070695178400309</c:v>
                </c:pt>
                <c:pt idx="275">
                  <c:v>-1.296067558358573</c:v>
                </c:pt>
                <c:pt idx="276">
                  <c:v>-1.2405396544901177</c:v>
                </c:pt>
                <c:pt idx="277">
                  <c:v>-1.2068724146409724</c:v>
                </c:pt>
                <c:pt idx="278">
                  <c:v>-1.2073674144259181</c:v>
                </c:pt>
                <c:pt idx="279">
                  <c:v>-1.1692549528639034</c:v>
                </c:pt>
                <c:pt idx="280">
                  <c:v>-1.2460947536443552</c:v>
                </c:pt>
                <c:pt idx="281">
                  <c:v>-1.2719589247358958</c:v>
                </c:pt>
                <c:pt idx="282">
                  <c:v>-1.2542649470460272</c:v>
                </c:pt>
                <c:pt idx="283">
                  <c:v>-1.2046019349533645</c:v>
                </c:pt>
                <c:pt idx="284">
                  <c:v>-1.1662155195050212</c:v>
                </c:pt>
                <c:pt idx="285">
                  <c:v>-1.2249532670555157</c:v>
                </c:pt>
                <c:pt idx="286">
                  <c:v>-1.1726724581470576</c:v>
                </c:pt>
                <c:pt idx="287">
                  <c:v>-1.1653418046287756</c:v>
                </c:pt>
                <c:pt idx="288">
                  <c:v>-1.2100485741827089</c:v>
                </c:pt>
                <c:pt idx="289">
                  <c:v>-1.2677269834301961</c:v>
                </c:pt>
                <c:pt idx="290">
                  <c:v>-1.2275208784838081</c:v>
                </c:pt>
                <c:pt idx="291">
                  <c:v>-1.2564899938226186</c:v>
                </c:pt>
                <c:pt idx="292">
                  <c:v>-1.2924906521354966</c:v>
                </c:pt>
                <c:pt idx="293">
                  <c:v>-1.2417479447986746</c:v>
                </c:pt>
                <c:pt idx="294">
                  <c:v>-1.1754833472344592</c:v>
                </c:pt>
                <c:pt idx="295">
                  <c:v>-1.3042037894045371</c:v>
                </c:pt>
                <c:pt idx="296">
                  <c:v>-1.2899380408042316</c:v>
                </c:pt>
                <c:pt idx="297">
                  <c:v>-1.3135818922090428</c:v>
                </c:pt>
                <c:pt idx="298">
                  <c:v>-1.3135725587110429</c:v>
                </c:pt>
                <c:pt idx="299">
                  <c:v>-1.3574106387177522</c:v>
                </c:pt>
                <c:pt idx="300">
                  <c:v>-1.428050961868834</c:v>
                </c:pt>
                <c:pt idx="301">
                  <c:v>-1.3901236921143003</c:v>
                </c:pt>
                <c:pt idx="302">
                  <c:v>-1.3230632060638885</c:v>
                </c:pt>
                <c:pt idx="303">
                  <c:v>-1.3540941261536741</c:v>
                </c:pt>
                <c:pt idx="304">
                  <c:v>-1.3129190221342646</c:v>
                </c:pt>
                <c:pt idx="305">
                  <c:v>-1.2204289054464548</c:v>
                </c:pt>
                <c:pt idx="306">
                  <c:v>-1.2298812798272214</c:v>
                </c:pt>
                <c:pt idx="307">
                  <c:v>-1.2801742194944827</c:v>
                </c:pt>
                <c:pt idx="308">
                  <c:v>-1.2960877141853953</c:v>
                </c:pt>
                <c:pt idx="309">
                  <c:v>-1.2693381762896554</c:v>
                </c:pt>
                <c:pt idx="310">
                  <c:v>-1.2634792161360249</c:v>
                </c:pt>
                <c:pt idx="311">
                  <c:v>-1.2744368542586111</c:v>
                </c:pt>
                <c:pt idx="312">
                  <c:v>-1.2320178005906457</c:v>
                </c:pt>
                <c:pt idx="313">
                  <c:v>-1.2906747436457917</c:v>
                </c:pt>
                <c:pt idx="314">
                  <c:v>-1.2499434158768263</c:v>
                </c:pt>
                <c:pt idx="315">
                  <c:v>-1.2253415017227118</c:v>
                </c:pt>
                <c:pt idx="316">
                  <c:v>-1.2062833377222018</c:v>
                </c:pt>
                <c:pt idx="317">
                  <c:v>-1.1361060908291709</c:v>
                </c:pt>
                <c:pt idx="318">
                  <c:v>-1.1536506895133385</c:v>
                </c:pt>
                <c:pt idx="319">
                  <c:v>-1.2390974511940309</c:v>
                </c:pt>
                <c:pt idx="320">
                  <c:v>-1.0342969479457487</c:v>
                </c:pt>
                <c:pt idx="321">
                  <c:v>-1.087537982112843</c:v>
                </c:pt>
                <c:pt idx="322">
                  <c:v>-0.96043185074261617</c:v>
                </c:pt>
                <c:pt idx="323">
                  <c:v>-0.71613027498810289</c:v>
                </c:pt>
                <c:pt idx="324">
                  <c:v>-0.78342324479645487</c:v>
                </c:pt>
                <c:pt idx="325">
                  <c:v>-0.85663081710945943</c:v>
                </c:pt>
                <c:pt idx="326">
                  <c:v>-0.86338839111661669</c:v>
                </c:pt>
                <c:pt idx="327">
                  <c:v>-0.91834781642306018</c:v>
                </c:pt>
                <c:pt idx="328">
                  <c:v>-0.9815494346089102</c:v>
                </c:pt>
                <c:pt idx="329">
                  <c:v>-1.0512644653678402</c:v>
                </c:pt>
                <c:pt idx="330">
                  <c:v>-1.0476413905063113</c:v>
                </c:pt>
                <c:pt idx="331">
                  <c:v>-0.97396928409954997</c:v>
                </c:pt>
                <c:pt idx="332">
                  <c:v>-0.88206496295582171</c:v>
                </c:pt>
                <c:pt idx="333">
                  <c:v>-0.9135605525421493</c:v>
                </c:pt>
                <c:pt idx="334">
                  <c:v>-0.8915467033832416</c:v>
                </c:pt>
                <c:pt idx="335">
                  <c:v>-0.89322810703914535</c:v>
                </c:pt>
                <c:pt idx="336">
                  <c:v>-0.90867073593830072</c:v>
                </c:pt>
                <c:pt idx="337">
                  <c:v>-0.89786739691739481</c:v>
                </c:pt>
                <c:pt idx="338">
                  <c:v>-0.8481325553456438</c:v>
                </c:pt>
                <c:pt idx="339">
                  <c:v>-0.84080293153375585</c:v>
                </c:pt>
                <c:pt idx="340">
                  <c:v>-0.77452544257707023</c:v>
                </c:pt>
                <c:pt idx="341">
                  <c:v>-0.73078571908475431</c:v>
                </c:pt>
                <c:pt idx="342">
                  <c:v>-0.73160198508423913</c:v>
                </c:pt>
                <c:pt idx="343">
                  <c:v>-0.71250107406259489</c:v>
                </c:pt>
                <c:pt idx="344">
                  <c:v>-0.58825808095198273</c:v>
                </c:pt>
                <c:pt idx="345">
                  <c:v>-0.5822120807750053</c:v>
                </c:pt>
                <c:pt idx="346">
                  <c:v>-0.59465128293650293</c:v>
                </c:pt>
                <c:pt idx="347">
                  <c:v>-0.39444615249300996</c:v>
                </c:pt>
                <c:pt idx="348">
                  <c:v>-0.39237745862003348</c:v>
                </c:pt>
                <c:pt idx="349">
                  <c:v>-0.30055967222302304</c:v>
                </c:pt>
                <c:pt idx="350">
                  <c:v>-0.13924283951582478</c:v>
                </c:pt>
                <c:pt idx="351">
                  <c:v>-3.8378309914519071E-2</c:v>
                </c:pt>
                <c:pt idx="352">
                  <c:v>0.11461423592121739</c:v>
                </c:pt>
                <c:pt idx="353">
                  <c:v>0.22041280641417973</c:v>
                </c:pt>
                <c:pt idx="354">
                  <c:v>0.17035730371209462</c:v>
                </c:pt>
                <c:pt idx="355">
                  <c:v>0.2024911454784325</c:v>
                </c:pt>
                <c:pt idx="356">
                  <c:v>0.24261316385598716</c:v>
                </c:pt>
                <c:pt idx="357">
                  <c:v>0.14168540140420322</c:v>
                </c:pt>
                <c:pt idx="358">
                  <c:v>0.38653682810734685</c:v>
                </c:pt>
                <c:pt idx="359">
                  <c:v>0.52024845597964298</c:v>
                </c:pt>
                <c:pt idx="360">
                  <c:v>0.61320424846715926</c:v>
                </c:pt>
                <c:pt idx="361">
                  <c:v>0.75231777417447299</c:v>
                </c:pt>
                <c:pt idx="362">
                  <c:v>0.53368164402996743</c:v>
                </c:pt>
                <c:pt idx="363">
                  <c:v>0.47408905144899083</c:v>
                </c:pt>
                <c:pt idx="364">
                  <c:v>0.5316860688733378</c:v>
                </c:pt>
                <c:pt idx="365">
                  <c:v>0.44815601683893186</c:v>
                </c:pt>
                <c:pt idx="366">
                  <c:v>0.8852548120892384</c:v>
                </c:pt>
                <c:pt idx="367">
                  <c:v>1.3983619923017538</c:v>
                </c:pt>
                <c:pt idx="368">
                  <c:v>1.7848296592741475</c:v>
                </c:pt>
                <c:pt idx="369">
                  <c:v>1.989647528372136</c:v>
                </c:pt>
                <c:pt idx="370">
                  <c:v>1.937019876402239</c:v>
                </c:pt>
                <c:pt idx="371">
                  <c:v>1.7478763293634283</c:v>
                </c:pt>
                <c:pt idx="372">
                  <c:v>1.5243641660503136</c:v>
                </c:pt>
                <c:pt idx="373">
                  <c:v>1.6401325640156894</c:v>
                </c:pt>
                <c:pt idx="374">
                  <c:v>1.5642742326126036</c:v>
                </c:pt>
                <c:pt idx="375">
                  <c:v>1.5735766092599914</c:v>
                </c:pt>
                <c:pt idx="376">
                  <c:v>1.6331380511041707</c:v>
                </c:pt>
                <c:pt idx="377">
                  <c:v>1.7853518181891992</c:v>
                </c:pt>
                <c:pt idx="378">
                  <c:v>1.5604831552964105</c:v>
                </c:pt>
                <c:pt idx="379">
                  <c:v>1.5013519146615821</c:v>
                </c:pt>
                <c:pt idx="380">
                  <c:v>1.4478184900206714</c:v>
                </c:pt>
                <c:pt idx="381">
                  <c:v>1.2253009532682555</c:v>
                </c:pt>
                <c:pt idx="382">
                  <c:v>1.0613769981640508</c:v>
                </c:pt>
                <c:pt idx="383">
                  <c:v>0.95055600773977567</c:v>
                </c:pt>
                <c:pt idx="384">
                  <c:v>0.87753948115209524</c:v>
                </c:pt>
                <c:pt idx="385">
                  <c:v>0.72908459482247401</c:v>
                </c:pt>
                <c:pt idx="386">
                  <c:v>0.7258046470767251</c:v>
                </c:pt>
                <c:pt idx="387">
                  <c:v>0.46615765383482832</c:v>
                </c:pt>
                <c:pt idx="388">
                  <c:v>0.46344784718929255</c:v>
                </c:pt>
                <c:pt idx="389">
                  <c:v>0.53098859587744185</c:v>
                </c:pt>
                <c:pt idx="390">
                  <c:v>0.77055181798681582</c:v>
                </c:pt>
                <c:pt idx="391">
                  <c:v>0.76629010362789662</c:v>
                </c:pt>
                <c:pt idx="392">
                  <c:v>0.73147670209002646</c:v>
                </c:pt>
                <c:pt idx="393">
                  <c:v>0.81744712770180927</c:v>
                </c:pt>
                <c:pt idx="394">
                  <c:v>0.83213184902579007</c:v>
                </c:pt>
                <c:pt idx="395">
                  <c:v>0.70039976568675555</c:v>
                </c:pt>
                <c:pt idx="396">
                  <c:v>0.79698886053531703</c:v>
                </c:pt>
                <c:pt idx="397">
                  <c:v>0.63727204222923051</c:v>
                </c:pt>
                <c:pt idx="398">
                  <c:v>0.64277114025388338</c:v>
                </c:pt>
                <c:pt idx="399">
                  <c:v>0.69127838101353578</c:v>
                </c:pt>
                <c:pt idx="400">
                  <c:v>0.7278119639820958</c:v>
                </c:pt>
                <c:pt idx="401">
                  <c:v>0.6585163082861516</c:v>
                </c:pt>
                <c:pt idx="402">
                  <c:v>0.67682970615050764</c:v>
                </c:pt>
                <c:pt idx="403">
                  <c:v>0.74717060858503936</c:v>
                </c:pt>
                <c:pt idx="404">
                  <c:v>0.9152325895101423</c:v>
                </c:pt>
                <c:pt idx="405">
                  <c:v>1.0463218909909699</c:v>
                </c:pt>
                <c:pt idx="406">
                  <c:v>1.3392001231112118</c:v>
                </c:pt>
                <c:pt idx="407">
                  <c:v>1.5024216918090534</c:v>
                </c:pt>
                <c:pt idx="408">
                  <c:v>1.7468300543157758</c:v>
                </c:pt>
                <c:pt idx="409">
                  <c:v>1.5434568879775312</c:v>
                </c:pt>
                <c:pt idx="410">
                  <c:v>1.7882354075767584</c:v>
                </c:pt>
                <c:pt idx="411">
                  <c:v>1.8032894089970268</c:v>
                </c:pt>
                <c:pt idx="412">
                  <c:v>1.6832431883356573</c:v>
                </c:pt>
                <c:pt idx="413">
                  <c:v>1.6962194041286947</c:v>
                </c:pt>
                <c:pt idx="414">
                  <c:v>1.637991309324546</c:v>
                </c:pt>
                <c:pt idx="415">
                  <c:v>1.7647672736054669</c:v>
                </c:pt>
                <c:pt idx="416">
                  <c:v>1.9136422572099399</c:v>
                </c:pt>
                <c:pt idx="417">
                  <c:v>2.0905402924933179</c:v>
                </c:pt>
                <c:pt idx="418">
                  <c:v>1.959721349527962</c:v>
                </c:pt>
                <c:pt idx="419">
                  <c:v>2.0260007051825211</c:v>
                </c:pt>
                <c:pt idx="420">
                  <c:v>2.2272182872200808</c:v>
                </c:pt>
                <c:pt idx="421">
                  <c:v>1.8736146776959415</c:v>
                </c:pt>
                <c:pt idx="422">
                  <c:v>1.6909423770278389</c:v>
                </c:pt>
                <c:pt idx="423">
                  <c:v>1.6642980618118044</c:v>
                </c:pt>
                <c:pt idx="424">
                  <c:v>1.4560265782458233</c:v>
                </c:pt>
                <c:pt idx="425">
                  <c:v>1.4224938373835661</c:v>
                </c:pt>
                <c:pt idx="426">
                  <c:v>1.3686718213839766</c:v>
                </c:pt>
                <c:pt idx="427">
                  <c:v>1.2097998368008562</c:v>
                </c:pt>
                <c:pt idx="428">
                  <c:v>1.1060757532708314</c:v>
                </c:pt>
                <c:pt idx="429">
                  <c:v>0.59758873942121338</c:v>
                </c:pt>
                <c:pt idx="430">
                  <c:v>0.67566286770098172</c:v>
                </c:pt>
                <c:pt idx="431">
                  <c:v>0.59319231149907992</c:v>
                </c:pt>
                <c:pt idx="432">
                  <c:v>0.65379397177241005</c:v>
                </c:pt>
                <c:pt idx="433">
                  <c:v>0.68339218091739795</c:v>
                </c:pt>
                <c:pt idx="434">
                  <c:v>0.65797977346145942</c:v>
                </c:pt>
                <c:pt idx="435">
                  <c:v>0.67295828634215304</c:v>
                </c:pt>
                <c:pt idx="436">
                  <c:v>0.78733323902124364</c:v>
                </c:pt>
                <c:pt idx="437">
                  <c:v>0.85060672615609623</c:v>
                </c:pt>
                <c:pt idx="438">
                  <c:v>0.78034303564294027</c:v>
                </c:pt>
                <c:pt idx="439">
                  <c:v>0.69694250346273723</c:v>
                </c:pt>
                <c:pt idx="440">
                  <c:v>0.71144142896897289</c:v>
                </c:pt>
                <c:pt idx="441">
                  <c:v>0.70746796153243618</c:v>
                </c:pt>
                <c:pt idx="442">
                  <c:v>0.8179519990126155</c:v>
                </c:pt>
                <c:pt idx="443">
                  <c:v>0.97380905535241502</c:v>
                </c:pt>
                <c:pt idx="444">
                  <c:v>0.92855387682876889</c:v>
                </c:pt>
                <c:pt idx="445">
                  <c:v>0.65807603436157591</c:v>
                </c:pt>
                <c:pt idx="446">
                  <c:v>0.43432439767146586</c:v>
                </c:pt>
                <c:pt idx="447">
                  <c:v>0.4317127347513558</c:v>
                </c:pt>
                <c:pt idx="448">
                  <c:v>0.55941046049053056</c:v>
                </c:pt>
                <c:pt idx="449">
                  <c:v>0.26503436182432377</c:v>
                </c:pt>
                <c:pt idx="450">
                  <c:v>0.11189930181334939</c:v>
                </c:pt>
                <c:pt idx="451">
                  <c:v>-6.9038350900082479E-2</c:v>
                </c:pt>
                <c:pt idx="452">
                  <c:v>-3.3675914382041316E-2</c:v>
                </c:pt>
                <c:pt idx="453">
                  <c:v>-0.18017476377647534</c:v>
                </c:pt>
                <c:pt idx="454">
                  <c:v>-0.11429467984960739</c:v>
                </c:pt>
                <c:pt idx="455">
                  <c:v>-0.11936423277339159</c:v>
                </c:pt>
                <c:pt idx="456">
                  <c:v>-0.22135281229043047</c:v>
                </c:pt>
                <c:pt idx="457">
                  <c:v>-0.20598209878952811</c:v>
                </c:pt>
                <c:pt idx="458">
                  <c:v>-0.24411656662214276</c:v>
                </c:pt>
                <c:pt idx="459">
                  <c:v>-0.11977752109248441</c:v>
                </c:pt>
                <c:pt idx="460">
                  <c:v>-7.2069612167085961E-2</c:v>
                </c:pt>
                <c:pt idx="461">
                  <c:v>2.1217455512152816E-2</c:v>
                </c:pt>
                <c:pt idx="462">
                  <c:v>-3.7330424391240458E-2</c:v>
                </c:pt>
                <c:pt idx="463">
                  <c:v>6.2021579889436351E-2</c:v>
                </c:pt>
                <c:pt idx="464">
                  <c:v>-0.1079911468715703</c:v>
                </c:pt>
                <c:pt idx="465">
                  <c:v>2.8516746102175139E-3</c:v>
                </c:pt>
                <c:pt idx="466">
                  <c:v>5.2113217780789034E-2</c:v>
                </c:pt>
                <c:pt idx="467">
                  <c:v>4.1228138475696396E-2</c:v>
                </c:pt>
                <c:pt idx="468">
                  <c:v>0.11202113543298109</c:v>
                </c:pt>
                <c:pt idx="469">
                  <c:v>-0.10582972422045611</c:v>
                </c:pt>
                <c:pt idx="470">
                  <c:v>-0.20903670000923891</c:v>
                </c:pt>
                <c:pt idx="471">
                  <c:v>-0.27677333252797554</c:v>
                </c:pt>
                <c:pt idx="472">
                  <c:v>-0.28655462456799918</c:v>
                </c:pt>
                <c:pt idx="473">
                  <c:v>-0.15407550513456725</c:v>
                </c:pt>
                <c:pt idx="474">
                  <c:v>-2.5320501943306373E-2</c:v>
                </c:pt>
                <c:pt idx="475">
                  <c:v>-0.10594663242391222</c:v>
                </c:pt>
                <c:pt idx="476">
                  <c:v>-0.24150591491253515</c:v>
                </c:pt>
                <c:pt idx="477">
                  <c:v>-0.18217666059524973</c:v>
                </c:pt>
                <c:pt idx="478">
                  <c:v>-0.18520347448050101</c:v>
                </c:pt>
                <c:pt idx="479">
                  <c:v>-8.6915719097294009E-2</c:v>
                </c:pt>
                <c:pt idx="480">
                  <c:v>7.9293444080418163E-2</c:v>
                </c:pt>
                <c:pt idx="481">
                  <c:v>0.26416747292669351</c:v>
                </c:pt>
                <c:pt idx="482">
                  <c:v>0.26973636579945748</c:v>
                </c:pt>
                <c:pt idx="483">
                  <c:v>0.38516289123905056</c:v>
                </c:pt>
                <c:pt idx="484">
                  <c:v>0.52581152192923297</c:v>
                </c:pt>
                <c:pt idx="485">
                  <c:v>0.49052403092326208</c:v>
                </c:pt>
                <c:pt idx="486">
                  <c:v>0.46577882413855776</c:v>
                </c:pt>
                <c:pt idx="487">
                  <c:v>0.40208863479014167</c:v>
                </c:pt>
                <c:pt idx="488">
                  <c:v>0.57394255686770368</c:v>
                </c:pt>
                <c:pt idx="489">
                  <c:v>0.64734528673123637</c:v>
                </c:pt>
                <c:pt idx="490">
                  <c:v>0.57961116214612241</c:v>
                </c:pt>
                <c:pt idx="491">
                  <c:v>0.51904884288818576</c:v>
                </c:pt>
                <c:pt idx="492">
                  <c:v>0.47634501641804688</c:v>
                </c:pt>
                <c:pt idx="493">
                  <c:v>0.36870142985943111</c:v>
                </c:pt>
                <c:pt idx="494">
                  <c:v>0.51515506942682088</c:v>
                </c:pt>
                <c:pt idx="495">
                  <c:v>0.4403957718299687</c:v>
                </c:pt>
                <c:pt idx="496">
                  <c:v>0.35742588002781817</c:v>
                </c:pt>
                <c:pt idx="497">
                  <c:v>0.34633740775882349</c:v>
                </c:pt>
                <c:pt idx="498">
                  <c:v>0.37312114326963963</c:v>
                </c:pt>
                <c:pt idx="499">
                  <c:v>0.27009663789655558</c:v>
                </c:pt>
                <c:pt idx="500">
                  <c:v>0.2376128099055943</c:v>
                </c:pt>
                <c:pt idx="501">
                  <c:v>0.14341895960453832</c:v>
                </c:pt>
                <c:pt idx="502">
                  <c:v>9.6509103400972185E-2</c:v>
                </c:pt>
                <c:pt idx="503">
                  <c:v>0.20487421631584868</c:v>
                </c:pt>
                <c:pt idx="504">
                  <c:v>0.14614535445213095</c:v>
                </c:pt>
                <c:pt idx="505">
                  <c:v>0.10381525956028659</c:v>
                </c:pt>
                <c:pt idx="506">
                  <c:v>0.21063958054954035</c:v>
                </c:pt>
                <c:pt idx="507">
                  <c:v>0.13609012474368976</c:v>
                </c:pt>
                <c:pt idx="508">
                  <c:v>-8.4290611318692421E-2</c:v>
                </c:pt>
                <c:pt idx="509">
                  <c:v>9.2354970255706936E-3</c:v>
                </c:pt>
                <c:pt idx="510">
                  <c:v>2.3814325085779076E-2</c:v>
                </c:pt>
                <c:pt idx="511">
                  <c:v>1.6743322287761764E-2</c:v>
                </c:pt>
                <c:pt idx="512">
                  <c:v>6.1598863642493562E-3</c:v>
                </c:pt>
                <c:pt idx="513">
                  <c:v>4.1398936625306693E-2</c:v>
                </c:pt>
                <c:pt idx="514">
                  <c:v>7.3218539145313288E-2</c:v>
                </c:pt>
                <c:pt idx="515">
                  <c:v>0.14100102257819536</c:v>
                </c:pt>
                <c:pt idx="516">
                  <c:v>0.1460328967481227</c:v>
                </c:pt>
                <c:pt idx="517">
                  <c:v>0.42625079622391226</c:v>
                </c:pt>
                <c:pt idx="518">
                  <c:v>0.46282460087019983</c:v>
                </c:pt>
                <c:pt idx="519">
                  <c:v>0.35359594845738729</c:v>
                </c:pt>
                <c:pt idx="520">
                  <c:v>0.39128487570394044</c:v>
                </c:pt>
                <c:pt idx="521">
                  <c:v>0.35655173479289543</c:v>
                </c:pt>
                <c:pt idx="522">
                  <c:v>0.55246280969731598</c:v>
                </c:pt>
                <c:pt idx="523">
                  <c:v>0.69929733594735433</c:v>
                </c:pt>
                <c:pt idx="524">
                  <c:v>0.60344336141682353</c:v>
                </c:pt>
                <c:pt idx="525">
                  <c:v>0.69176912402683044</c:v>
                </c:pt>
                <c:pt idx="526">
                  <c:v>0.57620089498323224</c:v>
                </c:pt>
                <c:pt idx="527">
                  <c:v>0.34300233205179514</c:v>
                </c:pt>
                <c:pt idx="528">
                  <c:v>0.35056410002425914</c:v>
                </c:pt>
                <c:pt idx="529">
                  <c:v>0.31482344633149961</c:v>
                </c:pt>
                <c:pt idx="530">
                  <c:v>0.34977234297439469</c:v>
                </c:pt>
                <c:pt idx="531">
                  <c:v>0.20668079643369763</c:v>
                </c:pt>
                <c:pt idx="532">
                  <c:v>-9.5110693114440203E-2</c:v>
                </c:pt>
                <c:pt idx="533">
                  <c:v>-0.13254005810258374</c:v>
                </c:pt>
                <c:pt idx="534">
                  <c:v>1.5903532470372572E-2</c:v>
                </c:pt>
                <c:pt idx="535">
                  <c:v>-3.0133373726913493E-2</c:v>
                </c:pt>
                <c:pt idx="536">
                  <c:v>6.646457647583992E-2</c:v>
                </c:pt>
                <c:pt idx="537">
                  <c:v>1.5671107707418641E-2</c:v>
                </c:pt>
                <c:pt idx="538">
                  <c:v>-5.8380359937593274E-2</c:v>
                </c:pt>
                <c:pt idx="539">
                  <c:v>-5.6642854440371315E-2</c:v>
                </c:pt>
                <c:pt idx="540">
                  <c:v>-2.7800324550376621E-3</c:v>
                </c:pt>
                <c:pt idx="541">
                  <c:v>1.0628518686099153E-2</c:v>
                </c:pt>
                <c:pt idx="542">
                  <c:v>7.2182289149803069E-2</c:v>
                </c:pt>
                <c:pt idx="543">
                  <c:v>3.4872418169481612E-2</c:v>
                </c:pt>
                <c:pt idx="544">
                  <c:v>1.7045388244344095E-2</c:v>
                </c:pt>
                <c:pt idx="545">
                  <c:v>6.4050513368545281E-2</c:v>
                </c:pt>
                <c:pt idx="546">
                  <c:v>0.10662944260747265</c:v>
                </c:pt>
                <c:pt idx="547">
                  <c:v>0.11610456636722011</c:v>
                </c:pt>
                <c:pt idx="548">
                  <c:v>0.15944750299720034</c:v>
                </c:pt>
                <c:pt idx="549">
                  <c:v>0.13043076796267761</c:v>
                </c:pt>
                <c:pt idx="550">
                  <c:v>0.15266985109654957</c:v>
                </c:pt>
                <c:pt idx="551">
                  <c:v>0.28025276259004223</c:v>
                </c:pt>
                <c:pt idx="552">
                  <c:v>0.20637990838211207</c:v>
                </c:pt>
                <c:pt idx="553">
                  <c:v>0.11301690735611369</c:v>
                </c:pt>
                <c:pt idx="554">
                  <c:v>0.38530484226384409</c:v>
                </c:pt>
                <c:pt idx="555">
                  <c:v>0.34836556076681469</c:v>
                </c:pt>
                <c:pt idx="556">
                  <c:v>0.31006779698414966</c:v>
                </c:pt>
                <c:pt idx="557">
                  <c:v>0.35073844212305627</c:v>
                </c:pt>
                <c:pt idx="558">
                  <c:v>0.2849399718878427</c:v>
                </c:pt>
                <c:pt idx="559">
                  <c:v>0.28163907345091366</c:v>
                </c:pt>
                <c:pt idx="560">
                  <c:v>0.29391009712487781</c:v>
                </c:pt>
                <c:pt idx="561">
                  <c:v>0.31853802977467049</c:v>
                </c:pt>
                <c:pt idx="562">
                  <c:v>0.23616282094443253</c:v>
                </c:pt>
                <c:pt idx="563">
                  <c:v>0.20238966141356285</c:v>
                </c:pt>
                <c:pt idx="564">
                  <c:v>0.27017128899016152</c:v>
                </c:pt>
                <c:pt idx="565">
                  <c:v>0.28742322494803008</c:v>
                </c:pt>
                <c:pt idx="566">
                  <c:v>0.21834003926381562</c:v>
                </c:pt>
                <c:pt idx="567">
                  <c:v>0.28879378114015752</c:v>
                </c:pt>
                <c:pt idx="568">
                  <c:v>0.23696651143801961</c:v>
                </c:pt>
                <c:pt idx="569">
                  <c:v>8.6609491817303264E-2</c:v>
                </c:pt>
                <c:pt idx="570">
                  <c:v>0.22682953971547903</c:v>
                </c:pt>
                <c:pt idx="571">
                  <c:v>0.39388205145839911</c:v>
                </c:pt>
                <c:pt idx="572">
                  <c:v>0.40207049574802217</c:v>
                </c:pt>
                <c:pt idx="573">
                  <c:v>0.33990826736457064</c:v>
                </c:pt>
                <c:pt idx="574">
                  <c:v>0.25350208852589073</c:v>
                </c:pt>
                <c:pt idx="575">
                  <c:v>0.18734862333687141</c:v>
                </c:pt>
                <c:pt idx="576">
                  <c:v>7.2383604406827895E-2</c:v>
                </c:pt>
                <c:pt idx="577">
                  <c:v>5.1677815593090259E-2</c:v>
                </c:pt>
                <c:pt idx="578">
                  <c:v>4.2616823740009857E-2</c:v>
                </c:pt>
                <c:pt idx="579">
                  <c:v>6.3336702299517045E-2</c:v>
                </c:pt>
                <c:pt idx="580">
                  <c:v>5.7504806376159623E-2</c:v>
                </c:pt>
                <c:pt idx="581">
                  <c:v>4.6798162135313515E-2</c:v>
                </c:pt>
                <c:pt idx="582">
                  <c:v>3.0078129885353633E-2</c:v>
                </c:pt>
                <c:pt idx="583">
                  <c:v>1.0475162818688322E-3</c:v>
                </c:pt>
                <c:pt idx="584">
                  <c:v>9.0538975537751698E-3</c:v>
                </c:pt>
                <c:pt idx="585">
                  <c:v>4.4320855138569426E-2</c:v>
                </c:pt>
                <c:pt idx="586">
                  <c:v>0.10331475986776373</c:v>
                </c:pt>
                <c:pt idx="587">
                  <c:v>0.15780628575183131</c:v>
                </c:pt>
                <c:pt idx="588">
                  <c:v>9.984106857363273E-2</c:v>
                </c:pt>
                <c:pt idx="589">
                  <c:v>1.9209812660055614E-2</c:v>
                </c:pt>
                <c:pt idx="590">
                  <c:v>3.9435730576331207E-2</c:v>
                </c:pt>
                <c:pt idx="591">
                  <c:v>3.9551608478702094E-2</c:v>
                </c:pt>
                <c:pt idx="592">
                  <c:v>-4.3562023466420241E-3</c:v>
                </c:pt>
                <c:pt idx="593">
                  <c:v>-7.8482463658181567E-2</c:v>
                </c:pt>
                <c:pt idx="594">
                  <c:v>-5.4143910657840633E-2</c:v>
                </c:pt>
                <c:pt idx="595">
                  <c:v>-7.937352679921128E-2</c:v>
                </c:pt>
                <c:pt idx="596">
                  <c:v>-8.9089653155774551E-2</c:v>
                </c:pt>
                <c:pt idx="597">
                  <c:v>-6.2345613240075592E-2</c:v>
                </c:pt>
                <c:pt idx="598">
                  <c:v>-0.10966930315551549</c:v>
                </c:pt>
                <c:pt idx="599">
                  <c:v>-0.1247426989994373</c:v>
                </c:pt>
                <c:pt idx="600">
                  <c:v>-0.19901220563703209</c:v>
                </c:pt>
                <c:pt idx="601">
                  <c:v>-0.20146770235527328</c:v>
                </c:pt>
                <c:pt idx="602">
                  <c:v>-0.24576490188697842</c:v>
                </c:pt>
                <c:pt idx="603">
                  <c:v>-0.23645719005463334</c:v>
                </c:pt>
                <c:pt idx="604">
                  <c:v>-0.25996201885534198</c:v>
                </c:pt>
                <c:pt idx="605">
                  <c:v>-0.40895356443779085</c:v>
                </c:pt>
                <c:pt idx="606">
                  <c:v>-0.3323062302956824</c:v>
                </c:pt>
                <c:pt idx="607">
                  <c:v>-0.31289128644258513</c:v>
                </c:pt>
                <c:pt idx="608">
                  <c:v>-0.35487128436383308</c:v>
                </c:pt>
                <c:pt idx="609">
                  <c:v>-0.46040968021636963</c:v>
                </c:pt>
                <c:pt idx="610">
                  <c:v>-0.45932869179553226</c:v>
                </c:pt>
                <c:pt idx="611">
                  <c:v>-0.42443715132846693</c:v>
                </c:pt>
                <c:pt idx="612">
                  <c:v>-0.41753643664368512</c:v>
                </c:pt>
                <c:pt idx="613">
                  <c:v>-0.40974472887997659</c:v>
                </c:pt>
                <c:pt idx="614">
                  <c:v>-0.40005378654372492</c:v>
                </c:pt>
                <c:pt idx="615">
                  <c:v>-0.3864975273496144</c:v>
                </c:pt>
                <c:pt idx="616">
                  <c:v>-0.3856837211611972</c:v>
                </c:pt>
                <c:pt idx="617">
                  <c:v>-0.54459375224641038</c:v>
                </c:pt>
                <c:pt idx="618">
                  <c:v>-0.57708294171847019</c:v>
                </c:pt>
                <c:pt idx="619">
                  <c:v>-0.59919331789579955</c:v>
                </c:pt>
                <c:pt idx="620">
                  <c:v>-0.57853267196258851</c:v>
                </c:pt>
                <c:pt idx="621">
                  <c:v>-0.57747487008552012</c:v>
                </c:pt>
                <c:pt idx="622">
                  <c:v>-0.61244966261951772</c:v>
                </c:pt>
                <c:pt idx="623">
                  <c:v>-0.61933436229468997</c:v>
                </c:pt>
                <c:pt idx="624">
                  <c:v>-0.5906465030309308</c:v>
                </c:pt>
                <c:pt idx="625">
                  <c:v>-0.56744187913559996</c:v>
                </c:pt>
                <c:pt idx="626">
                  <c:v>-0.55622315748948492</c:v>
                </c:pt>
                <c:pt idx="627">
                  <c:v>-0.48651391939155425</c:v>
                </c:pt>
                <c:pt idx="628">
                  <c:v>-0.51375575094620785</c:v>
                </c:pt>
                <c:pt idx="629">
                  <c:v>-0.46035512042465437</c:v>
                </c:pt>
                <c:pt idx="630">
                  <c:v>-0.43010187923329085</c:v>
                </c:pt>
                <c:pt idx="631">
                  <c:v>-0.50051806066230586</c:v>
                </c:pt>
                <c:pt idx="632">
                  <c:v>-0.44136608853723436</c:v>
                </c:pt>
                <c:pt idx="633">
                  <c:v>-0.39363842487465533</c:v>
                </c:pt>
                <c:pt idx="634">
                  <c:v>-0.37846128978260718</c:v>
                </c:pt>
                <c:pt idx="635">
                  <c:v>-0.31236562598100209</c:v>
                </c:pt>
                <c:pt idx="636">
                  <c:v>-0.34140656115304663</c:v>
                </c:pt>
                <c:pt idx="637">
                  <c:v>-0.26750945858052405</c:v>
                </c:pt>
                <c:pt idx="638">
                  <c:v>-0.29638480565368519</c:v>
                </c:pt>
                <c:pt idx="639">
                  <c:v>-0.2648121289703152</c:v>
                </c:pt>
                <c:pt idx="640">
                  <c:v>-0.28765311507596492</c:v>
                </c:pt>
                <c:pt idx="641">
                  <c:v>-0.31564712513804766</c:v>
                </c:pt>
                <c:pt idx="642">
                  <c:v>-0.27410333201173637</c:v>
                </c:pt>
                <c:pt idx="643">
                  <c:v>-0.26605133248049817</c:v>
                </c:pt>
                <c:pt idx="644">
                  <c:v>-0.23604438629276647</c:v>
                </c:pt>
                <c:pt idx="645">
                  <c:v>-0.19094421527390326</c:v>
                </c:pt>
                <c:pt idx="646">
                  <c:v>-0.10725739906123583</c:v>
                </c:pt>
                <c:pt idx="647">
                  <c:v>0.18385936263373998</c:v>
                </c:pt>
                <c:pt idx="648">
                  <c:v>0.21946350572769749</c:v>
                </c:pt>
                <c:pt idx="649">
                  <c:v>0.16361881782037047</c:v>
                </c:pt>
                <c:pt idx="650">
                  <c:v>0.26238293258320078</c:v>
                </c:pt>
                <c:pt idx="651">
                  <c:v>0.24324239643875334</c:v>
                </c:pt>
                <c:pt idx="652">
                  <c:v>0.25135110091006163</c:v>
                </c:pt>
                <c:pt idx="653">
                  <c:v>0.33904053391339384</c:v>
                </c:pt>
                <c:pt idx="654">
                  <c:v>0.24983963076867804</c:v>
                </c:pt>
                <c:pt idx="655">
                  <c:v>0.2693335635094235</c:v>
                </c:pt>
                <c:pt idx="656">
                  <c:v>0.16261885468800352</c:v>
                </c:pt>
                <c:pt idx="657">
                  <c:v>0.12398817041090704</c:v>
                </c:pt>
                <c:pt idx="658">
                  <c:v>-5.8417322213018597E-2</c:v>
                </c:pt>
                <c:pt idx="659">
                  <c:v>-6.8827132790484802E-2</c:v>
                </c:pt>
                <c:pt idx="660">
                  <c:v>-6.2814472449546355E-2</c:v>
                </c:pt>
                <c:pt idx="661">
                  <c:v>-1.9659737266312816E-2</c:v>
                </c:pt>
                <c:pt idx="662">
                  <c:v>-6.8705640862754547E-2</c:v>
                </c:pt>
                <c:pt idx="663">
                  <c:v>-0.10381089386351988</c:v>
                </c:pt>
                <c:pt idx="664">
                  <c:v>-0.11326446212272412</c:v>
                </c:pt>
                <c:pt idx="665">
                  <c:v>-0.14888307905229886</c:v>
                </c:pt>
                <c:pt idx="666">
                  <c:v>-0.18333018207359841</c:v>
                </c:pt>
                <c:pt idx="667">
                  <c:v>-0.14916780316981287</c:v>
                </c:pt>
                <c:pt idx="668">
                  <c:v>-9.7905785482604035E-2</c:v>
                </c:pt>
                <c:pt idx="669">
                  <c:v>-1.5511062329973457E-2</c:v>
                </c:pt>
                <c:pt idx="670">
                  <c:v>-1.978411528305718E-2</c:v>
                </c:pt>
                <c:pt idx="671">
                  <c:v>4.1749633090048754E-2</c:v>
                </c:pt>
                <c:pt idx="672">
                  <c:v>-5.9106654053878716E-3</c:v>
                </c:pt>
                <c:pt idx="673">
                  <c:v>0.11893040631419965</c:v>
                </c:pt>
                <c:pt idx="674">
                  <c:v>0.24909634840803563</c:v>
                </c:pt>
                <c:pt idx="675">
                  <c:v>0.28482177962533795</c:v>
                </c:pt>
                <c:pt idx="676">
                  <c:v>0.24898630181606246</c:v>
                </c:pt>
                <c:pt idx="677">
                  <c:v>0.45445989509244467</c:v>
                </c:pt>
                <c:pt idx="678">
                  <c:v>0.46295536917920832</c:v>
                </c:pt>
                <c:pt idx="679">
                  <c:v>0.36790751901074281</c:v>
                </c:pt>
                <c:pt idx="680">
                  <c:v>0.49034344917582701</c:v>
                </c:pt>
                <c:pt idx="681">
                  <c:v>0.52113981701893097</c:v>
                </c:pt>
                <c:pt idx="682">
                  <c:v>0.5153826761958229</c:v>
                </c:pt>
                <c:pt idx="683">
                  <c:v>0.652356023351776</c:v>
                </c:pt>
                <c:pt idx="684">
                  <c:v>0.67398134808850663</c:v>
                </c:pt>
                <c:pt idx="685">
                  <c:v>0.59253469033819806</c:v>
                </c:pt>
                <c:pt idx="686">
                  <c:v>0.8161865231097063</c:v>
                </c:pt>
                <c:pt idx="687">
                  <c:v>1.074754190220566</c:v>
                </c:pt>
                <c:pt idx="688">
                  <c:v>1.1489287749871249</c:v>
                </c:pt>
                <c:pt idx="689">
                  <c:v>1.1885586662367902</c:v>
                </c:pt>
                <c:pt idx="690">
                  <c:v>1.2130024917692128</c:v>
                </c:pt>
                <c:pt idx="691">
                  <c:v>1.1746110368800096</c:v>
                </c:pt>
                <c:pt idx="692">
                  <c:v>1.1527999386977656</c:v>
                </c:pt>
                <c:pt idx="693">
                  <c:v>1.1242724813936502</c:v>
                </c:pt>
                <c:pt idx="694">
                  <c:v>1.2414387980396921</c:v>
                </c:pt>
                <c:pt idx="695">
                  <c:v>0.9590131445617347</c:v>
                </c:pt>
                <c:pt idx="696">
                  <c:v>1.2871420116204761</c:v>
                </c:pt>
                <c:pt idx="697">
                  <c:v>1.5458715552704487</c:v>
                </c:pt>
                <c:pt idx="698">
                  <c:v>1.7396020280381475</c:v>
                </c:pt>
                <c:pt idx="699">
                  <c:v>1.6900890168373364</c:v>
                </c:pt>
                <c:pt idx="700">
                  <c:v>1.9382257278972317</c:v>
                </c:pt>
                <c:pt idx="701">
                  <c:v>1.8100589748121898</c:v>
                </c:pt>
                <c:pt idx="702">
                  <c:v>1.954331542970817</c:v>
                </c:pt>
                <c:pt idx="703">
                  <c:v>1.7314057635251578</c:v>
                </c:pt>
                <c:pt idx="704">
                  <c:v>1.5196071468285899</c:v>
                </c:pt>
                <c:pt idx="705">
                  <c:v>1.6207696652423387</c:v>
                </c:pt>
                <c:pt idx="706">
                  <c:v>1.6118661444294686</c:v>
                </c:pt>
                <c:pt idx="707">
                  <c:v>0.95683434083851682</c:v>
                </c:pt>
                <c:pt idx="708">
                  <c:v>0.95691814546008835</c:v>
                </c:pt>
                <c:pt idx="709">
                  <c:v>0.76306644787273015</c:v>
                </c:pt>
                <c:pt idx="710">
                  <c:v>0.86900541765692507</c:v>
                </c:pt>
                <c:pt idx="711">
                  <c:v>0.78278454587026125</c:v>
                </c:pt>
                <c:pt idx="712">
                  <c:v>1.0803660007272313</c:v>
                </c:pt>
                <c:pt idx="713">
                  <c:v>1.1708842588114443</c:v>
                </c:pt>
                <c:pt idx="714">
                  <c:v>1.1866956926976002</c:v>
                </c:pt>
                <c:pt idx="715">
                  <c:v>1.1409135882459271</c:v>
                </c:pt>
                <c:pt idx="716">
                  <c:v>1.1464052778435132</c:v>
                </c:pt>
                <c:pt idx="717">
                  <c:v>1.0069075112911061</c:v>
                </c:pt>
                <c:pt idx="718">
                  <c:v>1.0458404569211914</c:v>
                </c:pt>
                <c:pt idx="719">
                  <c:v>1.0243085682618678</c:v>
                </c:pt>
                <c:pt idx="720">
                  <c:v>1.0861285814533002</c:v>
                </c:pt>
                <c:pt idx="721">
                  <c:v>1.1720573911036563</c:v>
                </c:pt>
                <c:pt idx="722">
                  <c:v>1.1499220384210944</c:v>
                </c:pt>
                <c:pt idx="723">
                  <c:v>1.2482022969986799</c:v>
                </c:pt>
                <c:pt idx="724">
                  <c:v>1.2264065600900862</c:v>
                </c:pt>
                <c:pt idx="725">
                  <c:v>1.2933777015078185</c:v>
                </c:pt>
                <c:pt idx="726">
                  <c:v>1.2777404346246086</c:v>
                </c:pt>
                <c:pt idx="727">
                  <c:v>1.2597525759363211</c:v>
                </c:pt>
                <c:pt idx="728">
                  <c:v>1.2244921286502755</c:v>
                </c:pt>
                <c:pt idx="729">
                  <c:v>1.1836518985506888</c:v>
                </c:pt>
                <c:pt idx="730">
                  <c:v>1.1678118075602035</c:v>
                </c:pt>
                <c:pt idx="731">
                  <c:v>1.2459812272946844</c:v>
                </c:pt>
                <c:pt idx="732">
                  <c:v>1.1332402981277085</c:v>
                </c:pt>
                <c:pt idx="733">
                  <c:v>1.2124774982562105</c:v>
                </c:pt>
                <c:pt idx="734">
                  <c:v>1.1910436609109589</c:v>
                </c:pt>
                <c:pt idx="735">
                  <c:v>1.1579640303928969</c:v>
                </c:pt>
                <c:pt idx="736">
                  <c:v>1.3264386636719159</c:v>
                </c:pt>
                <c:pt idx="737">
                  <c:v>1.4959208671479589</c:v>
                </c:pt>
                <c:pt idx="738">
                  <c:v>1.4707245601356402</c:v>
                </c:pt>
                <c:pt idx="739">
                  <c:v>1.7152051427061417</c:v>
                </c:pt>
                <c:pt idx="740">
                  <c:v>1.8415857541893139</c:v>
                </c:pt>
                <c:pt idx="741">
                  <c:v>2.2813969238845893</c:v>
                </c:pt>
                <c:pt idx="742">
                  <c:v>2.3845770374585968</c:v>
                </c:pt>
                <c:pt idx="743">
                  <c:v>2.4387041826764229</c:v>
                </c:pt>
                <c:pt idx="744">
                  <c:v>2.210308322011068</c:v>
                </c:pt>
                <c:pt idx="745">
                  <c:v>1.9747821235519547</c:v>
                </c:pt>
                <c:pt idx="746">
                  <c:v>1.9993501524957635</c:v>
                </c:pt>
                <c:pt idx="747">
                  <c:v>1.8886776198824897</c:v>
                </c:pt>
                <c:pt idx="748">
                  <c:v>1.9523561255042505</c:v>
                </c:pt>
                <c:pt idx="749">
                  <c:v>1.9819481305311952</c:v>
                </c:pt>
                <c:pt idx="750">
                  <c:v>1.5398142607157137</c:v>
                </c:pt>
                <c:pt idx="751">
                  <c:v>1.5391617490241296</c:v>
                </c:pt>
                <c:pt idx="752">
                  <c:v>1.5205349881696779</c:v>
                </c:pt>
                <c:pt idx="753">
                  <c:v>1.8367062752933894</c:v>
                </c:pt>
                <c:pt idx="754">
                  <c:v>2.0095034730488388</c:v>
                </c:pt>
                <c:pt idx="755">
                  <c:v>2.2147485606166604</c:v>
                </c:pt>
                <c:pt idx="756">
                  <c:v>2.2892770302618892</c:v>
                </c:pt>
                <c:pt idx="757">
                  <c:v>2.0930764258867098</c:v>
                </c:pt>
                <c:pt idx="758">
                  <c:v>1.903593258713002</c:v>
                </c:pt>
                <c:pt idx="759">
                  <c:v>2.0988843848238488</c:v>
                </c:pt>
                <c:pt idx="760">
                  <c:v>2.1904356413589379</c:v>
                </c:pt>
                <c:pt idx="761">
                  <c:v>2.2314850843038743</c:v>
                </c:pt>
                <c:pt idx="762">
                  <c:v>2.1856105151323257</c:v>
                </c:pt>
                <c:pt idx="763">
                  <c:v>2.0565582285807187</c:v>
                </c:pt>
                <c:pt idx="764">
                  <c:v>2.037186154268781</c:v>
                </c:pt>
                <c:pt idx="765">
                  <c:v>1.9665959071711447</c:v>
                </c:pt>
                <c:pt idx="766">
                  <c:v>1.9311317211470358</c:v>
                </c:pt>
                <c:pt idx="767">
                  <c:v>1.7933668309752968</c:v>
                </c:pt>
                <c:pt idx="768">
                  <c:v>1.6006752337291972</c:v>
                </c:pt>
                <c:pt idx="769">
                  <c:v>1.5306801542102753</c:v>
                </c:pt>
                <c:pt idx="770">
                  <c:v>1.5159157410601241</c:v>
                </c:pt>
                <c:pt idx="771">
                  <c:v>1.5998586168173914</c:v>
                </c:pt>
                <c:pt idx="772">
                  <c:v>1.5214827992196209</c:v>
                </c:pt>
                <c:pt idx="773">
                  <c:v>1.5139407325497389</c:v>
                </c:pt>
                <c:pt idx="774">
                  <c:v>1.5498484095003384</c:v>
                </c:pt>
                <c:pt idx="775">
                  <c:v>1.4154878367827812</c:v>
                </c:pt>
                <c:pt idx="776">
                  <c:v>1.4675485354948492</c:v>
                </c:pt>
                <c:pt idx="777">
                  <c:v>1.3813283257211213</c:v>
                </c:pt>
                <c:pt idx="778">
                  <c:v>1.4445798292515231</c:v>
                </c:pt>
                <c:pt idx="779">
                  <c:v>1.5217735347995696</c:v>
                </c:pt>
                <c:pt idx="780">
                  <c:v>1.5224727139281324</c:v>
                </c:pt>
                <c:pt idx="781">
                  <c:v>1.5646976752916297</c:v>
                </c:pt>
                <c:pt idx="782">
                  <c:v>1.4695644009465838</c:v>
                </c:pt>
                <c:pt idx="783">
                  <c:v>1.3611165133019996</c:v>
                </c:pt>
                <c:pt idx="784">
                  <c:v>1.4416480753848293</c:v>
                </c:pt>
                <c:pt idx="785">
                  <c:v>1.3392276758366761</c:v>
                </c:pt>
                <c:pt idx="786">
                  <c:v>1.4087518050482277</c:v>
                </c:pt>
                <c:pt idx="787">
                  <c:v>1.3883378671540418</c:v>
                </c:pt>
                <c:pt idx="788">
                  <c:v>1.384331935677789</c:v>
                </c:pt>
                <c:pt idx="789">
                  <c:v>1.2561732732615654</c:v>
                </c:pt>
                <c:pt idx="790">
                  <c:v>1.1892200757235418</c:v>
                </c:pt>
                <c:pt idx="791">
                  <c:v>1.1753353761014531</c:v>
                </c:pt>
                <c:pt idx="792">
                  <c:v>1.1043521425465088</c:v>
                </c:pt>
                <c:pt idx="793">
                  <c:v>1.0764818728611028</c:v>
                </c:pt>
                <c:pt idx="794">
                  <c:v>1.113541235426631</c:v>
                </c:pt>
                <c:pt idx="795">
                  <c:v>1.1130916849059393</c:v>
                </c:pt>
                <c:pt idx="796">
                  <c:v>1.169809050441234</c:v>
                </c:pt>
                <c:pt idx="797">
                  <c:v>1.3376545355214029</c:v>
                </c:pt>
                <c:pt idx="798">
                  <c:v>1.3655454899957147</c:v>
                </c:pt>
                <c:pt idx="799">
                  <c:v>1.4773569204248469</c:v>
                </c:pt>
                <c:pt idx="800">
                  <c:v>1.4845204486911885</c:v>
                </c:pt>
                <c:pt idx="801">
                  <c:v>1.4376365123758093</c:v>
                </c:pt>
                <c:pt idx="802">
                  <c:v>1.636287018887459</c:v>
                </c:pt>
                <c:pt idx="803">
                  <c:v>1.5688491910024611</c:v>
                </c:pt>
                <c:pt idx="804">
                  <c:v>1.6166624028047589</c:v>
                </c:pt>
                <c:pt idx="805">
                  <c:v>1.1636626940776404</c:v>
                </c:pt>
                <c:pt idx="806">
                  <c:v>1.2223094887683204</c:v>
                </c:pt>
                <c:pt idx="807">
                  <c:v>1.0864448094081558</c:v>
                </c:pt>
                <c:pt idx="808">
                  <c:v>1.072855942170144</c:v>
                </c:pt>
                <c:pt idx="809">
                  <c:v>0.96281023396789844</c:v>
                </c:pt>
                <c:pt idx="810">
                  <c:v>1.0340000702557477</c:v>
                </c:pt>
                <c:pt idx="811">
                  <c:v>1.0817801985134241</c:v>
                </c:pt>
                <c:pt idx="812">
                  <c:v>1.0199729527323675</c:v>
                </c:pt>
                <c:pt idx="813">
                  <c:v>0.96339929647295885</c:v>
                </c:pt>
                <c:pt idx="814">
                  <c:v>0.8958677443637636</c:v>
                </c:pt>
                <c:pt idx="815">
                  <c:v>0.72076046377557412</c:v>
                </c:pt>
                <c:pt idx="816">
                  <c:v>0.79610095049965657</c:v>
                </c:pt>
                <c:pt idx="817">
                  <c:v>0.579503301313121</c:v>
                </c:pt>
                <c:pt idx="818">
                  <c:v>0.61398762970848075</c:v>
                </c:pt>
                <c:pt idx="819">
                  <c:v>0.66956672458491961</c:v>
                </c:pt>
                <c:pt idx="820">
                  <c:v>0.76620635287162342</c:v>
                </c:pt>
                <c:pt idx="821">
                  <c:v>0.66994482053616078</c:v>
                </c:pt>
                <c:pt idx="822">
                  <c:v>0.66741168562129305</c:v>
                </c:pt>
                <c:pt idx="823">
                  <c:v>0.56822976972251671</c:v>
                </c:pt>
                <c:pt idx="824">
                  <c:v>0.39317748994341756</c:v>
                </c:pt>
                <c:pt idx="825">
                  <c:v>0.30618593003860245</c:v>
                </c:pt>
                <c:pt idx="826">
                  <c:v>0.3134440456140557</c:v>
                </c:pt>
                <c:pt idx="827">
                  <c:v>0.32573087451215788</c:v>
                </c:pt>
                <c:pt idx="828">
                  <c:v>0.39610347034188037</c:v>
                </c:pt>
                <c:pt idx="829">
                  <c:v>0.43283564485745041</c:v>
                </c:pt>
                <c:pt idx="830">
                  <c:v>0.35172918435628309</c:v>
                </c:pt>
                <c:pt idx="831">
                  <c:v>0.20726073405586634</c:v>
                </c:pt>
                <c:pt idx="832">
                  <c:v>0.26230435168451538</c:v>
                </c:pt>
                <c:pt idx="833">
                  <c:v>0.35451477386950847</c:v>
                </c:pt>
                <c:pt idx="834">
                  <c:v>0.41374509895174932</c:v>
                </c:pt>
                <c:pt idx="835">
                  <c:v>0.37147475362484</c:v>
                </c:pt>
                <c:pt idx="836">
                  <c:v>0.47257246257854169</c:v>
                </c:pt>
                <c:pt idx="837">
                  <c:v>0.49058613554089753</c:v>
                </c:pt>
                <c:pt idx="838">
                  <c:v>0.60188416888261331</c:v>
                </c:pt>
                <c:pt idx="839">
                  <c:v>0.76625957239555409</c:v>
                </c:pt>
                <c:pt idx="840">
                  <c:v>0.79605952839227045</c:v>
                </c:pt>
                <c:pt idx="841">
                  <c:v>0.59379550830729788</c:v>
                </c:pt>
                <c:pt idx="842">
                  <c:v>0.89298530664376718</c:v>
                </c:pt>
                <c:pt idx="843">
                  <c:v>0.80759764716114901</c:v>
                </c:pt>
                <c:pt idx="844">
                  <c:v>0.75714569553609889</c:v>
                </c:pt>
                <c:pt idx="845">
                  <c:v>0.60392024896799357</c:v>
                </c:pt>
                <c:pt idx="846">
                  <c:v>0.53747543068686032</c:v>
                </c:pt>
                <c:pt idx="847">
                  <c:v>0.68552829226267709</c:v>
                </c:pt>
                <c:pt idx="848">
                  <c:v>0.87950926923153805</c:v>
                </c:pt>
                <c:pt idx="849">
                  <c:v>0.75988321143048987</c:v>
                </c:pt>
                <c:pt idx="850">
                  <c:v>0.67276730091175718</c:v>
                </c:pt>
                <c:pt idx="851">
                  <c:v>0.73832880818233138</c:v>
                </c:pt>
                <c:pt idx="852">
                  <c:v>0.85837857527840566</c:v>
                </c:pt>
                <c:pt idx="853">
                  <c:v>0.89600054788181627</c:v>
                </c:pt>
                <c:pt idx="854">
                  <c:v>0.87285681496230616</c:v>
                </c:pt>
                <c:pt idx="855">
                  <c:v>0.81468854675863778</c:v>
                </c:pt>
                <c:pt idx="856">
                  <c:v>0.89532798734321362</c:v>
                </c:pt>
                <c:pt idx="857">
                  <c:v>0.92158874994397633</c:v>
                </c:pt>
                <c:pt idx="858">
                  <c:v>1.061020970340776</c:v>
                </c:pt>
                <c:pt idx="859">
                  <c:v>1.0772790047135392</c:v>
                </c:pt>
                <c:pt idx="860">
                  <c:v>1.1205673165382446</c:v>
                </c:pt>
                <c:pt idx="861">
                  <c:v>1.0899754207963499</c:v>
                </c:pt>
                <c:pt idx="862">
                  <c:v>1.1313832923537728</c:v>
                </c:pt>
                <c:pt idx="863">
                  <c:v>1.1265768319856342</c:v>
                </c:pt>
                <c:pt idx="864">
                  <c:v>1.0299237450722547</c:v>
                </c:pt>
                <c:pt idx="865">
                  <c:v>1.0822777912373507</c:v>
                </c:pt>
                <c:pt idx="866">
                  <c:v>1.0787615402660999</c:v>
                </c:pt>
                <c:pt idx="867">
                  <c:v>0.88754103029751819</c:v>
                </c:pt>
                <c:pt idx="868">
                  <c:v>0.73532122233901676</c:v>
                </c:pt>
                <c:pt idx="869">
                  <c:v>0.74354910786883655</c:v>
                </c:pt>
                <c:pt idx="870">
                  <c:v>0.84081438374425721</c:v>
                </c:pt>
                <c:pt idx="871">
                  <c:v>0.9146115126575296</c:v>
                </c:pt>
                <c:pt idx="872">
                  <c:v>0.92602764258041326</c:v>
                </c:pt>
                <c:pt idx="873">
                  <c:v>0.9370796763131527</c:v>
                </c:pt>
                <c:pt idx="874">
                  <c:v>1.0345465848119115</c:v>
                </c:pt>
                <c:pt idx="875">
                  <c:v>0.98557584948389354</c:v>
                </c:pt>
                <c:pt idx="876">
                  <c:v>0.97279094591404058</c:v>
                </c:pt>
                <c:pt idx="877">
                  <c:v>1.1086676031855627</c:v>
                </c:pt>
                <c:pt idx="878">
                  <c:v>1.1426450084556921</c:v>
                </c:pt>
                <c:pt idx="879">
                  <c:v>0.97899067401070416</c:v>
                </c:pt>
                <c:pt idx="880">
                  <c:v>1.1998838106445731</c:v>
                </c:pt>
                <c:pt idx="881">
                  <c:v>1.1878813565244073</c:v>
                </c:pt>
                <c:pt idx="882">
                  <c:v>1.2760690082648163</c:v>
                </c:pt>
                <c:pt idx="883">
                  <c:v>1.3817912513391593</c:v>
                </c:pt>
                <c:pt idx="884">
                  <c:v>1.3327156063682786</c:v>
                </c:pt>
                <c:pt idx="885">
                  <c:v>1.3765106724021154</c:v>
                </c:pt>
                <c:pt idx="886">
                  <c:v>1.2577824782511349</c:v>
                </c:pt>
                <c:pt idx="887">
                  <c:v>1.2094748951217293</c:v>
                </c:pt>
                <c:pt idx="888">
                  <c:v>1.2291982639632284</c:v>
                </c:pt>
                <c:pt idx="889">
                  <c:v>1.0268700489413618</c:v>
                </c:pt>
                <c:pt idx="890">
                  <c:v>1.1325092606853842</c:v>
                </c:pt>
                <c:pt idx="891">
                  <c:v>1.0460609460571377</c:v>
                </c:pt>
                <c:pt idx="892">
                  <c:v>1.0911579228598538</c:v>
                </c:pt>
                <c:pt idx="893">
                  <c:v>1.0919368089390336</c:v>
                </c:pt>
                <c:pt idx="894">
                  <c:v>1.3565345293443265</c:v>
                </c:pt>
                <c:pt idx="895">
                  <c:v>1.409010868225314</c:v>
                </c:pt>
                <c:pt idx="896">
                  <c:v>1.3266930601053817</c:v>
                </c:pt>
                <c:pt idx="897">
                  <c:v>1.2443828271038291</c:v>
                </c:pt>
                <c:pt idx="898">
                  <c:v>1.2744047262228697</c:v>
                </c:pt>
                <c:pt idx="899">
                  <c:v>1.3082813535377742</c:v>
                </c:pt>
                <c:pt idx="900">
                  <c:v>1.4520178050990147</c:v>
                </c:pt>
                <c:pt idx="901">
                  <c:v>1.6319909070365561</c:v>
                </c:pt>
                <c:pt idx="902">
                  <c:v>1.7012005513410315</c:v>
                </c:pt>
                <c:pt idx="903">
                  <c:v>1.7714510417030636</c:v>
                </c:pt>
                <c:pt idx="904">
                  <c:v>1.6569229373776597</c:v>
                </c:pt>
                <c:pt idx="905">
                  <c:v>1.5852453313218082</c:v>
                </c:pt>
                <c:pt idx="906">
                  <c:v>1.5647110407143892</c:v>
                </c:pt>
                <c:pt idx="907">
                  <c:v>1.6187908117323713</c:v>
                </c:pt>
                <c:pt idx="908">
                  <c:v>1.7519991709337783</c:v>
                </c:pt>
                <c:pt idx="909">
                  <c:v>1.8277251489295736</c:v>
                </c:pt>
                <c:pt idx="910">
                  <c:v>1.8755782305513569</c:v>
                </c:pt>
                <c:pt idx="911">
                  <c:v>1.9489649188214253</c:v>
                </c:pt>
                <c:pt idx="912">
                  <c:v>1.9861212323766264</c:v>
                </c:pt>
                <c:pt idx="913">
                  <c:v>2.1292948322206087</c:v>
                </c:pt>
                <c:pt idx="914">
                  <c:v>2.6316413154858269</c:v>
                </c:pt>
                <c:pt idx="915">
                  <c:v>3.072516360340372</c:v>
                </c:pt>
                <c:pt idx="916">
                  <c:v>2.9303111259938954</c:v>
                </c:pt>
                <c:pt idx="917">
                  <c:v>2.7450002875748352</c:v>
                </c:pt>
                <c:pt idx="918">
                  <c:v>2.3361417392913095</c:v>
                </c:pt>
                <c:pt idx="919">
                  <c:v>2.553732383812688</c:v>
                </c:pt>
                <c:pt idx="920">
                  <c:v>2.8334794546727089</c:v>
                </c:pt>
                <c:pt idx="921">
                  <c:v>2.8525834817417808</c:v>
                </c:pt>
                <c:pt idx="922">
                  <c:v>2.6811870328825607</c:v>
                </c:pt>
                <c:pt idx="923">
                  <c:v>2.5971674047216902</c:v>
                </c:pt>
                <c:pt idx="924">
                  <c:v>2.5150157883216124</c:v>
                </c:pt>
                <c:pt idx="925">
                  <c:v>2.3774027570066369</c:v>
                </c:pt>
                <c:pt idx="926">
                  <c:v>2.4133715020057642</c:v>
                </c:pt>
                <c:pt idx="927">
                  <c:v>2.3038721919299689</c:v>
                </c:pt>
                <c:pt idx="928">
                  <c:v>2.1319711852533754</c:v>
                </c:pt>
                <c:pt idx="929">
                  <c:v>2.1695221556582762</c:v>
                </c:pt>
                <c:pt idx="930">
                  <c:v>2.2328930866316212</c:v>
                </c:pt>
                <c:pt idx="931">
                  <c:v>2.1122127742635946</c:v>
                </c:pt>
                <c:pt idx="932">
                  <c:v>1.8673047147532267</c:v>
                </c:pt>
                <c:pt idx="933">
                  <c:v>1.8899871777571164</c:v>
                </c:pt>
                <c:pt idx="934">
                  <c:v>1.9680851415027041</c:v>
                </c:pt>
                <c:pt idx="935">
                  <c:v>1.9544085765830332</c:v>
                </c:pt>
                <c:pt idx="936">
                  <c:v>1.9928974286088026</c:v>
                </c:pt>
                <c:pt idx="937">
                  <c:v>2.1110718191438327</c:v>
                </c:pt>
                <c:pt idx="938">
                  <c:v>2.2868625792418631</c:v>
                </c:pt>
                <c:pt idx="939">
                  <c:v>2.5166355392647408</c:v>
                </c:pt>
                <c:pt idx="940">
                  <c:v>2.3445946501270569</c:v>
                </c:pt>
                <c:pt idx="941">
                  <c:v>2.1311239712268009</c:v>
                </c:pt>
                <c:pt idx="942">
                  <c:v>1.9502295683593474</c:v>
                </c:pt>
                <c:pt idx="943">
                  <c:v>1.7927543889068911</c:v>
                </c:pt>
                <c:pt idx="944">
                  <c:v>1.729730977116537</c:v>
                </c:pt>
                <c:pt idx="945">
                  <c:v>1.5805639495258292</c:v>
                </c:pt>
                <c:pt idx="946">
                  <c:v>1.5663304560243092</c:v>
                </c:pt>
                <c:pt idx="947">
                  <c:v>1.4609513812700268</c:v>
                </c:pt>
                <c:pt idx="948">
                  <c:v>1.2402130779943148</c:v>
                </c:pt>
                <c:pt idx="949">
                  <c:v>1.1963336107040403</c:v>
                </c:pt>
                <c:pt idx="950">
                  <c:v>1.2774701632563192</c:v>
                </c:pt>
                <c:pt idx="951">
                  <c:v>1.1755804323495425</c:v>
                </c:pt>
                <c:pt idx="952">
                  <c:v>1.1402650932670979</c:v>
                </c:pt>
                <c:pt idx="953">
                  <c:v>1.1696467844420932</c:v>
                </c:pt>
                <c:pt idx="954">
                  <c:v>1.2163348168935384</c:v>
                </c:pt>
                <c:pt idx="955">
                  <c:v>1.251359268690553</c:v>
                </c:pt>
                <c:pt idx="956">
                  <c:v>1.251457941510361</c:v>
                </c:pt>
                <c:pt idx="957">
                  <c:v>1.1723881782266141</c:v>
                </c:pt>
                <c:pt idx="958">
                  <c:v>1.121498978943261</c:v>
                </c:pt>
                <c:pt idx="959">
                  <c:v>1.1239673280069051</c:v>
                </c:pt>
                <c:pt idx="960">
                  <c:v>1.0971495159296674</c:v>
                </c:pt>
                <c:pt idx="961">
                  <c:v>1.2284923695841441</c:v>
                </c:pt>
                <c:pt idx="962">
                  <c:v>1.2986987410920923</c:v>
                </c:pt>
                <c:pt idx="963">
                  <c:v>1.2218593630096883</c:v>
                </c:pt>
                <c:pt idx="964">
                  <c:v>1.1524883474050784</c:v>
                </c:pt>
                <c:pt idx="965">
                  <c:v>1.0896411380145556</c:v>
                </c:pt>
                <c:pt idx="966">
                  <c:v>1.2628611620716699</c:v>
                </c:pt>
                <c:pt idx="967">
                  <c:v>1.303044123483144</c:v>
                </c:pt>
                <c:pt idx="968">
                  <c:v>1.392301509499198</c:v>
                </c:pt>
                <c:pt idx="969">
                  <c:v>1.4168860261822265</c:v>
                </c:pt>
                <c:pt idx="970">
                  <c:v>1.3726307430338127</c:v>
                </c:pt>
                <c:pt idx="971">
                  <c:v>1.3894545551804194</c:v>
                </c:pt>
                <c:pt idx="972">
                  <c:v>1.4969405995223011</c:v>
                </c:pt>
                <c:pt idx="973">
                  <c:v>1.5766745811508682</c:v>
                </c:pt>
                <c:pt idx="974">
                  <c:v>1.5206800976037878</c:v>
                </c:pt>
                <c:pt idx="975">
                  <c:v>1.4785639099005075</c:v>
                </c:pt>
                <c:pt idx="976">
                  <c:v>1.3987346038707216</c:v>
                </c:pt>
                <c:pt idx="977">
                  <c:v>1.3326806169233083</c:v>
                </c:pt>
                <c:pt idx="978">
                  <c:v>1.2684700787387546</c:v>
                </c:pt>
                <c:pt idx="979">
                  <c:v>1.3253441481510249</c:v>
                </c:pt>
                <c:pt idx="980">
                  <c:v>1.1895719763871881</c:v>
                </c:pt>
                <c:pt idx="981">
                  <c:v>1.1372614771397263</c:v>
                </c:pt>
                <c:pt idx="982">
                  <c:v>1.087856487341307</c:v>
                </c:pt>
                <c:pt idx="983">
                  <c:v>1.0311112011019594</c:v>
                </c:pt>
                <c:pt idx="984">
                  <c:v>0.80207156040431127</c:v>
                </c:pt>
                <c:pt idx="985">
                  <c:v>0.96451841083449041</c:v>
                </c:pt>
                <c:pt idx="986">
                  <c:v>1.1140582781897947</c:v>
                </c:pt>
                <c:pt idx="987">
                  <c:v>1.0794013745443178</c:v>
                </c:pt>
                <c:pt idx="988">
                  <c:v>1.1548856314232061</c:v>
                </c:pt>
                <c:pt idx="989">
                  <c:v>1.1841771563165782</c:v>
                </c:pt>
                <c:pt idx="990">
                  <c:v>1.2836582047182761</c:v>
                </c:pt>
                <c:pt idx="991">
                  <c:v>1.3610036875383458</c:v>
                </c:pt>
                <c:pt idx="992">
                  <c:v>1.5384916258807544</c:v>
                </c:pt>
                <c:pt idx="993">
                  <c:v>1.7072535200732881</c:v>
                </c:pt>
                <c:pt idx="994">
                  <c:v>1.6085248923353679</c:v>
                </c:pt>
                <c:pt idx="995">
                  <c:v>1.6228597154420106</c:v>
                </c:pt>
                <c:pt idx="996">
                  <c:v>1.5876924997920794</c:v>
                </c:pt>
                <c:pt idx="997">
                  <c:v>1.6705274685867462</c:v>
                </c:pt>
                <c:pt idx="998">
                  <c:v>1.7044074266989027</c:v>
                </c:pt>
                <c:pt idx="999">
                  <c:v>1.6507926886903159</c:v>
                </c:pt>
                <c:pt idx="1000">
                  <c:v>1.6115276377502861</c:v>
                </c:pt>
                <c:pt idx="1001">
                  <c:v>1.4931824237508715</c:v>
                </c:pt>
                <c:pt idx="1002">
                  <c:v>1.4760946216457485</c:v>
                </c:pt>
                <c:pt idx="1003">
                  <c:v>1.4899376277614986</c:v>
                </c:pt>
                <c:pt idx="1004">
                  <c:v>1.5925005646704928</c:v>
                </c:pt>
                <c:pt idx="1005">
                  <c:v>1.7062848539683335</c:v>
                </c:pt>
                <c:pt idx="1006">
                  <c:v>1.6486630184587296</c:v>
                </c:pt>
                <c:pt idx="1007">
                  <c:v>1.5713090724075665</c:v>
                </c:pt>
                <c:pt idx="1008">
                  <c:v>1.601616678042332</c:v>
                </c:pt>
                <c:pt idx="1009">
                  <c:v>1.6584586139637247</c:v>
                </c:pt>
                <c:pt idx="1010">
                  <c:v>1.8720677253295785</c:v>
                </c:pt>
                <c:pt idx="1011">
                  <c:v>1.9148002561909121</c:v>
                </c:pt>
                <c:pt idx="1012">
                  <c:v>1.8144389359281314</c:v>
                </c:pt>
                <c:pt idx="1013">
                  <c:v>1.9085791780626569</c:v>
                </c:pt>
                <c:pt idx="1014">
                  <c:v>1.7669465087681111</c:v>
                </c:pt>
                <c:pt idx="1015">
                  <c:v>1.9950696461449549</c:v>
                </c:pt>
                <c:pt idx="1016">
                  <c:v>1.9381233038129855</c:v>
                </c:pt>
                <c:pt idx="1017">
                  <c:v>1.9579905906219475</c:v>
                </c:pt>
                <c:pt idx="1018">
                  <c:v>1.9412973164602767</c:v>
                </c:pt>
                <c:pt idx="1019">
                  <c:v>1.7830929815458409</c:v>
                </c:pt>
                <c:pt idx="1020">
                  <c:v>1.7850627021359164</c:v>
                </c:pt>
                <c:pt idx="1021">
                  <c:v>1.6473457814652495</c:v>
                </c:pt>
                <c:pt idx="1022">
                  <c:v>1.5764478661314583</c:v>
                </c:pt>
                <c:pt idx="1023">
                  <c:v>1.4573595927551637</c:v>
                </c:pt>
                <c:pt idx="1024">
                  <c:v>1.0979742566114692</c:v>
                </c:pt>
                <c:pt idx="1025">
                  <c:v>1.346104835239921</c:v>
                </c:pt>
                <c:pt idx="1026">
                  <c:v>1.2949538905864937</c:v>
                </c:pt>
                <c:pt idx="1027">
                  <c:v>1.2579493029825346</c:v>
                </c:pt>
                <c:pt idx="1028">
                  <c:v>1.2082241763095687</c:v>
                </c:pt>
                <c:pt idx="1029">
                  <c:v>1.4521031773881321</c:v>
                </c:pt>
                <c:pt idx="1030">
                  <c:v>1.5312074514555891</c:v>
                </c:pt>
                <c:pt idx="1031">
                  <c:v>1.5564158009090172</c:v>
                </c:pt>
                <c:pt idx="1032">
                  <c:v>1.4562571075994004</c:v>
                </c:pt>
                <c:pt idx="1033">
                  <c:v>1.5990783411680998</c:v>
                </c:pt>
                <c:pt idx="1034">
                  <c:v>1.6840185955800133</c:v>
                </c:pt>
                <c:pt idx="1035">
                  <c:v>1.5897614720143696</c:v>
                </c:pt>
                <c:pt idx="1036">
                  <c:v>1.5628748893653981</c:v>
                </c:pt>
                <c:pt idx="1037">
                  <c:v>1.4599148831015389</c:v>
                </c:pt>
                <c:pt idx="1038">
                  <c:v>1.2119854059768436</c:v>
                </c:pt>
                <c:pt idx="1039">
                  <c:v>1.0867824464784952</c:v>
                </c:pt>
                <c:pt idx="1040">
                  <c:v>1.0302857363062485</c:v>
                </c:pt>
                <c:pt idx="1041">
                  <c:v>0.95572726568550392</c:v>
                </c:pt>
                <c:pt idx="1042">
                  <c:v>0.76440491467467464</c:v>
                </c:pt>
                <c:pt idx="1043">
                  <c:v>0.85254411146271059</c:v>
                </c:pt>
                <c:pt idx="1044">
                  <c:v>0.7574933070866835</c:v>
                </c:pt>
                <c:pt idx="1045">
                  <c:v>0.71839817824497998</c:v>
                </c:pt>
                <c:pt idx="1046">
                  <c:v>0.70641969457413079</c:v>
                </c:pt>
                <c:pt idx="1047">
                  <c:v>0.67749080650775595</c:v>
                </c:pt>
                <c:pt idx="1048">
                  <c:v>0.59754734852977553</c:v>
                </c:pt>
                <c:pt idx="1049">
                  <c:v>0.65218505391001735</c:v>
                </c:pt>
                <c:pt idx="1050">
                  <c:v>0.56889742623220285</c:v>
                </c:pt>
                <c:pt idx="1051">
                  <c:v>0.57353845892398103</c:v>
                </c:pt>
                <c:pt idx="1052">
                  <c:v>0.69509649374139304</c:v>
                </c:pt>
                <c:pt idx="1053">
                  <c:v>0.62901039191830566</c:v>
                </c:pt>
                <c:pt idx="1054">
                  <c:v>0.66680123603839458</c:v>
                </c:pt>
                <c:pt idx="1055">
                  <c:v>0.71007856865352958</c:v>
                </c:pt>
                <c:pt idx="1056">
                  <c:v>0.31728729526097277</c:v>
                </c:pt>
                <c:pt idx="1057">
                  <c:v>0.23521311875287115</c:v>
                </c:pt>
                <c:pt idx="1058">
                  <c:v>7.2671018471138937E-2</c:v>
                </c:pt>
                <c:pt idx="1059">
                  <c:v>8.63002946540809E-2</c:v>
                </c:pt>
                <c:pt idx="1060">
                  <c:v>0.17129457864881981</c:v>
                </c:pt>
                <c:pt idx="1061">
                  <c:v>0.18813937236612821</c:v>
                </c:pt>
                <c:pt idx="1062">
                  <c:v>0.26489939125907991</c:v>
                </c:pt>
                <c:pt idx="1063">
                  <c:v>0.20217371750239033</c:v>
                </c:pt>
                <c:pt idx="1064">
                  <c:v>-0.1203275099895259</c:v>
                </c:pt>
                <c:pt idx="1065">
                  <c:v>-0.27055904446856438</c:v>
                </c:pt>
                <c:pt idx="1066">
                  <c:v>-0.43016989334436406</c:v>
                </c:pt>
                <c:pt idx="1067">
                  <c:v>-0.37317660426514865</c:v>
                </c:pt>
                <c:pt idx="1068">
                  <c:v>-0.35561968223348983</c:v>
                </c:pt>
                <c:pt idx="1069">
                  <c:v>-0.28711814458812901</c:v>
                </c:pt>
                <c:pt idx="1070">
                  <c:v>-0.30338991207176136</c:v>
                </c:pt>
                <c:pt idx="1071">
                  <c:v>-0.36530370868970624</c:v>
                </c:pt>
                <c:pt idx="1072">
                  <c:v>-0.39219392164899536</c:v>
                </c:pt>
                <c:pt idx="1073">
                  <c:v>-0.33492532063664265</c:v>
                </c:pt>
                <c:pt idx="1074">
                  <c:v>-0.29137760051938477</c:v>
                </c:pt>
                <c:pt idx="1075">
                  <c:v>-0.35157935093636883</c:v>
                </c:pt>
                <c:pt idx="1076">
                  <c:v>-0.19701549467289661</c:v>
                </c:pt>
                <c:pt idx="1077">
                  <c:v>-0.36325118711671855</c:v>
                </c:pt>
                <c:pt idx="1078">
                  <c:v>-0.36072267935357311</c:v>
                </c:pt>
                <c:pt idx="1079">
                  <c:v>-0.43890724892336114</c:v>
                </c:pt>
                <c:pt idx="1080">
                  <c:v>-0.38409307282726279</c:v>
                </c:pt>
                <c:pt idx="1081">
                  <c:v>-0.33736495443532133</c:v>
                </c:pt>
                <c:pt idx="1082">
                  <c:v>-0.38534605633647534</c:v>
                </c:pt>
                <c:pt idx="1083">
                  <c:v>-0.32635331053703609</c:v>
                </c:pt>
                <c:pt idx="1084">
                  <c:v>-0.34118961116949631</c:v>
                </c:pt>
                <c:pt idx="1085">
                  <c:v>-0.51257410200053677</c:v>
                </c:pt>
                <c:pt idx="1086">
                  <c:v>-0.64863206266128937</c:v>
                </c:pt>
                <c:pt idx="1087">
                  <c:v>-0.56854366489917518</c:v>
                </c:pt>
                <c:pt idx="1088">
                  <c:v>-0.54370837190954535</c:v>
                </c:pt>
                <c:pt idx="1089">
                  <c:v>-0.5633302015981615</c:v>
                </c:pt>
                <c:pt idx="1090">
                  <c:v>-0.53871618967943213</c:v>
                </c:pt>
                <c:pt idx="1091">
                  <c:v>-0.59119550635157658</c:v>
                </c:pt>
                <c:pt idx="1092">
                  <c:v>-0.46215264352912505</c:v>
                </c:pt>
                <c:pt idx="1093">
                  <c:v>-0.47224984228858452</c:v>
                </c:pt>
                <c:pt idx="1094">
                  <c:v>-0.57495644822060332</c:v>
                </c:pt>
                <c:pt idx="1095">
                  <c:v>-0.5628511088444752</c:v>
                </c:pt>
                <c:pt idx="1096">
                  <c:v>-0.51226365041545086</c:v>
                </c:pt>
                <c:pt idx="1097">
                  <c:v>-0.56357963308033543</c:v>
                </c:pt>
                <c:pt idx="1098">
                  <c:v>-0.53616787398142518</c:v>
                </c:pt>
                <c:pt idx="1099">
                  <c:v>-0.4590404865826615</c:v>
                </c:pt>
                <c:pt idx="1100">
                  <c:v>-0.21403877356612228</c:v>
                </c:pt>
                <c:pt idx="1101">
                  <c:v>-0.19285304248593757</c:v>
                </c:pt>
                <c:pt idx="1102">
                  <c:v>-0.30926873476117267</c:v>
                </c:pt>
                <c:pt idx="1103">
                  <c:v>-0.27878531055767319</c:v>
                </c:pt>
                <c:pt idx="1104">
                  <c:v>-0.34378553900603881</c:v>
                </c:pt>
                <c:pt idx="1105">
                  <c:v>-0.43249961729750297</c:v>
                </c:pt>
                <c:pt idx="1106">
                  <c:v>-0.51328120479163475</c:v>
                </c:pt>
                <c:pt idx="1107">
                  <c:v>-0.50076241647387787</c:v>
                </c:pt>
                <c:pt idx="1108">
                  <c:v>-0.48970662496004036</c:v>
                </c:pt>
                <c:pt idx="1109">
                  <c:v>-0.49359517694121724</c:v>
                </c:pt>
                <c:pt idx="1110">
                  <c:v>-0.5657739059816046</c:v>
                </c:pt>
                <c:pt idx="1111">
                  <c:v>-0.73902118528703231</c:v>
                </c:pt>
                <c:pt idx="1112">
                  <c:v>-0.77525780183858406</c:v>
                </c:pt>
                <c:pt idx="1113">
                  <c:v>-0.88716219321650125</c:v>
                </c:pt>
                <c:pt idx="1114">
                  <c:v>-0.94855639851272788</c:v>
                </c:pt>
                <c:pt idx="1115">
                  <c:v>-0.93534042683263907</c:v>
                </c:pt>
                <c:pt idx="1116">
                  <c:v>-0.88663272430750073</c:v>
                </c:pt>
                <c:pt idx="1117">
                  <c:v>-0.77205860906728185</c:v>
                </c:pt>
                <c:pt idx="1118">
                  <c:v>-0.72402470399791274</c:v>
                </c:pt>
                <c:pt idx="1119">
                  <c:v>-0.9025391343914565</c:v>
                </c:pt>
                <c:pt idx="1120">
                  <c:v>-0.82650166501891387</c:v>
                </c:pt>
                <c:pt idx="1121">
                  <c:v>-0.6388425463644074</c:v>
                </c:pt>
                <c:pt idx="1122">
                  <c:v>-0.56376532966735937</c:v>
                </c:pt>
                <c:pt idx="1123">
                  <c:v>-0.47414776750698118</c:v>
                </c:pt>
                <c:pt idx="1124">
                  <c:v>-0.44177777385710243</c:v>
                </c:pt>
                <c:pt idx="1125">
                  <c:v>-0.60094315644340091</c:v>
                </c:pt>
                <c:pt idx="1126">
                  <c:v>-0.68210941166686034</c:v>
                </c:pt>
                <c:pt idx="1127">
                  <c:v>-0.56278300363256117</c:v>
                </c:pt>
                <c:pt idx="1128">
                  <c:v>-0.76812928527793922</c:v>
                </c:pt>
                <c:pt idx="1129">
                  <c:v>-0.90536719032296953</c:v>
                </c:pt>
                <c:pt idx="1130">
                  <c:v>-1.04455263019649</c:v>
                </c:pt>
                <c:pt idx="1131">
                  <c:v>-1.0513824977758661</c:v>
                </c:pt>
                <c:pt idx="1132">
                  <c:v>-0.99758627061359362</c:v>
                </c:pt>
                <c:pt idx="1133">
                  <c:v>-1.1324484365047971</c:v>
                </c:pt>
                <c:pt idx="1134">
                  <c:v>-1.1115286127602104</c:v>
                </c:pt>
                <c:pt idx="1135">
                  <c:v>-1.3898351983229762</c:v>
                </c:pt>
                <c:pt idx="1136">
                  <c:v>-1.2795312634742906</c:v>
                </c:pt>
                <c:pt idx="1137">
                  <c:v>-1.2627056843519719</c:v>
                </c:pt>
                <c:pt idx="1138">
                  <c:v>-1.2801667841085236</c:v>
                </c:pt>
                <c:pt idx="1139">
                  <c:v>-1.2629579544351421</c:v>
                </c:pt>
                <c:pt idx="1140">
                  <c:v>-1.4317985453104332</c:v>
                </c:pt>
                <c:pt idx="1141">
                  <c:v>-1.3598087081359114</c:v>
                </c:pt>
                <c:pt idx="1142">
                  <c:v>-1.3702958899163984</c:v>
                </c:pt>
                <c:pt idx="1143">
                  <c:v>-1.3066891499213806</c:v>
                </c:pt>
                <c:pt idx="1144">
                  <c:v>-1.3124803214173064</c:v>
                </c:pt>
                <c:pt idx="1145">
                  <c:v>-1.1717109616144625</c:v>
                </c:pt>
                <c:pt idx="1146">
                  <c:v>-1.0136623704743895</c:v>
                </c:pt>
                <c:pt idx="1147">
                  <c:v>-1.011421193937442</c:v>
                </c:pt>
                <c:pt idx="1148">
                  <c:v>-1.0581689976704036</c:v>
                </c:pt>
                <c:pt idx="1149">
                  <c:v>-1.0718697818780134</c:v>
                </c:pt>
                <c:pt idx="1150">
                  <c:v>-1.1289556491463666</c:v>
                </c:pt>
                <c:pt idx="1151">
                  <c:v>-0.9642900936035006</c:v>
                </c:pt>
                <c:pt idx="1152">
                  <c:v>-0.82590597879692607</c:v>
                </c:pt>
                <c:pt idx="1153">
                  <c:v>-0.95058924850572113</c:v>
                </c:pt>
                <c:pt idx="1154">
                  <c:v>-1.1092506336591192</c:v>
                </c:pt>
                <c:pt idx="1155">
                  <c:v>-0.910500573046095</c:v>
                </c:pt>
                <c:pt idx="1156">
                  <c:v>-0.90233747271898412</c:v>
                </c:pt>
                <c:pt idx="1157">
                  <c:v>-0.94016690470119113</c:v>
                </c:pt>
                <c:pt idx="1158">
                  <c:v>-0.96013956475928053</c:v>
                </c:pt>
                <c:pt idx="1159">
                  <c:v>-0.89630094325384702</c:v>
                </c:pt>
                <c:pt idx="1160">
                  <c:v>-1.0163542667792478</c:v>
                </c:pt>
                <c:pt idx="1161">
                  <c:v>-1.0026256048721642</c:v>
                </c:pt>
                <c:pt idx="1162">
                  <c:v>-0.86848236361321463</c:v>
                </c:pt>
                <c:pt idx="1163">
                  <c:v>-1.000498323071799</c:v>
                </c:pt>
                <c:pt idx="1164">
                  <c:v>-1.1116922967863878</c:v>
                </c:pt>
                <c:pt idx="1165">
                  <c:v>-1.0110524823693536</c:v>
                </c:pt>
                <c:pt idx="1166">
                  <c:v>-1.0184961339391678</c:v>
                </c:pt>
                <c:pt idx="1167">
                  <c:v>-1.0491585421340608</c:v>
                </c:pt>
                <c:pt idx="1168">
                  <c:v>-0.96973685851166103</c:v>
                </c:pt>
                <c:pt idx="1169">
                  <c:v>-0.94793614779829505</c:v>
                </c:pt>
                <c:pt idx="1170">
                  <c:v>-0.69141199100858508</c:v>
                </c:pt>
                <c:pt idx="1171">
                  <c:v>-0.81921729708795887</c:v>
                </c:pt>
                <c:pt idx="1172">
                  <c:v>-0.76448234828407802</c:v>
                </c:pt>
                <c:pt idx="1173">
                  <c:v>-0.65581102777592226</c:v>
                </c:pt>
                <c:pt idx="1174">
                  <c:v>-0.65000492439141888</c:v>
                </c:pt>
                <c:pt idx="1175">
                  <c:v>-0.72712452448562692</c:v>
                </c:pt>
                <c:pt idx="1176">
                  <c:v>-0.92150804403005804</c:v>
                </c:pt>
                <c:pt idx="1177">
                  <c:v>-0.96191414585689228</c:v>
                </c:pt>
                <c:pt idx="1178">
                  <c:v>-0.91655566324782622</c:v>
                </c:pt>
                <c:pt idx="1179">
                  <c:v>-0.55021158254311209</c:v>
                </c:pt>
                <c:pt idx="1180">
                  <c:v>-0.69949875836291819</c:v>
                </c:pt>
                <c:pt idx="1181">
                  <c:v>-0.46044055654395111</c:v>
                </c:pt>
                <c:pt idx="1182">
                  <c:v>-0.52674420318514326</c:v>
                </c:pt>
                <c:pt idx="1183">
                  <c:v>-0.66406983120264651</c:v>
                </c:pt>
                <c:pt idx="1184">
                  <c:v>-0.58804462097907906</c:v>
                </c:pt>
                <c:pt idx="1185">
                  <c:v>-0.55323951256182491</c:v>
                </c:pt>
                <c:pt idx="1186">
                  <c:v>-0.56260322875208457</c:v>
                </c:pt>
                <c:pt idx="1187">
                  <c:v>-0.70093377104805088</c:v>
                </c:pt>
                <c:pt idx="1188">
                  <c:v>-0.89673677309979294</c:v>
                </c:pt>
                <c:pt idx="1189">
                  <c:v>-0.98297058484558986</c:v>
                </c:pt>
                <c:pt idx="1190">
                  <c:v>-0.94178205238238422</c:v>
                </c:pt>
                <c:pt idx="1191">
                  <c:v>-1.0075800207880565</c:v>
                </c:pt>
                <c:pt idx="1192">
                  <c:v>-1.0672866061693245</c:v>
                </c:pt>
                <c:pt idx="1193">
                  <c:v>-1.0424056317578201</c:v>
                </c:pt>
                <c:pt idx="1194">
                  <c:v>-1.2177002437867941</c:v>
                </c:pt>
                <c:pt idx="1195">
                  <c:v>-1.169376812952938</c:v>
                </c:pt>
                <c:pt idx="1196">
                  <c:v>-1.0325300914165467</c:v>
                </c:pt>
                <c:pt idx="1197">
                  <c:v>-1.0663365746290507</c:v>
                </c:pt>
                <c:pt idx="1198">
                  <c:v>-1.0689001357125441</c:v>
                </c:pt>
                <c:pt idx="1199">
                  <c:v>-1.2281755232476572</c:v>
                </c:pt>
                <c:pt idx="1200">
                  <c:v>-1.2478980443476537</c:v>
                </c:pt>
                <c:pt idx="1201">
                  <c:v>-1.1181341074948128</c:v>
                </c:pt>
                <c:pt idx="1202">
                  <c:v>-1.1160223964691776</c:v>
                </c:pt>
                <c:pt idx="1203">
                  <c:v>-1.1395144127522561</c:v>
                </c:pt>
                <c:pt idx="1204">
                  <c:v>-1.068439742428581</c:v>
                </c:pt>
                <c:pt idx="1205">
                  <c:v>-1.1847082583524515</c:v>
                </c:pt>
                <c:pt idx="1206">
                  <c:v>-1.3009946408979183</c:v>
                </c:pt>
                <c:pt idx="1207">
                  <c:v>-1.361862017851984</c:v>
                </c:pt>
                <c:pt idx="1208">
                  <c:v>-1.2819746409850135</c:v>
                </c:pt>
                <c:pt idx="1209">
                  <c:v>-1.2921876054396284</c:v>
                </c:pt>
                <c:pt idx="1210">
                  <c:v>-1.2136524716060293</c:v>
                </c:pt>
                <c:pt idx="1211">
                  <c:v>-1.1973337384375649</c:v>
                </c:pt>
                <c:pt idx="1212">
                  <c:v>-1.0911056669779269</c:v>
                </c:pt>
                <c:pt idx="1213">
                  <c:v>-1.0052239950970583</c:v>
                </c:pt>
                <c:pt idx="1214">
                  <c:v>-1.0739211678365295</c:v>
                </c:pt>
                <c:pt idx="1215">
                  <c:v>-1.1318699603348832</c:v>
                </c:pt>
                <c:pt idx="1216">
                  <c:v>-1.192014387157188</c:v>
                </c:pt>
                <c:pt idx="1217">
                  <c:v>-1.1079129331458932</c:v>
                </c:pt>
                <c:pt idx="1218">
                  <c:v>-1.0016078189285045</c:v>
                </c:pt>
                <c:pt idx="1219">
                  <c:v>-0.88441445254419082</c:v>
                </c:pt>
                <c:pt idx="1220">
                  <c:v>-1.0155770566615765</c:v>
                </c:pt>
                <c:pt idx="1221">
                  <c:v>-1.0155145746715659</c:v>
                </c:pt>
                <c:pt idx="1222">
                  <c:v>-0.96130857702366779</c:v>
                </c:pt>
                <c:pt idx="1223">
                  <c:v>-0.80533488934186148</c:v>
                </c:pt>
                <c:pt idx="1224">
                  <c:v>-1.0775958469725153</c:v>
                </c:pt>
                <c:pt idx="1225">
                  <c:v>-0.69994385321909347</c:v>
                </c:pt>
                <c:pt idx="1226">
                  <c:v>-0.83743167360751669</c:v>
                </c:pt>
                <c:pt idx="1227">
                  <c:v>-0.79028267923291839</c:v>
                </c:pt>
                <c:pt idx="1228">
                  <c:v>-0.70141605423902886</c:v>
                </c:pt>
                <c:pt idx="1229">
                  <c:v>-0.6333299437436628</c:v>
                </c:pt>
                <c:pt idx="1230">
                  <c:v>-0.65426161886050849</c:v>
                </c:pt>
                <c:pt idx="1231">
                  <c:v>-0.69555528929218469</c:v>
                </c:pt>
                <c:pt idx="1232">
                  <c:v>-0.57815831229768611</c:v>
                </c:pt>
                <c:pt idx="1233">
                  <c:v>-0.53329647538207803</c:v>
                </c:pt>
                <c:pt idx="1234">
                  <c:v>-0.47664045119866444</c:v>
                </c:pt>
                <c:pt idx="1235">
                  <c:v>-0.56075588327357828</c:v>
                </c:pt>
                <c:pt idx="1236">
                  <c:v>-0.37050679801405406</c:v>
                </c:pt>
                <c:pt idx="1237">
                  <c:v>-0.26471471299613392</c:v>
                </c:pt>
                <c:pt idx="1238">
                  <c:v>-0.3364795656081444</c:v>
                </c:pt>
                <c:pt idx="1239">
                  <c:v>-0.27133685676948011</c:v>
                </c:pt>
                <c:pt idx="1240">
                  <c:v>-0.39850877883921981</c:v>
                </c:pt>
                <c:pt idx="1241">
                  <c:v>-0.49597117151936676</c:v>
                </c:pt>
                <c:pt idx="1242">
                  <c:v>-0.49882335392692201</c:v>
                </c:pt>
                <c:pt idx="1243">
                  <c:v>-0.52947305435747882</c:v>
                </c:pt>
                <c:pt idx="1244">
                  <c:v>-0.57673425448784332</c:v>
                </c:pt>
                <c:pt idx="1245">
                  <c:v>-0.46740384889495484</c:v>
                </c:pt>
                <c:pt idx="1246">
                  <c:v>-9.8941378963745996E-2</c:v>
                </c:pt>
                <c:pt idx="1247">
                  <c:v>9.6314663726698446E-2</c:v>
                </c:pt>
                <c:pt idx="1248">
                  <c:v>0.17343175892741669</c:v>
                </c:pt>
                <c:pt idx="1249">
                  <c:v>4.431332690916534E-2</c:v>
                </c:pt>
                <c:pt idx="1250">
                  <c:v>-9.1660751899799275E-2</c:v>
                </c:pt>
                <c:pt idx="1251">
                  <c:v>-0.10818870832859712</c:v>
                </c:pt>
                <c:pt idx="1252">
                  <c:v>-0.15697232047306589</c:v>
                </c:pt>
                <c:pt idx="1253">
                  <c:v>-0.16926699782266086</c:v>
                </c:pt>
                <c:pt idx="1254">
                  <c:v>-0.15938437475119158</c:v>
                </c:pt>
                <c:pt idx="1255">
                  <c:v>-0.21652645244537164</c:v>
                </c:pt>
                <c:pt idx="1256">
                  <c:v>-0.22363003828414391</c:v>
                </c:pt>
                <c:pt idx="1257">
                  <c:v>-0.29607102112116795</c:v>
                </c:pt>
                <c:pt idx="1258">
                  <c:v>-0.46093425245079817</c:v>
                </c:pt>
                <c:pt idx="1259">
                  <c:v>-0.54835575824234262</c:v>
                </c:pt>
                <c:pt idx="1260">
                  <c:v>-0.72879015102662503</c:v>
                </c:pt>
                <c:pt idx="1261">
                  <c:v>-0.59635024811221282</c:v>
                </c:pt>
                <c:pt idx="1262">
                  <c:v>-0.62835725770075335</c:v>
                </c:pt>
                <c:pt idx="1263">
                  <c:v>-0.63809396253779305</c:v>
                </c:pt>
                <c:pt idx="1264">
                  <c:v>-0.70677730707191899</c:v>
                </c:pt>
                <c:pt idx="1265">
                  <c:v>-0.71575332136095193</c:v>
                </c:pt>
                <c:pt idx="1266">
                  <c:v>-0.68614835222841553</c:v>
                </c:pt>
                <c:pt idx="1267">
                  <c:v>-0.84979521104249756</c:v>
                </c:pt>
                <c:pt idx="1268">
                  <c:v>-0.58884648756981017</c:v>
                </c:pt>
                <c:pt idx="1269">
                  <c:v>-0.52542367002547186</c:v>
                </c:pt>
                <c:pt idx="1270">
                  <c:v>-0.65390115568221197</c:v>
                </c:pt>
                <c:pt idx="1271">
                  <c:v>-0.72381344596954023</c:v>
                </c:pt>
                <c:pt idx="1272">
                  <c:v>-0.67187585472929856</c:v>
                </c:pt>
                <c:pt idx="1273">
                  <c:v>-0.68277439812640595</c:v>
                </c:pt>
                <c:pt idx="1274">
                  <c:v>-0.73903892774036606</c:v>
                </c:pt>
                <c:pt idx="1275">
                  <c:v>-0.91915700306038872</c:v>
                </c:pt>
                <c:pt idx="1276">
                  <c:v>-0.77653647370603762</c:v>
                </c:pt>
                <c:pt idx="1277">
                  <c:v>-0.9798856043796238</c:v>
                </c:pt>
                <c:pt idx="1278">
                  <c:v>-1.0216787845596285</c:v>
                </c:pt>
                <c:pt idx="1279">
                  <c:v>-1.0755960864131786</c:v>
                </c:pt>
                <c:pt idx="1280">
                  <c:v>-1.132330759621464</c:v>
                </c:pt>
                <c:pt idx="1281">
                  <c:v>-1.1546858865786631</c:v>
                </c:pt>
                <c:pt idx="1282">
                  <c:v>-0.99941331106166909</c:v>
                </c:pt>
                <c:pt idx="1283">
                  <c:v>-1.0344843275435973</c:v>
                </c:pt>
                <c:pt idx="1284">
                  <c:v>-0.97934434514487845</c:v>
                </c:pt>
                <c:pt idx="1285">
                  <c:v>-1.000342520934429</c:v>
                </c:pt>
                <c:pt idx="1286">
                  <c:v>-1.0060817452149664</c:v>
                </c:pt>
                <c:pt idx="1287">
                  <c:v>-0.94825633402394038</c:v>
                </c:pt>
                <c:pt idx="1288">
                  <c:v>-1.0540870236013131</c:v>
                </c:pt>
                <c:pt idx="1289">
                  <c:v>-1.1216835122251361</c:v>
                </c:pt>
                <c:pt idx="1290">
                  <c:v>-1.2822527955445198</c:v>
                </c:pt>
                <c:pt idx="1291">
                  <c:v>-1.3162582056224081</c:v>
                </c:pt>
                <c:pt idx="1292">
                  <c:v>-1.3394854641340754</c:v>
                </c:pt>
                <c:pt idx="1293">
                  <c:v>-1.4765412288414608</c:v>
                </c:pt>
                <c:pt idx="1294">
                  <c:v>-1.4138785950753774</c:v>
                </c:pt>
                <c:pt idx="1295">
                  <c:v>-1.3033870901712223</c:v>
                </c:pt>
                <c:pt idx="1296">
                  <c:v>-1.128043374397109</c:v>
                </c:pt>
                <c:pt idx="1297">
                  <c:v>-1.1476277541796793</c:v>
                </c:pt>
                <c:pt idx="1298">
                  <c:v>-1.0219808805484529</c:v>
                </c:pt>
                <c:pt idx="1299">
                  <c:v>-1.3982128609521638</c:v>
                </c:pt>
                <c:pt idx="1300">
                  <c:v>-1.3056725750456581</c:v>
                </c:pt>
                <c:pt idx="1301">
                  <c:v>-1.2106428369138562</c:v>
                </c:pt>
                <c:pt idx="1302">
                  <c:v>-0.94217191304198766</c:v>
                </c:pt>
                <c:pt idx="1303">
                  <c:v>-0.80100579256046966</c:v>
                </c:pt>
                <c:pt idx="1304">
                  <c:v>-0.97188623999242907</c:v>
                </c:pt>
                <c:pt idx="1305">
                  <c:v>-0.8824638240972803</c:v>
                </c:pt>
                <c:pt idx="1306">
                  <c:v>-0.73864814958691005</c:v>
                </c:pt>
                <c:pt idx="1307">
                  <c:v>-1.1719522246608698</c:v>
                </c:pt>
                <c:pt idx="1308">
                  <c:v>-1.0792853806049332</c:v>
                </c:pt>
                <c:pt idx="1309">
                  <c:v>-1.0746164401930665</c:v>
                </c:pt>
                <c:pt idx="1310">
                  <c:v>-1.0828189064431111</c:v>
                </c:pt>
                <c:pt idx="1311">
                  <c:v>-1.0406779585560608</c:v>
                </c:pt>
                <c:pt idx="1312">
                  <c:v>-1.0433369781571127</c:v>
                </c:pt>
                <c:pt idx="1313">
                  <c:v>-0.96718829242018933</c:v>
                </c:pt>
                <c:pt idx="1314">
                  <c:v>-0.86460054055051627</c:v>
                </c:pt>
                <c:pt idx="1315">
                  <c:v>-0.94965025863935171</c:v>
                </c:pt>
                <c:pt idx="1316">
                  <c:v>-0.89252520646968581</c:v>
                </c:pt>
                <c:pt idx="1317">
                  <c:v>-0.98534669469536618</c:v>
                </c:pt>
                <c:pt idx="1318">
                  <c:v>-0.88588212832886026</c:v>
                </c:pt>
                <c:pt idx="1319">
                  <c:v>-1.2908512060005877</c:v>
                </c:pt>
                <c:pt idx="1320">
                  <c:v>-1.3642966490336712</c:v>
                </c:pt>
                <c:pt idx="1321">
                  <c:v>-1.2664023654120702</c:v>
                </c:pt>
                <c:pt idx="1322">
                  <c:v>-1.3185239267770701</c:v>
                </c:pt>
                <c:pt idx="1323">
                  <c:v>-1.3004450666903673</c:v>
                </c:pt>
                <c:pt idx="1324">
                  <c:v>-1.0690418241316961</c:v>
                </c:pt>
                <c:pt idx="1325">
                  <c:v>-1.0952921789568497</c:v>
                </c:pt>
                <c:pt idx="1326">
                  <c:v>-1.1472919825535992</c:v>
                </c:pt>
                <c:pt idx="1327">
                  <c:v>-1.2661813480650912</c:v>
                </c:pt>
                <c:pt idx="1328">
                  <c:v>-1.2186511421040762</c:v>
                </c:pt>
                <c:pt idx="1329">
                  <c:v>-1.1068711422676538</c:v>
                </c:pt>
                <c:pt idx="1330">
                  <c:v>-1.1291394781388024</c:v>
                </c:pt>
                <c:pt idx="1331">
                  <c:v>-0.99506686422790036</c:v>
                </c:pt>
                <c:pt idx="1332">
                  <c:v>-0.99190219288115988</c:v>
                </c:pt>
                <c:pt idx="1333">
                  <c:v>-0.90727636406751622</c:v>
                </c:pt>
                <c:pt idx="1334">
                  <c:v>-1.1170727831801412</c:v>
                </c:pt>
                <c:pt idx="1335">
                  <c:v>-1.1047645983698422</c:v>
                </c:pt>
                <c:pt idx="1336">
                  <c:v>-1.0877784670463355</c:v>
                </c:pt>
                <c:pt idx="1337">
                  <c:v>-1.084856705849564</c:v>
                </c:pt>
                <c:pt idx="1338">
                  <c:v>-1.3322784871170943</c:v>
                </c:pt>
                <c:pt idx="1339">
                  <c:v>-1.214998082275033</c:v>
                </c:pt>
                <c:pt idx="1340">
                  <c:v>-1.2163437796229144</c:v>
                </c:pt>
                <c:pt idx="1341">
                  <c:v>-1.1078341688809297</c:v>
                </c:pt>
                <c:pt idx="1342">
                  <c:v>-0.95202881381139925</c:v>
                </c:pt>
                <c:pt idx="1343">
                  <c:v>-0.93814459571020059</c:v>
                </c:pt>
                <c:pt idx="1344">
                  <c:v>-0.89687774179030377</c:v>
                </c:pt>
                <c:pt idx="1345">
                  <c:v>-0.78826441252468404</c:v>
                </c:pt>
                <c:pt idx="1346">
                  <c:v>-0.79104686571379323</c:v>
                </c:pt>
                <c:pt idx="1347">
                  <c:v>-0.86873439766549931</c:v>
                </c:pt>
                <c:pt idx="1348">
                  <c:v>-0.94817334590559921</c:v>
                </c:pt>
                <c:pt idx="1349">
                  <c:v>-0.93645669717143276</c:v>
                </c:pt>
                <c:pt idx="1350">
                  <c:v>-0.9386562786427326</c:v>
                </c:pt>
                <c:pt idx="1351">
                  <c:v>-0.89704553363329742</c:v>
                </c:pt>
                <c:pt idx="1352">
                  <c:v>-0.81691153661239202</c:v>
                </c:pt>
                <c:pt idx="1353">
                  <c:v>-0.92426701710681791</c:v>
                </c:pt>
                <c:pt idx="1354">
                  <c:v>-0.93599745724629113</c:v>
                </c:pt>
                <c:pt idx="1355">
                  <c:v>-0.90343170914086723</c:v>
                </c:pt>
                <c:pt idx="1356">
                  <c:v>-0.98660591729611702</c:v>
                </c:pt>
                <c:pt idx="1357">
                  <c:v>-0.93595623375490478</c:v>
                </c:pt>
                <c:pt idx="1358">
                  <c:v>-1.0601823765830101</c:v>
                </c:pt>
                <c:pt idx="1359">
                  <c:v>-1.1648811468152707</c:v>
                </c:pt>
                <c:pt idx="1360">
                  <c:v>-1.2238883653923147</c:v>
                </c:pt>
                <c:pt idx="1361">
                  <c:v>-1.2381217556970376</c:v>
                </c:pt>
                <c:pt idx="1362">
                  <c:v>-1.2771567122738048</c:v>
                </c:pt>
                <c:pt idx="1363">
                  <c:v>-1.2231273128794051</c:v>
                </c:pt>
                <c:pt idx="1364">
                  <c:v>-1.2278124236432399</c:v>
                </c:pt>
                <c:pt idx="1365">
                  <c:v>-1.1435157950654877</c:v>
                </c:pt>
                <c:pt idx="1366">
                  <c:v>-1.1259338596475137</c:v>
                </c:pt>
                <c:pt idx="1367">
                  <c:v>-1.1239839197109442</c:v>
                </c:pt>
                <c:pt idx="1368">
                  <c:v>-0.96829982377569412</c:v>
                </c:pt>
                <c:pt idx="1369">
                  <c:v>-0.98543416359061586</c:v>
                </c:pt>
                <c:pt idx="1370">
                  <c:v>-0.90162223551867304</c:v>
                </c:pt>
                <c:pt idx="1371">
                  <c:v>-0.73672933666250984</c:v>
                </c:pt>
                <c:pt idx="1372">
                  <c:v>-0.73293708112768163</c:v>
                </c:pt>
                <c:pt idx="1373">
                  <c:v>-0.65929616887062548</c:v>
                </c:pt>
                <c:pt idx="1374">
                  <c:v>-0.62341448542976818</c:v>
                </c:pt>
                <c:pt idx="1375">
                  <c:v>-0.57815135289189268</c:v>
                </c:pt>
                <c:pt idx="1376">
                  <c:v>-0.63630633961639649</c:v>
                </c:pt>
                <c:pt idx="1377">
                  <c:v>-0.58480274590330328</c:v>
                </c:pt>
                <c:pt idx="1378">
                  <c:v>-0.64756989214735095</c:v>
                </c:pt>
                <c:pt idx="1379">
                  <c:v>-0.57279277747919899</c:v>
                </c:pt>
                <c:pt idx="1380">
                  <c:v>-0.64790684657078734</c:v>
                </c:pt>
                <c:pt idx="1381">
                  <c:v>-0.48228969712109426</c:v>
                </c:pt>
                <c:pt idx="1382">
                  <c:v>-0.3875789397967041</c:v>
                </c:pt>
                <c:pt idx="1383">
                  <c:v>-0.36860495554018879</c:v>
                </c:pt>
                <c:pt idx="1384">
                  <c:v>-0.39393778004162172</c:v>
                </c:pt>
                <c:pt idx="1385">
                  <c:v>-0.28253308893475482</c:v>
                </c:pt>
                <c:pt idx="1386">
                  <c:v>-0.28198236322465864</c:v>
                </c:pt>
                <c:pt idx="1387">
                  <c:v>-0.26115845069881671</c:v>
                </c:pt>
                <c:pt idx="1388">
                  <c:v>-0.28565361795121591</c:v>
                </c:pt>
                <c:pt idx="1389">
                  <c:v>-0.45195874636029776</c:v>
                </c:pt>
                <c:pt idx="1390">
                  <c:v>-0.45739544333271137</c:v>
                </c:pt>
                <c:pt idx="1391">
                  <c:v>-0.48501859420737492</c:v>
                </c:pt>
                <c:pt idx="1392">
                  <c:v>-0.43610626341798892</c:v>
                </c:pt>
                <c:pt idx="1393">
                  <c:v>-0.58398274605274747</c:v>
                </c:pt>
                <c:pt idx="1394">
                  <c:v>-0.65262941658102736</c:v>
                </c:pt>
                <c:pt idx="1395">
                  <c:v>-0.61935112578699503</c:v>
                </c:pt>
                <c:pt idx="1396">
                  <c:v>-0.66667897221397843</c:v>
                </c:pt>
                <c:pt idx="1397">
                  <c:v>-0.66629567400736311</c:v>
                </c:pt>
                <c:pt idx="1398">
                  <c:v>-0.55520072512990737</c:v>
                </c:pt>
                <c:pt idx="1399">
                  <c:v>-0.71585292755160923</c:v>
                </c:pt>
                <c:pt idx="1400">
                  <c:v>-0.6308764840790051</c:v>
                </c:pt>
                <c:pt idx="1401">
                  <c:v>-0.68553018755248174</c:v>
                </c:pt>
                <c:pt idx="1402">
                  <c:v>-0.77406931390174283</c:v>
                </c:pt>
                <c:pt idx="1403">
                  <c:v>-0.79859138746244085</c:v>
                </c:pt>
                <c:pt idx="1404">
                  <c:v>-0.7511410329076571</c:v>
                </c:pt>
                <c:pt idx="1405">
                  <c:v>-0.79804640761416401</c:v>
                </c:pt>
                <c:pt idx="1406">
                  <c:v>-0.73921989514324526</c:v>
                </c:pt>
                <c:pt idx="1407">
                  <c:v>-0.74803422323689273</c:v>
                </c:pt>
                <c:pt idx="1408">
                  <c:v>-0.77466388048061208</c:v>
                </c:pt>
                <c:pt idx="1409">
                  <c:v>-0.75174474118028145</c:v>
                </c:pt>
                <c:pt idx="1410">
                  <c:v>-0.63465568463935795</c:v>
                </c:pt>
                <c:pt idx="1411">
                  <c:v>-0.54073532052270101</c:v>
                </c:pt>
                <c:pt idx="1412">
                  <c:v>-0.38528352108980313</c:v>
                </c:pt>
                <c:pt idx="1413">
                  <c:v>-0.33731225734881176</c:v>
                </c:pt>
                <c:pt idx="1414">
                  <c:v>-0.44867202400143508</c:v>
                </c:pt>
                <c:pt idx="1415">
                  <c:v>-0.40102742116641976</c:v>
                </c:pt>
                <c:pt idx="1416">
                  <c:v>-0.36832829261601174</c:v>
                </c:pt>
                <c:pt idx="1417">
                  <c:v>-0.36615610927017905</c:v>
                </c:pt>
                <c:pt idx="1418">
                  <c:v>-0.37546503726477931</c:v>
                </c:pt>
                <c:pt idx="1419">
                  <c:v>-0.46007734762494634</c:v>
                </c:pt>
                <c:pt idx="1420">
                  <c:v>-0.3536102153810266</c:v>
                </c:pt>
                <c:pt idx="1421">
                  <c:v>-0.40836175170817829</c:v>
                </c:pt>
                <c:pt idx="1422">
                  <c:v>-0.45593306243474507</c:v>
                </c:pt>
                <c:pt idx="1423">
                  <c:v>-0.48746306781981963</c:v>
                </c:pt>
                <c:pt idx="1424">
                  <c:v>-0.49032218865442306</c:v>
                </c:pt>
                <c:pt idx="1425">
                  <c:v>-0.59467985749133456</c:v>
                </c:pt>
                <c:pt idx="1426">
                  <c:v>-0.5791909878757987</c:v>
                </c:pt>
                <c:pt idx="1427">
                  <c:v>-0.6787168734833029</c:v>
                </c:pt>
                <c:pt idx="1428">
                  <c:v>-0.69846167378354973</c:v>
                </c:pt>
                <c:pt idx="1429">
                  <c:v>-0.84088841996865826</c:v>
                </c:pt>
                <c:pt idx="1430">
                  <c:v>-0.81161620932194412</c:v>
                </c:pt>
                <c:pt idx="1431">
                  <c:v>-0.75444505180982624</c:v>
                </c:pt>
                <c:pt idx="1432">
                  <c:v>-0.6852282506354872</c:v>
                </c:pt>
                <c:pt idx="1433">
                  <c:v>-0.64791651129259398</c:v>
                </c:pt>
                <c:pt idx="1434">
                  <c:v>-0.6891480823588928</c:v>
                </c:pt>
                <c:pt idx="1435">
                  <c:v>-0.76881962120210423</c:v>
                </c:pt>
                <c:pt idx="1436">
                  <c:v>-0.78699890020607888</c:v>
                </c:pt>
                <c:pt idx="1437">
                  <c:v>-0.75856244982306542</c:v>
                </c:pt>
                <c:pt idx="1438">
                  <c:v>-0.62207306746794111</c:v>
                </c:pt>
                <c:pt idx="1439">
                  <c:v>-0.55137120484087387</c:v>
                </c:pt>
                <c:pt idx="1440">
                  <c:v>-0.67398328453581602</c:v>
                </c:pt>
                <c:pt idx="1441">
                  <c:v>-0.70755041447626443</c:v>
                </c:pt>
                <c:pt idx="1442">
                  <c:v>-0.66695884003118178</c:v>
                </c:pt>
                <c:pt idx="1443">
                  <c:v>-0.61896112532009262</c:v>
                </c:pt>
                <c:pt idx="1444">
                  <c:v>-0.59762961011016058</c:v>
                </c:pt>
                <c:pt idx="1445">
                  <c:v>-0.44411214509224073</c:v>
                </c:pt>
                <c:pt idx="1446">
                  <c:v>-0.32234259184834041</c:v>
                </c:pt>
                <c:pt idx="1447">
                  <c:v>-0.37329874105146704</c:v>
                </c:pt>
                <c:pt idx="1448">
                  <c:v>-0.41216892588296217</c:v>
                </c:pt>
                <c:pt idx="1449">
                  <c:v>-0.3669036586736682</c:v>
                </c:pt>
                <c:pt idx="1450">
                  <c:v>-0.35629362231543832</c:v>
                </c:pt>
                <c:pt idx="1451">
                  <c:v>-0.32344780310236387</c:v>
                </c:pt>
                <c:pt idx="1452">
                  <c:v>-0.33616995432869423</c:v>
                </c:pt>
                <c:pt idx="1453">
                  <c:v>-0.36911091258388068</c:v>
                </c:pt>
                <c:pt idx="1454">
                  <c:v>-0.36897594999508565</c:v>
                </c:pt>
                <c:pt idx="1455">
                  <c:v>-0.34378082234296203</c:v>
                </c:pt>
                <c:pt idx="1456">
                  <c:v>-0.23401391514873476</c:v>
                </c:pt>
                <c:pt idx="1457">
                  <c:v>-9.5547002537003545E-2</c:v>
                </c:pt>
                <c:pt idx="1458">
                  <c:v>-9.406404177530836E-2</c:v>
                </c:pt>
                <c:pt idx="1459">
                  <c:v>-0.1400741751140544</c:v>
                </c:pt>
                <c:pt idx="1460">
                  <c:v>-0.11999171763507055</c:v>
                </c:pt>
                <c:pt idx="1461">
                  <c:v>-0.14176609015374675</c:v>
                </c:pt>
                <c:pt idx="1462">
                  <c:v>-3.4027764611684552E-2</c:v>
                </c:pt>
                <c:pt idx="1463">
                  <c:v>3.7962098076274042E-3</c:v>
                </c:pt>
                <c:pt idx="1464">
                  <c:v>0.11332627676507245</c:v>
                </c:pt>
                <c:pt idx="1465">
                  <c:v>-0.10140524073032675</c:v>
                </c:pt>
                <c:pt idx="1466">
                  <c:v>-0.17073345892108421</c:v>
                </c:pt>
                <c:pt idx="1467">
                  <c:v>-0.2536510119074169</c:v>
                </c:pt>
                <c:pt idx="1468">
                  <c:v>-0.26937484442141568</c:v>
                </c:pt>
                <c:pt idx="1469">
                  <c:v>-0.3154026329729625</c:v>
                </c:pt>
                <c:pt idx="1470">
                  <c:v>-0.29187806515238668</c:v>
                </c:pt>
                <c:pt idx="1471">
                  <c:v>-0.34603690761432132</c:v>
                </c:pt>
                <c:pt idx="1472">
                  <c:v>-0.3129240138924278</c:v>
                </c:pt>
                <c:pt idx="1473">
                  <c:v>-0.29344720446779066</c:v>
                </c:pt>
                <c:pt idx="1474">
                  <c:v>-0.22640960564301771</c:v>
                </c:pt>
                <c:pt idx="1475">
                  <c:v>-8.6553323838585605E-2</c:v>
                </c:pt>
                <c:pt idx="1476">
                  <c:v>1.1980439590944414E-2</c:v>
                </c:pt>
                <c:pt idx="1477">
                  <c:v>1.197606538360052E-2</c:v>
                </c:pt>
                <c:pt idx="1478">
                  <c:v>-4.0605221272364322E-2</c:v>
                </c:pt>
                <c:pt idx="1479">
                  <c:v>1.057952374437221E-2</c:v>
                </c:pt>
                <c:pt idx="1480">
                  <c:v>2.6450897427970355E-2</c:v>
                </c:pt>
                <c:pt idx="1481">
                  <c:v>9.7920720097423142E-2</c:v>
                </c:pt>
                <c:pt idx="1482">
                  <c:v>0.13380697604184533</c:v>
                </c:pt>
                <c:pt idx="1483">
                  <c:v>-5.3540090639889848E-2</c:v>
                </c:pt>
                <c:pt idx="1484">
                  <c:v>-4.5624334135198397E-2</c:v>
                </c:pt>
                <c:pt idx="1485">
                  <c:v>-3.9514975125294227E-2</c:v>
                </c:pt>
                <c:pt idx="1486">
                  <c:v>7.2097956209132841E-3</c:v>
                </c:pt>
                <c:pt idx="1487">
                  <c:v>0.14768201798878366</c:v>
                </c:pt>
                <c:pt idx="1488">
                  <c:v>0.2173739348020608</c:v>
                </c:pt>
                <c:pt idx="1489">
                  <c:v>0.15536208368297466</c:v>
                </c:pt>
                <c:pt idx="1490">
                  <c:v>0.2243412359155923</c:v>
                </c:pt>
                <c:pt idx="1491">
                  <c:v>0.22857904880705804</c:v>
                </c:pt>
                <c:pt idx="1492">
                  <c:v>0.21774868783139734</c:v>
                </c:pt>
                <c:pt idx="1493">
                  <c:v>0.20547000654036829</c:v>
                </c:pt>
                <c:pt idx="1494">
                  <c:v>0.20795077118289529</c:v>
                </c:pt>
                <c:pt idx="1495">
                  <c:v>0.24835987829223238</c:v>
                </c:pt>
                <c:pt idx="1496">
                  <c:v>0.23962201070502154</c:v>
                </c:pt>
                <c:pt idx="1497">
                  <c:v>0.16428405227345166</c:v>
                </c:pt>
                <c:pt idx="1498">
                  <c:v>0.28335009785202991</c:v>
                </c:pt>
                <c:pt idx="1499">
                  <c:v>0.36497686778681038</c:v>
                </c:pt>
                <c:pt idx="1500">
                  <c:v>0.35262167425037638</c:v>
                </c:pt>
                <c:pt idx="1501">
                  <c:v>0.48364778766089322</c:v>
                </c:pt>
                <c:pt idx="1502">
                  <c:v>0.52526759264891754</c:v>
                </c:pt>
                <c:pt idx="1503">
                  <c:v>0.51554516319953236</c:v>
                </c:pt>
                <c:pt idx="1504">
                  <c:v>0.55307586561981736</c:v>
                </c:pt>
                <c:pt idx="1505">
                  <c:v>0.53239477582900474</c:v>
                </c:pt>
                <c:pt idx="1506">
                  <c:v>0.32357004288251656</c:v>
                </c:pt>
                <c:pt idx="1507">
                  <c:v>0.43370758032620105</c:v>
                </c:pt>
                <c:pt idx="1508">
                  <c:v>0.38989984022971758</c:v>
                </c:pt>
                <c:pt idx="1509">
                  <c:v>0.36686834913137423</c:v>
                </c:pt>
                <c:pt idx="1510">
                  <c:v>0.34080793503617635</c:v>
                </c:pt>
                <c:pt idx="1511">
                  <c:v>0.32044614997808629</c:v>
                </c:pt>
                <c:pt idx="1512">
                  <c:v>0.21063489941378588</c:v>
                </c:pt>
                <c:pt idx="1513">
                  <c:v>0.24285314061961927</c:v>
                </c:pt>
                <c:pt idx="1514">
                  <c:v>0.29568333124307644</c:v>
                </c:pt>
                <c:pt idx="1515">
                  <c:v>0.36978814636821788</c:v>
                </c:pt>
                <c:pt idx="1516">
                  <c:v>0.34372230075810573</c:v>
                </c:pt>
                <c:pt idx="1517">
                  <c:v>0.29767029854572735</c:v>
                </c:pt>
                <c:pt idx="1518">
                  <c:v>0.27590719884889736</c:v>
                </c:pt>
                <c:pt idx="1519">
                  <c:v>0.3388605307615763</c:v>
                </c:pt>
                <c:pt idx="1520">
                  <c:v>0.31467895971521487</c:v>
                </c:pt>
                <c:pt idx="1521">
                  <c:v>0.4121680909708062</c:v>
                </c:pt>
                <c:pt idx="1522">
                  <c:v>0.37323574121954073</c:v>
                </c:pt>
                <c:pt idx="1523">
                  <c:v>0.27403942981983898</c:v>
                </c:pt>
                <c:pt idx="1524">
                  <c:v>0.31281531804879004</c:v>
                </c:pt>
                <c:pt idx="1525">
                  <c:v>0.24975627791005139</c:v>
                </c:pt>
                <c:pt idx="1526">
                  <c:v>0.3002465903508833</c:v>
                </c:pt>
                <c:pt idx="1527">
                  <c:v>0.50302840676395966</c:v>
                </c:pt>
                <c:pt idx="1528">
                  <c:v>0.64541955653896599</c:v>
                </c:pt>
                <c:pt idx="1529">
                  <c:v>0.55260261746367578</c:v>
                </c:pt>
                <c:pt idx="1530">
                  <c:v>0.64455124141121489</c:v>
                </c:pt>
                <c:pt idx="1531">
                  <c:v>0.93370494229499801</c:v>
                </c:pt>
                <c:pt idx="1532">
                  <c:v>1.3724663036340781</c:v>
                </c:pt>
                <c:pt idx="1533">
                  <c:v>1.3273596305204882</c:v>
                </c:pt>
                <c:pt idx="1534">
                  <c:v>1.2993288146268178</c:v>
                </c:pt>
                <c:pt idx="1535">
                  <c:v>1.622386932857522</c:v>
                </c:pt>
                <c:pt idx="1536">
                  <c:v>1.9742348392051261</c:v>
                </c:pt>
                <c:pt idx="1537">
                  <c:v>1.7826206749861067</c:v>
                </c:pt>
                <c:pt idx="1538">
                  <c:v>1.7734540670562897</c:v>
                </c:pt>
                <c:pt idx="1539">
                  <c:v>1.6510122611019205</c:v>
                </c:pt>
                <c:pt idx="1540">
                  <c:v>1.5183045834778282</c:v>
                </c:pt>
                <c:pt idx="1541">
                  <c:v>1.2692125847662452</c:v>
                </c:pt>
                <c:pt idx="1542">
                  <c:v>1.3886633000852475</c:v>
                </c:pt>
                <c:pt idx="1543">
                  <c:v>1.4408469574610143</c:v>
                </c:pt>
                <c:pt idx="1544">
                  <c:v>1.3528153340006444</c:v>
                </c:pt>
                <c:pt idx="1545">
                  <c:v>1.0831960173373154</c:v>
                </c:pt>
                <c:pt idx="1546">
                  <c:v>0.96593425124051246</c:v>
                </c:pt>
                <c:pt idx="1547">
                  <c:v>1.2493293685846445</c:v>
                </c:pt>
                <c:pt idx="1548">
                  <c:v>1.5006745267423447</c:v>
                </c:pt>
                <c:pt idx="1549">
                  <c:v>1.7248202625312548</c:v>
                </c:pt>
                <c:pt idx="1550">
                  <c:v>1.8285665896038472</c:v>
                </c:pt>
                <c:pt idx="1551">
                  <c:v>1.7047597132109868</c:v>
                </c:pt>
                <c:pt idx="1552">
                  <c:v>1.6975290059066181</c:v>
                </c:pt>
                <c:pt idx="1553">
                  <c:v>1.7065620275495839</c:v>
                </c:pt>
                <c:pt idx="1554">
                  <c:v>1.6509594787345272</c:v>
                </c:pt>
                <c:pt idx="1555">
                  <c:v>1.5592947056865905</c:v>
                </c:pt>
                <c:pt idx="1556">
                  <c:v>1.5955999042746605</c:v>
                </c:pt>
                <c:pt idx="1557">
                  <c:v>1.6218300035816804</c:v>
                </c:pt>
                <c:pt idx="1558">
                  <c:v>1.6384861833999758</c:v>
                </c:pt>
                <c:pt idx="1559">
                  <c:v>1.6629519819028737</c:v>
                </c:pt>
                <c:pt idx="1560">
                  <c:v>1.7495888754939495</c:v>
                </c:pt>
                <c:pt idx="1561">
                  <c:v>2.0542894224291763</c:v>
                </c:pt>
                <c:pt idx="1562">
                  <c:v>2.0646346930408894</c:v>
                </c:pt>
                <c:pt idx="1563">
                  <c:v>1.9701646786353473</c:v>
                </c:pt>
                <c:pt idx="1564">
                  <c:v>2.1877625084891577</c:v>
                </c:pt>
                <c:pt idx="1565">
                  <c:v>2.4890858480700544</c:v>
                </c:pt>
                <c:pt idx="1566">
                  <c:v>2.3805413697613873</c:v>
                </c:pt>
                <c:pt idx="1567">
                  <c:v>2.2584534328542123</c:v>
                </c:pt>
                <c:pt idx="1568">
                  <c:v>2.4980696473649853</c:v>
                </c:pt>
                <c:pt idx="1569">
                  <c:v>2.2582590678006413</c:v>
                </c:pt>
                <c:pt idx="1570">
                  <c:v>2.5102981507621678</c:v>
                </c:pt>
                <c:pt idx="1571">
                  <c:v>2.3633304053017374</c:v>
                </c:pt>
                <c:pt idx="1572">
                  <c:v>2.3284128723054023</c:v>
                </c:pt>
                <c:pt idx="1573">
                  <c:v>2.2985040401213439</c:v>
                </c:pt>
                <c:pt idx="1574">
                  <c:v>2.3469533561674911</c:v>
                </c:pt>
                <c:pt idx="1575">
                  <c:v>2.3135417525166284</c:v>
                </c:pt>
                <c:pt idx="1576">
                  <c:v>2.2121984463603712</c:v>
                </c:pt>
                <c:pt idx="1577">
                  <c:v>2.1395401741168225</c:v>
                </c:pt>
                <c:pt idx="1578">
                  <c:v>2.1275151130094754</c:v>
                </c:pt>
                <c:pt idx="1579">
                  <c:v>1.9158976204557334</c:v>
                </c:pt>
                <c:pt idx="1580">
                  <c:v>1.8847860736502267</c:v>
                </c:pt>
                <c:pt idx="1581">
                  <c:v>1.7618888274317057</c:v>
                </c:pt>
                <c:pt idx="1582">
                  <c:v>1.7934974772733507</c:v>
                </c:pt>
                <c:pt idx="1583">
                  <c:v>1.905055924238884</c:v>
                </c:pt>
                <c:pt idx="1584">
                  <c:v>1.9427128980750097</c:v>
                </c:pt>
                <c:pt idx="1585">
                  <c:v>1.9531544080612191</c:v>
                </c:pt>
                <c:pt idx="1586">
                  <c:v>2.0801158614860782</c:v>
                </c:pt>
                <c:pt idx="1587">
                  <c:v>2.1111557585751584</c:v>
                </c:pt>
                <c:pt idx="1588">
                  <c:v>1.9974434258348968</c:v>
                </c:pt>
                <c:pt idx="1589">
                  <c:v>1.9346010514914753</c:v>
                </c:pt>
                <c:pt idx="1590">
                  <c:v>2.0086451219016848</c:v>
                </c:pt>
                <c:pt idx="1591">
                  <c:v>2.0333821833018977</c:v>
                </c:pt>
                <c:pt idx="1592">
                  <c:v>2.0278008311456217</c:v>
                </c:pt>
                <c:pt idx="1593">
                  <c:v>2.0148201709513502</c:v>
                </c:pt>
                <c:pt idx="1594">
                  <c:v>1.9445419156098884</c:v>
                </c:pt>
                <c:pt idx="1595">
                  <c:v>1.9094767328381943</c:v>
                </c:pt>
                <c:pt idx="1596">
                  <c:v>1.9586266692102541</c:v>
                </c:pt>
                <c:pt idx="1597">
                  <c:v>1.8224841775323859</c:v>
                </c:pt>
                <c:pt idx="1598">
                  <c:v>1.7198814762272732</c:v>
                </c:pt>
                <c:pt idx="1599">
                  <c:v>1.5179567431572007</c:v>
                </c:pt>
                <c:pt idx="1600">
                  <c:v>1.5368131768441533</c:v>
                </c:pt>
                <c:pt idx="1601">
                  <c:v>1.6717555361110381</c:v>
                </c:pt>
                <c:pt idx="1602">
                  <c:v>1.6633848982032977</c:v>
                </c:pt>
                <c:pt idx="1603">
                  <c:v>1.668284260532924</c:v>
                </c:pt>
                <c:pt idx="1604">
                  <c:v>1.5921172981846095</c:v>
                </c:pt>
                <c:pt idx="1605">
                  <c:v>1.5303450347628256</c:v>
                </c:pt>
                <c:pt idx="1606">
                  <c:v>1.4881554029609245</c:v>
                </c:pt>
                <c:pt idx="1607">
                  <c:v>1.4050427189175938</c:v>
                </c:pt>
                <c:pt idx="1608">
                  <c:v>1.409490622933816</c:v>
                </c:pt>
                <c:pt idx="1609">
                  <c:v>1.4709925511166606</c:v>
                </c:pt>
                <c:pt idx="1610">
                  <c:v>1.4523831892641463</c:v>
                </c:pt>
                <c:pt idx="1611">
                  <c:v>1.4166284697235008</c:v>
                </c:pt>
                <c:pt idx="1612">
                  <c:v>1.291135336432276</c:v>
                </c:pt>
                <c:pt idx="1613">
                  <c:v>1.4721150859437302</c:v>
                </c:pt>
                <c:pt idx="1614">
                  <c:v>1.4946969587913157</c:v>
                </c:pt>
                <c:pt idx="1615">
                  <c:v>1.4106164362298679</c:v>
                </c:pt>
                <c:pt idx="1616">
                  <c:v>1.3976374454197005</c:v>
                </c:pt>
                <c:pt idx="1617">
                  <c:v>1.3609414444342585</c:v>
                </c:pt>
                <c:pt idx="1618">
                  <c:v>1.0871590163294746</c:v>
                </c:pt>
                <c:pt idx="1619">
                  <c:v>1.1036993625956044</c:v>
                </c:pt>
                <c:pt idx="1620">
                  <c:v>1.0671543362846694</c:v>
                </c:pt>
                <c:pt idx="1621">
                  <c:v>1.1415103512439126</c:v>
                </c:pt>
                <c:pt idx="1622">
                  <c:v>1.1034307103027758</c:v>
                </c:pt>
                <c:pt idx="1623">
                  <c:v>1.1628611229494754</c:v>
                </c:pt>
                <c:pt idx="1624">
                  <c:v>1.1440657599942352</c:v>
                </c:pt>
                <c:pt idx="1625">
                  <c:v>1.1858432608815292</c:v>
                </c:pt>
                <c:pt idx="1626">
                  <c:v>1.2025881099886968</c:v>
                </c:pt>
                <c:pt idx="1627">
                  <c:v>1.2130338981092477</c:v>
                </c:pt>
                <c:pt idx="1628">
                  <c:v>1.2017383645934248</c:v>
                </c:pt>
                <c:pt idx="1629">
                  <c:v>1.3893243271961619</c:v>
                </c:pt>
                <c:pt idx="1630">
                  <c:v>1.2785332858366223</c:v>
                </c:pt>
                <c:pt idx="1631">
                  <c:v>1.3091095303525202</c:v>
                </c:pt>
                <c:pt idx="1632">
                  <c:v>1.2837577716728499</c:v>
                </c:pt>
                <c:pt idx="1633">
                  <c:v>1.3587880236030681</c:v>
                </c:pt>
                <c:pt idx="1634">
                  <c:v>1.4074703101570778</c:v>
                </c:pt>
                <c:pt idx="1635">
                  <c:v>1.3228430976956174</c:v>
                </c:pt>
                <c:pt idx="1636">
                  <c:v>1.2351671672890414</c:v>
                </c:pt>
                <c:pt idx="1637">
                  <c:v>0.76256002400478284</c:v>
                </c:pt>
                <c:pt idx="1638">
                  <c:v>0.71844933546730916</c:v>
                </c:pt>
                <c:pt idx="1639">
                  <c:v>0.6799066177743045</c:v>
                </c:pt>
                <c:pt idx="1640">
                  <c:v>0.79925922131508509</c:v>
                </c:pt>
                <c:pt idx="1641">
                  <c:v>0.72469422505892123</c:v>
                </c:pt>
                <c:pt idx="1642">
                  <c:v>0.51478986025409479</c:v>
                </c:pt>
                <c:pt idx="1643">
                  <c:v>0.57294737969159137</c:v>
                </c:pt>
                <c:pt idx="1644">
                  <c:v>0.56422143260593294</c:v>
                </c:pt>
                <c:pt idx="1645">
                  <c:v>0.58612467422630676</c:v>
                </c:pt>
                <c:pt idx="1646">
                  <c:v>0.598092473523822</c:v>
                </c:pt>
                <c:pt idx="1647">
                  <c:v>0.5969355832016543</c:v>
                </c:pt>
                <c:pt idx="1648">
                  <c:v>0.7126166575570142</c:v>
                </c:pt>
                <c:pt idx="1649">
                  <c:v>0.68287946921550158</c:v>
                </c:pt>
                <c:pt idx="1650">
                  <c:v>0.61424777992482782</c:v>
                </c:pt>
                <c:pt idx="1651">
                  <c:v>0.65668027388970418</c:v>
                </c:pt>
                <c:pt idx="1652">
                  <c:v>0.6231749610863635</c:v>
                </c:pt>
                <c:pt idx="1653">
                  <c:v>0.64282067463838777</c:v>
                </c:pt>
                <c:pt idx="1654">
                  <c:v>0.65893308301949161</c:v>
                </c:pt>
                <c:pt idx="1655">
                  <c:v>0.71952724352095843</c:v>
                </c:pt>
                <c:pt idx="1656">
                  <c:v>0.68077705901384489</c:v>
                </c:pt>
                <c:pt idx="1657">
                  <c:v>0.65580657746722582</c:v>
                </c:pt>
                <c:pt idx="1658">
                  <c:v>0.61433957179390308</c:v>
                </c:pt>
                <c:pt idx="1659">
                  <c:v>0.6130952931951561</c:v>
                </c:pt>
                <c:pt idx="1660">
                  <c:v>0.61272869016448117</c:v>
                </c:pt>
                <c:pt idx="1661">
                  <c:v>0.63374569605130671</c:v>
                </c:pt>
                <c:pt idx="1662">
                  <c:v>0.60266442026912515</c:v>
                </c:pt>
                <c:pt idx="1663">
                  <c:v>0.67279747832019376</c:v>
                </c:pt>
                <c:pt idx="1664">
                  <c:v>0.59454033327743983</c:v>
                </c:pt>
                <c:pt idx="1665">
                  <c:v>0.64066608459868279</c:v>
                </c:pt>
                <c:pt idx="1666">
                  <c:v>0.57099257163042816</c:v>
                </c:pt>
                <c:pt idx="1667">
                  <c:v>0.63819415847281369</c:v>
                </c:pt>
                <c:pt idx="1668">
                  <c:v>0.55012488114854052</c:v>
                </c:pt>
                <c:pt idx="1669">
                  <c:v>0.50674196024423623</c:v>
                </c:pt>
                <c:pt idx="1670">
                  <c:v>0.4641753417127038</c:v>
                </c:pt>
                <c:pt idx="1671">
                  <c:v>0.51206001647155897</c:v>
                </c:pt>
                <c:pt idx="1672">
                  <c:v>0.31625016114129428</c:v>
                </c:pt>
                <c:pt idx="1673">
                  <c:v>0.31557587809636994</c:v>
                </c:pt>
                <c:pt idx="1674">
                  <c:v>0.35434835717229224</c:v>
                </c:pt>
                <c:pt idx="1675">
                  <c:v>0.31412744462326486</c:v>
                </c:pt>
                <c:pt idx="1676">
                  <c:v>0.31384133896033239</c:v>
                </c:pt>
                <c:pt idx="1677">
                  <c:v>0.17986125357169991</c:v>
                </c:pt>
                <c:pt idx="1678">
                  <c:v>0.23682122722178328</c:v>
                </c:pt>
                <c:pt idx="1679">
                  <c:v>0.22015211279471131</c:v>
                </c:pt>
                <c:pt idx="1680">
                  <c:v>0.27916434852006244</c:v>
                </c:pt>
                <c:pt idx="1681">
                  <c:v>0.40769175136192598</c:v>
                </c:pt>
                <c:pt idx="1682">
                  <c:v>0.39618686999940023</c:v>
                </c:pt>
                <c:pt idx="1683">
                  <c:v>0.39384857593942751</c:v>
                </c:pt>
                <c:pt idx="1684">
                  <c:v>0.32755738895116326</c:v>
                </c:pt>
                <c:pt idx="1685">
                  <c:v>0.34596371311818125</c:v>
                </c:pt>
                <c:pt idx="1686">
                  <c:v>0.29303229840966427</c:v>
                </c:pt>
                <c:pt idx="1687">
                  <c:v>0.3087922919309507</c:v>
                </c:pt>
                <c:pt idx="1688">
                  <c:v>0.35718793886348654</c:v>
                </c:pt>
                <c:pt idx="1689">
                  <c:v>0.31033841040055843</c:v>
                </c:pt>
                <c:pt idx="1690">
                  <c:v>0.30131418178959579</c:v>
                </c:pt>
                <c:pt idx="1691">
                  <c:v>0.214973717037104</c:v>
                </c:pt>
                <c:pt idx="1692">
                  <c:v>0.27785462546062101</c:v>
                </c:pt>
                <c:pt idx="1693">
                  <c:v>0.26635253851921969</c:v>
                </c:pt>
                <c:pt idx="1694">
                  <c:v>0.25664675083014099</c:v>
                </c:pt>
                <c:pt idx="1695">
                  <c:v>0.28412719202625858</c:v>
                </c:pt>
                <c:pt idx="1696">
                  <c:v>0.30194024675990072</c:v>
                </c:pt>
                <c:pt idx="1697">
                  <c:v>0.36571371193882013</c:v>
                </c:pt>
                <c:pt idx="1698">
                  <c:v>0.35196432430937419</c:v>
                </c:pt>
                <c:pt idx="1699">
                  <c:v>0.47031350969292585</c:v>
                </c:pt>
                <c:pt idx="1700">
                  <c:v>0.66068554874473195</c:v>
                </c:pt>
                <c:pt idx="1701">
                  <c:v>0.73792548933887159</c:v>
                </c:pt>
                <c:pt idx="1702">
                  <c:v>0.71930816630081118</c:v>
                </c:pt>
                <c:pt idx="1703">
                  <c:v>0.69785291485274159</c:v>
                </c:pt>
                <c:pt idx="1704">
                  <c:v>0.93352622269407159</c:v>
                </c:pt>
                <c:pt idx="1705">
                  <c:v>1.1313139195353938</c:v>
                </c:pt>
                <c:pt idx="1706">
                  <c:v>1.2759449541996748</c:v>
                </c:pt>
                <c:pt idx="1707">
                  <c:v>1.182077729679017</c:v>
                </c:pt>
                <c:pt idx="1708">
                  <c:v>1.0218619868871941</c:v>
                </c:pt>
                <c:pt idx="1709">
                  <c:v>1.0575264387651067</c:v>
                </c:pt>
                <c:pt idx="1710">
                  <c:v>1.1857304798101971</c:v>
                </c:pt>
                <c:pt idx="1711">
                  <c:v>1.1839676279220384</c:v>
                </c:pt>
                <c:pt idx="1712">
                  <c:v>1.1925378292132376</c:v>
                </c:pt>
                <c:pt idx="1713">
                  <c:v>1.2668228390087442</c:v>
                </c:pt>
                <c:pt idx="1714">
                  <c:v>1.3828241044256138</c:v>
                </c:pt>
                <c:pt idx="1715">
                  <c:v>1.3785333824978898</c:v>
                </c:pt>
                <c:pt idx="1716">
                  <c:v>1.4706991603296595</c:v>
                </c:pt>
                <c:pt idx="1717">
                  <c:v>1.5653222857651587</c:v>
                </c:pt>
                <c:pt idx="1718">
                  <c:v>1.5748631122861603</c:v>
                </c:pt>
                <c:pt idx="1719">
                  <c:v>1.6821066943408631</c:v>
                </c:pt>
                <c:pt idx="1720">
                  <c:v>1.6189773140367034</c:v>
                </c:pt>
                <c:pt idx="1721">
                  <c:v>1.7544646314485779</c:v>
                </c:pt>
                <c:pt idx="1722">
                  <c:v>1.6770958149969566</c:v>
                </c:pt>
                <c:pt idx="1723">
                  <c:v>1.6233474928293203</c:v>
                </c:pt>
                <c:pt idx="1724">
                  <c:v>1.4480563902264425</c:v>
                </c:pt>
                <c:pt idx="1725">
                  <c:v>1.5228496294133123</c:v>
                </c:pt>
                <c:pt idx="1726">
                  <c:v>1.3945796025184871</c:v>
                </c:pt>
                <c:pt idx="1727">
                  <c:v>1.5322466836582924</c:v>
                </c:pt>
                <c:pt idx="1728">
                  <c:v>1.4863531483063794</c:v>
                </c:pt>
                <c:pt idx="1729">
                  <c:v>1.534819903888434</c:v>
                </c:pt>
                <c:pt idx="1730">
                  <c:v>1.5160175131557754</c:v>
                </c:pt>
                <c:pt idx="1731">
                  <c:v>1.6178151568082151</c:v>
                </c:pt>
                <c:pt idx="1732">
                  <c:v>1.7557051362582576</c:v>
                </c:pt>
                <c:pt idx="1733">
                  <c:v>1.8808352203004284</c:v>
                </c:pt>
                <c:pt idx="1734">
                  <c:v>1.8000253995848017</c:v>
                </c:pt>
                <c:pt idx="1735">
                  <c:v>1.9405255999063051</c:v>
                </c:pt>
                <c:pt idx="1736">
                  <c:v>1.8094180236544148</c:v>
                </c:pt>
                <c:pt idx="1737">
                  <c:v>1.9042371792472719</c:v>
                </c:pt>
                <c:pt idx="1738">
                  <c:v>1.7318636450107214</c:v>
                </c:pt>
                <c:pt idx="1739">
                  <c:v>1.6522828079481711</c:v>
                </c:pt>
                <c:pt idx="1740">
                  <c:v>1.4897677956268516</c:v>
                </c:pt>
                <c:pt idx="1741">
                  <c:v>1.3967908367649882</c:v>
                </c:pt>
                <c:pt idx="1742">
                  <c:v>1.5443219366707703</c:v>
                </c:pt>
                <c:pt idx="1743">
                  <c:v>1.5655672757826735</c:v>
                </c:pt>
                <c:pt idx="1744">
                  <c:v>1.7845828764453442</c:v>
                </c:pt>
                <c:pt idx="1745">
                  <c:v>1.946440238359763</c:v>
                </c:pt>
                <c:pt idx="1746">
                  <c:v>1.941472135944712</c:v>
                </c:pt>
                <c:pt idx="1747">
                  <c:v>1.8721515608114849</c:v>
                </c:pt>
                <c:pt idx="1748">
                  <c:v>1.8438813602005011</c:v>
                </c:pt>
                <c:pt idx="1749">
                  <c:v>1.9287286901675449</c:v>
                </c:pt>
                <c:pt idx="1750">
                  <c:v>2.0263870335303036</c:v>
                </c:pt>
                <c:pt idx="1751">
                  <c:v>2.0066076521603549</c:v>
                </c:pt>
                <c:pt idx="1752">
                  <c:v>2.0041014153039511</c:v>
                </c:pt>
                <c:pt idx="1753">
                  <c:v>2.2251285384015462</c:v>
                </c:pt>
                <c:pt idx="1754">
                  <c:v>2.4590050295176611</c:v>
                </c:pt>
                <c:pt idx="1755">
                  <c:v>2.6104427442142257</c:v>
                </c:pt>
                <c:pt idx="1756">
                  <c:v>2.3308925409330574</c:v>
                </c:pt>
                <c:pt idx="1757">
                  <c:v>2.3258003493821411</c:v>
                </c:pt>
                <c:pt idx="1758">
                  <c:v>2.2193669422008728</c:v>
                </c:pt>
                <c:pt idx="1759">
                  <c:v>2.2313721490568108</c:v>
                </c:pt>
                <c:pt idx="1760">
                  <c:v>2.0254822244721469</c:v>
                </c:pt>
                <c:pt idx="1761">
                  <c:v>1.9657239549837335</c:v>
                </c:pt>
                <c:pt idx="1762">
                  <c:v>1.7031995452387263</c:v>
                </c:pt>
                <c:pt idx="1763">
                  <c:v>1.6532843507165347</c:v>
                </c:pt>
                <c:pt idx="1764">
                  <c:v>1.5500956351025414</c:v>
                </c:pt>
                <c:pt idx="1765">
                  <c:v>1.4197726993132582</c:v>
                </c:pt>
                <c:pt idx="1766">
                  <c:v>1.4601648563349139</c:v>
                </c:pt>
                <c:pt idx="1767">
                  <c:v>1.1412166029022397</c:v>
                </c:pt>
                <c:pt idx="1768">
                  <c:v>1.203664102435924</c:v>
                </c:pt>
                <c:pt idx="1769">
                  <c:v>1.1735763173252316</c:v>
                </c:pt>
                <c:pt idx="1770">
                  <c:v>1.1682505977610882</c:v>
                </c:pt>
                <c:pt idx="1771">
                  <c:v>1.1640308703595696</c:v>
                </c:pt>
                <c:pt idx="1772">
                  <c:v>1.200720577880162</c:v>
                </c:pt>
                <c:pt idx="1773">
                  <c:v>1.2736691257377561</c:v>
                </c:pt>
                <c:pt idx="1774">
                  <c:v>1.2468999908981178</c:v>
                </c:pt>
                <c:pt idx="1775">
                  <c:v>1.1994926505197041</c:v>
                </c:pt>
                <c:pt idx="1776">
                  <c:v>1.1998058528381306</c:v>
                </c:pt>
                <c:pt idx="1777">
                  <c:v>1.2611895928908186</c:v>
                </c:pt>
                <c:pt idx="1778">
                  <c:v>1.1677912279610987</c:v>
                </c:pt>
                <c:pt idx="1779">
                  <c:v>0.91461070604595318</c:v>
                </c:pt>
                <c:pt idx="1780">
                  <c:v>0.72687600904592364</c:v>
                </c:pt>
                <c:pt idx="1781">
                  <c:v>0.68772373116441976</c:v>
                </c:pt>
                <c:pt idx="1782">
                  <c:v>0.71374342791144874</c:v>
                </c:pt>
                <c:pt idx="1783">
                  <c:v>0.65902173555487076</c:v>
                </c:pt>
                <c:pt idx="1784">
                  <c:v>0.64010779041651888</c:v>
                </c:pt>
                <c:pt idx="1785">
                  <c:v>0.70118667775786903</c:v>
                </c:pt>
                <c:pt idx="1786">
                  <c:v>0.61928490028132377</c:v>
                </c:pt>
                <c:pt idx="1787">
                  <c:v>0.62680635523426598</c:v>
                </c:pt>
                <c:pt idx="1788">
                  <c:v>0.66301853551424061</c:v>
                </c:pt>
                <c:pt idx="1789">
                  <c:v>0.65453834183018333</c:v>
                </c:pt>
                <c:pt idx="1790">
                  <c:v>0.60484341570687628</c:v>
                </c:pt>
                <c:pt idx="1791">
                  <c:v>0.54104064310268896</c:v>
                </c:pt>
                <c:pt idx="1792">
                  <c:v>0.43663553747905398</c:v>
                </c:pt>
                <c:pt idx="1793">
                  <c:v>0.40833032984513618</c:v>
                </c:pt>
                <c:pt idx="1794">
                  <c:v>0.48333022135988818</c:v>
                </c:pt>
                <c:pt idx="1795">
                  <c:v>0.34527691488235834</c:v>
                </c:pt>
                <c:pt idx="1796">
                  <c:v>0.33946801597427639</c:v>
                </c:pt>
                <c:pt idx="1797">
                  <c:v>0.282442357196723</c:v>
                </c:pt>
                <c:pt idx="1798">
                  <c:v>0.28896313744854951</c:v>
                </c:pt>
                <c:pt idx="1799">
                  <c:v>0.19151405841820102</c:v>
                </c:pt>
                <c:pt idx="1800">
                  <c:v>0.20198100125911739</c:v>
                </c:pt>
                <c:pt idx="1801">
                  <c:v>0.22102018781892885</c:v>
                </c:pt>
                <c:pt idx="1802">
                  <c:v>0.20496403737134897</c:v>
                </c:pt>
                <c:pt idx="1803">
                  <c:v>0.22466379275875981</c:v>
                </c:pt>
                <c:pt idx="1804">
                  <c:v>0.17991903053040686</c:v>
                </c:pt>
                <c:pt idx="1805">
                  <c:v>0.26908688620557869</c:v>
                </c:pt>
                <c:pt idx="1806">
                  <c:v>0.1635598510748571</c:v>
                </c:pt>
                <c:pt idx="1807">
                  <c:v>0.10792838810093071</c:v>
                </c:pt>
                <c:pt idx="1808">
                  <c:v>7.4001910391357534E-2</c:v>
                </c:pt>
                <c:pt idx="1809">
                  <c:v>6.5591018011147251E-2</c:v>
                </c:pt>
                <c:pt idx="1810">
                  <c:v>-4.1306281227959873E-2</c:v>
                </c:pt>
                <c:pt idx="1811">
                  <c:v>-4.3853436216889877E-2</c:v>
                </c:pt>
                <c:pt idx="1812">
                  <c:v>-5.8472285885667608E-3</c:v>
                </c:pt>
                <c:pt idx="1813">
                  <c:v>-0.19411088935212387</c:v>
                </c:pt>
                <c:pt idx="1814">
                  <c:v>-0.21875172048472005</c:v>
                </c:pt>
                <c:pt idx="1815">
                  <c:v>-0.14049054163103</c:v>
                </c:pt>
                <c:pt idx="1816">
                  <c:v>-0.14539359528602264</c:v>
                </c:pt>
                <c:pt idx="1817">
                  <c:v>-0.15542544550809689</c:v>
                </c:pt>
                <c:pt idx="1818">
                  <c:v>-0.11975904181719854</c:v>
                </c:pt>
                <c:pt idx="1819">
                  <c:v>-0.10897596000102076</c:v>
                </c:pt>
                <c:pt idx="1820">
                  <c:v>8.3611370633359001E-3</c:v>
                </c:pt>
                <c:pt idx="1821">
                  <c:v>0.10319776069851805</c:v>
                </c:pt>
                <c:pt idx="1822">
                  <c:v>6.135249934016293E-2</c:v>
                </c:pt>
                <c:pt idx="1823">
                  <c:v>0.11685170158340979</c:v>
                </c:pt>
                <c:pt idx="1824">
                  <c:v>9.7361915458724593E-2</c:v>
                </c:pt>
                <c:pt idx="1825">
                  <c:v>-0.18496460725917063</c:v>
                </c:pt>
                <c:pt idx="1826">
                  <c:v>-0.15923619293711944</c:v>
                </c:pt>
                <c:pt idx="1827">
                  <c:v>-0.15299949159108428</c:v>
                </c:pt>
                <c:pt idx="1828">
                  <c:v>-0.27717264604891001</c:v>
                </c:pt>
                <c:pt idx="1829">
                  <c:v>-0.20904530487687398</c:v>
                </c:pt>
                <c:pt idx="1830">
                  <c:v>-0.22130963091223588</c:v>
                </c:pt>
                <c:pt idx="1831">
                  <c:v>-0.20229146804630219</c:v>
                </c:pt>
                <c:pt idx="1832">
                  <c:v>-0.16929325706099074</c:v>
                </c:pt>
                <c:pt idx="1833">
                  <c:v>-0.14010214337574747</c:v>
                </c:pt>
                <c:pt idx="1834">
                  <c:v>-0.19792749476790708</c:v>
                </c:pt>
                <c:pt idx="1835">
                  <c:v>-0.25351804020739244</c:v>
                </c:pt>
                <c:pt idx="1836">
                  <c:v>-0.30757977883111426</c:v>
                </c:pt>
                <c:pt idx="1837">
                  <c:v>-0.33581983868264265</c:v>
                </c:pt>
                <c:pt idx="1838">
                  <c:v>-0.32993702255466628</c:v>
                </c:pt>
                <c:pt idx="1839">
                  <c:v>-0.32026213165267303</c:v>
                </c:pt>
                <c:pt idx="1840">
                  <c:v>-0.28707458368640731</c:v>
                </c:pt>
                <c:pt idx="1841">
                  <c:v>-0.44342787496377795</c:v>
                </c:pt>
                <c:pt idx="1842">
                  <c:v>-0.31318516177183214</c:v>
                </c:pt>
                <c:pt idx="1843">
                  <c:v>-0.17349000990443425</c:v>
                </c:pt>
                <c:pt idx="1844">
                  <c:v>-0.32456570365244791</c:v>
                </c:pt>
                <c:pt idx="1845">
                  <c:v>-0.33217142865581123</c:v>
                </c:pt>
                <c:pt idx="1846">
                  <c:v>-0.15553368623936073</c:v>
                </c:pt>
                <c:pt idx="1847">
                  <c:v>-0.11533050219361785</c:v>
                </c:pt>
                <c:pt idx="1848">
                  <c:v>-0.11770235551552406</c:v>
                </c:pt>
                <c:pt idx="1849">
                  <c:v>-4.186792571881779E-2</c:v>
                </c:pt>
                <c:pt idx="1850">
                  <c:v>1.1937284066114204E-2</c:v>
                </c:pt>
                <c:pt idx="1851">
                  <c:v>-8.499542834401308E-2</c:v>
                </c:pt>
                <c:pt idx="1852">
                  <c:v>-0.16664009430744256</c:v>
                </c:pt>
                <c:pt idx="1853">
                  <c:v>-0.19178573508850555</c:v>
                </c:pt>
                <c:pt idx="1854">
                  <c:v>-9.2666715280678089E-2</c:v>
                </c:pt>
                <c:pt idx="1855">
                  <c:v>2.1722873412251022E-2</c:v>
                </c:pt>
                <c:pt idx="1856">
                  <c:v>-3.0158316374286332E-2</c:v>
                </c:pt>
                <c:pt idx="1857">
                  <c:v>-3.220632992549427E-2</c:v>
                </c:pt>
                <c:pt idx="1858">
                  <c:v>2.3864034174108498E-2</c:v>
                </c:pt>
                <c:pt idx="1859">
                  <c:v>-3.7545912174309193E-2</c:v>
                </c:pt>
                <c:pt idx="1860">
                  <c:v>-8.7158404071730894E-3</c:v>
                </c:pt>
                <c:pt idx="1861">
                  <c:v>2.7497775516031803E-2</c:v>
                </c:pt>
                <c:pt idx="1862">
                  <c:v>-9.831664309458199E-2</c:v>
                </c:pt>
                <c:pt idx="1863">
                  <c:v>1.8969036690226704E-2</c:v>
                </c:pt>
                <c:pt idx="1864">
                  <c:v>-6.4185339101304417E-2</c:v>
                </c:pt>
                <c:pt idx="1865">
                  <c:v>-0.15242945265352953</c:v>
                </c:pt>
                <c:pt idx="1866">
                  <c:v>-0.1934577518061204</c:v>
                </c:pt>
                <c:pt idx="1867">
                  <c:v>-0.23493727877586038</c:v>
                </c:pt>
                <c:pt idx="1868">
                  <c:v>-0.3227581892709776</c:v>
                </c:pt>
                <c:pt idx="1869">
                  <c:v>-0.23938010991904093</c:v>
                </c:pt>
                <c:pt idx="1870">
                  <c:v>-0.21233886472794153</c:v>
                </c:pt>
                <c:pt idx="1871">
                  <c:v>-0.1737100787726657</c:v>
                </c:pt>
                <c:pt idx="1872">
                  <c:v>-0.19702524478769598</c:v>
                </c:pt>
                <c:pt idx="1873">
                  <c:v>-0.22782863033922543</c:v>
                </c:pt>
                <c:pt idx="1874">
                  <c:v>-0.16313352887500635</c:v>
                </c:pt>
                <c:pt idx="1875">
                  <c:v>-0.33283332189260073</c:v>
                </c:pt>
                <c:pt idx="1876">
                  <c:v>-0.60085921805963127</c:v>
                </c:pt>
                <c:pt idx="1877">
                  <c:v>-0.75102688556641328</c:v>
                </c:pt>
                <c:pt idx="1878">
                  <c:v>-0.62490087513458203</c:v>
                </c:pt>
                <c:pt idx="1879">
                  <c:v>-0.62469508570570043</c:v>
                </c:pt>
                <c:pt idx="1880">
                  <c:v>-0.56929700887394552</c:v>
                </c:pt>
                <c:pt idx="1881">
                  <c:v>-0.52300112525820386</c:v>
                </c:pt>
                <c:pt idx="1882">
                  <c:v>-0.5205844871221168</c:v>
                </c:pt>
                <c:pt idx="1883">
                  <c:v>-0.51081673841245856</c:v>
                </c:pt>
                <c:pt idx="1884">
                  <c:v>-0.55840702383190477</c:v>
                </c:pt>
                <c:pt idx="1885">
                  <c:v>-0.61235278012447947</c:v>
                </c:pt>
                <c:pt idx="1886">
                  <c:v>-0.70961824735403378</c:v>
                </c:pt>
                <c:pt idx="1887">
                  <c:v>-0.75376178057432142</c:v>
                </c:pt>
                <c:pt idx="1888">
                  <c:v>-0.65270643507227555</c:v>
                </c:pt>
                <c:pt idx="1889">
                  <c:v>-0.66135494152942409</c:v>
                </c:pt>
                <c:pt idx="1890">
                  <c:v>-0.80469204066366196</c:v>
                </c:pt>
                <c:pt idx="1891">
                  <c:v>-0.75825868976060717</c:v>
                </c:pt>
                <c:pt idx="1892">
                  <c:v>-0.84510164126265119</c:v>
                </c:pt>
                <c:pt idx="1893">
                  <c:v>-0.85102254831454549</c:v>
                </c:pt>
                <c:pt idx="1894">
                  <c:v>-0.82826523773819738</c:v>
                </c:pt>
                <c:pt idx="1895">
                  <c:v>-0.81916290034004535</c:v>
                </c:pt>
                <c:pt idx="1896">
                  <c:v>-0.89508111823467096</c:v>
                </c:pt>
                <c:pt idx="1897">
                  <c:v>-0.73344227464654033</c:v>
                </c:pt>
                <c:pt idx="1898">
                  <c:v>-0.77418060158652524</c:v>
                </c:pt>
                <c:pt idx="1899">
                  <c:v>-0.74771565915130045</c:v>
                </c:pt>
                <c:pt idx="1900">
                  <c:v>-0.80195730619694827</c:v>
                </c:pt>
                <c:pt idx="1901">
                  <c:v>-0.73124824355943685</c:v>
                </c:pt>
                <c:pt idx="1902">
                  <c:v>-0.80806726131183826</c:v>
                </c:pt>
                <c:pt idx="1903">
                  <c:v>-0.76980158359711592</c:v>
                </c:pt>
                <c:pt idx="1904">
                  <c:v>-0.76200317937665552</c:v>
                </c:pt>
                <c:pt idx="1905">
                  <c:v>-0.74537523794224991</c:v>
                </c:pt>
                <c:pt idx="1906">
                  <c:v>-0.88070845058111957</c:v>
                </c:pt>
                <c:pt idx="1907">
                  <c:v>-0.59085813882030513</c:v>
                </c:pt>
                <c:pt idx="1908">
                  <c:v>-0.43393769556730649</c:v>
                </c:pt>
                <c:pt idx="1909">
                  <c:v>-0.66007637736870661</c:v>
                </c:pt>
                <c:pt idx="1910">
                  <c:v>-0.5714375159058046</c:v>
                </c:pt>
                <c:pt idx="1911">
                  <c:v>-0.77361815867767803</c:v>
                </c:pt>
                <c:pt idx="1912">
                  <c:v>-0.37671239989499117</c:v>
                </c:pt>
                <c:pt idx="1913">
                  <c:v>-0.36115281106964703</c:v>
                </c:pt>
                <c:pt idx="1914">
                  <c:v>-0.39775993237142743</c:v>
                </c:pt>
                <c:pt idx="1915">
                  <c:v>-0.1954296501865499</c:v>
                </c:pt>
                <c:pt idx="1916">
                  <c:v>-0.26772468547836958</c:v>
                </c:pt>
                <c:pt idx="1917">
                  <c:v>-0.43107445281206824</c:v>
                </c:pt>
                <c:pt idx="1918">
                  <c:v>-0.45041552674801699</c:v>
                </c:pt>
                <c:pt idx="1919">
                  <c:v>-0.4404236229030738</c:v>
                </c:pt>
                <c:pt idx="1920">
                  <c:v>-0.52690189798974751</c:v>
                </c:pt>
                <c:pt idx="1921">
                  <c:v>-0.46592460695100796</c:v>
                </c:pt>
                <c:pt idx="1922">
                  <c:v>-0.58789690056033694</c:v>
                </c:pt>
                <c:pt idx="1923">
                  <c:v>-0.61748488694102754</c:v>
                </c:pt>
                <c:pt idx="1924">
                  <c:v>-0.67451717813262735</c:v>
                </c:pt>
                <c:pt idx="1925">
                  <c:v>-0.77200410481394421</c:v>
                </c:pt>
                <c:pt idx="1926">
                  <c:v>-0.8616187351264547</c:v>
                </c:pt>
                <c:pt idx="1927">
                  <c:v>-0.75514668546428765</c:v>
                </c:pt>
                <c:pt idx="1928">
                  <c:v>-0.49736067693195585</c:v>
                </c:pt>
                <c:pt idx="1929">
                  <c:v>-0.64023494555267357</c:v>
                </c:pt>
                <c:pt idx="1930">
                  <c:v>-0.63878238724687819</c:v>
                </c:pt>
                <c:pt idx="1931">
                  <c:v>-0.7324597903032618</c:v>
                </c:pt>
                <c:pt idx="1932">
                  <c:v>-0.63577315513462818</c:v>
                </c:pt>
                <c:pt idx="1933">
                  <c:v>-0.48642231777156986</c:v>
                </c:pt>
                <c:pt idx="1934">
                  <c:v>-0.51671617534695735</c:v>
                </c:pt>
                <c:pt idx="1935">
                  <c:v>-0.53782168315303625</c:v>
                </c:pt>
                <c:pt idx="1936">
                  <c:v>-0.62781242911996471</c:v>
                </c:pt>
                <c:pt idx="1937">
                  <c:v>-0.69858003068979635</c:v>
                </c:pt>
                <c:pt idx="1938">
                  <c:v>-0.74430426166566288</c:v>
                </c:pt>
                <c:pt idx="1939">
                  <c:v>-0.62627724234325088</c:v>
                </c:pt>
                <c:pt idx="1940">
                  <c:v>-0.67476528979711436</c:v>
                </c:pt>
                <c:pt idx="1941">
                  <c:v>-0.58976018325710156</c:v>
                </c:pt>
                <c:pt idx="1942">
                  <c:v>-0.56620224941094355</c:v>
                </c:pt>
                <c:pt idx="1943">
                  <c:v>-0.59758007041136674</c:v>
                </c:pt>
                <c:pt idx="1944">
                  <c:v>-0.48414275105347643</c:v>
                </c:pt>
                <c:pt idx="1945">
                  <c:v>-0.43726145529920418</c:v>
                </c:pt>
                <c:pt idx="1946">
                  <c:v>-9.4905919006606165E-2</c:v>
                </c:pt>
                <c:pt idx="1947">
                  <c:v>-0.24412116260183286</c:v>
                </c:pt>
                <c:pt idx="1948">
                  <c:v>-0.16100957634403912</c:v>
                </c:pt>
                <c:pt idx="1949">
                  <c:v>-5.3950124923886178E-2</c:v>
                </c:pt>
                <c:pt idx="1950">
                  <c:v>-0.21479030114714148</c:v>
                </c:pt>
                <c:pt idx="1951">
                  <c:v>-0.22386301652485985</c:v>
                </c:pt>
                <c:pt idx="1952">
                  <c:v>-0.18529489852399095</c:v>
                </c:pt>
                <c:pt idx="1953">
                  <c:v>-4.7367936073351102E-2</c:v>
                </c:pt>
                <c:pt idx="1954">
                  <c:v>-4.4568414203839279E-2</c:v>
                </c:pt>
                <c:pt idx="1955">
                  <c:v>-7.8850828330257583E-2</c:v>
                </c:pt>
                <c:pt idx="1956">
                  <c:v>-0.27810844201139617</c:v>
                </c:pt>
                <c:pt idx="1957">
                  <c:v>-0.2644534608965674</c:v>
                </c:pt>
                <c:pt idx="1958">
                  <c:v>-0.28399584656151705</c:v>
                </c:pt>
                <c:pt idx="1959">
                  <c:v>-0.35058192644714675</c:v>
                </c:pt>
                <c:pt idx="1960">
                  <c:v>-0.40580374652438328</c:v>
                </c:pt>
                <c:pt idx="1961">
                  <c:v>-0.65606124339272598</c:v>
                </c:pt>
                <c:pt idx="1962">
                  <c:v>-0.61562460017236709</c:v>
                </c:pt>
                <c:pt idx="1963">
                  <c:v>-0.66324936264464973</c:v>
                </c:pt>
                <c:pt idx="1964">
                  <c:v>-0.68253838391601551</c:v>
                </c:pt>
                <c:pt idx="1965">
                  <c:v>-0.73128244163347622</c:v>
                </c:pt>
                <c:pt idx="1966">
                  <c:v>-0.76994596665686954</c:v>
                </c:pt>
                <c:pt idx="1967">
                  <c:v>-0.66103665993790073</c:v>
                </c:pt>
                <c:pt idx="1968">
                  <c:v>-0.54768260815767589</c:v>
                </c:pt>
                <c:pt idx="1969">
                  <c:v>-0.60283530588336953</c:v>
                </c:pt>
                <c:pt idx="1970">
                  <c:v>-0.76730463236455093</c:v>
                </c:pt>
                <c:pt idx="1971">
                  <c:v>-0.8923726309678921</c:v>
                </c:pt>
                <c:pt idx="1972">
                  <c:v>-0.90022700455532689</c:v>
                </c:pt>
                <c:pt idx="1973">
                  <c:v>-0.80429114126884615</c:v>
                </c:pt>
                <c:pt idx="1974">
                  <c:v>-0.85449560429620719</c:v>
                </c:pt>
                <c:pt idx="1975">
                  <c:v>-0.76673981051480777</c:v>
                </c:pt>
                <c:pt idx="1976">
                  <c:v>-0.84472786045921266</c:v>
                </c:pt>
                <c:pt idx="1977">
                  <c:v>-0.80458156003369941</c:v>
                </c:pt>
                <c:pt idx="1978">
                  <c:v>-0.75415872325550404</c:v>
                </c:pt>
                <c:pt idx="1979">
                  <c:v>-0.7878477521892584</c:v>
                </c:pt>
                <c:pt idx="1980">
                  <c:v>-0.84362684126565701</c:v>
                </c:pt>
                <c:pt idx="1981">
                  <c:v>-0.89209575215831416</c:v>
                </c:pt>
                <c:pt idx="1982">
                  <c:v>-0.88845913778731855</c:v>
                </c:pt>
                <c:pt idx="1983">
                  <c:v>-0.89663851802830485</c:v>
                </c:pt>
                <c:pt idx="1984">
                  <c:v>-0.86345641107386539</c:v>
                </c:pt>
                <c:pt idx="1985">
                  <c:v>-0.85977721720332567</c:v>
                </c:pt>
                <c:pt idx="1986">
                  <c:v>-0.8446638732392967</c:v>
                </c:pt>
                <c:pt idx="1987">
                  <c:v>-0.9170912669054393</c:v>
                </c:pt>
                <c:pt idx="1988">
                  <c:v>-0.97000923117355964</c:v>
                </c:pt>
                <c:pt idx="1989">
                  <c:v>-0.94781003417804865</c:v>
                </c:pt>
                <c:pt idx="1990">
                  <c:v>-0.97760297736824553</c:v>
                </c:pt>
                <c:pt idx="1991">
                  <c:v>-1.0224667564121981</c:v>
                </c:pt>
                <c:pt idx="1992">
                  <c:v>-1.0847248807067189</c:v>
                </c:pt>
                <c:pt idx="1993">
                  <c:v>-1.1207852302322132</c:v>
                </c:pt>
                <c:pt idx="1994">
                  <c:v>-1.0726022076552957</c:v>
                </c:pt>
                <c:pt idx="1995">
                  <c:v>-1.0959187474345553</c:v>
                </c:pt>
                <c:pt idx="1996">
                  <c:v>-1.0551513162529451</c:v>
                </c:pt>
                <c:pt idx="1997">
                  <c:v>-1.0481034291365439</c:v>
                </c:pt>
                <c:pt idx="1998">
                  <c:v>-1.1504443626047027</c:v>
                </c:pt>
                <c:pt idx="1999">
                  <c:v>-1.1554480885816414</c:v>
                </c:pt>
                <c:pt idx="2000">
                  <c:v>-1.4490517738054147</c:v>
                </c:pt>
                <c:pt idx="2001">
                  <c:v>-1.491520979223268</c:v>
                </c:pt>
                <c:pt idx="2002">
                  <c:v>-1.488889088959779</c:v>
                </c:pt>
                <c:pt idx="2003">
                  <c:v>-1.4691435772407226</c:v>
                </c:pt>
                <c:pt idx="2004">
                  <c:v>-1.4883232732401024</c:v>
                </c:pt>
                <c:pt idx="2005">
                  <c:v>-1.6597323412976395</c:v>
                </c:pt>
                <c:pt idx="2006">
                  <c:v>-1.5549500695499945</c:v>
                </c:pt>
                <c:pt idx="2007">
                  <c:v>-1.5847468553746662</c:v>
                </c:pt>
                <c:pt idx="2008">
                  <c:v>-1.6097754804702191</c:v>
                </c:pt>
                <c:pt idx="2009">
                  <c:v>-1.5234381400425983</c:v>
                </c:pt>
                <c:pt idx="2010">
                  <c:v>-1.4334756437973768</c:v>
                </c:pt>
                <c:pt idx="2011">
                  <c:v>-1.6364068170561221</c:v>
                </c:pt>
                <c:pt idx="2012">
                  <c:v>-1.7377807892953272</c:v>
                </c:pt>
                <c:pt idx="2013">
                  <c:v>-1.7454814230679385</c:v>
                </c:pt>
                <c:pt idx="2014">
                  <c:v>-1.7145224742440326</c:v>
                </c:pt>
                <c:pt idx="2015">
                  <c:v>-1.6405776173987952</c:v>
                </c:pt>
                <c:pt idx="2016">
                  <c:v>-1.6280998171066332</c:v>
                </c:pt>
                <c:pt idx="2017">
                  <c:v>-1.737282904033536</c:v>
                </c:pt>
                <c:pt idx="2018">
                  <c:v>-1.8353840120060982</c:v>
                </c:pt>
                <c:pt idx="2019">
                  <c:v>-1.8847573520044785</c:v>
                </c:pt>
                <c:pt idx="2020">
                  <c:v>-1.9373468172952755</c:v>
                </c:pt>
                <c:pt idx="2021">
                  <c:v>-1.8933467699329634</c:v>
                </c:pt>
                <c:pt idx="2022">
                  <c:v>-1.9044533961825747</c:v>
                </c:pt>
                <c:pt idx="2023">
                  <c:v>-2.0371503374998068</c:v>
                </c:pt>
                <c:pt idx="2024">
                  <c:v>-2.0158361424700004</c:v>
                </c:pt>
                <c:pt idx="2025">
                  <c:v>-1.9566532894341515</c:v>
                </c:pt>
                <c:pt idx="2026">
                  <c:v>-1.9369999374492912</c:v>
                </c:pt>
                <c:pt idx="2027">
                  <c:v>-1.7359863887049487</c:v>
                </c:pt>
                <c:pt idx="2028">
                  <c:v>-1.5394779412579127</c:v>
                </c:pt>
                <c:pt idx="2029">
                  <c:v>-1.6550480462706145</c:v>
                </c:pt>
                <c:pt idx="2030">
                  <c:v>-1.7409543467118467</c:v>
                </c:pt>
                <c:pt idx="2031">
                  <c:v>-1.644047210959553</c:v>
                </c:pt>
                <c:pt idx="2032">
                  <c:v>-1.4160183592613569</c:v>
                </c:pt>
                <c:pt idx="2033">
                  <c:v>-1.3654366122083708</c:v>
                </c:pt>
                <c:pt idx="2034">
                  <c:v>-1.4319583970136096</c:v>
                </c:pt>
                <c:pt idx="2035">
                  <c:v>-1.4875199113172211</c:v>
                </c:pt>
                <c:pt idx="2036">
                  <c:v>-1.5123122117785672</c:v>
                </c:pt>
                <c:pt idx="2037">
                  <c:v>-1.7790891249766645</c:v>
                </c:pt>
                <c:pt idx="2038">
                  <c:v>-1.8156128542746828</c:v>
                </c:pt>
                <c:pt idx="2039">
                  <c:v>-1.8327349752984881</c:v>
                </c:pt>
                <c:pt idx="2040">
                  <c:v>-1.8813259759673207</c:v>
                </c:pt>
                <c:pt idx="2041">
                  <c:v>-1.8765304941144039</c:v>
                </c:pt>
                <c:pt idx="2042">
                  <c:v>-1.9328780633099234</c:v>
                </c:pt>
                <c:pt idx="2043">
                  <c:v>-1.8745819142409164</c:v>
                </c:pt>
                <c:pt idx="2044">
                  <c:v>-1.8648790257132637</c:v>
                </c:pt>
                <c:pt idx="2045">
                  <c:v>-1.8134609753069972</c:v>
                </c:pt>
                <c:pt idx="2046">
                  <c:v>-1.6246908283631196</c:v>
                </c:pt>
                <c:pt idx="2047">
                  <c:v>-1.3103414822298785</c:v>
                </c:pt>
                <c:pt idx="2048">
                  <c:v>-1.0940941802741013</c:v>
                </c:pt>
                <c:pt idx="2049">
                  <c:v>-1.1111666860120466</c:v>
                </c:pt>
                <c:pt idx="2050">
                  <c:v>-0.5220289733721144</c:v>
                </c:pt>
                <c:pt idx="2051">
                  <c:v>0.59012325535876342</c:v>
                </c:pt>
                <c:pt idx="2052">
                  <c:v>0.21924063873818</c:v>
                </c:pt>
                <c:pt idx="2053">
                  <c:v>0.13290948001620317</c:v>
                </c:pt>
                <c:pt idx="2054">
                  <c:v>2.6014330968436639E-2</c:v>
                </c:pt>
                <c:pt idx="2055">
                  <c:v>0.18093831433230512</c:v>
                </c:pt>
                <c:pt idx="2056">
                  <c:v>1.4193800475652898</c:v>
                </c:pt>
                <c:pt idx="2057">
                  <c:v>2.1038407545907001</c:v>
                </c:pt>
                <c:pt idx="2058">
                  <c:v>1.841445944349799</c:v>
                </c:pt>
                <c:pt idx="2059">
                  <c:v>2.1943172239570572</c:v>
                </c:pt>
                <c:pt idx="2060">
                  <c:v>2.8595919499292775</c:v>
                </c:pt>
                <c:pt idx="2061">
                  <c:v>3.4062964731022203</c:v>
                </c:pt>
                <c:pt idx="2062">
                  <c:v>3.5143864775903171</c:v>
                </c:pt>
                <c:pt idx="2063">
                  <c:v>3.4525150256242885</c:v>
                </c:pt>
                <c:pt idx="2064">
                  <c:v>3.6748573651640153</c:v>
                </c:pt>
                <c:pt idx="2065">
                  <c:v>3.3019399734616215</c:v>
                </c:pt>
                <c:pt idx="2066">
                  <c:v>3.0468225820014512</c:v>
                </c:pt>
                <c:pt idx="2067">
                  <c:v>2.6947881918398835</c:v>
                </c:pt>
                <c:pt idx="2068">
                  <c:v>2.3804813287843185</c:v>
                </c:pt>
                <c:pt idx="2069">
                  <c:v>2.0229708101284682</c:v>
                </c:pt>
                <c:pt idx="2070">
                  <c:v>1.6694781749540459</c:v>
                </c:pt>
                <c:pt idx="2071">
                  <c:v>1.4725138484500295</c:v>
                </c:pt>
                <c:pt idx="2072">
                  <c:v>1.4385945449248683</c:v>
                </c:pt>
                <c:pt idx="2073">
                  <c:v>1.6339170205441778</c:v>
                </c:pt>
                <c:pt idx="2074">
                  <c:v>1.5329175353439646</c:v>
                </c:pt>
                <c:pt idx="2075">
                  <c:v>1.2342387939764581</c:v>
                </c:pt>
                <c:pt idx="2076">
                  <c:v>0.80377244713259643</c:v>
                </c:pt>
                <c:pt idx="2077">
                  <c:v>0.65479401639073631</c:v>
                </c:pt>
                <c:pt idx="2078">
                  <c:v>0.58983120711909254</c:v>
                </c:pt>
                <c:pt idx="2079">
                  <c:v>0.55951346553643566</c:v>
                </c:pt>
                <c:pt idx="2080">
                  <c:v>0.37218458814648003</c:v>
                </c:pt>
                <c:pt idx="2081">
                  <c:v>0.2024280708310755</c:v>
                </c:pt>
                <c:pt idx="2082">
                  <c:v>8.7964458932634493E-2</c:v>
                </c:pt>
                <c:pt idx="2083">
                  <c:v>0.11564135423621913</c:v>
                </c:pt>
                <c:pt idx="2084">
                  <c:v>0.27669840975398974</c:v>
                </c:pt>
                <c:pt idx="2085">
                  <c:v>0.17875600520580825</c:v>
                </c:pt>
                <c:pt idx="2086">
                  <c:v>0.31726092703027942</c:v>
                </c:pt>
                <c:pt idx="2087">
                  <c:v>0.36995497478898831</c:v>
                </c:pt>
                <c:pt idx="2088">
                  <c:v>0.18961666231257757</c:v>
                </c:pt>
                <c:pt idx="2089">
                  <c:v>0.18017350483258288</c:v>
                </c:pt>
                <c:pt idx="2090">
                  <c:v>8.3565365517389023E-2</c:v>
                </c:pt>
                <c:pt idx="2091">
                  <c:v>2.6110369722152749E-2</c:v>
                </c:pt>
                <c:pt idx="2092">
                  <c:v>-1.8496775798157117E-2</c:v>
                </c:pt>
                <c:pt idx="2093">
                  <c:v>-0.1021802782071487</c:v>
                </c:pt>
                <c:pt idx="2094">
                  <c:v>-0.12308328349024755</c:v>
                </c:pt>
                <c:pt idx="2095">
                  <c:v>-0.22313292182267186</c:v>
                </c:pt>
                <c:pt idx="2096">
                  <c:v>-0.23567757306697479</c:v>
                </c:pt>
                <c:pt idx="2097">
                  <c:v>-0.27225118950692506</c:v>
                </c:pt>
                <c:pt idx="2098">
                  <c:v>-0.27982886974308552</c:v>
                </c:pt>
                <c:pt idx="2099">
                  <c:v>-0.36152938588373795</c:v>
                </c:pt>
                <c:pt idx="2100">
                  <c:v>-0.41397452321701911</c:v>
                </c:pt>
                <c:pt idx="2101">
                  <c:v>-0.43582018522160892</c:v>
                </c:pt>
                <c:pt idx="2102">
                  <c:v>-0.42107668901397749</c:v>
                </c:pt>
                <c:pt idx="2103">
                  <c:v>-0.37022564762046906</c:v>
                </c:pt>
                <c:pt idx="2104">
                  <c:v>-0.41379163572160726</c:v>
                </c:pt>
                <c:pt idx="2105">
                  <c:v>-0.48018632151578466</c:v>
                </c:pt>
                <c:pt idx="2106">
                  <c:v>-0.55997688443838733</c:v>
                </c:pt>
                <c:pt idx="2107">
                  <c:v>-0.5849786920626534</c:v>
                </c:pt>
                <c:pt idx="2108">
                  <c:v>-0.62701758813791808</c:v>
                </c:pt>
                <c:pt idx="2109">
                  <c:v>-0.62880597071715183</c:v>
                </c:pt>
                <c:pt idx="2110">
                  <c:v>-0.69835118209314584</c:v>
                </c:pt>
                <c:pt idx="2111">
                  <c:v>-0.72263960846514785</c:v>
                </c:pt>
                <c:pt idx="2112">
                  <c:v>-0.75668409548082916</c:v>
                </c:pt>
                <c:pt idx="2113">
                  <c:v>-0.8439716204876675</c:v>
                </c:pt>
                <c:pt idx="2114">
                  <c:v>-0.89452942396618784</c:v>
                </c:pt>
                <c:pt idx="2115">
                  <c:v>-1.0167365166994022</c:v>
                </c:pt>
                <c:pt idx="2116">
                  <c:v>-1.0164932554909418</c:v>
                </c:pt>
                <c:pt idx="2117">
                  <c:v>-1.0115064645476219</c:v>
                </c:pt>
                <c:pt idx="2118">
                  <c:v>-1.0119516316452724</c:v>
                </c:pt>
                <c:pt idx="2119">
                  <c:v>-1.119065781060006</c:v>
                </c:pt>
                <c:pt idx="2120">
                  <c:v>-1.1738422016456136</c:v>
                </c:pt>
                <c:pt idx="2121">
                  <c:v>-1.183451124197624</c:v>
                </c:pt>
                <c:pt idx="2122">
                  <c:v>-1.2990134254910342</c:v>
                </c:pt>
                <c:pt idx="2123">
                  <c:v>-1.1328081348858157</c:v>
                </c:pt>
                <c:pt idx="2124">
                  <c:v>-1.0788319360150913</c:v>
                </c:pt>
                <c:pt idx="2125">
                  <c:v>-1.1211042801638025</c:v>
                </c:pt>
                <c:pt idx="2126">
                  <c:v>-1.1897680368004264</c:v>
                </c:pt>
                <c:pt idx="2127">
                  <c:v>-1.1628630326925313</c:v>
                </c:pt>
                <c:pt idx="2128">
                  <c:v>-1.2013890785812451</c:v>
                </c:pt>
                <c:pt idx="2129">
                  <c:v>-1.1967498726067138</c:v>
                </c:pt>
                <c:pt idx="2130">
                  <c:v>-1.2416727719835401</c:v>
                </c:pt>
                <c:pt idx="2131">
                  <c:v>-1.2683971414123512</c:v>
                </c:pt>
                <c:pt idx="2132">
                  <c:v>-1.2016846597011503</c:v>
                </c:pt>
                <c:pt idx="2133">
                  <c:v>-1.2458706194770786</c:v>
                </c:pt>
                <c:pt idx="2134">
                  <c:v>-1.2085069548031819</c:v>
                </c:pt>
                <c:pt idx="2135">
                  <c:v>-1.2723874235175463</c:v>
                </c:pt>
                <c:pt idx="2136">
                  <c:v>-1.3426111935807996</c:v>
                </c:pt>
                <c:pt idx="2137">
                  <c:v>-1.3309423983974535</c:v>
                </c:pt>
                <c:pt idx="2138">
                  <c:v>-1.4386405444788841</c:v>
                </c:pt>
                <c:pt idx="2139">
                  <c:v>-1.474953959878986</c:v>
                </c:pt>
                <c:pt idx="2140">
                  <c:v>-1.4453528187228555</c:v>
                </c:pt>
                <c:pt idx="2141">
                  <c:v>-1.4191064674589722</c:v>
                </c:pt>
                <c:pt idx="2142">
                  <c:v>-1.3942469709229273</c:v>
                </c:pt>
                <c:pt idx="2143">
                  <c:v>-1.4189751997293516</c:v>
                </c:pt>
                <c:pt idx="2144">
                  <c:v>-1.4321940231595225</c:v>
                </c:pt>
                <c:pt idx="2145">
                  <c:v>-1.4447956758364886</c:v>
                </c:pt>
                <c:pt idx="2146">
                  <c:v>-1.4479152218385507</c:v>
                </c:pt>
                <c:pt idx="2147">
                  <c:v>-1.4739868445895639</c:v>
                </c:pt>
                <c:pt idx="2148">
                  <c:v>-1.5178357425057871</c:v>
                </c:pt>
                <c:pt idx="2149">
                  <c:v>-1.5404945481605363</c:v>
                </c:pt>
                <c:pt idx="2150">
                  <c:v>-1.5886222052120136</c:v>
                </c:pt>
                <c:pt idx="2151">
                  <c:v>-1.5856539525253057</c:v>
                </c:pt>
                <c:pt idx="2152">
                  <c:v>-1.5264461855828952</c:v>
                </c:pt>
                <c:pt idx="2153">
                  <c:v>-1.5307133317036727</c:v>
                </c:pt>
                <c:pt idx="2154">
                  <c:v>-1.5278435622764281</c:v>
                </c:pt>
                <c:pt idx="2155">
                  <c:v>-1.5213044934943063</c:v>
                </c:pt>
                <c:pt idx="2156">
                  <c:v>-1.5559238562614464</c:v>
                </c:pt>
                <c:pt idx="2157">
                  <c:v>-1.5547900141133941</c:v>
                </c:pt>
                <c:pt idx="2158">
                  <c:v>-1.599408931624442</c:v>
                </c:pt>
                <c:pt idx="2159">
                  <c:v>-1.6125520583752155</c:v>
                </c:pt>
                <c:pt idx="2160">
                  <c:v>-1.630951754414433</c:v>
                </c:pt>
                <c:pt idx="2161">
                  <c:v>-1.6570470283593368</c:v>
                </c:pt>
                <c:pt idx="2162">
                  <c:v>-1.6698706693630827</c:v>
                </c:pt>
                <c:pt idx="2163">
                  <c:v>-1.6375010632634428</c:v>
                </c:pt>
                <c:pt idx="2164">
                  <c:v>-1.6064958796787068</c:v>
                </c:pt>
                <c:pt idx="2165">
                  <c:v>-1.5693824052409115</c:v>
                </c:pt>
                <c:pt idx="2166">
                  <c:v>-1.5851712914695493</c:v>
                </c:pt>
                <c:pt idx="2167">
                  <c:v>-1.556351776992791</c:v>
                </c:pt>
                <c:pt idx="2168">
                  <c:v>-1.5632598471759174</c:v>
                </c:pt>
                <c:pt idx="2169">
                  <c:v>-1.5528393426756051</c:v>
                </c:pt>
                <c:pt idx="2170">
                  <c:v>-1.5819035696564403</c:v>
                </c:pt>
                <c:pt idx="2171">
                  <c:v>-1.5224683785748607</c:v>
                </c:pt>
                <c:pt idx="2172">
                  <c:v>-1.4949678706467562</c:v>
                </c:pt>
                <c:pt idx="2173">
                  <c:v>-1.4991374950670233</c:v>
                </c:pt>
                <c:pt idx="2174">
                  <c:v>-1.519226700004243</c:v>
                </c:pt>
                <c:pt idx="2175">
                  <c:v>-1.5242107415509671</c:v>
                </c:pt>
                <c:pt idx="2176">
                  <c:v>-1.5530572625952115</c:v>
                </c:pt>
                <c:pt idx="2177">
                  <c:v>-1.4955735460928936</c:v>
                </c:pt>
                <c:pt idx="2178">
                  <c:v>-1.584387783245192</c:v>
                </c:pt>
                <c:pt idx="2179">
                  <c:v>-1.6318719262861303</c:v>
                </c:pt>
                <c:pt idx="2180">
                  <c:v>-1.6177262915279225</c:v>
                </c:pt>
                <c:pt idx="2181">
                  <c:v>-1.597771238356934</c:v>
                </c:pt>
                <c:pt idx="2182">
                  <c:v>-1.4820501278117242</c:v>
                </c:pt>
                <c:pt idx="2183">
                  <c:v>-1.4304546571065362</c:v>
                </c:pt>
                <c:pt idx="2184">
                  <c:v>-1.4138420843892936</c:v>
                </c:pt>
                <c:pt idx="2185">
                  <c:v>-1.4294605127635591</c:v>
                </c:pt>
                <c:pt idx="2186">
                  <c:v>-1.3988287631540726</c:v>
                </c:pt>
                <c:pt idx="2187">
                  <c:v>-1.381983068120439</c:v>
                </c:pt>
                <c:pt idx="2188">
                  <c:v>-1.3955166426664909</c:v>
                </c:pt>
                <c:pt idx="2189">
                  <c:v>-1.3964618091344581</c:v>
                </c:pt>
                <c:pt idx="2190">
                  <c:v>-1.3942109284390178</c:v>
                </c:pt>
                <c:pt idx="2191">
                  <c:v>-1.3757808171052401</c:v>
                </c:pt>
                <c:pt idx="2192">
                  <c:v>-1.3776709876218718</c:v>
                </c:pt>
                <c:pt idx="2193">
                  <c:v>-1.3096640990463428</c:v>
                </c:pt>
                <c:pt idx="2194">
                  <c:v>-1.2965090678522952</c:v>
                </c:pt>
                <c:pt idx="2195">
                  <c:v>-1.2568433162976715</c:v>
                </c:pt>
                <c:pt idx="2196">
                  <c:v>-1.2229520047935711</c:v>
                </c:pt>
                <c:pt idx="2197">
                  <c:v>-1.185704228997615</c:v>
                </c:pt>
                <c:pt idx="2198">
                  <c:v>-1.2503958559360893</c:v>
                </c:pt>
                <c:pt idx="2199">
                  <c:v>-1.2624373870045358</c:v>
                </c:pt>
                <c:pt idx="2200">
                  <c:v>-1.2269121120768935</c:v>
                </c:pt>
                <c:pt idx="2201">
                  <c:v>-1.2255550709780678</c:v>
                </c:pt>
                <c:pt idx="2202">
                  <c:v>-1.2318400491945709</c:v>
                </c:pt>
                <c:pt idx="2203">
                  <c:v>-1.2360665737493604</c:v>
                </c:pt>
                <c:pt idx="2204">
                  <c:v>-1.2305721603561</c:v>
                </c:pt>
                <c:pt idx="2205">
                  <c:v>-1.2465527451358853</c:v>
                </c:pt>
                <c:pt idx="2206">
                  <c:v>-1.261369721719469</c:v>
                </c:pt>
                <c:pt idx="2207">
                  <c:v>-1.2982648220704904</c:v>
                </c:pt>
                <c:pt idx="2208">
                  <c:v>-1.2962181678909466</c:v>
                </c:pt>
                <c:pt idx="2209">
                  <c:v>-1.2750580444805077</c:v>
                </c:pt>
                <c:pt idx="2210">
                  <c:v>-1.2641037368817605</c:v>
                </c:pt>
                <c:pt idx="2211">
                  <c:v>-1.248269446484146</c:v>
                </c:pt>
                <c:pt idx="2212">
                  <c:v>-1.2273318761085501</c:v>
                </c:pt>
                <c:pt idx="2213">
                  <c:v>-1.1953052426689279</c:v>
                </c:pt>
                <c:pt idx="2214">
                  <c:v>-1.1904640262975554</c:v>
                </c:pt>
                <c:pt idx="2215">
                  <c:v>-1.1814486436816498</c:v>
                </c:pt>
                <c:pt idx="2216">
                  <c:v>-1.1890314288888155</c:v>
                </c:pt>
                <c:pt idx="2217">
                  <c:v>-1.1689118633769882</c:v>
                </c:pt>
                <c:pt idx="2218">
                  <c:v>-1.1276635436346347</c:v>
                </c:pt>
                <c:pt idx="2219">
                  <c:v>-1.1304567141539275</c:v>
                </c:pt>
                <c:pt idx="2220">
                  <c:v>-1.0514565457144684</c:v>
                </c:pt>
                <c:pt idx="2221">
                  <c:v>-1.023010622886783</c:v>
                </c:pt>
                <c:pt idx="2222">
                  <c:v>-0.95945209434981948</c:v>
                </c:pt>
                <c:pt idx="2223">
                  <c:v>-0.96157819878688466</c:v>
                </c:pt>
                <c:pt idx="2224">
                  <c:v>-0.99513057268492289</c:v>
                </c:pt>
                <c:pt idx="2225">
                  <c:v>-1.0343322166267548</c:v>
                </c:pt>
                <c:pt idx="2226">
                  <c:v>-1.0600859889076117</c:v>
                </c:pt>
                <c:pt idx="2227">
                  <c:v>-1.105493209614087</c:v>
                </c:pt>
                <c:pt idx="2228">
                  <c:v>-1.1356775448352627</c:v>
                </c:pt>
                <c:pt idx="2229">
                  <c:v>-1.1360521298958712</c:v>
                </c:pt>
                <c:pt idx="2230">
                  <c:v>-1.1527619466154719</c:v>
                </c:pt>
                <c:pt idx="2231">
                  <c:v>-1.1426264895600065</c:v>
                </c:pt>
                <c:pt idx="2232">
                  <c:v>-1.1985670982125711</c:v>
                </c:pt>
                <c:pt idx="2233">
                  <c:v>-1.1947165611028017</c:v>
                </c:pt>
                <c:pt idx="2234">
                  <c:v>-1.2064119166912666</c:v>
                </c:pt>
                <c:pt idx="2235">
                  <c:v>-1.1839784408894691</c:v>
                </c:pt>
                <c:pt idx="2236">
                  <c:v>-1.1874240525628468</c:v>
                </c:pt>
                <c:pt idx="2237">
                  <c:v>-1.1460767013694322</c:v>
                </c:pt>
                <c:pt idx="2238">
                  <c:v>-1.1427478861852753</c:v>
                </c:pt>
                <c:pt idx="2239">
                  <c:v>-1.1747034865220107</c:v>
                </c:pt>
                <c:pt idx="2240">
                  <c:v>-1.1857788705068946</c:v>
                </c:pt>
                <c:pt idx="2241">
                  <c:v>-1.2222620399594923</c:v>
                </c:pt>
                <c:pt idx="2242">
                  <c:v>-1.2246982656976531</c:v>
                </c:pt>
                <c:pt idx="2243">
                  <c:v>-1.219548617599072</c:v>
                </c:pt>
                <c:pt idx="2244">
                  <c:v>-1.251070231920101</c:v>
                </c:pt>
                <c:pt idx="2245">
                  <c:v>-1.2801849675686015</c:v>
                </c:pt>
                <c:pt idx="2246">
                  <c:v>-1.3078675138977889</c:v>
                </c:pt>
                <c:pt idx="2247">
                  <c:v>-1.3203966946868972</c:v>
                </c:pt>
                <c:pt idx="2248">
                  <c:v>-1.3234706330263841</c:v>
                </c:pt>
                <c:pt idx="2249">
                  <c:v>-1.2993867085869302</c:v>
                </c:pt>
                <c:pt idx="2250">
                  <c:v>-1.3028628693334561</c:v>
                </c:pt>
                <c:pt idx="2251">
                  <c:v>-1.2796176524214811</c:v>
                </c:pt>
                <c:pt idx="2252">
                  <c:v>-1.287348148660421</c:v>
                </c:pt>
                <c:pt idx="2253">
                  <c:v>-1.3253300903949472</c:v>
                </c:pt>
                <c:pt idx="2254">
                  <c:v>-1.3330614160857155</c:v>
                </c:pt>
                <c:pt idx="2255">
                  <c:v>-1.3411872793664901</c:v>
                </c:pt>
                <c:pt idx="2256">
                  <c:v>-1.3281055742160175</c:v>
                </c:pt>
                <c:pt idx="2257">
                  <c:v>-1.3017785019297776</c:v>
                </c:pt>
                <c:pt idx="2258">
                  <c:v>-1.3055318493619417</c:v>
                </c:pt>
                <c:pt idx="2259">
                  <c:v>-1.3204034018406641</c:v>
                </c:pt>
                <c:pt idx="2260">
                  <c:v>-1.3230103972814751</c:v>
                </c:pt>
                <c:pt idx="2261">
                  <c:v>-1.3300028375311379</c:v>
                </c:pt>
                <c:pt idx="2262">
                  <c:v>-1.3011988055970183</c:v>
                </c:pt>
                <c:pt idx="2263">
                  <c:v>-1.3101860056205621</c:v>
                </c:pt>
                <c:pt idx="2264">
                  <c:v>-1.4068347479963814</c:v>
                </c:pt>
                <c:pt idx="2265">
                  <c:v>-1.3927783120472146</c:v>
                </c:pt>
                <c:pt idx="2266">
                  <c:v>-1.4036864735463439</c:v>
                </c:pt>
                <c:pt idx="2267">
                  <c:v>-1.4060237490417513</c:v>
                </c:pt>
                <c:pt idx="2268">
                  <c:v>-1.4272306031978244</c:v>
                </c:pt>
                <c:pt idx="2269">
                  <c:v>-1.4136180904086733</c:v>
                </c:pt>
                <c:pt idx="2270">
                  <c:v>-1.3682753382757313</c:v>
                </c:pt>
                <c:pt idx="2271">
                  <c:v>-1.364875703045954</c:v>
                </c:pt>
                <c:pt idx="2272">
                  <c:v>-1.3829097200885467</c:v>
                </c:pt>
                <c:pt idx="2273">
                  <c:v>-1.4014226956657909</c:v>
                </c:pt>
                <c:pt idx="2274">
                  <c:v>-1.4144887633267087</c:v>
                </c:pt>
                <c:pt idx="2275">
                  <c:v>-1.4320038306722358</c:v>
                </c:pt>
                <c:pt idx="2276">
                  <c:v>-1.4639235828152612</c:v>
                </c:pt>
                <c:pt idx="2277">
                  <c:v>-1.4821043914098788</c:v>
                </c:pt>
                <c:pt idx="2278">
                  <c:v>-1.4492993419697568</c:v>
                </c:pt>
                <c:pt idx="2279">
                  <c:v>-1.4488835277665548</c:v>
                </c:pt>
                <c:pt idx="2280">
                  <c:v>-1.4479805750119228</c:v>
                </c:pt>
                <c:pt idx="2281">
                  <c:v>-1.3793801290740011</c:v>
                </c:pt>
                <c:pt idx="2282">
                  <c:v>-1.4001727749902471</c:v>
                </c:pt>
                <c:pt idx="2283">
                  <c:v>-1.3202211645790787</c:v>
                </c:pt>
                <c:pt idx="2284">
                  <c:v>-1.3236386693843816</c:v>
                </c:pt>
                <c:pt idx="2285">
                  <c:v>-1.3596002844661959</c:v>
                </c:pt>
                <c:pt idx="2286">
                  <c:v>-1.3729050312931887</c:v>
                </c:pt>
                <c:pt idx="2287">
                  <c:v>-1.3710701470063347</c:v>
                </c:pt>
                <c:pt idx="2288">
                  <c:v>-1.4343519078391522</c:v>
                </c:pt>
                <c:pt idx="2289">
                  <c:v>-1.42709273513141</c:v>
                </c:pt>
                <c:pt idx="2290">
                  <c:v>-1.4236842000983354</c:v>
                </c:pt>
                <c:pt idx="2291">
                  <c:v>-1.4315011847325008</c:v>
                </c:pt>
                <c:pt idx="2292">
                  <c:v>-1.4324104034202469</c:v>
                </c:pt>
                <c:pt idx="2293">
                  <c:v>-1.4342060777398493</c:v>
                </c:pt>
                <c:pt idx="2294">
                  <c:v>-1.3669766152096077</c:v>
                </c:pt>
                <c:pt idx="2295">
                  <c:v>-1.3621704804131443</c:v>
                </c:pt>
                <c:pt idx="2296">
                  <c:v>-1.3098362249376487</c:v>
                </c:pt>
                <c:pt idx="2297">
                  <c:v>-1.2582018425159833</c:v>
                </c:pt>
                <c:pt idx="2298">
                  <c:v>-1.23393565732699</c:v>
                </c:pt>
                <c:pt idx="2299">
                  <c:v>-1.2291631588379122</c:v>
                </c:pt>
                <c:pt idx="2300">
                  <c:v>-1.2096727801472555</c:v>
                </c:pt>
                <c:pt idx="2301">
                  <c:v>-0.98968597665993063</c:v>
                </c:pt>
                <c:pt idx="2302">
                  <c:v>-1.0671812594170147</c:v>
                </c:pt>
                <c:pt idx="2303">
                  <c:v>-1.1512448988613342</c:v>
                </c:pt>
                <c:pt idx="2304">
                  <c:v>-1.2006074435125305</c:v>
                </c:pt>
                <c:pt idx="2305">
                  <c:v>-1.1260331591029451</c:v>
                </c:pt>
                <c:pt idx="2306">
                  <c:v>-1.035120532096695</c:v>
                </c:pt>
                <c:pt idx="2307">
                  <c:v>-1.0540724154922283</c:v>
                </c:pt>
                <c:pt idx="2308">
                  <c:v>-0.98945099753963661</c:v>
                </c:pt>
                <c:pt idx="2309">
                  <c:v>-1.0473648753973712</c:v>
                </c:pt>
                <c:pt idx="2310">
                  <c:v>-1.1205657368150717</c:v>
                </c:pt>
                <c:pt idx="2311">
                  <c:v>-1.17007437579174</c:v>
                </c:pt>
                <c:pt idx="2312">
                  <c:v>-1.1404806163378649</c:v>
                </c:pt>
                <c:pt idx="2313">
                  <c:v>-1.1698943322671562</c:v>
                </c:pt>
                <c:pt idx="2314">
                  <c:v>-1.209374066077598</c:v>
                </c:pt>
                <c:pt idx="2315">
                  <c:v>-1.2198479912313731</c:v>
                </c:pt>
                <c:pt idx="2316">
                  <c:v>-1.1166316444062725</c:v>
                </c:pt>
                <c:pt idx="2317">
                  <c:v>-1.0924622561362298</c:v>
                </c:pt>
                <c:pt idx="2318">
                  <c:v>-1.1234376040844851</c:v>
                </c:pt>
                <c:pt idx="2319">
                  <c:v>-1.1391553615971683</c:v>
                </c:pt>
                <c:pt idx="2320">
                  <c:v>-1.168985214400323</c:v>
                </c:pt>
                <c:pt idx="2321">
                  <c:v>-1.1598999700708075</c:v>
                </c:pt>
                <c:pt idx="2322">
                  <c:v>-1.1886562463884305</c:v>
                </c:pt>
                <c:pt idx="2323">
                  <c:v>-1.1327378406062731</c:v>
                </c:pt>
                <c:pt idx="2324">
                  <c:v>-1.0930564329966255</c:v>
                </c:pt>
                <c:pt idx="2325">
                  <c:v>-1.0866632642832394</c:v>
                </c:pt>
                <c:pt idx="2326">
                  <c:v>-1.1599208020959608</c:v>
                </c:pt>
                <c:pt idx="2327">
                  <c:v>-1.178188859807151</c:v>
                </c:pt>
                <c:pt idx="2328">
                  <c:v>-1.1901527275565291</c:v>
                </c:pt>
                <c:pt idx="2329">
                  <c:v>-1.2139194111992211</c:v>
                </c:pt>
                <c:pt idx="2330">
                  <c:v>-1.2387556464394747</c:v>
                </c:pt>
                <c:pt idx="2331">
                  <c:v>-1.2714768461434232</c:v>
                </c:pt>
                <c:pt idx="2332">
                  <c:v>-1.2668659077776301</c:v>
                </c:pt>
                <c:pt idx="2333">
                  <c:v>-1.3198806859207461</c:v>
                </c:pt>
                <c:pt idx="2334">
                  <c:v>-1.3250609147348751</c:v>
                </c:pt>
                <c:pt idx="2335">
                  <c:v>-1.3633944038739583</c:v>
                </c:pt>
                <c:pt idx="2336">
                  <c:v>-1.3716035149339101</c:v>
                </c:pt>
                <c:pt idx="2337">
                  <c:v>-1.3392127340136148</c:v>
                </c:pt>
                <c:pt idx="2338">
                  <c:v>-1.3221571075850869</c:v>
                </c:pt>
                <c:pt idx="2339">
                  <c:v>-1.3458021242719835</c:v>
                </c:pt>
                <c:pt idx="2340">
                  <c:v>-1.3300622146375909</c:v>
                </c:pt>
                <c:pt idx="2341">
                  <c:v>-1.3388164216857481</c:v>
                </c:pt>
                <c:pt idx="2342">
                  <c:v>-1.3492603879445122</c:v>
                </c:pt>
                <c:pt idx="2343">
                  <c:v>-1.3460335587700476</c:v>
                </c:pt>
                <c:pt idx="2344">
                  <c:v>-1.4014272751529395</c:v>
                </c:pt>
                <c:pt idx="2345">
                  <c:v>-1.3975170027587824</c:v>
                </c:pt>
                <c:pt idx="2346">
                  <c:v>-1.4929403646286683</c:v>
                </c:pt>
                <c:pt idx="2347">
                  <c:v>-1.5488597277652936</c:v>
                </c:pt>
                <c:pt idx="2348">
                  <c:v>-1.5380448092645791</c:v>
                </c:pt>
                <c:pt idx="2349">
                  <c:v>-1.6100489955853226</c:v>
                </c:pt>
                <c:pt idx="2350">
                  <c:v>-1.5906825910035514</c:v>
                </c:pt>
                <c:pt idx="2351">
                  <c:v>-1.6613761170913204</c:v>
                </c:pt>
                <c:pt idx="2352">
                  <c:v>-1.6426622312585306</c:v>
                </c:pt>
                <c:pt idx="2353">
                  <c:v>-1.5407614023411813</c:v>
                </c:pt>
                <c:pt idx="2354">
                  <c:v>-1.4159044863901913</c:v>
                </c:pt>
                <c:pt idx="2355">
                  <c:v>-1.4486324295466995</c:v>
                </c:pt>
                <c:pt idx="2356">
                  <c:v>-1.5557252649796629</c:v>
                </c:pt>
                <c:pt idx="2357">
                  <c:v>-1.5497577213515186</c:v>
                </c:pt>
                <c:pt idx="2358">
                  <c:v>-1.5473018527080575</c:v>
                </c:pt>
                <c:pt idx="2359">
                  <c:v>-1.4053578262093449</c:v>
                </c:pt>
                <c:pt idx="2360">
                  <c:v>-1.44630825744514</c:v>
                </c:pt>
                <c:pt idx="2361">
                  <c:v>-1.433470385755848</c:v>
                </c:pt>
                <c:pt idx="2362">
                  <c:v>-1.4975963594307675</c:v>
                </c:pt>
                <c:pt idx="2363">
                  <c:v>-1.5098802119401906</c:v>
                </c:pt>
                <c:pt idx="2364">
                  <c:v>-1.4875425540674718</c:v>
                </c:pt>
                <c:pt idx="2365">
                  <c:v>-1.4865271821422295</c:v>
                </c:pt>
                <c:pt idx="2366">
                  <c:v>-1.523056249887194</c:v>
                </c:pt>
                <c:pt idx="2367">
                  <c:v>-1.5380385937249414</c:v>
                </c:pt>
                <c:pt idx="2368">
                  <c:v>-1.5520229315609846</c:v>
                </c:pt>
                <c:pt idx="2369">
                  <c:v>-1.4737316077076612</c:v>
                </c:pt>
                <c:pt idx="2370">
                  <c:v>-1.5826277460647153</c:v>
                </c:pt>
                <c:pt idx="2371">
                  <c:v>-1.5502474339257728</c:v>
                </c:pt>
                <c:pt idx="2372">
                  <c:v>-1.5279658343226195</c:v>
                </c:pt>
                <c:pt idx="2373">
                  <c:v>-1.4830295538689007</c:v>
                </c:pt>
                <c:pt idx="2374">
                  <c:v>-1.5714560112658023</c:v>
                </c:pt>
                <c:pt idx="2375">
                  <c:v>-1.50164469260445</c:v>
                </c:pt>
                <c:pt idx="2376">
                  <c:v>-1.4674982862262258</c:v>
                </c:pt>
                <c:pt idx="2377">
                  <c:v>-1.4630196269320277</c:v>
                </c:pt>
                <c:pt idx="2378">
                  <c:v>-1.3023062959959866</c:v>
                </c:pt>
                <c:pt idx="2379">
                  <c:v>-1.2792887397896497</c:v>
                </c:pt>
                <c:pt idx="2380">
                  <c:v>-1.2152183209173628</c:v>
                </c:pt>
                <c:pt idx="2381">
                  <c:v>-1.2621183645265917</c:v>
                </c:pt>
                <c:pt idx="2382">
                  <c:v>-1.3426860333318331</c:v>
                </c:pt>
                <c:pt idx="2383">
                  <c:v>-1.3644060354266232</c:v>
                </c:pt>
                <c:pt idx="2384">
                  <c:v>-1.3303047912648318</c:v>
                </c:pt>
                <c:pt idx="2385">
                  <c:v>-1.3903769160102644</c:v>
                </c:pt>
                <c:pt idx="2386">
                  <c:v>-1.3675856577698844</c:v>
                </c:pt>
                <c:pt idx="2387">
                  <c:v>-1.3804822569179387</c:v>
                </c:pt>
                <c:pt idx="2388">
                  <c:v>-1.3691705592760179</c:v>
                </c:pt>
                <c:pt idx="2389">
                  <c:v>-1.3734514606016628</c:v>
                </c:pt>
                <c:pt idx="2390">
                  <c:v>-1.4533538959753458</c:v>
                </c:pt>
                <c:pt idx="2391">
                  <c:v>-1.4234140529213359</c:v>
                </c:pt>
                <c:pt idx="2392">
                  <c:v>-1.3942884605739838</c:v>
                </c:pt>
                <c:pt idx="2393">
                  <c:v>-1.3375140872362117</c:v>
                </c:pt>
                <c:pt idx="2394">
                  <c:v>-1.3594050528067838</c:v>
                </c:pt>
                <c:pt idx="2395">
                  <c:v>-1.3628483692225206</c:v>
                </c:pt>
                <c:pt idx="2396">
                  <c:v>-1.3629306852708978</c:v>
                </c:pt>
                <c:pt idx="2397">
                  <c:v>-1.3861091581480709</c:v>
                </c:pt>
                <c:pt idx="2398">
                  <c:v>-1.3572697294466054</c:v>
                </c:pt>
                <c:pt idx="2399">
                  <c:v>-1.3705594520572417</c:v>
                </c:pt>
                <c:pt idx="2400">
                  <c:v>-1.1973142320406831</c:v>
                </c:pt>
                <c:pt idx="2401">
                  <c:v>-1.279775980438187</c:v>
                </c:pt>
                <c:pt idx="2402">
                  <c:v>-1.3220585420476441</c:v>
                </c:pt>
                <c:pt idx="2403">
                  <c:v>-1.3350053709534777</c:v>
                </c:pt>
                <c:pt idx="2404">
                  <c:v>-1.326207267743746</c:v>
                </c:pt>
                <c:pt idx="2405">
                  <c:v>-1.330919087861729</c:v>
                </c:pt>
                <c:pt idx="2406">
                  <c:v>-1.2855419640259287</c:v>
                </c:pt>
                <c:pt idx="2407">
                  <c:v>-1.3395140738090978</c:v>
                </c:pt>
                <c:pt idx="2408">
                  <c:v>-1.3525036121879035</c:v>
                </c:pt>
                <c:pt idx="2409">
                  <c:v>-1.4070080471872188</c:v>
                </c:pt>
                <c:pt idx="2410">
                  <c:v>-1.3251005605493111</c:v>
                </c:pt>
                <c:pt idx="2411">
                  <c:v>-1.3571883655236832</c:v>
                </c:pt>
                <c:pt idx="2412">
                  <c:v>-1.2936557049676105</c:v>
                </c:pt>
                <c:pt idx="2413">
                  <c:v>-1.2562915997727582</c:v>
                </c:pt>
                <c:pt idx="2414">
                  <c:v>-1.2075948681276327</c:v>
                </c:pt>
                <c:pt idx="2415">
                  <c:v>-1.1510701034240611</c:v>
                </c:pt>
                <c:pt idx="2416">
                  <c:v>-1.147548764306789</c:v>
                </c:pt>
                <c:pt idx="2417">
                  <c:v>-1.1833444502591504</c:v>
                </c:pt>
                <c:pt idx="2418">
                  <c:v>-1.1824944304705562</c:v>
                </c:pt>
                <c:pt idx="2419">
                  <c:v>-1.2783862677549001</c:v>
                </c:pt>
                <c:pt idx="2420">
                  <c:v>-1.2630371029540211</c:v>
                </c:pt>
                <c:pt idx="2421">
                  <c:v>-1.1657276179836074</c:v>
                </c:pt>
                <c:pt idx="2422">
                  <c:v>-1.1415361268248319</c:v>
                </c:pt>
                <c:pt idx="2423">
                  <c:v>-1.0611799957886339</c:v>
                </c:pt>
                <c:pt idx="2424">
                  <c:v>-0.96448360714128278</c:v>
                </c:pt>
                <c:pt idx="2425">
                  <c:v>-1.032494411036647</c:v>
                </c:pt>
                <c:pt idx="2426">
                  <c:v>-1.0498153165895068</c:v>
                </c:pt>
                <c:pt idx="2427">
                  <c:v>-1.0728105927987341</c:v>
                </c:pt>
                <c:pt idx="2428">
                  <c:v>-1.0025539513400994</c:v>
                </c:pt>
                <c:pt idx="2429">
                  <c:v>-1.1935517393244315</c:v>
                </c:pt>
                <c:pt idx="2430">
                  <c:v>-1.1993619398978668</c:v>
                </c:pt>
                <c:pt idx="2431">
                  <c:v>-1.1718909669458131</c:v>
                </c:pt>
                <c:pt idx="2432">
                  <c:v>-1.1986056743214841</c:v>
                </c:pt>
                <c:pt idx="2433">
                  <c:v>-1.204557718222742</c:v>
                </c:pt>
                <c:pt idx="2434">
                  <c:v>-1.1898031457829679</c:v>
                </c:pt>
                <c:pt idx="2435">
                  <c:v>-1.1330268816004105</c:v>
                </c:pt>
                <c:pt idx="2436">
                  <c:v>-1.1304657787319132</c:v>
                </c:pt>
                <c:pt idx="2437">
                  <c:v>-1.1606185532782458</c:v>
                </c:pt>
                <c:pt idx="2438">
                  <c:v>-1.1373002398155405</c:v>
                </c:pt>
                <c:pt idx="2439">
                  <c:v>-1.1015721041684294</c:v>
                </c:pt>
                <c:pt idx="2440">
                  <c:v>-1.0669021834071408</c:v>
                </c:pt>
                <c:pt idx="2441">
                  <c:v>-1.112709497244293</c:v>
                </c:pt>
                <c:pt idx="2442">
                  <c:v>-1.0710000627129828</c:v>
                </c:pt>
                <c:pt idx="2443">
                  <c:v>-0.97830633135876</c:v>
                </c:pt>
                <c:pt idx="2444">
                  <c:v>-0.8012567269272054</c:v>
                </c:pt>
                <c:pt idx="2445">
                  <c:v>-0.83056243859967194</c:v>
                </c:pt>
                <c:pt idx="2446">
                  <c:v>-0.84426071786834589</c:v>
                </c:pt>
                <c:pt idx="2447">
                  <c:v>-0.87590043638528359</c:v>
                </c:pt>
                <c:pt idx="2448">
                  <c:v>-0.85849208690097734</c:v>
                </c:pt>
                <c:pt idx="2449">
                  <c:v>-0.83741788665799577</c:v>
                </c:pt>
                <c:pt idx="2450">
                  <c:v>-0.66729028719851424</c:v>
                </c:pt>
                <c:pt idx="2451">
                  <c:v>-0.66311510904933391</c:v>
                </c:pt>
                <c:pt idx="2452">
                  <c:v>-0.6124326461104086</c:v>
                </c:pt>
                <c:pt idx="2453">
                  <c:v>-0.76724307931387636</c:v>
                </c:pt>
                <c:pt idx="2454">
                  <c:v>-0.67663860267859144</c:v>
                </c:pt>
                <c:pt idx="2455">
                  <c:v>-0.77835599682594947</c:v>
                </c:pt>
                <c:pt idx="2456">
                  <c:v>-0.73372186174798693</c:v>
                </c:pt>
                <c:pt idx="2457">
                  <c:v>-0.80955694448863658</c:v>
                </c:pt>
                <c:pt idx="2458">
                  <c:v>-0.78346179822467366</c:v>
                </c:pt>
                <c:pt idx="2459">
                  <c:v>-0.68073700990404051</c:v>
                </c:pt>
                <c:pt idx="2460">
                  <c:v>-0.72360172734020678</c:v>
                </c:pt>
                <c:pt idx="2461">
                  <c:v>-0.77491361708517892</c:v>
                </c:pt>
                <c:pt idx="2462">
                  <c:v>-0.87532319889706489</c:v>
                </c:pt>
                <c:pt idx="2463">
                  <c:v>-0.92406306536913929</c:v>
                </c:pt>
                <c:pt idx="2464">
                  <c:v>-0.87785977306038221</c:v>
                </c:pt>
                <c:pt idx="2465">
                  <c:v>-0.91286426030646117</c:v>
                </c:pt>
                <c:pt idx="2466">
                  <c:v>-0.96469552937586278</c:v>
                </c:pt>
                <c:pt idx="2467">
                  <c:v>-0.98630069783114349</c:v>
                </c:pt>
                <c:pt idx="2468">
                  <c:v>-1.0705719365433246</c:v>
                </c:pt>
                <c:pt idx="2469">
                  <c:v>-1.1415709315587115</c:v>
                </c:pt>
                <c:pt idx="2470">
                  <c:v>-1.1472574738854882</c:v>
                </c:pt>
                <c:pt idx="2471">
                  <c:v>-1.1543859827575966</c:v>
                </c:pt>
                <c:pt idx="2472">
                  <c:v>-1.1017045078529923</c:v>
                </c:pt>
                <c:pt idx="2473">
                  <c:v>-1.0079218477799077</c:v>
                </c:pt>
                <c:pt idx="2474">
                  <c:v>-0.94959551441285839</c:v>
                </c:pt>
                <c:pt idx="2475">
                  <c:v>-0.98110436005552448</c:v>
                </c:pt>
                <c:pt idx="2476">
                  <c:v>-0.99732316101774043</c:v>
                </c:pt>
                <c:pt idx="2477">
                  <c:v>-1.0735185365292585</c:v>
                </c:pt>
                <c:pt idx="2478">
                  <c:v>-1.0575627979553208</c:v>
                </c:pt>
                <c:pt idx="2479">
                  <c:v>-1.0311592058096732</c:v>
                </c:pt>
                <c:pt idx="2480">
                  <c:v>-1.0459290582935079</c:v>
                </c:pt>
                <c:pt idx="2481">
                  <c:v>-0.97566165540595595</c:v>
                </c:pt>
                <c:pt idx="2482">
                  <c:v>-0.95027016923713714</c:v>
                </c:pt>
                <c:pt idx="2483">
                  <c:v>-1.0422785538312309</c:v>
                </c:pt>
                <c:pt idx="2484">
                  <c:v>-1.0180973313464263</c:v>
                </c:pt>
                <c:pt idx="2485">
                  <c:v>-1.0305090716103242</c:v>
                </c:pt>
                <c:pt idx="2486">
                  <c:v>-1.0174860163833674</c:v>
                </c:pt>
                <c:pt idx="2487">
                  <c:v>-1.0072901742132827</c:v>
                </c:pt>
                <c:pt idx="2488">
                  <c:v>-0.873307637891648</c:v>
                </c:pt>
                <c:pt idx="2489">
                  <c:v>-0.72264072645111144</c:v>
                </c:pt>
                <c:pt idx="2490">
                  <c:v>-0.6475830340695018</c:v>
                </c:pt>
                <c:pt idx="2491">
                  <c:v>-0.65756468647195809</c:v>
                </c:pt>
                <c:pt idx="2492">
                  <c:v>-0.27083894949021392</c:v>
                </c:pt>
                <c:pt idx="2493">
                  <c:v>-0.40668967573315162</c:v>
                </c:pt>
                <c:pt idx="2494">
                  <c:v>-0.20892768445312329</c:v>
                </c:pt>
                <c:pt idx="2495">
                  <c:v>-0.16682501583003784</c:v>
                </c:pt>
                <c:pt idx="2496">
                  <c:v>-4.005354167243802E-2</c:v>
                </c:pt>
                <c:pt idx="2497">
                  <c:v>0.22752678936001047</c:v>
                </c:pt>
                <c:pt idx="2498">
                  <c:v>0.19186572939075353</c:v>
                </c:pt>
                <c:pt idx="2499">
                  <c:v>-8.0976359590415103E-2</c:v>
                </c:pt>
                <c:pt idx="2500">
                  <c:v>-0.16834074475501759</c:v>
                </c:pt>
                <c:pt idx="2501">
                  <c:v>-2.1973115697106971E-2</c:v>
                </c:pt>
                <c:pt idx="2502">
                  <c:v>-0.45571780090343561</c:v>
                </c:pt>
                <c:pt idx="2503">
                  <c:v>-0.36586970587778828</c:v>
                </c:pt>
                <c:pt idx="2504">
                  <c:v>-0.2046608634786718</c:v>
                </c:pt>
                <c:pt idx="2505">
                  <c:v>-0.28916507561335236</c:v>
                </c:pt>
                <c:pt idx="2506">
                  <c:v>-0.3605525434995368</c:v>
                </c:pt>
                <c:pt idx="2507">
                  <c:v>-7.101700505705083E-2</c:v>
                </c:pt>
                <c:pt idx="2508">
                  <c:v>8.7340192913294673E-2</c:v>
                </c:pt>
                <c:pt idx="2509">
                  <c:v>-0.10987319153726828</c:v>
                </c:pt>
                <c:pt idx="2510">
                  <c:v>-0.24232892797433511</c:v>
                </c:pt>
                <c:pt idx="2511">
                  <c:v>-0.27458487660471531</c:v>
                </c:pt>
                <c:pt idx="2512">
                  <c:v>-0.40801834224326694</c:v>
                </c:pt>
                <c:pt idx="2513">
                  <c:v>-0.42072958418328166</c:v>
                </c:pt>
                <c:pt idx="2514">
                  <c:v>-0.4905499834804577</c:v>
                </c:pt>
                <c:pt idx="2515">
                  <c:v>-0.4899143273478534</c:v>
                </c:pt>
                <c:pt idx="2516">
                  <c:v>-0.48706022127563975</c:v>
                </c:pt>
                <c:pt idx="2517">
                  <c:v>-0.51724890440378635</c:v>
                </c:pt>
                <c:pt idx="2518">
                  <c:v>-0.4643405483484172</c:v>
                </c:pt>
                <c:pt idx="2519">
                  <c:v>-0.2488628679140949</c:v>
                </c:pt>
                <c:pt idx="2520">
                  <c:v>-7.7299872791578766E-2</c:v>
                </c:pt>
                <c:pt idx="2521">
                  <c:v>-3.0770151039555868E-2</c:v>
                </c:pt>
                <c:pt idx="2522">
                  <c:v>8.5851402693077061E-2</c:v>
                </c:pt>
                <c:pt idx="2523">
                  <c:v>-0.1443447539825741</c:v>
                </c:pt>
                <c:pt idx="2524">
                  <c:v>-9.1129029360931105E-2</c:v>
                </c:pt>
                <c:pt idx="2525">
                  <c:v>-6.4456210021524532E-2</c:v>
                </c:pt>
                <c:pt idx="2526">
                  <c:v>0.14150373545067993</c:v>
                </c:pt>
                <c:pt idx="2527">
                  <c:v>0.43050423277631228</c:v>
                </c:pt>
                <c:pt idx="2528">
                  <c:v>0.53949395666056432</c:v>
                </c:pt>
                <c:pt idx="2529">
                  <c:v>0.53583853721471075</c:v>
                </c:pt>
                <c:pt idx="2530">
                  <c:v>0.89230939698529954</c:v>
                </c:pt>
                <c:pt idx="2531">
                  <c:v>1.2277828797471582</c:v>
                </c:pt>
                <c:pt idx="2532">
                  <c:v>1.1091731682713288</c:v>
                </c:pt>
                <c:pt idx="2533">
                  <c:v>1.1652967827853837</c:v>
                </c:pt>
                <c:pt idx="2534">
                  <c:v>1.2392748435770127</c:v>
                </c:pt>
                <c:pt idx="2535">
                  <c:v>1.2758907164433568</c:v>
                </c:pt>
                <c:pt idx="2536">
                  <c:v>1.1847718586593841</c:v>
                </c:pt>
                <c:pt idx="2537">
                  <c:v>1.1155593225288776</c:v>
                </c:pt>
                <c:pt idx="2538">
                  <c:v>1.010895854793584</c:v>
                </c:pt>
                <c:pt idx="2539">
                  <c:v>1.2347290860992435</c:v>
                </c:pt>
                <c:pt idx="2540">
                  <c:v>1.0495346825346501</c:v>
                </c:pt>
                <c:pt idx="2541">
                  <c:v>1.1271591291973841</c:v>
                </c:pt>
                <c:pt idx="2542">
                  <c:v>1.1290248208550919</c:v>
                </c:pt>
                <c:pt idx="2543">
                  <c:v>1.0080645662172136</c:v>
                </c:pt>
                <c:pt idx="2544">
                  <c:v>1.1740528164851454</c:v>
                </c:pt>
                <c:pt idx="2545">
                  <c:v>1.1309836437108189</c:v>
                </c:pt>
                <c:pt idx="2546">
                  <c:v>1.485831742007786</c:v>
                </c:pt>
                <c:pt idx="2547">
                  <c:v>1.3453653969629076</c:v>
                </c:pt>
                <c:pt idx="2548">
                  <c:v>1.3945923953476713</c:v>
                </c:pt>
                <c:pt idx="2549">
                  <c:v>1.5261691773023105</c:v>
                </c:pt>
                <c:pt idx="2550">
                  <c:v>1.8557186944587223</c:v>
                </c:pt>
                <c:pt idx="2551">
                  <c:v>1.8613423685537276</c:v>
                </c:pt>
                <c:pt idx="2552">
                  <c:v>1.8583988064363828</c:v>
                </c:pt>
                <c:pt idx="2553">
                  <c:v>2.0591228643137343</c:v>
                </c:pt>
                <c:pt idx="2554">
                  <c:v>1.8920334946280484</c:v>
                </c:pt>
                <c:pt idx="2555">
                  <c:v>1.7645485012605737</c:v>
                </c:pt>
                <c:pt idx="2556">
                  <c:v>1.5166331239229418</c:v>
                </c:pt>
                <c:pt idx="2557">
                  <c:v>1.6734948446350191</c:v>
                </c:pt>
                <c:pt idx="2558">
                  <c:v>1.6569971738658789</c:v>
                </c:pt>
                <c:pt idx="2559">
                  <c:v>1.9725379048092531</c:v>
                </c:pt>
                <c:pt idx="2560">
                  <c:v>2.0102594159701308</c:v>
                </c:pt>
                <c:pt idx="2561">
                  <c:v>2.0300915865168321</c:v>
                </c:pt>
                <c:pt idx="2562">
                  <c:v>2.0242174900664147</c:v>
                </c:pt>
                <c:pt idx="2563">
                  <c:v>1.9890629148271011</c:v>
                </c:pt>
                <c:pt idx="2564">
                  <c:v>1.7907875436456933</c:v>
                </c:pt>
                <c:pt idx="2565">
                  <c:v>2.0337356508920927</c:v>
                </c:pt>
                <c:pt idx="2566">
                  <c:v>2.0884054472487392</c:v>
                </c:pt>
                <c:pt idx="2567">
                  <c:v>2.1185987524932117</c:v>
                </c:pt>
                <c:pt idx="2568">
                  <c:v>1.7442857089150641</c:v>
                </c:pt>
                <c:pt idx="2569">
                  <c:v>1.3673463111499502</c:v>
                </c:pt>
                <c:pt idx="2570">
                  <c:v>1.4768443089046195</c:v>
                </c:pt>
                <c:pt idx="2571">
                  <c:v>1.5271752048232297</c:v>
                </c:pt>
                <c:pt idx="2572">
                  <c:v>1.347403523794255</c:v>
                </c:pt>
                <c:pt idx="2573">
                  <c:v>1.4943546750258496</c:v>
                </c:pt>
                <c:pt idx="2574">
                  <c:v>1.3982934358101238</c:v>
                </c:pt>
                <c:pt idx="2575">
                  <c:v>1.532045102376445</c:v>
                </c:pt>
                <c:pt idx="2576">
                  <c:v>1.5162978301305419</c:v>
                </c:pt>
                <c:pt idx="2577">
                  <c:v>1.4336553792472435</c:v>
                </c:pt>
                <c:pt idx="2578">
                  <c:v>1.7349127556874451</c:v>
                </c:pt>
                <c:pt idx="2579">
                  <c:v>1.9423992077523526</c:v>
                </c:pt>
                <c:pt idx="2580">
                  <c:v>1.8673462502670435</c:v>
                </c:pt>
                <c:pt idx="2581">
                  <c:v>1.9942999636321481</c:v>
                </c:pt>
                <c:pt idx="2582">
                  <c:v>2.1957332244492136</c:v>
                </c:pt>
                <c:pt idx="2583">
                  <c:v>2.2257665029758962</c:v>
                </c:pt>
                <c:pt idx="2584">
                  <c:v>2.1487666090702007</c:v>
                </c:pt>
                <c:pt idx="2585">
                  <c:v>2.2249201476944021</c:v>
                </c:pt>
                <c:pt idx="2586">
                  <c:v>2.2132322178663393</c:v>
                </c:pt>
                <c:pt idx="2587">
                  <c:v>2.1844379506581437</c:v>
                </c:pt>
                <c:pt idx="2588">
                  <c:v>2.2540646051227418</c:v>
                </c:pt>
                <c:pt idx="2589">
                  <c:v>2.251541782828661</c:v>
                </c:pt>
                <c:pt idx="2590">
                  <c:v>2.3589686314300828</c:v>
                </c:pt>
                <c:pt idx="2591">
                  <c:v>2.2397799461719536</c:v>
                </c:pt>
                <c:pt idx="2592">
                  <c:v>2.2476069494921957</c:v>
                </c:pt>
                <c:pt idx="2593">
                  <c:v>2.3844661496563395</c:v>
                </c:pt>
                <c:pt idx="2594">
                  <c:v>2.5773510528481416</c:v>
                </c:pt>
                <c:pt idx="2595">
                  <c:v>2.4778081477310927</c:v>
                </c:pt>
                <c:pt idx="2596">
                  <c:v>2.5474315021738838</c:v>
                </c:pt>
                <c:pt idx="2597">
                  <c:v>2.3932470866198896</c:v>
                </c:pt>
                <c:pt idx="2598">
                  <c:v>2.8807789641634893</c:v>
                </c:pt>
                <c:pt idx="2599">
                  <c:v>3.1386730335513917</c:v>
                </c:pt>
                <c:pt idx="2600">
                  <c:v>2.9968706599072004</c:v>
                </c:pt>
                <c:pt idx="2601">
                  <c:v>2.6293305969224776</c:v>
                </c:pt>
                <c:pt idx="2602">
                  <c:v>2.9621003863689968</c:v>
                </c:pt>
                <c:pt idx="2603">
                  <c:v>2.9745522637617552</c:v>
                </c:pt>
                <c:pt idx="2604">
                  <c:v>3.1698377640709712</c:v>
                </c:pt>
                <c:pt idx="2605">
                  <c:v>3.2045572455297986</c:v>
                </c:pt>
                <c:pt idx="2606">
                  <c:v>3.0023507443504815</c:v>
                </c:pt>
                <c:pt idx="2607">
                  <c:v>3.1064990469164799</c:v>
                </c:pt>
                <c:pt idx="2608">
                  <c:v>2.9166543759692827</c:v>
                </c:pt>
                <c:pt idx="2609">
                  <c:v>2.8286115870296467</c:v>
                </c:pt>
                <c:pt idx="2610">
                  <c:v>2.8725188166678355</c:v>
                </c:pt>
                <c:pt idx="2611">
                  <c:v>2.8785260349130652</c:v>
                </c:pt>
                <c:pt idx="2612">
                  <c:v>2.9378459362408789</c:v>
                </c:pt>
                <c:pt idx="2613">
                  <c:v>2.8688453933935176</c:v>
                </c:pt>
                <c:pt idx="2614">
                  <c:v>2.7943374554125349</c:v>
                </c:pt>
                <c:pt idx="2615">
                  <c:v>2.6665397557257089</c:v>
                </c:pt>
                <c:pt idx="2616">
                  <c:v>2.538976994213872</c:v>
                </c:pt>
                <c:pt idx="2617">
                  <c:v>2.2826374022975529</c:v>
                </c:pt>
                <c:pt idx="2618">
                  <c:v>2.1077504000953451</c:v>
                </c:pt>
                <c:pt idx="2619">
                  <c:v>2.2982298554663743</c:v>
                </c:pt>
                <c:pt idx="2620">
                  <c:v>2.4348181116303698</c:v>
                </c:pt>
                <c:pt idx="2621">
                  <c:v>2.3028310507240088</c:v>
                </c:pt>
                <c:pt idx="2622">
                  <c:v>2.1513858498783645</c:v>
                </c:pt>
                <c:pt idx="2623">
                  <c:v>2.2258833156519979</c:v>
                </c:pt>
                <c:pt idx="2624">
                  <c:v>2.1576259088639147</c:v>
                </c:pt>
                <c:pt idx="2625">
                  <c:v>2.1800931503601757</c:v>
                </c:pt>
                <c:pt idx="2626">
                  <c:v>2.217482751531882</c:v>
                </c:pt>
                <c:pt idx="2627">
                  <c:v>2.5079624163403116</c:v>
                </c:pt>
                <c:pt idx="2628">
                  <c:v>2.948433983572758</c:v>
                </c:pt>
                <c:pt idx="2629">
                  <c:v>3.24055986744201</c:v>
                </c:pt>
                <c:pt idx="2630">
                  <c:v>2.8927746948354081</c:v>
                </c:pt>
                <c:pt idx="2631">
                  <c:v>3.0043908409019178</c:v>
                </c:pt>
                <c:pt idx="2632">
                  <c:v>3.0764548129916558</c:v>
                </c:pt>
                <c:pt idx="2633">
                  <c:v>2.9476954210551765</c:v>
                </c:pt>
                <c:pt idx="2634">
                  <c:v>2.8696744712128357</c:v>
                </c:pt>
                <c:pt idx="2635">
                  <c:v>2.742763249151789</c:v>
                </c:pt>
                <c:pt idx="2636">
                  <c:v>2.6591845525208306</c:v>
                </c:pt>
                <c:pt idx="2637">
                  <c:v>2.7249762661219843</c:v>
                </c:pt>
                <c:pt idx="2638">
                  <c:v>2.7485326868328461</c:v>
                </c:pt>
                <c:pt idx="2639">
                  <c:v>2.7288442464781424</c:v>
                </c:pt>
                <c:pt idx="2640">
                  <c:v>2.7309495566989783</c:v>
                </c:pt>
              </c:numCache>
            </c:numRef>
          </c:val>
          <c:smooth val="0"/>
          <c:extLst>
            <c:ext xmlns:c16="http://schemas.microsoft.com/office/drawing/2014/chart" uri="{C3380CC4-5D6E-409C-BE32-E72D297353CC}">
              <c16:uniqueId val="{00000000-15B9-4A54-A56E-FFBEAC3CF033}"/>
            </c:ext>
          </c:extLst>
        </c:ser>
        <c:dLbls>
          <c:showLegendKey val="0"/>
          <c:showVal val="0"/>
          <c:showCatName val="0"/>
          <c:showSerName val="0"/>
          <c:showPercent val="0"/>
          <c:showBubbleSize val="0"/>
        </c:dLbls>
        <c:smooth val="0"/>
        <c:axId val="41773103"/>
        <c:axId val="41775399"/>
      </c:lineChart>
      <c:dateAx>
        <c:axId val="41773103"/>
        <c:scaling>
          <c:orientation val="minMax"/>
        </c:scaling>
        <c:delete val="0"/>
        <c:axPos val="b"/>
        <c:numFmt formatCode="yyyy" sourceLinked="0"/>
        <c:majorTickMark val="out"/>
        <c:minorTickMark val="none"/>
        <c:tickLblPos val="low"/>
        <c:spPr>
          <a:noFill/>
          <a:ln w="9525" cap="flat" cmpd="sng" algn="ctr">
            <a:solidFill>
              <a:srgbClr val="FFFFFF">
                <a:lumMod val="50000"/>
              </a:srgb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41775399"/>
        <c:crosses val="autoZero"/>
        <c:auto val="1"/>
        <c:lblOffset val="100"/>
        <c:baseTimeUnit val="days"/>
      </c:dateAx>
      <c:valAx>
        <c:axId val="41775399"/>
        <c:scaling>
          <c:orientation val="minMax"/>
        </c:scaling>
        <c:delete val="0"/>
        <c:axPos val="l"/>
        <c:numFmt formatCode="General" sourceLinked="1"/>
        <c:majorTickMark val="out"/>
        <c:minorTickMark val="none"/>
        <c:tickLblPos val="nextTo"/>
        <c:spPr>
          <a:noFill/>
          <a:ln w="9525">
            <a:solidFill>
              <a:srgbClr val="FFFFFF">
                <a:lumMod val="50000"/>
              </a:srgbClr>
            </a:solid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41773103"/>
        <c:crosses val="autoZero"/>
        <c:crossBetween val="between"/>
      </c:valAx>
      <c:spPr>
        <a:noFill/>
        <a:ln>
          <a:noFill/>
        </a:ln>
        <a:effectLst/>
      </c:spPr>
    </c:plotArea>
    <c:legend>
      <c:legendPos val="t"/>
      <c:layout>
        <c:manualLayout>
          <c:xMode val="edge"/>
          <c:yMode val="edge"/>
          <c:x val="3.2275032720720943E-2"/>
          <c:y val="8.7613586142221173E-2"/>
          <c:w val="0.75924364930786881"/>
          <c:h val="4.9509652800983066E-2"/>
        </c:manualLayout>
      </c:layout>
      <c:overlay val="0"/>
      <c:spPr>
        <a:noFill/>
        <a:ln>
          <a:noFill/>
        </a:ln>
        <a:effectLst/>
      </c:spPr>
      <c:txPr>
        <a:bodyPr rot="0" spcFirstLastPara="1" vertOverflow="ellipsis" vert="horz" wrap="square" anchor="ctr" anchorCtr="1"/>
        <a:lstStyle/>
        <a:p>
          <a:pPr rtl="0">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ysClr val="windowText" lastClr="000000"/>
          </a:solidFill>
          <a:latin typeface="Arial" panose="020B0604020202020204" pitchFamily="34" charset="0"/>
          <a:cs typeface="Arial" panose="020B0604020202020204" pitchFamily="34" charset="0"/>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6192402397757592E-2"/>
          <c:y val="0.2303344228763568"/>
          <c:w val="0.90490088497402998"/>
          <c:h val="0.60111770641281193"/>
        </c:manualLayout>
      </c:layout>
      <c:barChart>
        <c:barDir val="col"/>
        <c:grouping val="stacked"/>
        <c:varyColors val="0"/>
        <c:ser>
          <c:idx val="2"/>
          <c:order val="1"/>
          <c:tx>
            <c:strRef>
              <c:f>QT!$D$13</c:f>
              <c:strCache>
                <c:ptCount val="1"/>
                <c:pt idx="0">
                  <c:v>Japan</c:v>
                </c:pt>
              </c:strCache>
            </c:strRef>
          </c:tx>
          <c:spPr>
            <a:solidFill>
              <a:srgbClr val="298FC2"/>
            </a:solidFill>
          </c:spPr>
          <c:invertIfNegative val="0"/>
          <c:cat>
            <c:numRef>
              <c:f>QT!$A$14:$A$1174</c:f>
              <c:numCache>
                <c:formatCode>mmm"-"yyyy</c:formatCode>
                <c:ptCount val="1161"/>
                <c:pt idx="0">
                  <c:v>39202</c:v>
                </c:pt>
                <c:pt idx="1">
                  <c:v>39233</c:v>
                </c:pt>
                <c:pt idx="2">
                  <c:v>39263</c:v>
                </c:pt>
                <c:pt idx="3">
                  <c:v>39294</c:v>
                </c:pt>
                <c:pt idx="4">
                  <c:v>39325</c:v>
                </c:pt>
                <c:pt idx="5">
                  <c:v>39355</c:v>
                </c:pt>
                <c:pt idx="6">
                  <c:v>39386</c:v>
                </c:pt>
                <c:pt idx="7">
                  <c:v>39416</c:v>
                </c:pt>
                <c:pt idx="8">
                  <c:v>39447</c:v>
                </c:pt>
                <c:pt idx="9">
                  <c:v>39478</c:v>
                </c:pt>
                <c:pt idx="10">
                  <c:v>39507</c:v>
                </c:pt>
                <c:pt idx="11">
                  <c:v>39538</c:v>
                </c:pt>
                <c:pt idx="12">
                  <c:v>39568</c:v>
                </c:pt>
                <c:pt idx="13">
                  <c:v>39599</c:v>
                </c:pt>
                <c:pt idx="14">
                  <c:v>39629</c:v>
                </c:pt>
                <c:pt idx="15">
                  <c:v>39660</c:v>
                </c:pt>
                <c:pt idx="16">
                  <c:v>39691</c:v>
                </c:pt>
                <c:pt idx="17">
                  <c:v>39721</c:v>
                </c:pt>
                <c:pt idx="18">
                  <c:v>39752</c:v>
                </c:pt>
                <c:pt idx="19">
                  <c:v>39782</c:v>
                </c:pt>
                <c:pt idx="20">
                  <c:v>39813</c:v>
                </c:pt>
                <c:pt idx="21">
                  <c:v>39844</c:v>
                </c:pt>
                <c:pt idx="22">
                  <c:v>39872</c:v>
                </c:pt>
                <c:pt idx="23">
                  <c:v>39903</c:v>
                </c:pt>
                <c:pt idx="24">
                  <c:v>39933</c:v>
                </c:pt>
                <c:pt idx="25">
                  <c:v>39964</c:v>
                </c:pt>
                <c:pt idx="26">
                  <c:v>39994</c:v>
                </c:pt>
                <c:pt idx="27">
                  <c:v>40025</c:v>
                </c:pt>
                <c:pt idx="28">
                  <c:v>40056</c:v>
                </c:pt>
                <c:pt idx="29">
                  <c:v>40086</c:v>
                </c:pt>
                <c:pt idx="30">
                  <c:v>40117</c:v>
                </c:pt>
                <c:pt idx="31">
                  <c:v>40147</c:v>
                </c:pt>
                <c:pt idx="32">
                  <c:v>40178</c:v>
                </c:pt>
                <c:pt idx="33">
                  <c:v>40209</c:v>
                </c:pt>
                <c:pt idx="34">
                  <c:v>40237</c:v>
                </c:pt>
                <c:pt idx="35">
                  <c:v>40268</c:v>
                </c:pt>
                <c:pt idx="36">
                  <c:v>40298</c:v>
                </c:pt>
                <c:pt idx="37">
                  <c:v>40329</c:v>
                </c:pt>
                <c:pt idx="38">
                  <c:v>40359</c:v>
                </c:pt>
                <c:pt idx="39">
                  <c:v>40390</c:v>
                </c:pt>
                <c:pt idx="40">
                  <c:v>40421</c:v>
                </c:pt>
                <c:pt idx="41">
                  <c:v>40451</c:v>
                </c:pt>
                <c:pt idx="42">
                  <c:v>40482</c:v>
                </c:pt>
                <c:pt idx="43">
                  <c:v>40512</c:v>
                </c:pt>
                <c:pt idx="44">
                  <c:v>40543</c:v>
                </c:pt>
                <c:pt idx="45">
                  <c:v>40574</c:v>
                </c:pt>
                <c:pt idx="46">
                  <c:v>40602</c:v>
                </c:pt>
                <c:pt idx="47">
                  <c:v>40633</c:v>
                </c:pt>
                <c:pt idx="48">
                  <c:v>40663</c:v>
                </c:pt>
                <c:pt idx="49">
                  <c:v>40694</c:v>
                </c:pt>
                <c:pt idx="50">
                  <c:v>40724</c:v>
                </c:pt>
                <c:pt idx="51">
                  <c:v>40755</c:v>
                </c:pt>
                <c:pt idx="52">
                  <c:v>40786</c:v>
                </c:pt>
                <c:pt idx="53">
                  <c:v>40816</c:v>
                </c:pt>
                <c:pt idx="54">
                  <c:v>40847</c:v>
                </c:pt>
                <c:pt idx="55">
                  <c:v>40877</c:v>
                </c:pt>
                <c:pt idx="56">
                  <c:v>40908</c:v>
                </c:pt>
                <c:pt idx="57">
                  <c:v>40939</c:v>
                </c:pt>
                <c:pt idx="58">
                  <c:v>40968</c:v>
                </c:pt>
                <c:pt idx="59">
                  <c:v>40999</c:v>
                </c:pt>
                <c:pt idx="60">
                  <c:v>41029</c:v>
                </c:pt>
                <c:pt idx="61">
                  <c:v>41060</c:v>
                </c:pt>
                <c:pt idx="62">
                  <c:v>41090</c:v>
                </c:pt>
                <c:pt idx="63">
                  <c:v>41121</c:v>
                </c:pt>
                <c:pt idx="64">
                  <c:v>41152</c:v>
                </c:pt>
                <c:pt idx="65">
                  <c:v>41182</c:v>
                </c:pt>
                <c:pt idx="66">
                  <c:v>41213</c:v>
                </c:pt>
                <c:pt idx="67">
                  <c:v>41243</c:v>
                </c:pt>
                <c:pt idx="68">
                  <c:v>41274</c:v>
                </c:pt>
                <c:pt idx="69">
                  <c:v>41305</c:v>
                </c:pt>
                <c:pt idx="70">
                  <c:v>41333</c:v>
                </c:pt>
                <c:pt idx="71">
                  <c:v>41364</c:v>
                </c:pt>
                <c:pt idx="72">
                  <c:v>41394</c:v>
                </c:pt>
                <c:pt idx="73">
                  <c:v>41425</c:v>
                </c:pt>
                <c:pt idx="74">
                  <c:v>41455</c:v>
                </c:pt>
                <c:pt idx="75">
                  <c:v>41486</c:v>
                </c:pt>
                <c:pt idx="76">
                  <c:v>41517</c:v>
                </c:pt>
                <c:pt idx="77">
                  <c:v>41547</c:v>
                </c:pt>
                <c:pt idx="78">
                  <c:v>41578</c:v>
                </c:pt>
                <c:pt idx="79">
                  <c:v>41608</c:v>
                </c:pt>
                <c:pt idx="80">
                  <c:v>41639</c:v>
                </c:pt>
                <c:pt idx="81">
                  <c:v>41670</c:v>
                </c:pt>
                <c:pt idx="82">
                  <c:v>41698</c:v>
                </c:pt>
                <c:pt idx="83">
                  <c:v>41729</c:v>
                </c:pt>
                <c:pt idx="84">
                  <c:v>41759</c:v>
                </c:pt>
                <c:pt idx="85">
                  <c:v>41790</c:v>
                </c:pt>
                <c:pt idx="86">
                  <c:v>41820</c:v>
                </c:pt>
                <c:pt idx="87">
                  <c:v>41851</c:v>
                </c:pt>
                <c:pt idx="88">
                  <c:v>41882</c:v>
                </c:pt>
                <c:pt idx="89">
                  <c:v>41912</c:v>
                </c:pt>
                <c:pt idx="90">
                  <c:v>41943</c:v>
                </c:pt>
                <c:pt idx="91">
                  <c:v>41973</c:v>
                </c:pt>
                <c:pt idx="92">
                  <c:v>42004</c:v>
                </c:pt>
                <c:pt idx="93">
                  <c:v>42035</c:v>
                </c:pt>
                <c:pt idx="94">
                  <c:v>42063</c:v>
                </c:pt>
                <c:pt idx="95">
                  <c:v>42094</c:v>
                </c:pt>
                <c:pt idx="96">
                  <c:v>42124</c:v>
                </c:pt>
                <c:pt idx="97">
                  <c:v>42155</c:v>
                </c:pt>
                <c:pt idx="98">
                  <c:v>42185</c:v>
                </c:pt>
                <c:pt idx="99">
                  <c:v>42216</c:v>
                </c:pt>
                <c:pt idx="100">
                  <c:v>42247</c:v>
                </c:pt>
                <c:pt idx="101">
                  <c:v>42277</c:v>
                </c:pt>
                <c:pt idx="102">
                  <c:v>42308</c:v>
                </c:pt>
                <c:pt idx="103">
                  <c:v>42338</c:v>
                </c:pt>
                <c:pt idx="104">
                  <c:v>42369</c:v>
                </c:pt>
                <c:pt idx="105">
                  <c:v>42400</c:v>
                </c:pt>
                <c:pt idx="106">
                  <c:v>42429</c:v>
                </c:pt>
                <c:pt idx="107">
                  <c:v>42460</c:v>
                </c:pt>
                <c:pt idx="108">
                  <c:v>42490</c:v>
                </c:pt>
                <c:pt idx="109">
                  <c:v>42521</c:v>
                </c:pt>
                <c:pt idx="110">
                  <c:v>42551</c:v>
                </c:pt>
                <c:pt idx="111">
                  <c:v>42582</c:v>
                </c:pt>
                <c:pt idx="112">
                  <c:v>42613</c:v>
                </c:pt>
                <c:pt idx="113">
                  <c:v>42643</c:v>
                </c:pt>
                <c:pt idx="114">
                  <c:v>42674</c:v>
                </c:pt>
                <c:pt idx="115">
                  <c:v>42704</c:v>
                </c:pt>
                <c:pt idx="116">
                  <c:v>42735</c:v>
                </c:pt>
                <c:pt idx="117">
                  <c:v>42766</c:v>
                </c:pt>
                <c:pt idx="118">
                  <c:v>42794</c:v>
                </c:pt>
                <c:pt idx="119">
                  <c:v>42825</c:v>
                </c:pt>
                <c:pt idx="120">
                  <c:v>42855</c:v>
                </c:pt>
                <c:pt idx="121">
                  <c:v>42886</c:v>
                </c:pt>
                <c:pt idx="122">
                  <c:v>42916</c:v>
                </c:pt>
                <c:pt idx="123">
                  <c:v>42947</c:v>
                </c:pt>
                <c:pt idx="124">
                  <c:v>42978</c:v>
                </c:pt>
                <c:pt idx="125">
                  <c:v>43008</c:v>
                </c:pt>
                <c:pt idx="126">
                  <c:v>43039</c:v>
                </c:pt>
                <c:pt idx="127">
                  <c:v>43069</c:v>
                </c:pt>
                <c:pt idx="128">
                  <c:v>43100</c:v>
                </c:pt>
                <c:pt idx="129">
                  <c:v>43131</c:v>
                </c:pt>
                <c:pt idx="130">
                  <c:v>43159</c:v>
                </c:pt>
                <c:pt idx="131">
                  <c:v>43190</c:v>
                </c:pt>
                <c:pt idx="132">
                  <c:v>43220</c:v>
                </c:pt>
                <c:pt idx="133">
                  <c:v>43251</c:v>
                </c:pt>
                <c:pt idx="134">
                  <c:v>43281</c:v>
                </c:pt>
                <c:pt idx="135">
                  <c:v>43312</c:v>
                </c:pt>
                <c:pt idx="136">
                  <c:v>43343</c:v>
                </c:pt>
                <c:pt idx="137">
                  <c:v>43373</c:v>
                </c:pt>
                <c:pt idx="138">
                  <c:v>43404</c:v>
                </c:pt>
                <c:pt idx="139">
                  <c:v>43434</c:v>
                </c:pt>
                <c:pt idx="140">
                  <c:v>43465</c:v>
                </c:pt>
                <c:pt idx="141">
                  <c:v>43496</c:v>
                </c:pt>
                <c:pt idx="142">
                  <c:v>43524</c:v>
                </c:pt>
                <c:pt idx="143">
                  <c:v>43555</c:v>
                </c:pt>
                <c:pt idx="144">
                  <c:v>43585</c:v>
                </c:pt>
                <c:pt idx="145">
                  <c:v>43616</c:v>
                </c:pt>
                <c:pt idx="146">
                  <c:v>43646</c:v>
                </c:pt>
                <c:pt idx="147">
                  <c:v>43677</c:v>
                </c:pt>
                <c:pt idx="148">
                  <c:v>43708</c:v>
                </c:pt>
                <c:pt idx="149">
                  <c:v>43738</c:v>
                </c:pt>
                <c:pt idx="150">
                  <c:v>43769</c:v>
                </c:pt>
                <c:pt idx="151">
                  <c:v>43799</c:v>
                </c:pt>
                <c:pt idx="152">
                  <c:v>43830</c:v>
                </c:pt>
                <c:pt idx="153">
                  <c:v>43861</c:v>
                </c:pt>
                <c:pt idx="154">
                  <c:v>43890</c:v>
                </c:pt>
                <c:pt idx="155">
                  <c:v>43921</c:v>
                </c:pt>
                <c:pt idx="156">
                  <c:v>43951</c:v>
                </c:pt>
                <c:pt idx="157">
                  <c:v>43982</c:v>
                </c:pt>
                <c:pt idx="158">
                  <c:v>44012</c:v>
                </c:pt>
                <c:pt idx="159">
                  <c:v>44043</c:v>
                </c:pt>
                <c:pt idx="160">
                  <c:v>44074</c:v>
                </c:pt>
                <c:pt idx="161">
                  <c:v>44104</c:v>
                </c:pt>
                <c:pt idx="162">
                  <c:v>44135</c:v>
                </c:pt>
                <c:pt idx="163">
                  <c:v>44165</c:v>
                </c:pt>
                <c:pt idx="164">
                  <c:v>44196</c:v>
                </c:pt>
                <c:pt idx="165">
                  <c:v>44227</c:v>
                </c:pt>
                <c:pt idx="166">
                  <c:v>44255</c:v>
                </c:pt>
                <c:pt idx="167">
                  <c:v>44286</c:v>
                </c:pt>
                <c:pt idx="168">
                  <c:v>44316</c:v>
                </c:pt>
                <c:pt idx="169">
                  <c:v>44347</c:v>
                </c:pt>
                <c:pt idx="170">
                  <c:v>44377</c:v>
                </c:pt>
                <c:pt idx="171">
                  <c:v>44408</c:v>
                </c:pt>
                <c:pt idx="172">
                  <c:v>44439</c:v>
                </c:pt>
                <c:pt idx="173">
                  <c:v>44469</c:v>
                </c:pt>
                <c:pt idx="174">
                  <c:v>44500</c:v>
                </c:pt>
                <c:pt idx="175">
                  <c:v>44530</c:v>
                </c:pt>
                <c:pt idx="176">
                  <c:v>44561</c:v>
                </c:pt>
                <c:pt idx="177">
                  <c:v>44592</c:v>
                </c:pt>
                <c:pt idx="178">
                  <c:v>44620</c:v>
                </c:pt>
                <c:pt idx="179">
                  <c:v>44651</c:v>
                </c:pt>
                <c:pt idx="180">
                  <c:v>44681</c:v>
                </c:pt>
                <c:pt idx="181">
                  <c:v>44712</c:v>
                </c:pt>
                <c:pt idx="182">
                  <c:v>44742</c:v>
                </c:pt>
                <c:pt idx="183">
                  <c:v>44773</c:v>
                </c:pt>
                <c:pt idx="184">
                  <c:v>44804</c:v>
                </c:pt>
                <c:pt idx="185">
                  <c:v>44834</c:v>
                </c:pt>
                <c:pt idx="186">
                  <c:v>44865</c:v>
                </c:pt>
                <c:pt idx="187">
                  <c:v>44895</c:v>
                </c:pt>
                <c:pt idx="188">
                  <c:v>44926</c:v>
                </c:pt>
              </c:numCache>
            </c:numRef>
          </c:cat>
          <c:val>
            <c:numRef>
              <c:f>QT!$D$14:$D$1174</c:f>
              <c:numCache>
                <c:formatCode>General</c:formatCode>
                <c:ptCount val="1161"/>
                <c:pt idx="0">
                  <c:v>-218.94989986845727</c:v>
                </c:pt>
                <c:pt idx="1">
                  <c:v>-208.81129773799012</c:v>
                </c:pt>
                <c:pt idx="2">
                  <c:v>-177.40277391536264</c:v>
                </c:pt>
                <c:pt idx="3">
                  <c:v>-114.4882766134867</c:v>
                </c:pt>
                <c:pt idx="4">
                  <c:v>-27.987349901801405</c:v>
                </c:pt>
                <c:pt idx="5">
                  <c:v>-36.903808339916246</c:v>
                </c:pt>
                <c:pt idx="6">
                  <c:v>-44.799260415628098</c:v>
                </c:pt>
                <c:pt idx="7">
                  <c:v>-6.59433003167198</c:v>
                </c:pt>
                <c:pt idx="8">
                  <c:v>4.7759975756166417</c:v>
                </c:pt>
                <c:pt idx="9">
                  <c:v>96.985959025385426</c:v>
                </c:pt>
                <c:pt idx="10">
                  <c:v>90.716730757227751</c:v>
                </c:pt>
                <c:pt idx="11">
                  <c:v>164.24577339797275</c:v>
                </c:pt>
                <c:pt idx="12">
                  <c:v>152.91423524806359</c:v>
                </c:pt>
                <c:pt idx="13">
                  <c:v>165.05484983239492</c:v>
                </c:pt>
                <c:pt idx="14">
                  <c:v>132.91605883841495</c:v>
                </c:pt>
                <c:pt idx="15">
                  <c:v>126.9629349296446</c:v>
                </c:pt>
                <c:pt idx="16">
                  <c:v>55.691044602331431</c:v>
                </c:pt>
                <c:pt idx="17">
                  <c:v>90.750062676324234</c:v>
                </c:pt>
                <c:pt idx="18">
                  <c:v>241.93335950211124</c:v>
                </c:pt>
                <c:pt idx="19">
                  <c:v>249.41850903107854</c:v>
                </c:pt>
                <c:pt idx="20">
                  <c:v>355.35673153400762</c:v>
                </c:pt>
                <c:pt idx="21">
                  <c:v>277.55633742285357</c:v>
                </c:pt>
                <c:pt idx="22">
                  <c:v>247.38296647931901</c:v>
                </c:pt>
                <c:pt idx="23">
                  <c:v>140.27129803682104</c:v>
                </c:pt>
                <c:pt idx="24">
                  <c:v>116.2771945582608</c:v>
                </c:pt>
                <c:pt idx="25">
                  <c:v>174.01318609614202</c:v>
                </c:pt>
                <c:pt idx="26">
                  <c:v>188.41362760622903</c:v>
                </c:pt>
                <c:pt idx="27">
                  <c:v>201.61782585090404</c:v>
                </c:pt>
                <c:pt idx="28">
                  <c:v>229.99875624670941</c:v>
                </c:pt>
                <c:pt idx="29">
                  <c:v>218.59949936071988</c:v>
                </c:pt>
                <c:pt idx="30">
                  <c:v>64.331456568762263</c:v>
                </c:pt>
                <c:pt idx="31">
                  <c:v>60.715914224065195</c:v>
                </c:pt>
                <c:pt idx="32">
                  <c:v>17.250009378079856</c:v>
                </c:pt>
                <c:pt idx="33">
                  <c:v>17.794331792273521</c:v>
                </c:pt>
                <c:pt idx="34">
                  <c:v>91.520938252554146</c:v>
                </c:pt>
                <c:pt idx="35">
                  <c:v>76.88031749816426</c:v>
                </c:pt>
                <c:pt idx="36">
                  <c:v>61.541205857936767</c:v>
                </c:pt>
                <c:pt idx="37">
                  <c:v>85.919562630018433</c:v>
                </c:pt>
                <c:pt idx="38">
                  <c:v>109.95638923064166</c:v>
                </c:pt>
                <c:pt idx="39">
                  <c:v>125.62097567326202</c:v>
                </c:pt>
                <c:pt idx="40">
                  <c:v>206.45440679528892</c:v>
                </c:pt>
                <c:pt idx="41">
                  <c:v>151.8940815040155</c:v>
                </c:pt>
                <c:pt idx="42">
                  <c:v>252.8779412928086</c:v>
                </c:pt>
                <c:pt idx="43">
                  <c:v>225.62371320541951</c:v>
                </c:pt>
                <c:pt idx="44">
                  <c:v>182.16000276398091</c:v>
                </c:pt>
                <c:pt idx="45">
                  <c:v>205.11544845742847</c:v>
                </c:pt>
                <c:pt idx="46">
                  <c:v>170.08462618711894</c:v>
                </c:pt>
                <c:pt idx="47">
                  <c:v>400.7192196388205</c:v>
                </c:pt>
                <c:pt idx="48">
                  <c:v>396.37573276079951</c:v>
                </c:pt>
                <c:pt idx="49">
                  <c:v>350.27890366824545</c:v>
                </c:pt>
                <c:pt idx="50">
                  <c:v>364.21634277371282</c:v>
                </c:pt>
                <c:pt idx="51">
                  <c:v>355.62373144876335</c:v>
                </c:pt>
                <c:pt idx="52">
                  <c:v>396.88431494061649</c:v>
                </c:pt>
                <c:pt idx="53">
                  <c:v>366.41845587363696</c:v>
                </c:pt>
                <c:pt idx="54">
                  <c:v>249.61302804156537</c:v>
                </c:pt>
                <c:pt idx="55">
                  <c:v>306.81008582913114</c:v>
                </c:pt>
                <c:pt idx="56">
                  <c:v>293.92651559597607</c:v>
                </c:pt>
                <c:pt idx="57">
                  <c:v>229.85996865520053</c:v>
                </c:pt>
                <c:pt idx="58">
                  <c:v>261.78474306698354</c:v>
                </c:pt>
                <c:pt idx="59">
                  <c:v>-52.575888457945254</c:v>
                </c:pt>
                <c:pt idx="60">
                  <c:v>119.49263617363658</c:v>
                </c:pt>
                <c:pt idx="61">
                  <c:v>126.92724662287547</c:v>
                </c:pt>
                <c:pt idx="62">
                  <c:v>199.57729520393741</c:v>
                </c:pt>
                <c:pt idx="63">
                  <c:v>146.30410971248219</c:v>
                </c:pt>
                <c:pt idx="64">
                  <c:v>67.641008383793505</c:v>
                </c:pt>
                <c:pt idx="65">
                  <c:v>125.79234453651544</c:v>
                </c:pt>
                <c:pt idx="66">
                  <c:v>210.5223867040431</c:v>
                </c:pt>
                <c:pt idx="67">
                  <c:v>83.245032353879594</c:v>
                </c:pt>
                <c:pt idx="68">
                  <c:v>51.66746266449573</c:v>
                </c:pt>
                <c:pt idx="69">
                  <c:v>15.257750970752992</c:v>
                </c:pt>
                <c:pt idx="70">
                  <c:v>-79.7955283232683</c:v>
                </c:pt>
                <c:pt idx="71">
                  <c:v>48.079356453849755</c:v>
                </c:pt>
                <c:pt idx="72">
                  <c:v>49.014312602291056</c:v>
                </c:pt>
                <c:pt idx="73">
                  <c:v>33.65882668206077</c:v>
                </c:pt>
                <c:pt idx="74">
                  <c:v>113.0579469920483</c:v>
                </c:pt>
                <c:pt idx="75">
                  <c:v>130.74824546748641</c:v>
                </c:pt>
                <c:pt idx="76">
                  <c:v>197.17567816903215</c:v>
                </c:pt>
                <c:pt idx="77">
                  <c:v>186.63866118997373</c:v>
                </c:pt>
                <c:pt idx="78">
                  <c:v>258.57451571254029</c:v>
                </c:pt>
                <c:pt idx="79">
                  <c:v>309.69070891397865</c:v>
                </c:pt>
                <c:pt idx="80">
                  <c:v>276.9262894009301</c:v>
                </c:pt>
                <c:pt idx="81">
                  <c:v>443.45749947926947</c:v>
                </c:pt>
                <c:pt idx="82">
                  <c:v>595.94027588704694</c:v>
                </c:pt>
                <c:pt idx="83">
                  <c:v>621.47994272835865</c:v>
                </c:pt>
                <c:pt idx="84">
                  <c:v>615.71813202901012</c:v>
                </c:pt>
                <c:pt idx="85">
                  <c:v>669.49737593466079</c:v>
                </c:pt>
                <c:pt idx="86">
                  <c:v>601.8055925354397</c:v>
                </c:pt>
                <c:pt idx="87">
                  <c:v>669.58052175678847</c:v>
                </c:pt>
                <c:pt idx="88">
                  <c:v>577.18523353296541</c:v>
                </c:pt>
                <c:pt idx="89">
                  <c:v>474.0918863602177</c:v>
                </c:pt>
                <c:pt idx="90">
                  <c:v>450.87201835022614</c:v>
                </c:pt>
                <c:pt idx="91">
                  <c:v>317.64169114294117</c:v>
                </c:pt>
                <c:pt idx="92">
                  <c:v>349.10010696608708</c:v>
                </c:pt>
                <c:pt idx="93">
                  <c:v>393.84042504983887</c:v>
                </c:pt>
                <c:pt idx="94">
                  <c:v>343.87578940411555</c:v>
                </c:pt>
                <c:pt idx="95">
                  <c:v>327.3176858293092</c:v>
                </c:pt>
                <c:pt idx="96">
                  <c:v>382.20124588703317</c:v>
                </c:pt>
                <c:pt idx="97">
                  <c:v>345.00595697869585</c:v>
                </c:pt>
                <c:pt idx="98">
                  <c:v>266.52124765238659</c:v>
                </c:pt>
                <c:pt idx="99">
                  <c:v>229.52240599171648</c:v>
                </c:pt>
                <c:pt idx="100">
                  <c:v>258.5335252519032</c:v>
                </c:pt>
                <c:pt idx="101">
                  <c:v>467.90751716735014</c:v>
                </c:pt>
                <c:pt idx="102">
                  <c:v>456.48111853483897</c:v>
                </c:pt>
                <c:pt idx="103">
                  <c:v>551.76418674514639</c:v>
                </c:pt>
                <c:pt idx="104">
                  <c:v>633.49827224379987</c:v>
                </c:pt>
                <c:pt idx="105">
                  <c:v>721.72316416974127</c:v>
                </c:pt>
                <c:pt idx="106">
                  <c:v>824.63594818769172</c:v>
                </c:pt>
                <c:pt idx="107">
                  <c:v>904.15278550972687</c:v>
                </c:pt>
                <c:pt idx="108">
                  <c:v>998.03654997599574</c:v>
                </c:pt>
                <c:pt idx="109">
                  <c:v>1070.0436068531035</c:v>
                </c:pt>
                <c:pt idx="110">
                  <c:v>1315.7105728583813</c:v>
                </c:pt>
                <c:pt idx="111">
                  <c:v>1379.4630408789574</c:v>
                </c:pt>
                <c:pt idx="112">
                  <c:v>1535.6285567901114</c:v>
                </c:pt>
                <c:pt idx="113">
                  <c:v>1440.9126688514973</c:v>
                </c:pt>
                <c:pt idx="114">
                  <c:v>1347.9024809659111</c:v>
                </c:pt>
                <c:pt idx="115">
                  <c:v>1235.8974015168083</c:v>
                </c:pt>
                <c:pt idx="116">
                  <c:v>958.22148453888815</c:v>
                </c:pt>
                <c:pt idx="117">
                  <c:v>842.68024197869227</c:v>
                </c:pt>
                <c:pt idx="118">
                  <c:v>798.28448185523553</c:v>
                </c:pt>
                <c:pt idx="119">
                  <c:v>748.11477429568333</c:v>
                </c:pt>
                <c:pt idx="120">
                  <c:v>738.37075072264554</c:v>
                </c:pt>
                <c:pt idx="121">
                  <c:v>551.26637813648836</c:v>
                </c:pt>
                <c:pt idx="122">
                  <c:v>419.35202694095074</c:v>
                </c:pt>
                <c:pt idx="123">
                  <c:v>244.40487447161274</c:v>
                </c:pt>
                <c:pt idx="124">
                  <c:v>183.64643116244395</c:v>
                </c:pt>
                <c:pt idx="125">
                  <c:v>146.6373227076181</c:v>
                </c:pt>
                <c:pt idx="126">
                  <c:v>128.57956657937387</c:v>
                </c:pt>
                <c:pt idx="127">
                  <c:v>280.97454310215488</c:v>
                </c:pt>
                <c:pt idx="128">
                  <c:v>509.01176395156432</c:v>
                </c:pt>
                <c:pt idx="129">
                  <c:v>554.75289602516841</c:v>
                </c:pt>
                <c:pt idx="130">
                  <c:v>617.06569732994069</c:v>
                </c:pt>
                <c:pt idx="131">
                  <c:v>641.33054080419515</c:v>
                </c:pt>
                <c:pt idx="132">
                  <c:v>448.5545157208204</c:v>
                </c:pt>
                <c:pt idx="133">
                  <c:v>468.41626505644297</c:v>
                </c:pt>
                <c:pt idx="134">
                  <c:v>352.13969026623994</c:v>
                </c:pt>
                <c:pt idx="135">
                  <c:v>401.70336910392024</c:v>
                </c:pt>
                <c:pt idx="136">
                  <c:v>305.42323221883549</c:v>
                </c:pt>
                <c:pt idx="137">
                  <c:v>232.8256573008627</c:v>
                </c:pt>
                <c:pt idx="138">
                  <c:v>307.23070683993825</c:v>
                </c:pt>
                <c:pt idx="139">
                  <c:v>275.59280823142183</c:v>
                </c:pt>
                <c:pt idx="140">
                  <c:v>303.78428989317194</c:v>
                </c:pt>
                <c:pt idx="141">
                  <c:v>360.57383321366922</c:v>
                </c:pt>
                <c:pt idx="142">
                  <c:v>149.85155792501192</c:v>
                </c:pt>
                <c:pt idx="143">
                  <c:v>30.438939991585201</c:v>
                </c:pt>
                <c:pt idx="144">
                  <c:v>64.536096292366452</c:v>
                </c:pt>
                <c:pt idx="145">
                  <c:v>227.08391898260416</c:v>
                </c:pt>
                <c:pt idx="146">
                  <c:v>347.54812473813956</c:v>
                </c:pt>
                <c:pt idx="147">
                  <c:v>349.3067339506153</c:v>
                </c:pt>
                <c:pt idx="148">
                  <c:v>429.95391593684309</c:v>
                </c:pt>
                <c:pt idx="149">
                  <c:v>430.88618188580961</c:v>
                </c:pt>
                <c:pt idx="150">
                  <c:v>428.01522006472936</c:v>
                </c:pt>
                <c:pt idx="151">
                  <c:v>413.26966890222837</c:v>
                </c:pt>
                <c:pt idx="152">
                  <c:v>332.01160442512025</c:v>
                </c:pt>
                <c:pt idx="153">
                  <c:v>181.50199790708223</c:v>
                </c:pt>
                <c:pt idx="154">
                  <c:v>227.94426764449938</c:v>
                </c:pt>
                <c:pt idx="155">
                  <c:v>602.31863229073838</c:v>
                </c:pt>
                <c:pt idx="156">
                  <c:v>711.23905005195627</c:v>
                </c:pt>
                <c:pt idx="157">
                  <c:v>799.64205247971256</c:v>
                </c:pt>
                <c:pt idx="158">
                  <c:v>805.36215114544962</c:v>
                </c:pt>
                <c:pt idx="159">
                  <c:v>993.81705195706354</c:v>
                </c:pt>
                <c:pt idx="160">
                  <c:v>1048.4916698527006</c:v>
                </c:pt>
                <c:pt idx="161">
                  <c:v>1236.4467244400482</c:v>
                </c:pt>
                <c:pt idx="162">
                  <c:v>1313.1660520188379</c:v>
                </c:pt>
                <c:pt idx="163">
                  <c:v>1440.6843257362275</c:v>
                </c:pt>
                <c:pt idx="164">
                  <c:v>1516.0656059650782</c:v>
                </c:pt>
                <c:pt idx="165">
                  <c:v>1543.1389327731474</c:v>
                </c:pt>
                <c:pt idx="166">
                  <c:v>1446.2018958510728</c:v>
                </c:pt>
                <c:pt idx="167">
                  <c:v>959.42353945481875</c:v>
                </c:pt>
                <c:pt idx="168">
                  <c:v>859.60862207202024</c:v>
                </c:pt>
                <c:pt idx="169">
                  <c:v>684.36255090371651</c:v>
                </c:pt>
                <c:pt idx="170">
                  <c:v>478.54767095704085</c:v>
                </c:pt>
                <c:pt idx="171">
                  <c:v>317.79163322759183</c:v>
                </c:pt>
                <c:pt idx="172">
                  <c:v>173.64179339665142</c:v>
                </c:pt>
                <c:pt idx="173">
                  <c:v>37.81964689816153</c:v>
                </c:pt>
                <c:pt idx="174">
                  <c:v>-225.75469405366721</c:v>
                </c:pt>
                <c:pt idx="175">
                  <c:v>-365.58118071404965</c:v>
                </c:pt>
                <c:pt idx="176">
                  <c:v>-410.30927589176167</c:v>
                </c:pt>
                <c:pt idx="177">
                  <c:v>-520.91745060248491</c:v>
                </c:pt>
                <c:pt idx="178">
                  <c:v>-424.98887523017447</c:v>
                </c:pt>
                <c:pt idx="179">
                  <c:v>-364.73974366712628</c:v>
                </c:pt>
                <c:pt idx="180">
                  <c:v>-759.7397332281472</c:v>
                </c:pt>
                <c:pt idx="181">
                  <c:v>-925.49963686506226</c:v>
                </c:pt>
                <c:pt idx="182">
                  <c:v>-784.18728246741762</c:v>
                </c:pt>
                <c:pt idx="183">
                  <c:v>-814.86164375741498</c:v>
                </c:pt>
                <c:pt idx="184">
                  <c:v>-851.15311494523826</c:v>
                </c:pt>
                <c:pt idx="185">
                  <c:v>-792.70774957031608</c:v>
                </c:pt>
                <c:pt idx="186">
                  <c:v>-619.70714821053275</c:v>
                </c:pt>
                <c:pt idx="187">
                  <c:v>-588.79305131571425</c:v>
                </c:pt>
                <c:pt idx="188">
                  <c:v>-543.38597131752579</c:v>
                </c:pt>
              </c:numCache>
            </c:numRef>
          </c:val>
          <c:extLst>
            <c:ext xmlns:c16="http://schemas.microsoft.com/office/drawing/2014/chart" uri="{C3380CC4-5D6E-409C-BE32-E72D297353CC}">
              <c16:uniqueId val="{00000001-438E-405F-ABD1-FE50161BD664}"/>
            </c:ext>
          </c:extLst>
        </c:ser>
        <c:ser>
          <c:idx val="1"/>
          <c:order val="2"/>
          <c:tx>
            <c:strRef>
              <c:f>QT!$C$13</c:f>
              <c:strCache>
                <c:ptCount val="1"/>
                <c:pt idx="0">
                  <c:v>Eurozone</c:v>
                </c:pt>
              </c:strCache>
            </c:strRef>
          </c:tx>
          <c:spPr>
            <a:solidFill>
              <a:srgbClr val="9FC9CF"/>
            </a:solidFill>
          </c:spPr>
          <c:invertIfNegative val="0"/>
          <c:cat>
            <c:numRef>
              <c:f>QT!$A$14:$A$1174</c:f>
              <c:numCache>
                <c:formatCode>mmm"-"yyyy</c:formatCode>
                <c:ptCount val="1161"/>
                <c:pt idx="0">
                  <c:v>39202</c:v>
                </c:pt>
                <c:pt idx="1">
                  <c:v>39233</c:v>
                </c:pt>
                <c:pt idx="2">
                  <c:v>39263</c:v>
                </c:pt>
                <c:pt idx="3">
                  <c:v>39294</c:v>
                </c:pt>
                <c:pt idx="4">
                  <c:v>39325</c:v>
                </c:pt>
                <c:pt idx="5">
                  <c:v>39355</c:v>
                </c:pt>
                <c:pt idx="6">
                  <c:v>39386</c:v>
                </c:pt>
                <c:pt idx="7">
                  <c:v>39416</c:v>
                </c:pt>
                <c:pt idx="8">
                  <c:v>39447</c:v>
                </c:pt>
                <c:pt idx="9">
                  <c:v>39478</c:v>
                </c:pt>
                <c:pt idx="10">
                  <c:v>39507</c:v>
                </c:pt>
                <c:pt idx="11">
                  <c:v>39538</c:v>
                </c:pt>
                <c:pt idx="12">
                  <c:v>39568</c:v>
                </c:pt>
                <c:pt idx="13">
                  <c:v>39599</c:v>
                </c:pt>
                <c:pt idx="14">
                  <c:v>39629</c:v>
                </c:pt>
                <c:pt idx="15">
                  <c:v>39660</c:v>
                </c:pt>
                <c:pt idx="16">
                  <c:v>39691</c:v>
                </c:pt>
                <c:pt idx="17">
                  <c:v>39721</c:v>
                </c:pt>
                <c:pt idx="18">
                  <c:v>39752</c:v>
                </c:pt>
                <c:pt idx="19">
                  <c:v>39782</c:v>
                </c:pt>
                <c:pt idx="20">
                  <c:v>39813</c:v>
                </c:pt>
                <c:pt idx="21">
                  <c:v>39844</c:v>
                </c:pt>
                <c:pt idx="22">
                  <c:v>39872</c:v>
                </c:pt>
                <c:pt idx="23">
                  <c:v>39903</c:v>
                </c:pt>
                <c:pt idx="24">
                  <c:v>39933</c:v>
                </c:pt>
                <c:pt idx="25">
                  <c:v>39964</c:v>
                </c:pt>
                <c:pt idx="26">
                  <c:v>39994</c:v>
                </c:pt>
                <c:pt idx="27">
                  <c:v>40025</c:v>
                </c:pt>
                <c:pt idx="28">
                  <c:v>40056</c:v>
                </c:pt>
                <c:pt idx="29">
                  <c:v>40086</c:v>
                </c:pt>
                <c:pt idx="30">
                  <c:v>40117</c:v>
                </c:pt>
                <c:pt idx="31">
                  <c:v>40147</c:v>
                </c:pt>
                <c:pt idx="32">
                  <c:v>40178</c:v>
                </c:pt>
                <c:pt idx="33">
                  <c:v>40209</c:v>
                </c:pt>
                <c:pt idx="34">
                  <c:v>40237</c:v>
                </c:pt>
                <c:pt idx="35">
                  <c:v>40268</c:v>
                </c:pt>
                <c:pt idx="36">
                  <c:v>40298</c:v>
                </c:pt>
                <c:pt idx="37">
                  <c:v>40329</c:v>
                </c:pt>
                <c:pt idx="38">
                  <c:v>40359</c:v>
                </c:pt>
                <c:pt idx="39">
                  <c:v>40390</c:v>
                </c:pt>
                <c:pt idx="40">
                  <c:v>40421</c:v>
                </c:pt>
                <c:pt idx="41">
                  <c:v>40451</c:v>
                </c:pt>
                <c:pt idx="42">
                  <c:v>40482</c:v>
                </c:pt>
                <c:pt idx="43">
                  <c:v>40512</c:v>
                </c:pt>
                <c:pt idx="44">
                  <c:v>40543</c:v>
                </c:pt>
                <c:pt idx="45">
                  <c:v>40574</c:v>
                </c:pt>
                <c:pt idx="46">
                  <c:v>40602</c:v>
                </c:pt>
                <c:pt idx="47">
                  <c:v>40633</c:v>
                </c:pt>
                <c:pt idx="48">
                  <c:v>40663</c:v>
                </c:pt>
                <c:pt idx="49">
                  <c:v>40694</c:v>
                </c:pt>
                <c:pt idx="50">
                  <c:v>40724</c:v>
                </c:pt>
                <c:pt idx="51">
                  <c:v>40755</c:v>
                </c:pt>
                <c:pt idx="52">
                  <c:v>40786</c:v>
                </c:pt>
                <c:pt idx="53">
                  <c:v>40816</c:v>
                </c:pt>
                <c:pt idx="54">
                  <c:v>40847</c:v>
                </c:pt>
                <c:pt idx="55">
                  <c:v>40877</c:v>
                </c:pt>
                <c:pt idx="56">
                  <c:v>40908</c:v>
                </c:pt>
                <c:pt idx="57">
                  <c:v>40939</c:v>
                </c:pt>
                <c:pt idx="58">
                  <c:v>40968</c:v>
                </c:pt>
                <c:pt idx="59">
                  <c:v>40999</c:v>
                </c:pt>
                <c:pt idx="60">
                  <c:v>41029</c:v>
                </c:pt>
                <c:pt idx="61">
                  <c:v>41060</c:v>
                </c:pt>
                <c:pt idx="62">
                  <c:v>41090</c:v>
                </c:pt>
                <c:pt idx="63">
                  <c:v>41121</c:v>
                </c:pt>
                <c:pt idx="64">
                  <c:v>41152</c:v>
                </c:pt>
                <c:pt idx="65">
                  <c:v>41182</c:v>
                </c:pt>
                <c:pt idx="66">
                  <c:v>41213</c:v>
                </c:pt>
                <c:pt idx="67">
                  <c:v>41243</c:v>
                </c:pt>
                <c:pt idx="68">
                  <c:v>41274</c:v>
                </c:pt>
                <c:pt idx="69">
                  <c:v>41305</c:v>
                </c:pt>
                <c:pt idx="70">
                  <c:v>41333</c:v>
                </c:pt>
                <c:pt idx="71">
                  <c:v>41364</c:v>
                </c:pt>
                <c:pt idx="72">
                  <c:v>41394</c:v>
                </c:pt>
                <c:pt idx="73">
                  <c:v>41425</c:v>
                </c:pt>
                <c:pt idx="74">
                  <c:v>41455</c:v>
                </c:pt>
                <c:pt idx="75">
                  <c:v>41486</c:v>
                </c:pt>
                <c:pt idx="76">
                  <c:v>41517</c:v>
                </c:pt>
                <c:pt idx="77">
                  <c:v>41547</c:v>
                </c:pt>
                <c:pt idx="78">
                  <c:v>41578</c:v>
                </c:pt>
                <c:pt idx="79">
                  <c:v>41608</c:v>
                </c:pt>
                <c:pt idx="80">
                  <c:v>41639</c:v>
                </c:pt>
                <c:pt idx="81">
                  <c:v>41670</c:v>
                </c:pt>
                <c:pt idx="82">
                  <c:v>41698</c:v>
                </c:pt>
                <c:pt idx="83">
                  <c:v>41729</c:v>
                </c:pt>
                <c:pt idx="84">
                  <c:v>41759</c:v>
                </c:pt>
                <c:pt idx="85">
                  <c:v>41790</c:v>
                </c:pt>
                <c:pt idx="86">
                  <c:v>41820</c:v>
                </c:pt>
                <c:pt idx="87">
                  <c:v>41851</c:v>
                </c:pt>
                <c:pt idx="88">
                  <c:v>41882</c:v>
                </c:pt>
                <c:pt idx="89">
                  <c:v>41912</c:v>
                </c:pt>
                <c:pt idx="90">
                  <c:v>41943</c:v>
                </c:pt>
                <c:pt idx="91">
                  <c:v>41973</c:v>
                </c:pt>
                <c:pt idx="92">
                  <c:v>42004</c:v>
                </c:pt>
                <c:pt idx="93">
                  <c:v>42035</c:v>
                </c:pt>
                <c:pt idx="94">
                  <c:v>42063</c:v>
                </c:pt>
                <c:pt idx="95">
                  <c:v>42094</c:v>
                </c:pt>
                <c:pt idx="96">
                  <c:v>42124</c:v>
                </c:pt>
                <c:pt idx="97">
                  <c:v>42155</c:v>
                </c:pt>
                <c:pt idx="98">
                  <c:v>42185</c:v>
                </c:pt>
                <c:pt idx="99">
                  <c:v>42216</c:v>
                </c:pt>
                <c:pt idx="100">
                  <c:v>42247</c:v>
                </c:pt>
                <c:pt idx="101">
                  <c:v>42277</c:v>
                </c:pt>
                <c:pt idx="102">
                  <c:v>42308</c:v>
                </c:pt>
                <c:pt idx="103">
                  <c:v>42338</c:v>
                </c:pt>
                <c:pt idx="104">
                  <c:v>42369</c:v>
                </c:pt>
                <c:pt idx="105">
                  <c:v>42400</c:v>
                </c:pt>
                <c:pt idx="106">
                  <c:v>42429</c:v>
                </c:pt>
                <c:pt idx="107">
                  <c:v>42460</c:v>
                </c:pt>
                <c:pt idx="108">
                  <c:v>42490</c:v>
                </c:pt>
                <c:pt idx="109">
                  <c:v>42521</c:v>
                </c:pt>
                <c:pt idx="110">
                  <c:v>42551</c:v>
                </c:pt>
                <c:pt idx="111">
                  <c:v>42582</c:v>
                </c:pt>
                <c:pt idx="112">
                  <c:v>42613</c:v>
                </c:pt>
                <c:pt idx="113">
                  <c:v>42643</c:v>
                </c:pt>
                <c:pt idx="114">
                  <c:v>42674</c:v>
                </c:pt>
                <c:pt idx="115">
                  <c:v>42704</c:v>
                </c:pt>
                <c:pt idx="116">
                  <c:v>42735</c:v>
                </c:pt>
                <c:pt idx="117">
                  <c:v>42766</c:v>
                </c:pt>
                <c:pt idx="118">
                  <c:v>42794</c:v>
                </c:pt>
                <c:pt idx="119">
                  <c:v>42825</c:v>
                </c:pt>
                <c:pt idx="120">
                  <c:v>42855</c:v>
                </c:pt>
                <c:pt idx="121">
                  <c:v>42886</c:v>
                </c:pt>
                <c:pt idx="122">
                  <c:v>42916</c:v>
                </c:pt>
                <c:pt idx="123">
                  <c:v>42947</c:v>
                </c:pt>
                <c:pt idx="124">
                  <c:v>42978</c:v>
                </c:pt>
                <c:pt idx="125">
                  <c:v>43008</c:v>
                </c:pt>
                <c:pt idx="126">
                  <c:v>43039</c:v>
                </c:pt>
                <c:pt idx="127">
                  <c:v>43069</c:v>
                </c:pt>
                <c:pt idx="128">
                  <c:v>43100</c:v>
                </c:pt>
                <c:pt idx="129">
                  <c:v>43131</c:v>
                </c:pt>
                <c:pt idx="130">
                  <c:v>43159</c:v>
                </c:pt>
                <c:pt idx="131">
                  <c:v>43190</c:v>
                </c:pt>
                <c:pt idx="132">
                  <c:v>43220</c:v>
                </c:pt>
                <c:pt idx="133">
                  <c:v>43251</c:v>
                </c:pt>
                <c:pt idx="134">
                  <c:v>43281</c:v>
                </c:pt>
                <c:pt idx="135">
                  <c:v>43312</c:v>
                </c:pt>
                <c:pt idx="136">
                  <c:v>43343</c:v>
                </c:pt>
                <c:pt idx="137">
                  <c:v>43373</c:v>
                </c:pt>
                <c:pt idx="138">
                  <c:v>43404</c:v>
                </c:pt>
                <c:pt idx="139">
                  <c:v>43434</c:v>
                </c:pt>
                <c:pt idx="140">
                  <c:v>43465</c:v>
                </c:pt>
                <c:pt idx="141">
                  <c:v>43496</c:v>
                </c:pt>
                <c:pt idx="142">
                  <c:v>43524</c:v>
                </c:pt>
                <c:pt idx="143">
                  <c:v>43555</c:v>
                </c:pt>
                <c:pt idx="144">
                  <c:v>43585</c:v>
                </c:pt>
                <c:pt idx="145">
                  <c:v>43616</c:v>
                </c:pt>
                <c:pt idx="146">
                  <c:v>43646</c:v>
                </c:pt>
                <c:pt idx="147">
                  <c:v>43677</c:v>
                </c:pt>
                <c:pt idx="148">
                  <c:v>43708</c:v>
                </c:pt>
                <c:pt idx="149">
                  <c:v>43738</c:v>
                </c:pt>
                <c:pt idx="150">
                  <c:v>43769</c:v>
                </c:pt>
                <c:pt idx="151">
                  <c:v>43799</c:v>
                </c:pt>
                <c:pt idx="152">
                  <c:v>43830</c:v>
                </c:pt>
                <c:pt idx="153">
                  <c:v>43861</c:v>
                </c:pt>
                <c:pt idx="154">
                  <c:v>43890</c:v>
                </c:pt>
                <c:pt idx="155">
                  <c:v>43921</c:v>
                </c:pt>
                <c:pt idx="156">
                  <c:v>43951</c:v>
                </c:pt>
                <c:pt idx="157">
                  <c:v>43982</c:v>
                </c:pt>
                <c:pt idx="158">
                  <c:v>44012</c:v>
                </c:pt>
                <c:pt idx="159">
                  <c:v>44043</c:v>
                </c:pt>
                <c:pt idx="160">
                  <c:v>44074</c:v>
                </c:pt>
                <c:pt idx="161">
                  <c:v>44104</c:v>
                </c:pt>
                <c:pt idx="162">
                  <c:v>44135</c:v>
                </c:pt>
                <c:pt idx="163">
                  <c:v>44165</c:v>
                </c:pt>
                <c:pt idx="164">
                  <c:v>44196</c:v>
                </c:pt>
                <c:pt idx="165">
                  <c:v>44227</c:v>
                </c:pt>
                <c:pt idx="166">
                  <c:v>44255</c:v>
                </c:pt>
                <c:pt idx="167">
                  <c:v>44286</c:v>
                </c:pt>
                <c:pt idx="168">
                  <c:v>44316</c:v>
                </c:pt>
                <c:pt idx="169">
                  <c:v>44347</c:v>
                </c:pt>
                <c:pt idx="170">
                  <c:v>44377</c:v>
                </c:pt>
                <c:pt idx="171">
                  <c:v>44408</c:v>
                </c:pt>
                <c:pt idx="172">
                  <c:v>44439</c:v>
                </c:pt>
                <c:pt idx="173">
                  <c:v>44469</c:v>
                </c:pt>
                <c:pt idx="174">
                  <c:v>44500</c:v>
                </c:pt>
                <c:pt idx="175">
                  <c:v>44530</c:v>
                </c:pt>
                <c:pt idx="176">
                  <c:v>44561</c:v>
                </c:pt>
                <c:pt idx="177">
                  <c:v>44592</c:v>
                </c:pt>
                <c:pt idx="178">
                  <c:v>44620</c:v>
                </c:pt>
                <c:pt idx="179">
                  <c:v>44651</c:v>
                </c:pt>
                <c:pt idx="180">
                  <c:v>44681</c:v>
                </c:pt>
                <c:pt idx="181">
                  <c:v>44712</c:v>
                </c:pt>
                <c:pt idx="182">
                  <c:v>44742</c:v>
                </c:pt>
                <c:pt idx="183">
                  <c:v>44773</c:v>
                </c:pt>
                <c:pt idx="184">
                  <c:v>44804</c:v>
                </c:pt>
                <c:pt idx="185">
                  <c:v>44834</c:v>
                </c:pt>
                <c:pt idx="186">
                  <c:v>44865</c:v>
                </c:pt>
                <c:pt idx="187">
                  <c:v>44895</c:v>
                </c:pt>
                <c:pt idx="188">
                  <c:v>44926</c:v>
                </c:pt>
              </c:numCache>
            </c:numRef>
          </c:cat>
          <c:val>
            <c:numRef>
              <c:f>QT!$C$14:$C$1174</c:f>
              <c:numCache>
                <c:formatCode>General</c:formatCode>
                <c:ptCount val="1161"/>
                <c:pt idx="0">
                  <c:v>250.16350429999989</c:v>
                </c:pt>
                <c:pt idx="1">
                  <c:v>208.45056400000007</c:v>
                </c:pt>
                <c:pt idx="2">
                  <c:v>212.98667429999995</c:v>
                </c:pt>
                <c:pt idx="3">
                  <c:v>226.96733110000045</c:v>
                </c:pt>
                <c:pt idx="4">
                  <c:v>158.86601640000043</c:v>
                </c:pt>
                <c:pt idx="5">
                  <c:v>316.58049300000005</c:v>
                </c:pt>
                <c:pt idx="6">
                  <c:v>383.54969229999989</c:v>
                </c:pt>
                <c:pt idx="7">
                  <c:v>453.40128060000006</c:v>
                </c:pt>
                <c:pt idx="8">
                  <c:v>676.71806830000025</c:v>
                </c:pt>
                <c:pt idx="9">
                  <c:v>483.29940009999996</c:v>
                </c:pt>
                <c:pt idx="10">
                  <c:v>471.0376002000001</c:v>
                </c:pt>
                <c:pt idx="11">
                  <c:v>579.72547760000009</c:v>
                </c:pt>
                <c:pt idx="12">
                  <c:v>630.45974809999962</c:v>
                </c:pt>
                <c:pt idx="13">
                  <c:v>620.70143279999957</c:v>
                </c:pt>
                <c:pt idx="14">
                  <c:v>564.42815910000002</c:v>
                </c:pt>
                <c:pt idx="15">
                  <c:v>636.05942599999969</c:v>
                </c:pt>
                <c:pt idx="16">
                  <c:v>589.93154609999942</c:v>
                </c:pt>
                <c:pt idx="17">
                  <c:v>783.02240139999981</c:v>
                </c:pt>
                <c:pt idx="18">
                  <c:v>906.88130889999979</c:v>
                </c:pt>
                <c:pt idx="19">
                  <c:v>617.32692659999964</c:v>
                </c:pt>
                <c:pt idx="20">
                  <c:v>608.34438439999963</c:v>
                </c:pt>
                <c:pt idx="21">
                  <c:v>565.42695720000017</c:v>
                </c:pt>
                <c:pt idx="22">
                  <c:v>356.47582740000018</c:v>
                </c:pt>
                <c:pt idx="23">
                  <c:v>276.77038399999975</c:v>
                </c:pt>
                <c:pt idx="24">
                  <c:v>169.59311790000032</c:v>
                </c:pt>
                <c:pt idx="25">
                  <c:v>242.03253300000017</c:v>
                </c:pt>
                <c:pt idx="26">
                  <c:v>492.6625487999998</c:v>
                </c:pt>
                <c:pt idx="27">
                  <c:v>336.30259980000022</c:v>
                </c:pt>
                <c:pt idx="28">
                  <c:v>428.49420630000037</c:v>
                </c:pt>
                <c:pt idx="29">
                  <c:v>166.13316510000021</c:v>
                </c:pt>
                <c:pt idx="30">
                  <c:v>-58.26169020000016</c:v>
                </c:pt>
                <c:pt idx="31">
                  <c:v>100.85415880000026</c:v>
                </c:pt>
                <c:pt idx="32">
                  <c:v>-29.258378100000204</c:v>
                </c:pt>
                <c:pt idx="33">
                  <c:v>153.05963539999999</c:v>
                </c:pt>
                <c:pt idx="34">
                  <c:v>254.77829640000004</c:v>
                </c:pt>
                <c:pt idx="35">
                  <c:v>239.55651600000039</c:v>
                </c:pt>
                <c:pt idx="36">
                  <c:v>250.66697480000011</c:v>
                </c:pt>
                <c:pt idx="37">
                  <c:v>180.60779440000019</c:v>
                </c:pt>
                <c:pt idx="38">
                  <c:v>-173.47149390000016</c:v>
                </c:pt>
                <c:pt idx="39">
                  <c:v>-48.461229599999989</c:v>
                </c:pt>
                <c:pt idx="40">
                  <c:v>-62.534943899999803</c:v>
                </c:pt>
                <c:pt idx="41">
                  <c:v>-243.58728699999998</c:v>
                </c:pt>
                <c:pt idx="42">
                  <c:v>-1.4725220999998179</c:v>
                </c:pt>
                <c:pt idx="43">
                  <c:v>4.250348799999859</c:v>
                </c:pt>
                <c:pt idx="44">
                  <c:v>-127.29684859999946</c:v>
                </c:pt>
                <c:pt idx="45">
                  <c:v>16.39479989999959</c:v>
                </c:pt>
                <c:pt idx="46">
                  <c:v>64.022210399999665</c:v>
                </c:pt>
                <c:pt idx="47">
                  <c:v>11.633755999999718</c:v>
                </c:pt>
                <c:pt idx="48">
                  <c:v>113.40599370000027</c:v>
                </c:pt>
                <c:pt idx="49">
                  <c:v>85.845131100000145</c:v>
                </c:pt>
                <c:pt idx="50">
                  <c:v>295.29890960000006</c:v>
                </c:pt>
                <c:pt idx="51">
                  <c:v>291.34572649999944</c:v>
                </c:pt>
                <c:pt idx="52">
                  <c:v>438.25912569999969</c:v>
                </c:pt>
                <c:pt idx="53">
                  <c:v>701.22943820000035</c:v>
                </c:pt>
                <c:pt idx="54">
                  <c:v>562.38560169999994</c:v>
                </c:pt>
                <c:pt idx="55">
                  <c:v>675.0986883999999</c:v>
                </c:pt>
                <c:pt idx="56">
                  <c:v>948.49484399999938</c:v>
                </c:pt>
                <c:pt idx="57">
                  <c:v>741.74724310000033</c:v>
                </c:pt>
                <c:pt idx="58">
                  <c:v>1353.8604178000001</c:v>
                </c:pt>
                <c:pt idx="59">
                  <c:v>1267.7437896000004</c:v>
                </c:pt>
                <c:pt idx="60">
                  <c:v>1156.9071259999996</c:v>
                </c:pt>
                <c:pt idx="61">
                  <c:v>1122.9198642999995</c:v>
                </c:pt>
                <c:pt idx="62">
                  <c:v>1089.7199857999999</c:v>
                </c:pt>
                <c:pt idx="63">
                  <c:v>932.35339670000042</c:v>
                </c:pt>
                <c:pt idx="64">
                  <c:v>855.55865879999965</c:v>
                </c:pt>
                <c:pt idx="65">
                  <c:v>800.04737279999949</c:v>
                </c:pt>
                <c:pt idx="66">
                  <c:v>747.4261186000009</c:v>
                </c:pt>
                <c:pt idx="67">
                  <c:v>591.53371739999989</c:v>
                </c:pt>
                <c:pt idx="68">
                  <c:v>291.03530970000071</c:v>
                </c:pt>
                <c:pt idx="69">
                  <c:v>247.99756200000056</c:v>
                </c:pt>
                <c:pt idx="70">
                  <c:v>-424.23570489999963</c:v>
                </c:pt>
                <c:pt idx="71">
                  <c:v>-485.29757380000046</c:v>
                </c:pt>
                <c:pt idx="72">
                  <c:v>-498.70087200000012</c:v>
                </c:pt>
                <c:pt idx="73">
                  <c:v>-535.17095909999932</c:v>
                </c:pt>
                <c:pt idx="74">
                  <c:v>-683.07364759999962</c:v>
                </c:pt>
                <c:pt idx="75">
                  <c:v>-658.56715720000022</c:v>
                </c:pt>
                <c:pt idx="76">
                  <c:v>-684.00965679999933</c:v>
                </c:pt>
                <c:pt idx="77">
                  <c:v>-804.83081450000032</c:v>
                </c:pt>
                <c:pt idx="78">
                  <c:v>-786.77441040000053</c:v>
                </c:pt>
                <c:pt idx="79">
                  <c:v>-803.11076819999937</c:v>
                </c:pt>
                <c:pt idx="80">
                  <c:v>-770.4301751000005</c:v>
                </c:pt>
                <c:pt idx="81">
                  <c:v>-665.60855820000063</c:v>
                </c:pt>
                <c:pt idx="82">
                  <c:v>-597.37772580000035</c:v>
                </c:pt>
                <c:pt idx="83">
                  <c:v>-441.90478419999926</c:v>
                </c:pt>
                <c:pt idx="84">
                  <c:v>-335.22253199999955</c:v>
                </c:pt>
                <c:pt idx="85">
                  <c:v>-291.36081620000056</c:v>
                </c:pt>
                <c:pt idx="86">
                  <c:v>-392.86589959999986</c:v>
                </c:pt>
                <c:pt idx="87">
                  <c:v>-342.0895880999999</c:v>
                </c:pt>
                <c:pt idx="88">
                  <c:v>-428.40441060000069</c:v>
                </c:pt>
                <c:pt idx="89">
                  <c:v>-494.34242679999983</c:v>
                </c:pt>
                <c:pt idx="90">
                  <c:v>-556.81154879999985</c:v>
                </c:pt>
                <c:pt idx="91">
                  <c:v>-548.61783530000002</c:v>
                </c:pt>
                <c:pt idx="92">
                  <c:v>-393.68272360000003</c:v>
                </c:pt>
                <c:pt idx="93">
                  <c:v>-484.85409880000009</c:v>
                </c:pt>
                <c:pt idx="94">
                  <c:v>-533.57059350000031</c:v>
                </c:pt>
                <c:pt idx="95">
                  <c:v>-462.92190420000037</c:v>
                </c:pt>
                <c:pt idx="96">
                  <c:v>-494.27691140000007</c:v>
                </c:pt>
                <c:pt idx="97">
                  <c:v>-319.89789829999938</c:v>
                </c:pt>
                <c:pt idx="98">
                  <c:v>-11.427765699999703</c:v>
                </c:pt>
                <c:pt idx="99">
                  <c:v>2.1212184999996886</c:v>
                </c:pt>
                <c:pt idx="100">
                  <c:v>145.52077560000055</c:v>
                </c:pt>
                <c:pt idx="101">
                  <c:v>302.70033630000046</c:v>
                </c:pt>
                <c:pt idx="102">
                  <c:v>390.84836980000006</c:v>
                </c:pt>
                <c:pt idx="103">
                  <c:v>374.18495069999966</c:v>
                </c:pt>
                <c:pt idx="104">
                  <c:v>304.72486080000039</c:v>
                </c:pt>
                <c:pt idx="105">
                  <c:v>514.10372950000033</c:v>
                </c:pt>
                <c:pt idx="106">
                  <c:v>725.26177719999964</c:v>
                </c:pt>
                <c:pt idx="107">
                  <c:v>750.06577799999934</c:v>
                </c:pt>
                <c:pt idx="108">
                  <c:v>837.08430480000027</c:v>
                </c:pt>
                <c:pt idx="109">
                  <c:v>783.83497219999981</c:v>
                </c:pt>
                <c:pt idx="110">
                  <c:v>827.74096979999933</c:v>
                </c:pt>
                <c:pt idx="111">
                  <c:v>841.31337710000048</c:v>
                </c:pt>
                <c:pt idx="112">
                  <c:v>885.05611290000013</c:v>
                </c:pt>
                <c:pt idx="113">
                  <c:v>907.23803949999967</c:v>
                </c:pt>
                <c:pt idx="114">
                  <c:v>882.96882819999928</c:v>
                </c:pt>
                <c:pt idx="115">
                  <c:v>955.20464099999992</c:v>
                </c:pt>
                <c:pt idx="116">
                  <c:v>833.70659669999952</c:v>
                </c:pt>
                <c:pt idx="117">
                  <c:v>939.14888599999949</c:v>
                </c:pt>
                <c:pt idx="118">
                  <c:v>896.52752780000003</c:v>
                </c:pt>
                <c:pt idx="119">
                  <c:v>1108.7337455999996</c:v>
                </c:pt>
                <c:pt idx="120">
                  <c:v>1039.5413947999991</c:v>
                </c:pt>
                <c:pt idx="121">
                  <c:v>1163.4941205999994</c:v>
                </c:pt>
                <c:pt idx="122">
                  <c:v>1097.6660454000005</c:v>
                </c:pt>
                <c:pt idx="123">
                  <c:v>1265.393605499999</c:v>
                </c:pt>
                <c:pt idx="124">
                  <c:v>1315.2394625999998</c:v>
                </c:pt>
                <c:pt idx="125">
                  <c:v>1287.8657101999993</c:v>
                </c:pt>
                <c:pt idx="126">
                  <c:v>1265.4702629999997</c:v>
                </c:pt>
                <c:pt idx="127">
                  <c:v>1343.3203752999998</c:v>
                </c:pt>
                <c:pt idx="128">
                  <c:v>1426.8938260999996</c:v>
                </c:pt>
                <c:pt idx="129">
                  <c:v>1490.2646881999999</c:v>
                </c:pt>
                <c:pt idx="130">
                  <c:v>1508.2270750000007</c:v>
                </c:pt>
                <c:pt idx="131">
                  <c:v>1202.6922956000012</c:v>
                </c:pt>
                <c:pt idx="132">
                  <c:v>1141.7934718000006</c:v>
                </c:pt>
                <c:pt idx="133">
                  <c:v>754.42371619999983</c:v>
                </c:pt>
                <c:pt idx="134">
                  <c:v>635.05918919999976</c:v>
                </c:pt>
                <c:pt idx="135">
                  <c:v>492.93180600000142</c:v>
                </c:pt>
                <c:pt idx="136">
                  <c:v>275.9246151000001</c:v>
                </c:pt>
                <c:pt idx="137">
                  <c:v>245.13455520000173</c:v>
                </c:pt>
                <c:pt idx="138">
                  <c:v>169.24425440000056</c:v>
                </c:pt>
                <c:pt idx="139">
                  <c:v>81.142912300000702</c:v>
                </c:pt>
                <c:pt idx="140">
                  <c:v>63.842360399999798</c:v>
                </c:pt>
                <c:pt idx="141">
                  <c:v>-116.52926569999966</c:v>
                </c:pt>
                <c:pt idx="142">
                  <c:v>-258.40950490000034</c:v>
                </c:pt>
                <c:pt idx="143">
                  <c:v>-282.5177594000001</c:v>
                </c:pt>
                <c:pt idx="144">
                  <c:v>-324.08254680000061</c:v>
                </c:pt>
                <c:pt idx="145">
                  <c:v>-158.25916049999921</c:v>
                </c:pt>
                <c:pt idx="146">
                  <c:v>-63.29425920000098</c:v>
                </c:pt>
                <c:pt idx="147">
                  <c:v>-143.30031300000013</c:v>
                </c:pt>
                <c:pt idx="148">
                  <c:v>-123.78600960000074</c:v>
                </c:pt>
                <c:pt idx="149">
                  <c:v>-220.12460430000135</c:v>
                </c:pt>
                <c:pt idx="150">
                  <c:v>-138.93475800000044</c:v>
                </c:pt>
                <c:pt idx="151">
                  <c:v>-103.88239950000067</c:v>
                </c:pt>
                <c:pt idx="152">
                  <c:v>-159.88499499999875</c:v>
                </c:pt>
                <c:pt idx="153">
                  <c:v>-177.04673200000087</c:v>
                </c:pt>
                <c:pt idx="154">
                  <c:v>-199.20101789999921</c:v>
                </c:pt>
                <c:pt idx="155">
                  <c:v>439.45840200000055</c:v>
                </c:pt>
                <c:pt idx="156">
                  <c:v>603.19104520000087</c:v>
                </c:pt>
                <c:pt idx="157">
                  <c:v>861.44897830000036</c:v>
                </c:pt>
                <c:pt idx="158">
                  <c:v>1780.4483136000008</c:v>
                </c:pt>
                <c:pt idx="159">
                  <c:v>2061.4836156000001</c:v>
                </c:pt>
                <c:pt idx="160">
                  <c:v>2428.9684061000012</c:v>
                </c:pt>
                <c:pt idx="161">
                  <c:v>2732.1877699000011</c:v>
                </c:pt>
                <c:pt idx="162">
                  <c:v>2802.7118020000012</c:v>
                </c:pt>
                <c:pt idx="163">
                  <c:v>2995.200327900001</c:v>
                </c:pt>
                <c:pt idx="164">
                  <c:v>3298.5925094000004</c:v>
                </c:pt>
                <c:pt idx="165">
                  <c:v>3380.8182798000016</c:v>
                </c:pt>
                <c:pt idx="166">
                  <c:v>3480.1432606000012</c:v>
                </c:pt>
                <c:pt idx="167">
                  <c:v>3175.7675309999981</c:v>
                </c:pt>
                <c:pt idx="168">
                  <c:v>3189.9416660999982</c:v>
                </c:pt>
                <c:pt idx="169">
                  <c:v>3224.6608511999984</c:v>
                </c:pt>
                <c:pt idx="170">
                  <c:v>2446.5700470000006</c:v>
                </c:pt>
                <c:pt idx="171">
                  <c:v>2134.5506707999975</c:v>
                </c:pt>
                <c:pt idx="172">
                  <c:v>2016.3315410999996</c:v>
                </c:pt>
                <c:pt idx="173">
                  <c:v>1850.2081299999986</c:v>
                </c:pt>
                <c:pt idx="174">
                  <c:v>1730.9244615999989</c:v>
                </c:pt>
                <c:pt idx="175">
                  <c:v>1481.9652607999992</c:v>
                </c:pt>
                <c:pt idx="176">
                  <c:v>1190.4427428000001</c:v>
                </c:pt>
                <c:pt idx="177">
                  <c:v>1201.5861448999985</c:v>
                </c:pt>
                <c:pt idx="178">
                  <c:v>1243.5386195000006</c:v>
                </c:pt>
                <c:pt idx="179">
                  <c:v>726.53287260000354</c:v>
                </c:pt>
                <c:pt idx="180">
                  <c:v>433.86500420000118</c:v>
                </c:pt>
                <c:pt idx="181">
                  <c:v>-10.400449600000528</c:v>
                </c:pt>
                <c:pt idx="182">
                  <c:v>-205.90958966666761</c:v>
                </c:pt>
                <c:pt idx="183">
                  <c:v>-264.86236713333079</c:v>
                </c:pt>
                <c:pt idx="184">
                  <c:v>-495.24620719999922</c:v>
                </c:pt>
                <c:pt idx="185">
                  <c:v>-604.06513806666237</c:v>
                </c:pt>
                <c:pt idx="186">
                  <c:v>-591.04374273332996</c:v>
                </c:pt>
                <c:pt idx="187">
                  <c:v>-590.16722219999633</c:v>
                </c:pt>
                <c:pt idx="188">
                  <c:v>-636.29611326666338</c:v>
                </c:pt>
              </c:numCache>
            </c:numRef>
          </c:val>
          <c:extLst>
            <c:ext xmlns:c16="http://schemas.microsoft.com/office/drawing/2014/chart" uri="{C3380CC4-5D6E-409C-BE32-E72D297353CC}">
              <c16:uniqueId val="{00000002-438E-405F-ABD1-FE50161BD664}"/>
            </c:ext>
          </c:extLst>
        </c:ser>
        <c:ser>
          <c:idx val="0"/>
          <c:order val="3"/>
          <c:tx>
            <c:strRef>
              <c:f>QT!$B$13</c:f>
              <c:strCache>
                <c:ptCount val="1"/>
                <c:pt idx="0">
                  <c:v>U.S.</c:v>
                </c:pt>
              </c:strCache>
            </c:strRef>
          </c:tx>
          <c:spPr>
            <a:solidFill>
              <a:srgbClr val="7A9A3D"/>
            </a:solidFill>
            <a:ln>
              <a:noFill/>
            </a:ln>
          </c:spPr>
          <c:invertIfNegative val="0"/>
          <c:cat>
            <c:numRef>
              <c:f>QT!$A$14:$A$1174</c:f>
              <c:numCache>
                <c:formatCode>mmm"-"yyyy</c:formatCode>
                <c:ptCount val="1161"/>
                <c:pt idx="0">
                  <c:v>39202</c:v>
                </c:pt>
                <c:pt idx="1">
                  <c:v>39233</c:v>
                </c:pt>
                <c:pt idx="2">
                  <c:v>39263</c:v>
                </c:pt>
                <c:pt idx="3">
                  <c:v>39294</c:v>
                </c:pt>
                <c:pt idx="4">
                  <c:v>39325</c:v>
                </c:pt>
                <c:pt idx="5">
                  <c:v>39355</c:v>
                </c:pt>
                <c:pt idx="6">
                  <c:v>39386</c:v>
                </c:pt>
                <c:pt idx="7">
                  <c:v>39416</c:v>
                </c:pt>
                <c:pt idx="8">
                  <c:v>39447</c:v>
                </c:pt>
                <c:pt idx="9">
                  <c:v>39478</c:v>
                </c:pt>
                <c:pt idx="10">
                  <c:v>39507</c:v>
                </c:pt>
                <c:pt idx="11">
                  <c:v>39538</c:v>
                </c:pt>
                <c:pt idx="12">
                  <c:v>39568</c:v>
                </c:pt>
                <c:pt idx="13">
                  <c:v>39599</c:v>
                </c:pt>
                <c:pt idx="14">
                  <c:v>39629</c:v>
                </c:pt>
                <c:pt idx="15">
                  <c:v>39660</c:v>
                </c:pt>
                <c:pt idx="16">
                  <c:v>39691</c:v>
                </c:pt>
                <c:pt idx="17">
                  <c:v>39721</c:v>
                </c:pt>
                <c:pt idx="18">
                  <c:v>39752</c:v>
                </c:pt>
                <c:pt idx="19">
                  <c:v>39782</c:v>
                </c:pt>
                <c:pt idx="20">
                  <c:v>39813</c:v>
                </c:pt>
                <c:pt idx="21">
                  <c:v>39844</c:v>
                </c:pt>
                <c:pt idx="22">
                  <c:v>39872</c:v>
                </c:pt>
                <c:pt idx="23">
                  <c:v>39903</c:v>
                </c:pt>
                <c:pt idx="24">
                  <c:v>39933</c:v>
                </c:pt>
                <c:pt idx="25">
                  <c:v>39964</c:v>
                </c:pt>
                <c:pt idx="26">
                  <c:v>39994</c:v>
                </c:pt>
                <c:pt idx="27">
                  <c:v>40025</c:v>
                </c:pt>
                <c:pt idx="28">
                  <c:v>40056</c:v>
                </c:pt>
                <c:pt idx="29">
                  <c:v>40086</c:v>
                </c:pt>
                <c:pt idx="30">
                  <c:v>40117</c:v>
                </c:pt>
                <c:pt idx="31">
                  <c:v>40147</c:v>
                </c:pt>
                <c:pt idx="32">
                  <c:v>40178</c:v>
                </c:pt>
                <c:pt idx="33">
                  <c:v>40209</c:v>
                </c:pt>
                <c:pt idx="34">
                  <c:v>40237</c:v>
                </c:pt>
                <c:pt idx="35">
                  <c:v>40268</c:v>
                </c:pt>
                <c:pt idx="36">
                  <c:v>40298</c:v>
                </c:pt>
                <c:pt idx="37">
                  <c:v>40329</c:v>
                </c:pt>
                <c:pt idx="38">
                  <c:v>40359</c:v>
                </c:pt>
                <c:pt idx="39">
                  <c:v>40390</c:v>
                </c:pt>
                <c:pt idx="40">
                  <c:v>40421</c:v>
                </c:pt>
                <c:pt idx="41">
                  <c:v>40451</c:v>
                </c:pt>
                <c:pt idx="42">
                  <c:v>40482</c:v>
                </c:pt>
                <c:pt idx="43">
                  <c:v>40512</c:v>
                </c:pt>
                <c:pt idx="44">
                  <c:v>40543</c:v>
                </c:pt>
                <c:pt idx="45">
                  <c:v>40574</c:v>
                </c:pt>
                <c:pt idx="46">
                  <c:v>40602</c:v>
                </c:pt>
                <c:pt idx="47">
                  <c:v>40633</c:v>
                </c:pt>
                <c:pt idx="48">
                  <c:v>40663</c:v>
                </c:pt>
                <c:pt idx="49">
                  <c:v>40694</c:v>
                </c:pt>
                <c:pt idx="50">
                  <c:v>40724</c:v>
                </c:pt>
                <c:pt idx="51">
                  <c:v>40755</c:v>
                </c:pt>
                <c:pt idx="52">
                  <c:v>40786</c:v>
                </c:pt>
                <c:pt idx="53">
                  <c:v>40816</c:v>
                </c:pt>
                <c:pt idx="54">
                  <c:v>40847</c:v>
                </c:pt>
                <c:pt idx="55">
                  <c:v>40877</c:v>
                </c:pt>
                <c:pt idx="56">
                  <c:v>40908</c:v>
                </c:pt>
                <c:pt idx="57">
                  <c:v>40939</c:v>
                </c:pt>
                <c:pt idx="58">
                  <c:v>40968</c:v>
                </c:pt>
                <c:pt idx="59">
                  <c:v>40999</c:v>
                </c:pt>
                <c:pt idx="60">
                  <c:v>41029</c:v>
                </c:pt>
                <c:pt idx="61">
                  <c:v>41060</c:v>
                </c:pt>
                <c:pt idx="62">
                  <c:v>41090</c:v>
                </c:pt>
                <c:pt idx="63">
                  <c:v>41121</c:v>
                </c:pt>
                <c:pt idx="64">
                  <c:v>41152</c:v>
                </c:pt>
                <c:pt idx="65">
                  <c:v>41182</c:v>
                </c:pt>
                <c:pt idx="66">
                  <c:v>41213</c:v>
                </c:pt>
                <c:pt idx="67">
                  <c:v>41243</c:v>
                </c:pt>
                <c:pt idx="68">
                  <c:v>41274</c:v>
                </c:pt>
                <c:pt idx="69">
                  <c:v>41305</c:v>
                </c:pt>
                <c:pt idx="70">
                  <c:v>41333</c:v>
                </c:pt>
                <c:pt idx="71">
                  <c:v>41364</c:v>
                </c:pt>
                <c:pt idx="72">
                  <c:v>41394</c:v>
                </c:pt>
                <c:pt idx="73">
                  <c:v>41425</c:v>
                </c:pt>
                <c:pt idx="74">
                  <c:v>41455</c:v>
                </c:pt>
                <c:pt idx="75">
                  <c:v>41486</c:v>
                </c:pt>
                <c:pt idx="76">
                  <c:v>41517</c:v>
                </c:pt>
                <c:pt idx="77">
                  <c:v>41547</c:v>
                </c:pt>
                <c:pt idx="78">
                  <c:v>41578</c:v>
                </c:pt>
                <c:pt idx="79">
                  <c:v>41608</c:v>
                </c:pt>
                <c:pt idx="80">
                  <c:v>41639</c:v>
                </c:pt>
                <c:pt idx="81">
                  <c:v>41670</c:v>
                </c:pt>
                <c:pt idx="82">
                  <c:v>41698</c:v>
                </c:pt>
                <c:pt idx="83">
                  <c:v>41729</c:v>
                </c:pt>
                <c:pt idx="84">
                  <c:v>41759</c:v>
                </c:pt>
                <c:pt idx="85">
                  <c:v>41790</c:v>
                </c:pt>
                <c:pt idx="86">
                  <c:v>41820</c:v>
                </c:pt>
                <c:pt idx="87">
                  <c:v>41851</c:v>
                </c:pt>
                <c:pt idx="88">
                  <c:v>41882</c:v>
                </c:pt>
                <c:pt idx="89">
                  <c:v>41912</c:v>
                </c:pt>
                <c:pt idx="90">
                  <c:v>41943</c:v>
                </c:pt>
                <c:pt idx="91">
                  <c:v>41973</c:v>
                </c:pt>
                <c:pt idx="92">
                  <c:v>42004</c:v>
                </c:pt>
                <c:pt idx="93">
                  <c:v>42035</c:v>
                </c:pt>
                <c:pt idx="94">
                  <c:v>42063</c:v>
                </c:pt>
                <c:pt idx="95">
                  <c:v>42094</c:v>
                </c:pt>
                <c:pt idx="96">
                  <c:v>42124</c:v>
                </c:pt>
                <c:pt idx="97">
                  <c:v>42155</c:v>
                </c:pt>
                <c:pt idx="98">
                  <c:v>42185</c:v>
                </c:pt>
                <c:pt idx="99">
                  <c:v>42216</c:v>
                </c:pt>
                <c:pt idx="100">
                  <c:v>42247</c:v>
                </c:pt>
                <c:pt idx="101">
                  <c:v>42277</c:v>
                </c:pt>
                <c:pt idx="102">
                  <c:v>42308</c:v>
                </c:pt>
                <c:pt idx="103">
                  <c:v>42338</c:v>
                </c:pt>
                <c:pt idx="104">
                  <c:v>42369</c:v>
                </c:pt>
                <c:pt idx="105">
                  <c:v>42400</c:v>
                </c:pt>
                <c:pt idx="106">
                  <c:v>42429</c:v>
                </c:pt>
                <c:pt idx="107">
                  <c:v>42460</c:v>
                </c:pt>
                <c:pt idx="108">
                  <c:v>42490</c:v>
                </c:pt>
                <c:pt idx="109">
                  <c:v>42521</c:v>
                </c:pt>
                <c:pt idx="110">
                  <c:v>42551</c:v>
                </c:pt>
                <c:pt idx="111">
                  <c:v>42582</c:v>
                </c:pt>
                <c:pt idx="112">
                  <c:v>42613</c:v>
                </c:pt>
                <c:pt idx="113">
                  <c:v>42643</c:v>
                </c:pt>
                <c:pt idx="114">
                  <c:v>42674</c:v>
                </c:pt>
                <c:pt idx="115">
                  <c:v>42704</c:v>
                </c:pt>
                <c:pt idx="116">
                  <c:v>42735</c:v>
                </c:pt>
                <c:pt idx="117">
                  <c:v>42766</c:v>
                </c:pt>
                <c:pt idx="118">
                  <c:v>42794</c:v>
                </c:pt>
                <c:pt idx="119">
                  <c:v>42825</c:v>
                </c:pt>
                <c:pt idx="120">
                  <c:v>42855</c:v>
                </c:pt>
                <c:pt idx="121">
                  <c:v>42886</c:v>
                </c:pt>
                <c:pt idx="122">
                  <c:v>42916</c:v>
                </c:pt>
                <c:pt idx="123">
                  <c:v>42947</c:v>
                </c:pt>
                <c:pt idx="124">
                  <c:v>42978</c:v>
                </c:pt>
                <c:pt idx="125">
                  <c:v>43008</c:v>
                </c:pt>
                <c:pt idx="126">
                  <c:v>43039</c:v>
                </c:pt>
                <c:pt idx="127">
                  <c:v>43069</c:v>
                </c:pt>
                <c:pt idx="128">
                  <c:v>43100</c:v>
                </c:pt>
                <c:pt idx="129">
                  <c:v>43131</c:v>
                </c:pt>
                <c:pt idx="130">
                  <c:v>43159</c:v>
                </c:pt>
                <c:pt idx="131">
                  <c:v>43190</c:v>
                </c:pt>
                <c:pt idx="132">
                  <c:v>43220</c:v>
                </c:pt>
                <c:pt idx="133">
                  <c:v>43251</c:v>
                </c:pt>
                <c:pt idx="134">
                  <c:v>43281</c:v>
                </c:pt>
                <c:pt idx="135">
                  <c:v>43312</c:v>
                </c:pt>
                <c:pt idx="136">
                  <c:v>43343</c:v>
                </c:pt>
                <c:pt idx="137">
                  <c:v>43373</c:v>
                </c:pt>
                <c:pt idx="138">
                  <c:v>43404</c:v>
                </c:pt>
                <c:pt idx="139">
                  <c:v>43434</c:v>
                </c:pt>
                <c:pt idx="140">
                  <c:v>43465</c:v>
                </c:pt>
                <c:pt idx="141">
                  <c:v>43496</c:v>
                </c:pt>
                <c:pt idx="142">
                  <c:v>43524</c:v>
                </c:pt>
                <c:pt idx="143">
                  <c:v>43555</c:v>
                </c:pt>
                <c:pt idx="144">
                  <c:v>43585</c:v>
                </c:pt>
                <c:pt idx="145">
                  <c:v>43616</c:v>
                </c:pt>
                <c:pt idx="146">
                  <c:v>43646</c:v>
                </c:pt>
                <c:pt idx="147">
                  <c:v>43677</c:v>
                </c:pt>
                <c:pt idx="148">
                  <c:v>43708</c:v>
                </c:pt>
                <c:pt idx="149">
                  <c:v>43738</c:v>
                </c:pt>
                <c:pt idx="150">
                  <c:v>43769</c:v>
                </c:pt>
                <c:pt idx="151">
                  <c:v>43799</c:v>
                </c:pt>
                <c:pt idx="152">
                  <c:v>43830</c:v>
                </c:pt>
                <c:pt idx="153">
                  <c:v>43861</c:v>
                </c:pt>
                <c:pt idx="154">
                  <c:v>43890</c:v>
                </c:pt>
                <c:pt idx="155">
                  <c:v>43921</c:v>
                </c:pt>
                <c:pt idx="156">
                  <c:v>43951</c:v>
                </c:pt>
                <c:pt idx="157">
                  <c:v>43982</c:v>
                </c:pt>
                <c:pt idx="158">
                  <c:v>44012</c:v>
                </c:pt>
                <c:pt idx="159">
                  <c:v>44043</c:v>
                </c:pt>
                <c:pt idx="160">
                  <c:v>44074</c:v>
                </c:pt>
                <c:pt idx="161">
                  <c:v>44104</c:v>
                </c:pt>
                <c:pt idx="162">
                  <c:v>44135</c:v>
                </c:pt>
                <c:pt idx="163">
                  <c:v>44165</c:v>
                </c:pt>
                <c:pt idx="164">
                  <c:v>44196</c:v>
                </c:pt>
                <c:pt idx="165">
                  <c:v>44227</c:v>
                </c:pt>
                <c:pt idx="166">
                  <c:v>44255</c:v>
                </c:pt>
                <c:pt idx="167">
                  <c:v>44286</c:v>
                </c:pt>
                <c:pt idx="168">
                  <c:v>44316</c:v>
                </c:pt>
                <c:pt idx="169">
                  <c:v>44347</c:v>
                </c:pt>
                <c:pt idx="170">
                  <c:v>44377</c:v>
                </c:pt>
                <c:pt idx="171">
                  <c:v>44408</c:v>
                </c:pt>
                <c:pt idx="172">
                  <c:v>44439</c:v>
                </c:pt>
                <c:pt idx="173">
                  <c:v>44469</c:v>
                </c:pt>
                <c:pt idx="174">
                  <c:v>44500</c:v>
                </c:pt>
                <c:pt idx="175">
                  <c:v>44530</c:v>
                </c:pt>
                <c:pt idx="176">
                  <c:v>44561</c:v>
                </c:pt>
                <c:pt idx="177">
                  <c:v>44592</c:v>
                </c:pt>
                <c:pt idx="178">
                  <c:v>44620</c:v>
                </c:pt>
                <c:pt idx="179">
                  <c:v>44651</c:v>
                </c:pt>
                <c:pt idx="180">
                  <c:v>44681</c:v>
                </c:pt>
                <c:pt idx="181">
                  <c:v>44712</c:v>
                </c:pt>
                <c:pt idx="182">
                  <c:v>44742</c:v>
                </c:pt>
                <c:pt idx="183">
                  <c:v>44773</c:v>
                </c:pt>
                <c:pt idx="184">
                  <c:v>44804</c:v>
                </c:pt>
                <c:pt idx="185">
                  <c:v>44834</c:v>
                </c:pt>
                <c:pt idx="186">
                  <c:v>44865</c:v>
                </c:pt>
                <c:pt idx="187">
                  <c:v>44895</c:v>
                </c:pt>
                <c:pt idx="188">
                  <c:v>44926</c:v>
                </c:pt>
              </c:numCache>
            </c:numRef>
          </c:cat>
          <c:val>
            <c:numRef>
              <c:f>QT!$B$14:$B$1174</c:f>
              <c:numCache>
                <c:formatCode>General</c:formatCode>
                <c:ptCount val="1161"/>
                <c:pt idx="0">
                  <c:v>35.113999999999976</c:v>
                </c:pt>
                <c:pt idx="1">
                  <c:v>25.406000000000041</c:v>
                </c:pt>
                <c:pt idx="2">
                  <c:v>20.669000000000047</c:v>
                </c:pt>
                <c:pt idx="3">
                  <c:v>22.338000000000079</c:v>
                </c:pt>
                <c:pt idx="4">
                  <c:v>21.947999999999968</c:v>
                </c:pt>
                <c:pt idx="5">
                  <c:v>39.928999999999995</c:v>
                </c:pt>
                <c:pt idx="6">
                  <c:v>30.737000000000016</c:v>
                </c:pt>
                <c:pt idx="7">
                  <c:v>22.746000000000045</c:v>
                </c:pt>
                <c:pt idx="8">
                  <c:v>20.673999999999971</c:v>
                </c:pt>
                <c:pt idx="9">
                  <c:v>34.533999999999956</c:v>
                </c:pt>
                <c:pt idx="10">
                  <c:v>16.415999999999986</c:v>
                </c:pt>
                <c:pt idx="11">
                  <c:v>24.162000000000017</c:v>
                </c:pt>
                <c:pt idx="12">
                  <c:v>8.4450000000000358</c:v>
                </c:pt>
                <c:pt idx="13">
                  <c:v>27.06799999999998</c:v>
                </c:pt>
                <c:pt idx="14">
                  <c:v>27.607999999999965</c:v>
                </c:pt>
                <c:pt idx="15">
                  <c:v>54.734999999999978</c:v>
                </c:pt>
                <c:pt idx="16">
                  <c:v>37.108999999999945</c:v>
                </c:pt>
                <c:pt idx="17">
                  <c:v>321.9249999999999</c:v>
                </c:pt>
                <c:pt idx="18">
                  <c:v>1085.7009999999998</c:v>
                </c:pt>
                <c:pt idx="19">
                  <c:v>1226.6999999999996</c:v>
                </c:pt>
                <c:pt idx="20">
                  <c:v>1348.7950000000001</c:v>
                </c:pt>
                <c:pt idx="21">
                  <c:v>1026.818</c:v>
                </c:pt>
                <c:pt idx="22">
                  <c:v>1022.29</c:v>
                </c:pt>
                <c:pt idx="23">
                  <c:v>1177.5910000000001</c:v>
                </c:pt>
                <c:pt idx="24">
                  <c:v>1178.5809999999999</c:v>
                </c:pt>
                <c:pt idx="25">
                  <c:v>1176.0610000000001</c:v>
                </c:pt>
                <c:pt idx="26">
                  <c:v>1132.8579999999997</c:v>
                </c:pt>
                <c:pt idx="27">
                  <c:v>1081.922</c:v>
                </c:pt>
                <c:pt idx="28">
                  <c:v>1164.9199999999998</c:v>
                </c:pt>
                <c:pt idx="29">
                  <c:v>929.19500000000016</c:v>
                </c:pt>
                <c:pt idx="30">
                  <c:v>192.45100000000014</c:v>
                </c:pt>
                <c:pt idx="31">
                  <c:v>100.24200000000016</c:v>
                </c:pt>
                <c:pt idx="32">
                  <c:v>-5.3899999999997839</c:v>
                </c:pt>
                <c:pt idx="33">
                  <c:v>319.80399999999997</c:v>
                </c:pt>
                <c:pt idx="34">
                  <c:v>370.012</c:v>
                </c:pt>
                <c:pt idx="35">
                  <c:v>235.59399999999985</c:v>
                </c:pt>
                <c:pt idx="36">
                  <c:v>263.76</c:v>
                </c:pt>
                <c:pt idx="37">
                  <c:v>253.92599999999987</c:v>
                </c:pt>
                <c:pt idx="38">
                  <c:v>305.2800000000002</c:v>
                </c:pt>
                <c:pt idx="39">
                  <c:v>324.75100000000003</c:v>
                </c:pt>
                <c:pt idx="40">
                  <c:v>226.11300000000023</c:v>
                </c:pt>
                <c:pt idx="41">
                  <c:v>157.67099999999968</c:v>
                </c:pt>
                <c:pt idx="42">
                  <c:v>133.85500000000005</c:v>
                </c:pt>
                <c:pt idx="43">
                  <c:v>139.64199999999983</c:v>
                </c:pt>
                <c:pt idx="44">
                  <c:v>186.5030000000001</c:v>
                </c:pt>
                <c:pt idx="45">
                  <c:v>196.64100000000008</c:v>
                </c:pt>
                <c:pt idx="46">
                  <c:v>247.09400000000014</c:v>
                </c:pt>
                <c:pt idx="47">
                  <c:v>315.3730000000001</c:v>
                </c:pt>
                <c:pt idx="48">
                  <c:v>360.51300000000009</c:v>
                </c:pt>
                <c:pt idx="49">
                  <c:v>440.95499999999976</c:v>
                </c:pt>
                <c:pt idx="50">
                  <c:v>534.4000000000002</c:v>
                </c:pt>
                <c:pt idx="51">
                  <c:v>538.27800000000002</c:v>
                </c:pt>
                <c:pt idx="52">
                  <c:v>552.87299999999993</c:v>
                </c:pt>
                <c:pt idx="53">
                  <c:v>552.23000000000025</c:v>
                </c:pt>
                <c:pt idx="54">
                  <c:v>550.29299999999989</c:v>
                </c:pt>
                <c:pt idx="55">
                  <c:v>468.23400000000026</c:v>
                </c:pt>
                <c:pt idx="56">
                  <c:v>505.52499999999998</c:v>
                </c:pt>
                <c:pt idx="57">
                  <c:v>476.0179999999998</c:v>
                </c:pt>
                <c:pt idx="58">
                  <c:v>392.50099999999975</c:v>
                </c:pt>
                <c:pt idx="59">
                  <c:v>255.614</c:v>
                </c:pt>
                <c:pt idx="60">
                  <c:v>175.57599999999996</c:v>
                </c:pt>
                <c:pt idx="61">
                  <c:v>67.658000000000214</c:v>
                </c:pt>
                <c:pt idx="62">
                  <c:v>-1.7040000000001498</c:v>
                </c:pt>
                <c:pt idx="63">
                  <c:v>-16.818999999999917</c:v>
                </c:pt>
                <c:pt idx="64">
                  <c:v>-41.081999999999837</c:v>
                </c:pt>
                <c:pt idx="65">
                  <c:v>-46.463999999999842</c:v>
                </c:pt>
                <c:pt idx="66">
                  <c:v>-22.548000000000012</c:v>
                </c:pt>
                <c:pt idx="67">
                  <c:v>37.12699999999991</c:v>
                </c:pt>
                <c:pt idx="68">
                  <c:v>-18.794999999999895</c:v>
                </c:pt>
                <c:pt idx="69">
                  <c:v>89.158999999999992</c:v>
                </c:pt>
                <c:pt idx="70">
                  <c:v>164.87799999999987</c:v>
                </c:pt>
                <c:pt idx="71">
                  <c:v>324.11900000000003</c:v>
                </c:pt>
                <c:pt idx="72">
                  <c:v>452.08800000000025</c:v>
                </c:pt>
                <c:pt idx="73">
                  <c:v>542.47399999999993</c:v>
                </c:pt>
                <c:pt idx="74">
                  <c:v>615.12499999999989</c:v>
                </c:pt>
                <c:pt idx="75">
                  <c:v>725.04</c:v>
                </c:pt>
                <c:pt idx="76">
                  <c:v>831.64999999999975</c:v>
                </c:pt>
                <c:pt idx="77">
                  <c:v>929.56099999999969</c:v>
                </c:pt>
                <c:pt idx="78">
                  <c:v>1020.2589999999998</c:v>
                </c:pt>
                <c:pt idx="79">
                  <c:v>1074.5140000000001</c:v>
                </c:pt>
                <c:pt idx="80">
                  <c:v>1125.2749999999994</c:v>
                </c:pt>
                <c:pt idx="81">
                  <c:v>1093.4340000000002</c:v>
                </c:pt>
                <c:pt idx="82">
                  <c:v>1069.3720000000001</c:v>
                </c:pt>
                <c:pt idx="83">
                  <c:v>1024.7149999999997</c:v>
                </c:pt>
                <c:pt idx="84">
                  <c:v>977.39999999999986</c:v>
                </c:pt>
                <c:pt idx="85">
                  <c:v>937.52600000000007</c:v>
                </c:pt>
                <c:pt idx="86">
                  <c:v>889.67600000000016</c:v>
                </c:pt>
                <c:pt idx="87">
                  <c:v>834.8399999999998</c:v>
                </c:pt>
                <c:pt idx="88">
                  <c:v>769.2800000000002</c:v>
                </c:pt>
                <c:pt idx="89">
                  <c:v>725.03200000000061</c:v>
                </c:pt>
                <c:pt idx="90">
                  <c:v>643.35800000000052</c:v>
                </c:pt>
                <c:pt idx="91">
                  <c:v>560.05499999999972</c:v>
                </c:pt>
                <c:pt idx="92">
                  <c:v>465.08500000000021</c:v>
                </c:pt>
                <c:pt idx="93">
                  <c:v>397.92599999999999</c:v>
                </c:pt>
                <c:pt idx="94">
                  <c:v>326.75300000000004</c:v>
                </c:pt>
                <c:pt idx="95">
                  <c:v>253.63200000000052</c:v>
                </c:pt>
                <c:pt idx="96">
                  <c:v>175.44999999999965</c:v>
                </c:pt>
                <c:pt idx="97">
                  <c:v>141.32700000000042</c:v>
                </c:pt>
                <c:pt idx="98">
                  <c:v>126.70699999999968</c:v>
                </c:pt>
                <c:pt idx="99">
                  <c:v>78.842999999999989</c:v>
                </c:pt>
                <c:pt idx="100">
                  <c:v>61.369000000000007</c:v>
                </c:pt>
                <c:pt idx="101">
                  <c:v>25.061</c:v>
                </c:pt>
                <c:pt idx="102">
                  <c:v>2.5849999999998374</c:v>
                </c:pt>
                <c:pt idx="103">
                  <c:v>-8.8429999999997122</c:v>
                </c:pt>
                <c:pt idx="104">
                  <c:v>-11.072999999999666</c:v>
                </c:pt>
                <c:pt idx="105">
                  <c:v>-17.714999999999925</c:v>
                </c:pt>
                <c:pt idx="106">
                  <c:v>3.071000000000268</c:v>
                </c:pt>
                <c:pt idx="107">
                  <c:v>2.2370000000000445</c:v>
                </c:pt>
                <c:pt idx="108">
                  <c:v>3.1660000000002242</c:v>
                </c:pt>
                <c:pt idx="109">
                  <c:v>-2.8700000000005943</c:v>
                </c:pt>
                <c:pt idx="110">
                  <c:v>-28.572999999999737</c:v>
                </c:pt>
                <c:pt idx="111">
                  <c:v>-20.982000000000056</c:v>
                </c:pt>
                <c:pt idx="112">
                  <c:v>-17.198000000000491</c:v>
                </c:pt>
                <c:pt idx="113">
                  <c:v>-32.109000000000165</c:v>
                </c:pt>
                <c:pt idx="114">
                  <c:v>-35.013000000000183</c:v>
                </c:pt>
                <c:pt idx="115">
                  <c:v>-30.781000000000169</c:v>
                </c:pt>
                <c:pt idx="116">
                  <c:v>-35.1360000000005</c:v>
                </c:pt>
                <c:pt idx="117">
                  <c:v>-29.511000000000287</c:v>
                </c:pt>
                <c:pt idx="118">
                  <c:v>-21.093999999999724</c:v>
                </c:pt>
                <c:pt idx="119">
                  <c:v>-13.222000000000733</c:v>
                </c:pt>
                <c:pt idx="120">
                  <c:v>-4.5229999999998327</c:v>
                </c:pt>
                <c:pt idx="121">
                  <c:v>-1.1969999999994485</c:v>
                </c:pt>
                <c:pt idx="122">
                  <c:v>-3.135000000000332</c:v>
                </c:pt>
                <c:pt idx="123">
                  <c:v>0.78599999999973136</c:v>
                </c:pt>
                <c:pt idx="124">
                  <c:v>-5.5469999999999686</c:v>
                </c:pt>
                <c:pt idx="125">
                  <c:v>3.6589999999998568</c:v>
                </c:pt>
                <c:pt idx="126">
                  <c:v>6.7909999999997694</c:v>
                </c:pt>
                <c:pt idx="127">
                  <c:v>-7.7150000000001384</c:v>
                </c:pt>
                <c:pt idx="128">
                  <c:v>-2.7709999999991908</c:v>
                </c:pt>
                <c:pt idx="129">
                  <c:v>-33.612999999999893</c:v>
                </c:pt>
                <c:pt idx="130">
                  <c:v>-75.301000000000499</c:v>
                </c:pt>
                <c:pt idx="131">
                  <c:v>-77.420000000000044</c:v>
                </c:pt>
                <c:pt idx="132">
                  <c:v>-97.255999999999787</c:v>
                </c:pt>
                <c:pt idx="133">
                  <c:v>-132.39500000000072</c:v>
                </c:pt>
                <c:pt idx="134">
                  <c:v>-157.85599999999977</c:v>
                </c:pt>
                <c:pt idx="135">
                  <c:v>-187.6029999999993</c:v>
                </c:pt>
                <c:pt idx="136">
                  <c:v>-233.44599999999983</c:v>
                </c:pt>
                <c:pt idx="137">
                  <c:v>-262.7519999999999</c:v>
                </c:pt>
                <c:pt idx="138">
                  <c:v>-321.38599999999951</c:v>
                </c:pt>
                <c:pt idx="139">
                  <c:v>-341.42199999999968</c:v>
                </c:pt>
                <c:pt idx="140">
                  <c:v>-373.04400000000015</c:v>
                </c:pt>
                <c:pt idx="141">
                  <c:v>-379.54699999999963</c:v>
                </c:pt>
                <c:pt idx="142">
                  <c:v>-418.81099999999981</c:v>
                </c:pt>
                <c:pt idx="143">
                  <c:v>-436.58099999999945</c:v>
                </c:pt>
                <c:pt idx="144">
                  <c:v>-444.6130000000004</c:v>
                </c:pt>
                <c:pt idx="145">
                  <c:v>-476.07499999999982</c:v>
                </c:pt>
                <c:pt idx="146">
                  <c:v>-478.67399999999981</c:v>
                </c:pt>
                <c:pt idx="147">
                  <c:v>-498.57900000000035</c:v>
                </c:pt>
                <c:pt idx="148">
                  <c:v>-458.96800000000002</c:v>
                </c:pt>
                <c:pt idx="149">
                  <c:v>-335.19400000000041</c:v>
                </c:pt>
                <c:pt idx="150">
                  <c:v>-119.90800000000057</c:v>
                </c:pt>
                <c:pt idx="151">
                  <c:v>-44.294999999999973</c:v>
                </c:pt>
                <c:pt idx="152">
                  <c:v>89.954999999999785</c:v>
                </c:pt>
                <c:pt idx="153">
                  <c:v>111.9519999999996</c:v>
                </c:pt>
                <c:pt idx="154">
                  <c:v>184.04699999999963</c:v>
                </c:pt>
                <c:pt idx="155">
                  <c:v>1298.6610000000001</c:v>
                </c:pt>
                <c:pt idx="156">
                  <c:v>2727.6560000000004</c:v>
                </c:pt>
                <c:pt idx="157">
                  <c:v>3245.8720000000003</c:v>
                </c:pt>
                <c:pt idx="158">
                  <c:v>3255.4850000000001</c:v>
                </c:pt>
                <c:pt idx="159">
                  <c:v>3169.93</c:v>
                </c:pt>
                <c:pt idx="160">
                  <c:v>3230.4720000000002</c:v>
                </c:pt>
                <c:pt idx="161">
                  <c:v>3198.4140000000007</c:v>
                </c:pt>
                <c:pt idx="162">
                  <c:v>3126.4830000000002</c:v>
                </c:pt>
                <c:pt idx="163">
                  <c:v>3163.6049999999996</c:v>
                </c:pt>
                <c:pt idx="164">
                  <c:v>3197.7599999999998</c:v>
                </c:pt>
                <c:pt idx="165">
                  <c:v>3253.2959999999998</c:v>
                </c:pt>
                <c:pt idx="166">
                  <c:v>3431.4740000000006</c:v>
                </c:pt>
                <c:pt idx="167">
                  <c:v>2434.71</c:v>
                </c:pt>
                <c:pt idx="168">
                  <c:v>1125.0329999999992</c:v>
                </c:pt>
                <c:pt idx="169">
                  <c:v>806.22499999999957</c:v>
                </c:pt>
                <c:pt idx="170">
                  <c:v>996.24200000000053</c:v>
                </c:pt>
                <c:pt idx="171">
                  <c:v>1272.4409999999998</c:v>
                </c:pt>
                <c:pt idx="172">
                  <c:v>1342.3250000000007</c:v>
                </c:pt>
                <c:pt idx="173">
                  <c:v>1391.8520000000001</c:v>
                </c:pt>
                <c:pt idx="174">
                  <c:v>1409.8750000000005</c:v>
                </c:pt>
                <c:pt idx="175">
                  <c:v>1465.2909999999997</c:v>
                </c:pt>
                <c:pt idx="176">
                  <c:v>1394.1090000000004</c:v>
                </c:pt>
                <c:pt idx="177">
                  <c:v>1455.5590000000009</c:v>
                </c:pt>
                <c:pt idx="178">
                  <c:v>1338.018</c:v>
                </c:pt>
                <c:pt idx="179">
                  <c:v>1248.1539999999995</c:v>
                </c:pt>
                <c:pt idx="180">
                  <c:v>1158.2370000000005</c:v>
                </c:pt>
                <c:pt idx="181">
                  <c:v>1010.740000000001</c:v>
                </c:pt>
                <c:pt idx="182">
                  <c:v>788.23699999999872</c:v>
                </c:pt>
                <c:pt idx="183">
                  <c:v>597.80800000000056</c:v>
                </c:pt>
                <c:pt idx="184">
                  <c:v>391.53799999999882</c:v>
                </c:pt>
                <c:pt idx="185">
                  <c:v>181.30000000000024</c:v>
                </c:pt>
                <c:pt idx="186">
                  <c:v>-21.900000000000475</c:v>
                </c:pt>
                <c:pt idx="187">
                  <c:v>-242.49000000000009</c:v>
                </c:pt>
                <c:pt idx="188">
                  <c:v>-413.17899999999952</c:v>
                </c:pt>
              </c:numCache>
            </c:numRef>
          </c:val>
          <c:extLst>
            <c:ext xmlns:c16="http://schemas.microsoft.com/office/drawing/2014/chart" uri="{C3380CC4-5D6E-409C-BE32-E72D297353CC}">
              <c16:uniqueId val="{00000003-438E-405F-ABD1-FE50161BD664}"/>
            </c:ext>
          </c:extLst>
        </c:ser>
        <c:dLbls>
          <c:showLegendKey val="0"/>
          <c:showVal val="0"/>
          <c:showCatName val="0"/>
          <c:showSerName val="0"/>
          <c:showPercent val="0"/>
          <c:showBubbleSize val="0"/>
        </c:dLbls>
        <c:gapWidth val="0"/>
        <c:overlap val="100"/>
        <c:axId val="310090752"/>
        <c:axId val="310100736"/>
        <c:extLst>
          <c:ext xmlns:c15="http://schemas.microsoft.com/office/drawing/2012/chart" uri="{02D57815-91ED-43cb-92C2-25804820EDAC}">
            <c15:filteredBarSeries>
              <c15:ser>
                <c:idx val="3"/>
                <c:order val="0"/>
                <c:tx>
                  <c:strRef>
                    <c:extLst>
                      <c:ext uri="{02D57815-91ED-43cb-92C2-25804820EDAC}">
                        <c15:formulaRef>
                          <c15:sqref>QT!#REF!</c15:sqref>
                        </c15:formulaRef>
                      </c:ext>
                    </c:extLst>
                    <c:strCache>
                      <c:ptCount val="1"/>
                      <c:pt idx="0">
                        <c:v>#REF!</c:v>
                      </c:pt>
                    </c:strCache>
                  </c:strRef>
                </c:tx>
                <c:spPr>
                  <a:solidFill>
                    <a:srgbClr val="7A9A3D"/>
                  </a:solidFill>
                </c:spPr>
                <c:invertIfNegative val="0"/>
                <c:cat>
                  <c:numRef>
                    <c:extLst>
                      <c:ext uri="{02D57815-91ED-43cb-92C2-25804820EDAC}">
                        <c15:formulaRef>
                          <c15:sqref>QT!$A$14:$A$1174</c15:sqref>
                        </c15:formulaRef>
                      </c:ext>
                    </c:extLst>
                    <c:numCache>
                      <c:formatCode>mmm"-"yyyy</c:formatCode>
                      <c:ptCount val="1161"/>
                      <c:pt idx="0">
                        <c:v>39202</c:v>
                      </c:pt>
                      <c:pt idx="1">
                        <c:v>39233</c:v>
                      </c:pt>
                      <c:pt idx="2">
                        <c:v>39263</c:v>
                      </c:pt>
                      <c:pt idx="3">
                        <c:v>39294</c:v>
                      </c:pt>
                      <c:pt idx="4">
                        <c:v>39325</c:v>
                      </c:pt>
                      <c:pt idx="5">
                        <c:v>39355</c:v>
                      </c:pt>
                      <c:pt idx="6">
                        <c:v>39386</c:v>
                      </c:pt>
                      <c:pt idx="7">
                        <c:v>39416</c:v>
                      </c:pt>
                      <c:pt idx="8">
                        <c:v>39447</c:v>
                      </c:pt>
                      <c:pt idx="9">
                        <c:v>39478</c:v>
                      </c:pt>
                      <c:pt idx="10">
                        <c:v>39507</c:v>
                      </c:pt>
                      <c:pt idx="11">
                        <c:v>39538</c:v>
                      </c:pt>
                      <c:pt idx="12">
                        <c:v>39568</c:v>
                      </c:pt>
                      <c:pt idx="13">
                        <c:v>39599</c:v>
                      </c:pt>
                      <c:pt idx="14">
                        <c:v>39629</c:v>
                      </c:pt>
                      <c:pt idx="15">
                        <c:v>39660</c:v>
                      </c:pt>
                      <c:pt idx="16">
                        <c:v>39691</c:v>
                      </c:pt>
                      <c:pt idx="17">
                        <c:v>39721</c:v>
                      </c:pt>
                      <c:pt idx="18">
                        <c:v>39752</c:v>
                      </c:pt>
                      <c:pt idx="19">
                        <c:v>39782</c:v>
                      </c:pt>
                      <c:pt idx="20">
                        <c:v>39813</c:v>
                      </c:pt>
                      <c:pt idx="21">
                        <c:v>39844</c:v>
                      </c:pt>
                      <c:pt idx="22">
                        <c:v>39872</c:v>
                      </c:pt>
                      <c:pt idx="23">
                        <c:v>39903</c:v>
                      </c:pt>
                      <c:pt idx="24">
                        <c:v>39933</c:v>
                      </c:pt>
                      <c:pt idx="25">
                        <c:v>39964</c:v>
                      </c:pt>
                      <c:pt idx="26">
                        <c:v>39994</c:v>
                      </c:pt>
                      <c:pt idx="27">
                        <c:v>40025</c:v>
                      </c:pt>
                      <c:pt idx="28">
                        <c:v>40056</c:v>
                      </c:pt>
                      <c:pt idx="29">
                        <c:v>40086</c:v>
                      </c:pt>
                      <c:pt idx="30">
                        <c:v>40117</c:v>
                      </c:pt>
                      <c:pt idx="31">
                        <c:v>40147</c:v>
                      </c:pt>
                      <c:pt idx="32">
                        <c:v>40178</c:v>
                      </c:pt>
                      <c:pt idx="33">
                        <c:v>40209</c:v>
                      </c:pt>
                      <c:pt idx="34">
                        <c:v>40237</c:v>
                      </c:pt>
                      <c:pt idx="35">
                        <c:v>40268</c:v>
                      </c:pt>
                      <c:pt idx="36">
                        <c:v>40298</c:v>
                      </c:pt>
                      <c:pt idx="37">
                        <c:v>40329</c:v>
                      </c:pt>
                      <c:pt idx="38">
                        <c:v>40359</c:v>
                      </c:pt>
                      <c:pt idx="39">
                        <c:v>40390</c:v>
                      </c:pt>
                      <c:pt idx="40">
                        <c:v>40421</c:v>
                      </c:pt>
                      <c:pt idx="41">
                        <c:v>40451</c:v>
                      </c:pt>
                      <c:pt idx="42">
                        <c:v>40482</c:v>
                      </c:pt>
                      <c:pt idx="43">
                        <c:v>40512</c:v>
                      </c:pt>
                      <c:pt idx="44">
                        <c:v>40543</c:v>
                      </c:pt>
                      <c:pt idx="45">
                        <c:v>40574</c:v>
                      </c:pt>
                      <c:pt idx="46">
                        <c:v>40602</c:v>
                      </c:pt>
                      <c:pt idx="47">
                        <c:v>40633</c:v>
                      </c:pt>
                      <c:pt idx="48">
                        <c:v>40663</c:v>
                      </c:pt>
                      <c:pt idx="49">
                        <c:v>40694</c:v>
                      </c:pt>
                      <c:pt idx="50">
                        <c:v>40724</c:v>
                      </c:pt>
                      <c:pt idx="51">
                        <c:v>40755</c:v>
                      </c:pt>
                      <c:pt idx="52">
                        <c:v>40786</c:v>
                      </c:pt>
                      <c:pt idx="53">
                        <c:v>40816</c:v>
                      </c:pt>
                      <c:pt idx="54">
                        <c:v>40847</c:v>
                      </c:pt>
                      <c:pt idx="55">
                        <c:v>40877</c:v>
                      </c:pt>
                      <c:pt idx="56">
                        <c:v>40908</c:v>
                      </c:pt>
                      <c:pt idx="57">
                        <c:v>40939</c:v>
                      </c:pt>
                      <c:pt idx="58">
                        <c:v>40968</c:v>
                      </c:pt>
                      <c:pt idx="59">
                        <c:v>40999</c:v>
                      </c:pt>
                      <c:pt idx="60">
                        <c:v>41029</c:v>
                      </c:pt>
                      <c:pt idx="61">
                        <c:v>41060</c:v>
                      </c:pt>
                      <c:pt idx="62">
                        <c:v>41090</c:v>
                      </c:pt>
                      <c:pt idx="63">
                        <c:v>41121</c:v>
                      </c:pt>
                      <c:pt idx="64">
                        <c:v>41152</c:v>
                      </c:pt>
                      <c:pt idx="65">
                        <c:v>41182</c:v>
                      </c:pt>
                      <c:pt idx="66">
                        <c:v>41213</c:v>
                      </c:pt>
                      <c:pt idx="67">
                        <c:v>41243</c:v>
                      </c:pt>
                      <c:pt idx="68">
                        <c:v>41274</c:v>
                      </c:pt>
                      <c:pt idx="69">
                        <c:v>41305</c:v>
                      </c:pt>
                      <c:pt idx="70">
                        <c:v>41333</c:v>
                      </c:pt>
                      <c:pt idx="71">
                        <c:v>41364</c:v>
                      </c:pt>
                      <c:pt idx="72">
                        <c:v>41394</c:v>
                      </c:pt>
                      <c:pt idx="73">
                        <c:v>41425</c:v>
                      </c:pt>
                      <c:pt idx="74">
                        <c:v>41455</c:v>
                      </c:pt>
                      <c:pt idx="75">
                        <c:v>41486</c:v>
                      </c:pt>
                      <c:pt idx="76">
                        <c:v>41517</c:v>
                      </c:pt>
                      <c:pt idx="77">
                        <c:v>41547</c:v>
                      </c:pt>
                      <c:pt idx="78">
                        <c:v>41578</c:v>
                      </c:pt>
                      <c:pt idx="79">
                        <c:v>41608</c:v>
                      </c:pt>
                      <c:pt idx="80">
                        <c:v>41639</c:v>
                      </c:pt>
                      <c:pt idx="81">
                        <c:v>41670</c:v>
                      </c:pt>
                      <c:pt idx="82">
                        <c:v>41698</c:v>
                      </c:pt>
                      <c:pt idx="83">
                        <c:v>41729</c:v>
                      </c:pt>
                      <c:pt idx="84">
                        <c:v>41759</c:v>
                      </c:pt>
                      <c:pt idx="85">
                        <c:v>41790</c:v>
                      </c:pt>
                      <c:pt idx="86">
                        <c:v>41820</c:v>
                      </c:pt>
                      <c:pt idx="87">
                        <c:v>41851</c:v>
                      </c:pt>
                      <c:pt idx="88">
                        <c:v>41882</c:v>
                      </c:pt>
                      <c:pt idx="89">
                        <c:v>41912</c:v>
                      </c:pt>
                      <c:pt idx="90">
                        <c:v>41943</c:v>
                      </c:pt>
                      <c:pt idx="91">
                        <c:v>41973</c:v>
                      </c:pt>
                      <c:pt idx="92">
                        <c:v>42004</c:v>
                      </c:pt>
                      <c:pt idx="93">
                        <c:v>42035</c:v>
                      </c:pt>
                      <c:pt idx="94">
                        <c:v>42063</c:v>
                      </c:pt>
                      <c:pt idx="95">
                        <c:v>42094</c:v>
                      </c:pt>
                      <c:pt idx="96">
                        <c:v>42124</c:v>
                      </c:pt>
                      <c:pt idx="97">
                        <c:v>42155</c:v>
                      </c:pt>
                      <c:pt idx="98">
                        <c:v>42185</c:v>
                      </c:pt>
                      <c:pt idx="99">
                        <c:v>42216</c:v>
                      </c:pt>
                      <c:pt idx="100">
                        <c:v>42247</c:v>
                      </c:pt>
                      <c:pt idx="101">
                        <c:v>42277</c:v>
                      </c:pt>
                      <c:pt idx="102">
                        <c:v>42308</c:v>
                      </c:pt>
                      <c:pt idx="103">
                        <c:v>42338</c:v>
                      </c:pt>
                      <c:pt idx="104">
                        <c:v>42369</c:v>
                      </c:pt>
                      <c:pt idx="105">
                        <c:v>42400</c:v>
                      </c:pt>
                      <c:pt idx="106">
                        <c:v>42429</c:v>
                      </c:pt>
                      <c:pt idx="107">
                        <c:v>42460</c:v>
                      </c:pt>
                      <c:pt idx="108">
                        <c:v>42490</c:v>
                      </c:pt>
                      <c:pt idx="109">
                        <c:v>42521</c:v>
                      </c:pt>
                      <c:pt idx="110">
                        <c:v>42551</c:v>
                      </c:pt>
                      <c:pt idx="111">
                        <c:v>42582</c:v>
                      </c:pt>
                      <c:pt idx="112">
                        <c:v>42613</c:v>
                      </c:pt>
                      <c:pt idx="113">
                        <c:v>42643</c:v>
                      </c:pt>
                      <c:pt idx="114">
                        <c:v>42674</c:v>
                      </c:pt>
                      <c:pt idx="115">
                        <c:v>42704</c:v>
                      </c:pt>
                      <c:pt idx="116">
                        <c:v>42735</c:v>
                      </c:pt>
                      <c:pt idx="117">
                        <c:v>42766</c:v>
                      </c:pt>
                      <c:pt idx="118">
                        <c:v>42794</c:v>
                      </c:pt>
                      <c:pt idx="119">
                        <c:v>42825</c:v>
                      </c:pt>
                      <c:pt idx="120">
                        <c:v>42855</c:v>
                      </c:pt>
                      <c:pt idx="121">
                        <c:v>42886</c:v>
                      </c:pt>
                      <c:pt idx="122">
                        <c:v>42916</c:v>
                      </c:pt>
                      <c:pt idx="123">
                        <c:v>42947</c:v>
                      </c:pt>
                      <c:pt idx="124">
                        <c:v>42978</c:v>
                      </c:pt>
                      <c:pt idx="125">
                        <c:v>43008</c:v>
                      </c:pt>
                      <c:pt idx="126">
                        <c:v>43039</c:v>
                      </c:pt>
                      <c:pt idx="127">
                        <c:v>43069</c:v>
                      </c:pt>
                      <c:pt idx="128">
                        <c:v>43100</c:v>
                      </c:pt>
                      <c:pt idx="129">
                        <c:v>43131</c:v>
                      </c:pt>
                      <c:pt idx="130">
                        <c:v>43159</c:v>
                      </c:pt>
                      <c:pt idx="131">
                        <c:v>43190</c:v>
                      </c:pt>
                      <c:pt idx="132">
                        <c:v>43220</c:v>
                      </c:pt>
                      <c:pt idx="133">
                        <c:v>43251</c:v>
                      </c:pt>
                      <c:pt idx="134">
                        <c:v>43281</c:v>
                      </c:pt>
                      <c:pt idx="135">
                        <c:v>43312</c:v>
                      </c:pt>
                      <c:pt idx="136">
                        <c:v>43343</c:v>
                      </c:pt>
                      <c:pt idx="137">
                        <c:v>43373</c:v>
                      </c:pt>
                      <c:pt idx="138">
                        <c:v>43404</c:v>
                      </c:pt>
                      <c:pt idx="139">
                        <c:v>43434</c:v>
                      </c:pt>
                      <c:pt idx="140">
                        <c:v>43465</c:v>
                      </c:pt>
                      <c:pt idx="141">
                        <c:v>43496</c:v>
                      </c:pt>
                      <c:pt idx="142">
                        <c:v>43524</c:v>
                      </c:pt>
                      <c:pt idx="143">
                        <c:v>43555</c:v>
                      </c:pt>
                      <c:pt idx="144">
                        <c:v>43585</c:v>
                      </c:pt>
                      <c:pt idx="145">
                        <c:v>43616</c:v>
                      </c:pt>
                      <c:pt idx="146">
                        <c:v>43646</c:v>
                      </c:pt>
                      <c:pt idx="147">
                        <c:v>43677</c:v>
                      </c:pt>
                      <c:pt idx="148">
                        <c:v>43708</c:v>
                      </c:pt>
                      <c:pt idx="149">
                        <c:v>43738</c:v>
                      </c:pt>
                      <c:pt idx="150">
                        <c:v>43769</c:v>
                      </c:pt>
                      <c:pt idx="151">
                        <c:v>43799</c:v>
                      </c:pt>
                      <c:pt idx="152">
                        <c:v>43830</c:v>
                      </c:pt>
                      <c:pt idx="153">
                        <c:v>43861</c:v>
                      </c:pt>
                      <c:pt idx="154">
                        <c:v>43890</c:v>
                      </c:pt>
                      <c:pt idx="155">
                        <c:v>43921</c:v>
                      </c:pt>
                      <c:pt idx="156">
                        <c:v>43951</c:v>
                      </c:pt>
                      <c:pt idx="157">
                        <c:v>43982</c:v>
                      </c:pt>
                      <c:pt idx="158">
                        <c:v>44012</c:v>
                      </c:pt>
                      <c:pt idx="159">
                        <c:v>44043</c:v>
                      </c:pt>
                      <c:pt idx="160">
                        <c:v>44074</c:v>
                      </c:pt>
                      <c:pt idx="161">
                        <c:v>44104</c:v>
                      </c:pt>
                      <c:pt idx="162">
                        <c:v>44135</c:v>
                      </c:pt>
                      <c:pt idx="163">
                        <c:v>44165</c:v>
                      </c:pt>
                      <c:pt idx="164">
                        <c:v>44196</c:v>
                      </c:pt>
                      <c:pt idx="165">
                        <c:v>44227</c:v>
                      </c:pt>
                      <c:pt idx="166">
                        <c:v>44255</c:v>
                      </c:pt>
                      <c:pt idx="167">
                        <c:v>44286</c:v>
                      </c:pt>
                      <c:pt idx="168">
                        <c:v>44316</c:v>
                      </c:pt>
                      <c:pt idx="169">
                        <c:v>44347</c:v>
                      </c:pt>
                      <c:pt idx="170">
                        <c:v>44377</c:v>
                      </c:pt>
                      <c:pt idx="171">
                        <c:v>44408</c:v>
                      </c:pt>
                      <c:pt idx="172">
                        <c:v>44439</c:v>
                      </c:pt>
                      <c:pt idx="173">
                        <c:v>44469</c:v>
                      </c:pt>
                      <c:pt idx="174">
                        <c:v>44500</c:v>
                      </c:pt>
                      <c:pt idx="175">
                        <c:v>44530</c:v>
                      </c:pt>
                      <c:pt idx="176">
                        <c:v>44561</c:v>
                      </c:pt>
                      <c:pt idx="177">
                        <c:v>44592</c:v>
                      </c:pt>
                      <c:pt idx="178">
                        <c:v>44620</c:v>
                      </c:pt>
                      <c:pt idx="179">
                        <c:v>44651</c:v>
                      </c:pt>
                      <c:pt idx="180">
                        <c:v>44681</c:v>
                      </c:pt>
                      <c:pt idx="181">
                        <c:v>44712</c:v>
                      </c:pt>
                      <c:pt idx="182">
                        <c:v>44742</c:v>
                      </c:pt>
                      <c:pt idx="183">
                        <c:v>44773</c:v>
                      </c:pt>
                      <c:pt idx="184">
                        <c:v>44804</c:v>
                      </c:pt>
                      <c:pt idx="185">
                        <c:v>44834</c:v>
                      </c:pt>
                      <c:pt idx="186">
                        <c:v>44865</c:v>
                      </c:pt>
                      <c:pt idx="187">
                        <c:v>44895</c:v>
                      </c:pt>
                      <c:pt idx="188">
                        <c:v>44926</c:v>
                      </c:pt>
                    </c:numCache>
                  </c:numRef>
                </c:cat>
                <c:val>
                  <c:numRef>
                    <c:extLst>
                      <c:ext uri="{02D57815-91ED-43cb-92C2-25804820EDAC}">
                        <c15:formulaRef>
                          <c15:sqref>QT!#REF!</c15:sqref>
                        </c15:formulaRef>
                      </c:ext>
                    </c:extLst>
                    <c:numCache>
                      <c:formatCode>General</c:formatCode>
                      <c:ptCount val="1"/>
                      <c:pt idx="0">
                        <c:v>1</c:v>
                      </c:pt>
                    </c:numCache>
                  </c:numRef>
                </c:val>
                <c:extLst>
                  <c:ext xmlns:c16="http://schemas.microsoft.com/office/drawing/2014/chart" uri="{C3380CC4-5D6E-409C-BE32-E72D297353CC}">
                    <c16:uniqueId val="{00000000-438E-405F-ABD1-FE50161BD664}"/>
                  </c:ext>
                </c:extLst>
              </c15:ser>
            </c15:filteredBarSeries>
          </c:ext>
        </c:extLst>
      </c:barChart>
      <c:lineChart>
        <c:grouping val="standard"/>
        <c:varyColors val="0"/>
        <c:ser>
          <c:idx val="4"/>
          <c:order val="4"/>
          <c:tx>
            <c:strRef>
              <c:f>QT!$E$13</c:f>
              <c:strCache>
                <c:ptCount val="1"/>
                <c:pt idx="0">
                  <c:v>Total</c:v>
                </c:pt>
              </c:strCache>
            </c:strRef>
          </c:tx>
          <c:spPr>
            <a:ln w="28575">
              <a:solidFill>
                <a:srgbClr val="333F48"/>
              </a:solidFill>
            </a:ln>
          </c:spPr>
          <c:marker>
            <c:symbol val="none"/>
          </c:marker>
          <c:cat>
            <c:numRef>
              <c:f>QT!$A$14:$A$1174</c:f>
              <c:numCache>
                <c:formatCode>mmm"-"yyyy</c:formatCode>
                <c:ptCount val="1161"/>
                <c:pt idx="0">
                  <c:v>39202</c:v>
                </c:pt>
                <c:pt idx="1">
                  <c:v>39233</c:v>
                </c:pt>
                <c:pt idx="2">
                  <c:v>39263</c:v>
                </c:pt>
                <c:pt idx="3">
                  <c:v>39294</c:v>
                </c:pt>
                <c:pt idx="4">
                  <c:v>39325</c:v>
                </c:pt>
                <c:pt idx="5">
                  <c:v>39355</c:v>
                </c:pt>
                <c:pt idx="6">
                  <c:v>39386</c:v>
                </c:pt>
                <c:pt idx="7">
                  <c:v>39416</c:v>
                </c:pt>
                <c:pt idx="8">
                  <c:v>39447</c:v>
                </c:pt>
                <c:pt idx="9">
                  <c:v>39478</c:v>
                </c:pt>
                <c:pt idx="10">
                  <c:v>39507</c:v>
                </c:pt>
                <c:pt idx="11">
                  <c:v>39538</c:v>
                </c:pt>
                <c:pt idx="12">
                  <c:v>39568</c:v>
                </c:pt>
                <c:pt idx="13">
                  <c:v>39599</c:v>
                </c:pt>
                <c:pt idx="14">
                  <c:v>39629</c:v>
                </c:pt>
                <c:pt idx="15">
                  <c:v>39660</c:v>
                </c:pt>
                <c:pt idx="16">
                  <c:v>39691</c:v>
                </c:pt>
                <c:pt idx="17">
                  <c:v>39721</c:v>
                </c:pt>
                <c:pt idx="18">
                  <c:v>39752</c:v>
                </c:pt>
                <c:pt idx="19">
                  <c:v>39782</c:v>
                </c:pt>
                <c:pt idx="20">
                  <c:v>39813</c:v>
                </c:pt>
                <c:pt idx="21">
                  <c:v>39844</c:v>
                </c:pt>
                <c:pt idx="22">
                  <c:v>39872</c:v>
                </c:pt>
                <c:pt idx="23">
                  <c:v>39903</c:v>
                </c:pt>
                <c:pt idx="24">
                  <c:v>39933</c:v>
                </c:pt>
                <c:pt idx="25">
                  <c:v>39964</c:v>
                </c:pt>
                <c:pt idx="26">
                  <c:v>39994</c:v>
                </c:pt>
                <c:pt idx="27">
                  <c:v>40025</c:v>
                </c:pt>
                <c:pt idx="28">
                  <c:v>40056</c:v>
                </c:pt>
                <c:pt idx="29">
                  <c:v>40086</c:v>
                </c:pt>
                <c:pt idx="30">
                  <c:v>40117</c:v>
                </c:pt>
                <c:pt idx="31">
                  <c:v>40147</c:v>
                </c:pt>
                <c:pt idx="32">
                  <c:v>40178</c:v>
                </c:pt>
                <c:pt idx="33">
                  <c:v>40209</c:v>
                </c:pt>
                <c:pt idx="34">
                  <c:v>40237</c:v>
                </c:pt>
                <c:pt idx="35">
                  <c:v>40268</c:v>
                </c:pt>
                <c:pt idx="36">
                  <c:v>40298</c:v>
                </c:pt>
                <c:pt idx="37">
                  <c:v>40329</c:v>
                </c:pt>
                <c:pt idx="38">
                  <c:v>40359</c:v>
                </c:pt>
                <c:pt idx="39">
                  <c:v>40390</c:v>
                </c:pt>
                <c:pt idx="40">
                  <c:v>40421</c:v>
                </c:pt>
                <c:pt idx="41">
                  <c:v>40451</c:v>
                </c:pt>
                <c:pt idx="42">
                  <c:v>40482</c:v>
                </c:pt>
                <c:pt idx="43">
                  <c:v>40512</c:v>
                </c:pt>
                <c:pt idx="44">
                  <c:v>40543</c:v>
                </c:pt>
                <c:pt idx="45">
                  <c:v>40574</c:v>
                </c:pt>
                <c:pt idx="46">
                  <c:v>40602</c:v>
                </c:pt>
                <c:pt idx="47">
                  <c:v>40633</c:v>
                </c:pt>
                <c:pt idx="48">
                  <c:v>40663</c:v>
                </c:pt>
                <c:pt idx="49">
                  <c:v>40694</c:v>
                </c:pt>
                <c:pt idx="50">
                  <c:v>40724</c:v>
                </c:pt>
                <c:pt idx="51">
                  <c:v>40755</c:v>
                </c:pt>
                <c:pt idx="52">
                  <c:v>40786</c:v>
                </c:pt>
                <c:pt idx="53">
                  <c:v>40816</c:v>
                </c:pt>
                <c:pt idx="54">
                  <c:v>40847</c:v>
                </c:pt>
                <c:pt idx="55">
                  <c:v>40877</c:v>
                </c:pt>
                <c:pt idx="56">
                  <c:v>40908</c:v>
                </c:pt>
                <c:pt idx="57">
                  <c:v>40939</c:v>
                </c:pt>
                <c:pt idx="58">
                  <c:v>40968</c:v>
                </c:pt>
                <c:pt idx="59">
                  <c:v>40999</c:v>
                </c:pt>
                <c:pt idx="60">
                  <c:v>41029</c:v>
                </c:pt>
                <c:pt idx="61">
                  <c:v>41060</c:v>
                </c:pt>
                <c:pt idx="62">
                  <c:v>41090</c:v>
                </c:pt>
                <c:pt idx="63">
                  <c:v>41121</c:v>
                </c:pt>
                <c:pt idx="64">
                  <c:v>41152</c:v>
                </c:pt>
                <c:pt idx="65">
                  <c:v>41182</c:v>
                </c:pt>
                <c:pt idx="66">
                  <c:v>41213</c:v>
                </c:pt>
                <c:pt idx="67">
                  <c:v>41243</c:v>
                </c:pt>
                <c:pt idx="68">
                  <c:v>41274</c:v>
                </c:pt>
                <c:pt idx="69">
                  <c:v>41305</c:v>
                </c:pt>
                <c:pt idx="70">
                  <c:v>41333</c:v>
                </c:pt>
                <c:pt idx="71">
                  <c:v>41364</c:v>
                </c:pt>
                <c:pt idx="72">
                  <c:v>41394</c:v>
                </c:pt>
                <c:pt idx="73">
                  <c:v>41425</c:v>
                </c:pt>
                <c:pt idx="74">
                  <c:v>41455</c:v>
                </c:pt>
                <c:pt idx="75">
                  <c:v>41486</c:v>
                </c:pt>
                <c:pt idx="76">
                  <c:v>41517</c:v>
                </c:pt>
                <c:pt idx="77">
                  <c:v>41547</c:v>
                </c:pt>
                <c:pt idx="78">
                  <c:v>41578</c:v>
                </c:pt>
                <c:pt idx="79">
                  <c:v>41608</c:v>
                </c:pt>
                <c:pt idx="80">
                  <c:v>41639</c:v>
                </c:pt>
                <c:pt idx="81">
                  <c:v>41670</c:v>
                </c:pt>
                <c:pt idx="82">
                  <c:v>41698</c:v>
                </c:pt>
                <c:pt idx="83">
                  <c:v>41729</c:v>
                </c:pt>
                <c:pt idx="84">
                  <c:v>41759</c:v>
                </c:pt>
                <c:pt idx="85">
                  <c:v>41790</c:v>
                </c:pt>
                <c:pt idx="86">
                  <c:v>41820</c:v>
                </c:pt>
                <c:pt idx="87">
                  <c:v>41851</c:v>
                </c:pt>
                <c:pt idx="88">
                  <c:v>41882</c:v>
                </c:pt>
                <c:pt idx="89">
                  <c:v>41912</c:v>
                </c:pt>
                <c:pt idx="90">
                  <c:v>41943</c:v>
                </c:pt>
                <c:pt idx="91">
                  <c:v>41973</c:v>
                </c:pt>
                <c:pt idx="92">
                  <c:v>42004</c:v>
                </c:pt>
                <c:pt idx="93">
                  <c:v>42035</c:v>
                </c:pt>
                <c:pt idx="94">
                  <c:v>42063</c:v>
                </c:pt>
                <c:pt idx="95">
                  <c:v>42094</c:v>
                </c:pt>
                <c:pt idx="96">
                  <c:v>42124</c:v>
                </c:pt>
                <c:pt idx="97">
                  <c:v>42155</c:v>
                </c:pt>
                <c:pt idx="98">
                  <c:v>42185</c:v>
                </c:pt>
                <c:pt idx="99">
                  <c:v>42216</c:v>
                </c:pt>
                <c:pt idx="100">
                  <c:v>42247</c:v>
                </c:pt>
                <c:pt idx="101">
                  <c:v>42277</c:v>
                </c:pt>
                <c:pt idx="102">
                  <c:v>42308</c:v>
                </c:pt>
                <c:pt idx="103">
                  <c:v>42338</c:v>
                </c:pt>
                <c:pt idx="104">
                  <c:v>42369</c:v>
                </c:pt>
                <c:pt idx="105">
                  <c:v>42400</c:v>
                </c:pt>
                <c:pt idx="106">
                  <c:v>42429</c:v>
                </c:pt>
                <c:pt idx="107">
                  <c:v>42460</c:v>
                </c:pt>
                <c:pt idx="108">
                  <c:v>42490</c:v>
                </c:pt>
                <c:pt idx="109">
                  <c:v>42521</c:v>
                </c:pt>
                <c:pt idx="110">
                  <c:v>42551</c:v>
                </c:pt>
                <c:pt idx="111">
                  <c:v>42582</c:v>
                </c:pt>
                <c:pt idx="112">
                  <c:v>42613</c:v>
                </c:pt>
                <c:pt idx="113">
                  <c:v>42643</c:v>
                </c:pt>
                <c:pt idx="114">
                  <c:v>42674</c:v>
                </c:pt>
                <c:pt idx="115">
                  <c:v>42704</c:v>
                </c:pt>
                <c:pt idx="116">
                  <c:v>42735</c:v>
                </c:pt>
                <c:pt idx="117">
                  <c:v>42766</c:v>
                </c:pt>
                <c:pt idx="118">
                  <c:v>42794</c:v>
                </c:pt>
                <c:pt idx="119">
                  <c:v>42825</c:v>
                </c:pt>
                <c:pt idx="120">
                  <c:v>42855</c:v>
                </c:pt>
                <c:pt idx="121">
                  <c:v>42886</c:v>
                </c:pt>
                <c:pt idx="122">
                  <c:v>42916</c:v>
                </c:pt>
                <c:pt idx="123">
                  <c:v>42947</c:v>
                </c:pt>
                <c:pt idx="124">
                  <c:v>42978</c:v>
                </c:pt>
                <c:pt idx="125">
                  <c:v>43008</c:v>
                </c:pt>
                <c:pt idx="126">
                  <c:v>43039</c:v>
                </c:pt>
                <c:pt idx="127">
                  <c:v>43069</c:v>
                </c:pt>
                <c:pt idx="128">
                  <c:v>43100</c:v>
                </c:pt>
                <c:pt idx="129">
                  <c:v>43131</c:v>
                </c:pt>
                <c:pt idx="130">
                  <c:v>43159</c:v>
                </c:pt>
                <c:pt idx="131">
                  <c:v>43190</c:v>
                </c:pt>
                <c:pt idx="132">
                  <c:v>43220</c:v>
                </c:pt>
                <c:pt idx="133">
                  <c:v>43251</c:v>
                </c:pt>
                <c:pt idx="134">
                  <c:v>43281</c:v>
                </c:pt>
                <c:pt idx="135">
                  <c:v>43312</c:v>
                </c:pt>
                <c:pt idx="136">
                  <c:v>43343</c:v>
                </c:pt>
                <c:pt idx="137">
                  <c:v>43373</c:v>
                </c:pt>
                <c:pt idx="138">
                  <c:v>43404</c:v>
                </c:pt>
                <c:pt idx="139">
                  <c:v>43434</c:v>
                </c:pt>
                <c:pt idx="140">
                  <c:v>43465</c:v>
                </c:pt>
                <c:pt idx="141">
                  <c:v>43496</c:v>
                </c:pt>
                <c:pt idx="142">
                  <c:v>43524</c:v>
                </c:pt>
                <c:pt idx="143">
                  <c:v>43555</c:v>
                </c:pt>
                <c:pt idx="144">
                  <c:v>43585</c:v>
                </c:pt>
                <c:pt idx="145">
                  <c:v>43616</c:v>
                </c:pt>
                <c:pt idx="146">
                  <c:v>43646</c:v>
                </c:pt>
                <c:pt idx="147">
                  <c:v>43677</c:v>
                </c:pt>
                <c:pt idx="148">
                  <c:v>43708</c:v>
                </c:pt>
                <c:pt idx="149">
                  <c:v>43738</c:v>
                </c:pt>
                <c:pt idx="150">
                  <c:v>43769</c:v>
                </c:pt>
                <c:pt idx="151">
                  <c:v>43799</c:v>
                </c:pt>
                <c:pt idx="152">
                  <c:v>43830</c:v>
                </c:pt>
                <c:pt idx="153">
                  <c:v>43861</c:v>
                </c:pt>
                <c:pt idx="154">
                  <c:v>43890</c:v>
                </c:pt>
                <c:pt idx="155">
                  <c:v>43921</c:v>
                </c:pt>
                <c:pt idx="156">
                  <c:v>43951</c:v>
                </c:pt>
                <c:pt idx="157">
                  <c:v>43982</c:v>
                </c:pt>
                <c:pt idx="158">
                  <c:v>44012</c:v>
                </c:pt>
                <c:pt idx="159">
                  <c:v>44043</c:v>
                </c:pt>
                <c:pt idx="160">
                  <c:v>44074</c:v>
                </c:pt>
                <c:pt idx="161">
                  <c:v>44104</c:v>
                </c:pt>
                <c:pt idx="162">
                  <c:v>44135</c:v>
                </c:pt>
                <c:pt idx="163">
                  <c:v>44165</c:v>
                </c:pt>
                <c:pt idx="164">
                  <c:v>44196</c:v>
                </c:pt>
                <c:pt idx="165">
                  <c:v>44227</c:v>
                </c:pt>
                <c:pt idx="166">
                  <c:v>44255</c:v>
                </c:pt>
                <c:pt idx="167">
                  <c:v>44286</c:v>
                </c:pt>
                <c:pt idx="168">
                  <c:v>44316</c:v>
                </c:pt>
                <c:pt idx="169">
                  <c:v>44347</c:v>
                </c:pt>
                <c:pt idx="170">
                  <c:v>44377</c:v>
                </c:pt>
                <c:pt idx="171">
                  <c:v>44408</c:v>
                </c:pt>
                <c:pt idx="172">
                  <c:v>44439</c:v>
                </c:pt>
                <c:pt idx="173">
                  <c:v>44469</c:v>
                </c:pt>
                <c:pt idx="174">
                  <c:v>44500</c:v>
                </c:pt>
                <c:pt idx="175">
                  <c:v>44530</c:v>
                </c:pt>
                <c:pt idx="176">
                  <c:v>44561</c:v>
                </c:pt>
                <c:pt idx="177">
                  <c:v>44592</c:v>
                </c:pt>
                <c:pt idx="178">
                  <c:v>44620</c:v>
                </c:pt>
                <c:pt idx="179">
                  <c:v>44651</c:v>
                </c:pt>
                <c:pt idx="180">
                  <c:v>44681</c:v>
                </c:pt>
                <c:pt idx="181">
                  <c:v>44712</c:v>
                </c:pt>
                <c:pt idx="182">
                  <c:v>44742</c:v>
                </c:pt>
                <c:pt idx="183">
                  <c:v>44773</c:v>
                </c:pt>
                <c:pt idx="184">
                  <c:v>44804</c:v>
                </c:pt>
                <c:pt idx="185">
                  <c:v>44834</c:v>
                </c:pt>
                <c:pt idx="186">
                  <c:v>44865</c:v>
                </c:pt>
                <c:pt idx="187">
                  <c:v>44895</c:v>
                </c:pt>
                <c:pt idx="188">
                  <c:v>44926</c:v>
                </c:pt>
              </c:numCache>
            </c:numRef>
          </c:cat>
          <c:val>
            <c:numRef>
              <c:f>QT!$E$14:$E$1174</c:f>
              <c:numCache>
                <c:formatCode>General</c:formatCode>
                <c:ptCount val="1161"/>
                <c:pt idx="0">
                  <c:v>66.327604431542596</c:v>
                </c:pt>
                <c:pt idx="1">
                  <c:v>25.045266262009989</c:v>
                </c:pt>
                <c:pt idx="2">
                  <c:v>56.252900384637343</c:v>
                </c:pt>
                <c:pt idx="3">
                  <c:v>134.81705448651383</c:v>
                </c:pt>
                <c:pt idx="4">
                  <c:v>152.82666649819902</c:v>
                </c:pt>
                <c:pt idx="5">
                  <c:v>319.6056846600838</c:v>
                </c:pt>
                <c:pt idx="6">
                  <c:v>369.4874318843718</c:v>
                </c:pt>
                <c:pt idx="7">
                  <c:v>469.55295056832813</c:v>
                </c:pt>
                <c:pt idx="8">
                  <c:v>702.16806587561689</c:v>
                </c:pt>
                <c:pt idx="9">
                  <c:v>614.8193591253854</c:v>
                </c:pt>
                <c:pt idx="10">
                  <c:v>578.17033095722786</c:v>
                </c:pt>
                <c:pt idx="11">
                  <c:v>768.13325099797294</c:v>
                </c:pt>
                <c:pt idx="12">
                  <c:v>791.81898334806328</c:v>
                </c:pt>
                <c:pt idx="13">
                  <c:v>812.82428263239444</c:v>
                </c:pt>
                <c:pt idx="14">
                  <c:v>724.95221793841495</c:v>
                </c:pt>
                <c:pt idx="15">
                  <c:v>817.75736092964428</c:v>
                </c:pt>
                <c:pt idx="16">
                  <c:v>682.73159070233078</c:v>
                </c:pt>
                <c:pt idx="17">
                  <c:v>1195.697464076324</c:v>
                </c:pt>
                <c:pt idx="18">
                  <c:v>2234.5156684021108</c:v>
                </c:pt>
                <c:pt idx="19">
                  <c:v>2093.4454356310775</c:v>
                </c:pt>
                <c:pt idx="20">
                  <c:v>2312.4961159340073</c:v>
                </c:pt>
                <c:pt idx="21">
                  <c:v>1869.8012946228537</c:v>
                </c:pt>
                <c:pt idx="22">
                  <c:v>1626.1487938793191</c:v>
                </c:pt>
                <c:pt idx="23">
                  <c:v>1594.6326820368208</c:v>
                </c:pt>
                <c:pt idx="24">
                  <c:v>1464.4513124582611</c:v>
                </c:pt>
                <c:pt idx="25">
                  <c:v>1592.1067190961421</c:v>
                </c:pt>
                <c:pt idx="26">
                  <c:v>1813.9341764062285</c:v>
                </c:pt>
                <c:pt idx="27">
                  <c:v>1619.8424256509043</c:v>
                </c:pt>
                <c:pt idx="28">
                  <c:v>1823.4129625467097</c:v>
                </c:pt>
                <c:pt idx="29">
                  <c:v>1313.9276644607203</c:v>
                </c:pt>
                <c:pt idx="30">
                  <c:v>198.52076636876225</c:v>
                </c:pt>
                <c:pt idx="31">
                  <c:v>261.81207302406563</c:v>
                </c:pt>
                <c:pt idx="32">
                  <c:v>-17.398368721920132</c:v>
                </c:pt>
                <c:pt idx="33">
                  <c:v>490.65796719227347</c:v>
                </c:pt>
                <c:pt idx="34">
                  <c:v>716.31123465255416</c:v>
                </c:pt>
                <c:pt idx="35">
                  <c:v>552.0308334981645</c:v>
                </c:pt>
                <c:pt idx="36">
                  <c:v>575.96818065793695</c:v>
                </c:pt>
                <c:pt idx="37">
                  <c:v>520.45335703001842</c:v>
                </c:pt>
                <c:pt idx="38">
                  <c:v>241.76489533064171</c:v>
                </c:pt>
                <c:pt idx="39">
                  <c:v>401.91074607326209</c:v>
                </c:pt>
                <c:pt idx="40">
                  <c:v>370.03246289528931</c:v>
                </c:pt>
                <c:pt idx="41">
                  <c:v>65.977794504015208</c:v>
                </c:pt>
                <c:pt idx="42">
                  <c:v>385.26041919280885</c:v>
                </c:pt>
                <c:pt idx="43">
                  <c:v>369.5160620054192</c:v>
                </c:pt>
                <c:pt idx="44">
                  <c:v>241.36615416398155</c:v>
                </c:pt>
                <c:pt idx="45">
                  <c:v>418.15124835742813</c:v>
                </c:pt>
                <c:pt idx="46">
                  <c:v>481.20083658711872</c:v>
                </c:pt>
                <c:pt idx="47">
                  <c:v>727.72597563882027</c:v>
                </c:pt>
                <c:pt idx="48">
                  <c:v>870.29472646079989</c:v>
                </c:pt>
                <c:pt idx="49">
                  <c:v>877.07903476824538</c:v>
                </c:pt>
                <c:pt idx="50">
                  <c:v>1193.915252373713</c:v>
                </c:pt>
                <c:pt idx="51">
                  <c:v>1185.247457948763</c:v>
                </c:pt>
                <c:pt idx="52">
                  <c:v>1388.0164406406161</c:v>
                </c:pt>
                <c:pt idx="53">
                  <c:v>1619.8778940736374</c:v>
                </c:pt>
                <c:pt idx="54">
                  <c:v>1362.2916297415654</c:v>
                </c:pt>
                <c:pt idx="55">
                  <c:v>1450.1427742291314</c:v>
                </c:pt>
                <c:pt idx="56">
                  <c:v>1747.9463595959755</c:v>
                </c:pt>
                <c:pt idx="57">
                  <c:v>1447.6252117552008</c:v>
                </c:pt>
                <c:pt idx="58">
                  <c:v>2008.1461608669833</c:v>
                </c:pt>
                <c:pt idx="59">
                  <c:v>1470.7819011420552</c:v>
                </c:pt>
                <c:pt idx="60">
                  <c:v>1451.9757621736362</c:v>
                </c:pt>
                <c:pt idx="61">
                  <c:v>1317.505110922875</c:v>
                </c:pt>
                <c:pt idx="62">
                  <c:v>1287.5932810039371</c:v>
                </c:pt>
                <c:pt idx="63">
                  <c:v>1061.8385064124827</c:v>
                </c:pt>
                <c:pt idx="64">
                  <c:v>882.11766718379329</c:v>
                </c:pt>
                <c:pt idx="65">
                  <c:v>879.37571733651509</c:v>
                </c:pt>
                <c:pt idx="66">
                  <c:v>935.40050530404403</c:v>
                </c:pt>
                <c:pt idx="67">
                  <c:v>711.90574975387949</c:v>
                </c:pt>
                <c:pt idx="68">
                  <c:v>323.90777236449651</c:v>
                </c:pt>
                <c:pt idx="69">
                  <c:v>352.41431297075354</c:v>
                </c:pt>
                <c:pt idx="70">
                  <c:v>-339.15323322326805</c:v>
                </c:pt>
                <c:pt idx="71">
                  <c:v>-113.09921734615068</c:v>
                </c:pt>
                <c:pt idx="72">
                  <c:v>2.4014406022911885</c:v>
                </c:pt>
                <c:pt idx="73">
                  <c:v>40.96186758206138</c:v>
                </c:pt>
                <c:pt idx="74">
                  <c:v>45.10929939204857</c:v>
                </c:pt>
                <c:pt idx="75">
                  <c:v>197.22108826748615</c:v>
                </c:pt>
                <c:pt idx="76">
                  <c:v>344.81602136903257</c:v>
                </c:pt>
                <c:pt idx="77">
                  <c:v>311.36884668997311</c:v>
                </c:pt>
                <c:pt idx="78">
                  <c:v>492.05910531253954</c:v>
                </c:pt>
                <c:pt idx="79">
                  <c:v>581.09394071397946</c:v>
                </c:pt>
                <c:pt idx="80">
                  <c:v>631.77111430092896</c:v>
                </c:pt>
                <c:pt idx="81">
                  <c:v>871.28294127926904</c:v>
                </c:pt>
                <c:pt idx="82">
                  <c:v>1067.9345500870468</c:v>
                </c:pt>
                <c:pt idx="83">
                  <c:v>1204.2901585283589</c:v>
                </c:pt>
                <c:pt idx="84">
                  <c:v>1257.8956000290104</c:v>
                </c:pt>
                <c:pt idx="85">
                  <c:v>1315.6625597346604</c:v>
                </c:pt>
                <c:pt idx="86">
                  <c:v>1098.6156929354399</c:v>
                </c:pt>
                <c:pt idx="87">
                  <c:v>1162.3309336567884</c:v>
                </c:pt>
                <c:pt idx="88">
                  <c:v>918.06082293296492</c:v>
                </c:pt>
                <c:pt idx="89">
                  <c:v>704.78145956021854</c:v>
                </c:pt>
                <c:pt idx="90">
                  <c:v>537.41846955022675</c:v>
                </c:pt>
                <c:pt idx="91">
                  <c:v>329.07885584294087</c:v>
                </c:pt>
                <c:pt idx="92">
                  <c:v>420.50238336608726</c:v>
                </c:pt>
                <c:pt idx="93">
                  <c:v>306.91232624983877</c:v>
                </c:pt>
                <c:pt idx="94">
                  <c:v>137.05819590411528</c:v>
                </c:pt>
                <c:pt idx="95">
                  <c:v>118.02778162930935</c:v>
                </c:pt>
                <c:pt idx="96">
                  <c:v>63.374334487032741</c:v>
                </c:pt>
                <c:pt idx="97">
                  <c:v>166.43505867869689</c:v>
                </c:pt>
                <c:pt idx="98">
                  <c:v>381.80048195238658</c:v>
                </c:pt>
                <c:pt idx="99">
                  <c:v>310.48662449171616</c:v>
                </c:pt>
                <c:pt idx="100">
                  <c:v>465.42330085190372</c:v>
                </c:pt>
                <c:pt idx="101">
                  <c:v>795.66885346735057</c:v>
                </c:pt>
                <c:pt idx="102">
                  <c:v>849.91448833483889</c:v>
                </c:pt>
                <c:pt idx="103">
                  <c:v>917.10613744514626</c:v>
                </c:pt>
                <c:pt idx="104">
                  <c:v>927.15013304380057</c:v>
                </c:pt>
                <c:pt idx="105">
                  <c:v>1218.1118936697417</c:v>
                </c:pt>
                <c:pt idx="106">
                  <c:v>1552.9687253876916</c:v>
                </c:pt>
                <c:pt idx="107">
                  <c:v>1656.4555635097263</c:v>
                </c:pt>
                <c:pt idx="108">
                  <c:v>1838.2868547759963</c:v>
                </c:pt>
                <c:pt idx="109">
                  <c:v>1851.0085790531027</c:v>
                </c:pt>
                <c:pt idx="110">
                  <c:v>2114.8785426583809</c:v>
                </c:pt>
                <c:pt idx="111">
                  <c:v>2199.7944179789579</c:v>
                </c:pt>
                <c:pt idx="112">
                  <c:v>2403.4866696901108</c:v>
                </c:pt>
                <c:pt idx="113">
                  <c:v>2316.0417083514967</c:v>
                </c:pt>
                <c:pt idx="114">
                  <c:v>2195.8583091659102</c:v>
                </c:pt>
                <c:pt idx="115">
                  <c:v>2160.3210425168081</c:v>
                </c:pt>
                <c:pt idx="116">
                  <c:v>1756.792081238887</c:v>
                </c:pt>
                <c:pt idx="117">
                  <c:v>1752.3181279786913</c:v>
                </c:pt>
                <c:pt idx="118">
                  <c:v>1673.7180096552358</c:v>
                </c:pt>
                <c:pt idx="119">
                  <c:v>1843.6265198956821</c:v>
                </c:pt>
                <c:pt idx="120">
                  <c:v>1773.3891455226449</c:v>
                </c:pt>
                <c:pt idx="121">
                  <c:v>1713.5634987364883</c:v>
                </c:pt>
                <c:pt idx="122">
                  <c:v>1513.8830723409508</c:v>
                </c:pt>
                <c:pt idx="123">
                  <c:v>1510.5844799716115</c:v>
                </c:pt>
                <c:pt idx="124">
                  <c:v>1493.3388937624436</c:v>
                </c:pt>
                <c:pt idx="125">
                  <c:v>1438.1620329076172</c:v>
                </c:pt>
                <c:pt idx="126">
                  <c:v>1400.8408295793733</c:v>
                </c:pt>
                <c:pt idx="127">
                  <c:v>1616.5799184021546</c:v>
                </c:pt>
                <c:pt idx="128">
                  <c:v>1933.1345900515646</c:v>
                </c:pt>
                <c:pt idx="129">
                  <c:v>2011.4045842251685</c:v>
                </c:pt>
                <c:pt idx="130">
                  <c:v>2049.9917723299409</c:v>
                </c:pt>
                <c:pt idx="131">
                  <c:v>1766.6028364041963</c:v>
                </c:pt>
                <c:pt idx="132">
                  <c:v>1493.091987520821</c:v>
                </c:pt>
                <c:pt idx="133">
                  <c:v>1090.4449812564421</c:v>
                </c:pt>
                <c:pt idx="134">
                  <c:v>829.34287946623999</c:v>
                </c:pt>
                <c:pt idx="135">
                  <c:v>707.03217510392233</c:v>
                </c:pt>
                <c:pt idx="136">
                  <c:v>347.90184731883573</c:v>
                </c:pt>
                <c:pt idx="137">
                  <c:v>215.20821250086453</c:v>
                </c:pt>
                <c:pt idx="138">
                  <c:v>155.08896123993929</c:v>
                </c:pt>
                <c:pt idx="139">
                  <c:v>15.313720531422859</c:v>
                </c:pt>
                <c:pt idx="140">
                  <c:v>-5.4173497068284178</c:v>
                </c:pt>
                <c:pt idx="141">
                  <c:v>-135.50243248633006</c:v>
                </c:pt>
                <c:pt idx="142">
                  <c:v>-527.36894697498826</c:v>
                </c:pt>
                <c:pt idx="143">
                  <c:v>-688.65981940841436</c:v>
                </c:pt>
                <c:pt idx="144">
                  <c:v>-704.15945050763457</c:v>
                </c:pt>
                <c:pt idx="145">
                  <c:v>-407.2502415173949</c:v>
                </c:pt>
                <c:pt idx="146">
                  <c:v>-194.42013446186127</c:v>
                </c:pt>
                <c:pt idx="147">
                  <c:v>-292.57257904938518</c:v>
                </c:pt>
                <c:pt idx="148">
                  <c:v>-152.80009366315761</c:v>
                </c:pt>
                <c:pt idx="149">
                  <c:v>-124.43242241419216</c:v>
                </c:pt>
                <c:pt idx="150">
                  <c:v>169.17246206472834</c:v>
                </c:pt>
                <c:pt idx="151">
                  <c:v>265.09226940222771</c:v>
                </c:pt>
                <c:pt idx="152">
                  <c:v>262.08160942512131</c:v>
                </c:pt>
                <c:pt idx="153">
                  <c:v>116.40726590708096</c:v>
                </c:pt>
                <c:pt idx="154">
                  <c:v>212.79024974449979</c:v>
                </c:pt>
                <c:pt idx="155">
                  <c:v>2340.4380342907389</c:v>
                </c:pt>
                <c:pt idx="156">
                  <c:v>4042.0860952519574</c:v>
                </c:pt>
                <c:pt idx="157">
                  <c:v>4906.9630307797124</c:v>
                </c:pt>
                <c:pt idx="158">
                  <c:v>5841.2954647454499</c:v>
                </c:pt>
                <c:pt idx="159">
                  <c:v>6225.2306675570635</c:v>
                </c:pt>
                <c:pt idx="160">
                  <c:v>6707.9320759527018</c:v>
                </c:pt>
                <c:pt idx="161">
                  <c:v>7167.0484943400506</c:v>
                </c:pt>
                <c:pt idx="162">
                  <c:v>7242.3608540188397</c:v>
                </c:pt>
                <c:pt idx="163">
                  <c:v>7599.4896536362285</c:v>
                </c:pt>
                <c:pt idx="164">
                  <c:v>8012.4181153650779</c:v>
                </c:pt>
                <c:pt idx="165">
                  <c:v>8177.2532125731495</c:v>
                </c:pt>
                <c:pt idx="166">
                  <c:v>8357.8191564510744</c:v>
                </c:pt>
                <c:pt idx="167">
                  <c:v>6569.9010704548173</c:v>
                </c:pt>
                <c:pt idx="168">
                  <c:v>5174.5832881720171</c:v>
                </c:pt>
                <c:pt idx="169">
                  <c:v>4715.2484021037144</c:v>
                </c:pt>
                <c:pt idx="170">
                  <c:v>3921.359717957042</c:v>
                </c:pt>
                <c:pt idx="171">
                  <c:v>3724.7833040275891</c:v>
                </c:pt>
                <c:pt idx="172">
                  <c:v>3532.2983344966515</c:v>
                </c:pt>
                <c:pt idx="173">
                  <c:v>3279.8797768981603</c:v>
                </c:pt>
                <c:pt idx="174">
                  <c:v>2915.0447675463324</c:v>
                </c:pt>
                <c:pt idx="175">
                  <c:v>2581.675080085949</c:v>
                </c:pt>
                <c:pt idx="176">
                  <c:v>2174.2424669082384</c:v>
                </c:pt>
                <c:pt idx="177">
                  <c:v>2136.227694297515</c:v>
                </c:pt>
                <c:pt idx="178">
                  <c:v>2156.5677442698261</c:v>
                </c:pt>
                <c:pt idx="179">
                  <c:v>1609.9471289328767</c:v>
                </c:pt>
                <c:pt idx="180">
                  <c:v>832.36227097185463</c:v>
                </c:pt>
                <c:pt idx="181">
                  <c:v>74.839913534938205</c:v>
                </c:pt>
              </c:numCache>
            </c:numRef>
          </c:val>
          <c:smooth val="0"/>
          <c:extLst>
            <c:ext xmlns:c16="http://schemas.microsoft.com/office/drawing/2014/chart" uri="{C3380CC4-5D6E-409C-BE32-E72D297353CC}">
              <c16:uniqueId val="{00000004-438E-405F-ABD1-FE50161BD664}"/>
            </c:ext>
          </c:extLst>
        </c:ser>
        <c:ser>
          <c:idx val="5"/>
          <c:order val="5"/>
          <c:tx>
            <c:strRef>
              <c:f>QT!$F$13</c:f>
              <c:strCache>
                <c:ptCount val="1"/>
              </c:strCache>
            </c:strRef>
          </c:tx>
          <c:spPr>
            <a:ln w="34925">
              <a:solidFill>
                <a:srgbClr val="000000"/>
              </a:solidFill>
              <a:prstDash val="sysDot"/>
            </a:ln>
          </c:spPr>
          <c:marker>
            <c:symbol val="none"/>
          </c:marker>
          <c:dPt>
            <c:idx val="178"/>
            <c:bubble3D val="0"/>
            <c:spPr>
              <a:ln w="34925">
                <a:solidFill>
                  <a:srgbClr val="333F48"/>
                </a:solidFill>
                <a:prstDash val="sysDot"/>
              </a:ln>
            </c:spPr>
            <c:extLst>
              <c:ext xmlns:c16="http://schemas.microsoft.com/office/drawing/2014/chart" uri="{C3380CC4-5D6E-409C-BE32-E72D297353CC}">
                <c16:uniqueId val="{00000000-0B76-4BDD-8589-742AE9F7EDD0}"/>
              </c:ext>
            </c:extLst>
          </c:dPt>
          <c:dPt>
            <c:idx val="179"/>
            <c:bubble3D val="0"/>
            <c:spPr>
              <a:ln w="34925">
                <a:solidFill>
                  <a:srgbClr val="333F48"/>
                </a:solidFill>
                <a:prstDash val="sysDot"/>
              </a:ln>
            </c:spPr>
            <c:extLst>
              <c:ext xmlns:c16="http://schemas.microsoft.com/office/drawing/2014/chart" uri="{C3380CC4-5D6E-409C-BE32-E72D297353CC}">
                <c16:uniqueId val="{00000002-0B76-4BDD-8589-742AE9F7EDD0}"/>
              </c:ext>
            </c:extLst>
          </c:dPt>
          <c:dPt>
            <c:idx val="180"/>
            <c:bubble3D val="0"/>
            <c:spPr>
              <a:ln w="34925">
                <a:solidFill>
                  <a:srgbClr val="333F48"/>
                </a:solidFill>
                <a:prstDash val="sysDot"/>
              </a:ln>
            </c:spPr>
            <c:extLst>
              <c:ext xmlns:c16="http://schemas.microsoft.com/office/drawing/2014/chart" uri="{C3380CC4-5D6E-409C-BE32-E72D297353CC}">
                <c16:uniqueId val="{00000001-0B76-4BDD-8589-742AE9F7EDD0}"/>
              </c:ext>
            </c:extLst>
          </c:dPt>
          <c:dPt>
            <c:idx val="181"/>
            <c:bubble3D val="0"/>
            <c:spPr>
              <a:ln w="34925">
                <a:solidFill>
                  <a:srgbClr val="333F48"/>
                </a:solidFill>
                <a:prstDash val="sysDot"/>
              </a:ln>
            </c:spPr>
            <c:extLst>
              <c:ext xmlns:c16="http://schemas.microsoft.com/office/drawing/2014/chart" uri="{C3380CC4-5D6E-409C-BE32-E72D297353CC}">
                <c16:uniqueId val="{00000003-0B76-4BDD-8589-742AE9F7EDD0}"/>
              </c:ext>
            </c:extLst>
          </c:dPt>
          <c:dPt>
            <c:idx val="182"/>
            <c:bubble3D val="0"/>
            <c:spPr>
              <a:ln w="34925">
                <a:solidFill>
                  <a:srgbClr val="333F48"/>
                </a:solidFill>
                <a:prstDash val="sysDot"/>
              </a:ln>
            </c:spPr>
            <c:extLst>
              <c:ext xmlns:c16="http://schemas.microsoft.com/office/drawing/2014/chart" uri="{C3380CC4-5D6E-409C-BE32-E72D297353CC}">
                <c16:uniqueId val="{00000007-0B76-4BDD-8589-742AE9F7EDD0}"/>
              </c:ext>
            </c:extLst>
          </c:dPt>
          <c:dPt>
            <c:idx val="183"/>
            <c:bubble3D val="0"/>
            <c:spPr>
              <a:ln w="34925">
                <a:solidFill>
                  <a:srgbClr val="333F48"/>
                </a:solidFill>
                <a:prstDash val="sysDot"/>
              </a:ln>
            </c:spPr>
            <c:extLst>
              <c:ext xmlns:c16="http://schemas.microsoft.com/office/drawing/2014/chart" uri="{C3380CC4-5D6E-409C-BE32-E72D297353CC}">
                <c16:uniqueId val="{00000004-0B76-4BDD-8589-742AE9F7EDD0}"/>
              </c:ext>
            </c:extLst>
          </c:dPt>
          <c:dPt>
            <c:idx val="184"/>
            <c:bubble3D val="0"/>
            <c:spPr>
              <a:ln w="34925">
                <a:solidFill>
                  <a:srgbClr val="333F48"/>
                </a:solidFill>
                <a:prstDash val="sysDot"/>
              </a:ln>
            </c:spPr>
            <c:extLst>
              <c:ext xmlns:c16="http://schemas.microsoft.com/office/drawing/2014/chart" uri="{C3380CC4-5D6E-409C-BE32-E72D297353CC}">
                <c16:uniqueId val="{00000006-0B76-4BDD-8589-742AE9F7EDD0}"/>
              </c:ext>
            </c:extLst>
          </c:dPt>
          <c:dPt>
            <c:idx val="185"/>
            <c:bubble3D val="0"/>
            <c:spPr>
              <a:ln w="34925">
                <a:solidFill>
                  <a:srgbClr val="333F48"/>
                </a:solidFill>
                <a:prstDash val="sysDot"/>
              </a:ln>
            </c:spPr>
            <c:extLst>
              <c:ext xmlns:c16="http://schemas.microsoft.com/office/drawing/2014/chart" uri="{C3380CC4-5D6E-409C-BE32-E72D297353CC}">
                <c16:uniqueId val="{00000008-0B76-4BDD-8589-742AE9F7EDD0}"/>
              </c:ext>
            </c:extLst>
          </c:dPt>
          <c:dPt>
            <c:idx val="186"/>
            <c:bubble3D val="0"/>
            <c:spPr>
              <a:ln w="34925">
                <a:solidFill>
                  <a:srgbClr val="333F48"/>
                </a:solidFill>
                <a:prstDash val="sysDot"/>
              </a:ln>
            </c:spPr>
            <c:extLst>
              <c:ext xmlns:c16="http://schemas.microsoft.com/office/drawing/2014/chart" uri="{C3380CC4-5D6E-409C-BE32-E72D297353CC}">
                <c16:uniqueId val="{00000005-0B76-4BDD-8589-742AE9F7EDD0}"/>
              </c:ext>
            </c:extLst>
          </c:dPt>
          <c:dPt>
            <c:idx val="187"/>
            <c:bubble3D val="0"/>
            <c:spPr>
              <a:ln w="34925">
                <a:solidFill>
                  <a:srgbClr val="333F48"/>
                </a:solidFill>
                <a:prstDash val="sysDot"/>
              </a:ln>
            </c:spPr>
            <c:extLst>
              <c:ext xmlns:c16="http://schemas.microsoft.com/office/drawing/2014/chart" uri="{C3380CC4-5D6E-409C-BE32-E72D297353CC}">
                <c16:uniqueId val="{0000000B-0B76-4BDD-8589-742AE9F7EDD0}"/>
              </c:ext>
            </c:extLst>
          </c:dPt>
          <c:dPt>
            <c:idx val="188"/>
            <c:bubble3D val="0"/>
            <c:spPr>
              <a:ln w="34925">
                <a:solidFill>
                  <a:srgbClr val="333F48"/>
                </a:solidFill>
                <a:prstDash val="sysDot"/>
              </a:ln>
            </c:spPr>
            <c:extLst>
              <c:ext xmlns:c16="http://schemas.microsoft.com/office/drawing/2014/chart" uri="{C3380CC4-5D6E-409C-BE32-E72D297353CC}">
                <c16:uniqueId val="{0000000C-0B76-4BDD-8589-742AE9F7EDD0}"/>
              </c:ext>
            </c:extLst>
          </c:dPt>
          <c:cat>
            <c:numRef>
              <c:f>QT!$A$14:$A$1174</c:f>
              <c:numCache>
                <c:formatCode>mmm"-"yyyy</c:formatCode>
                <c:ptCount val="1161"/>
                <c:pt idx="0">
                  <c:v>39202</c:v>
                </c:pt>
                <c:pt idx="1">
                  <c:v>39233</c:v>
                </c:pt>
                <c:pt idx="2">
                  <c:v>39263</c:v>
                </c:pt>
                <c:pt idx="3">
                  <c:v>39294</c:v>
                </c:pt>
                <c:pt idx="4">
                  <c:v>39325</c:v>
                </c:pt>
                <c:pt idx="5">
                  <c:v>39355</c:v>
                </c:pt>
                <c:pt idx="6">
                  <c:v>39386</c:v>
                </c:pt>
                <c:pt idx="7">
                  <c:v>39416</c:v>
                </c:pt>
                <c:pt idx="8">
                  <c:v>39447</c:v>
                </c:pt>
                <c:pt idx="9">
                  <c:v>39478</c:v>
                </c:pt>
                <c:pt idx="10">
                  <c:v>39507</c:v>
                </c:pt>
                <c:pt idx="11">
                  <c:v>39538</c:v>
                </c:pt>
                <c:pt idx="12">
                  <c:v>39568</c:v>
                </c:pt>
                <c:pt idx="13">
                  <c:v>39599</c:v>
                </c:pt>
                <c:pt idx="14">
                  <c:v>39629</c:v>
                </c:pt>
                <c:pt idx="15">
                  <c:v>39660</c:v>
                </c:pt>
                <c:pt idx="16">
                  <c:v>39691</c:v>
                </c:pt>
                <c:pt idx="17">
                  <c:v>39721</c:v>
                </c:pt>
                <c:pt idx="18">
                  <c:v>39752</c:v>
                </c:pt>
                <c:pt idx="19">
                  <c:v>39782</c:v>
                </c:pt>
                <c:pt idx="20">
                  <c:v>39813</c:v>
                </c:pt>
                <c:pt idx="21">
                  <c:v>39844</c:v>
                </c:pt>
                <c:pt idx="22">
                  <c:v>39872</c:v>
                </c:pt>
                <c:pt idx="23">
                  <c:v>39903</c:v>
                </c:pt>
                <c:pt idx="24">
                  <c:v>39933</c:v>
                </c:pt>
                <c:pt idx="25">
                  <c:v>39964</c:v>
                </c:pt>
                <c:pt idx="26">
                  <c:v>39994</c:v>
                </c:pt>
                <c:pt idx="27">
                  <c:v>40025</c:v>
                </c:pt>
                <c:pt idx="28">
                  <c:v>40056</c:v>
                </c:pt>
                <c:pt idx="29">
                  <c:v>40086</c:v>
                </c:pt>
                <c:pt idx="30">
                  <c:v>40117</c:v>
                </c:pt>
                <c:pt idx="31">
                  <c:v>40147</c:v>
                </c:pt>
                <c:pt idx="32">
                  <c:v>40178</c:v>
                </c:pt>
                <c:pt idx="33">
                  <c:v>40209</c:v>
                </c:pt>
                <c:pt idx="34">
                  <c:v>40237</c:v>
                </c:pt>
                <c:pt idx="35">
                  <c:v>40268</c:v>
                </c:pt>
                <c:pt idx="36">
                  <c:v>40298</c:v>
                </c:pt>
                <c:pt idx="37">
                  <c:v>40329</c:v>
                </c:pt>
                <c:pt idx="38">
                  <c:v>40359</c:v>
                </c:pt>
                <c:pt idx="39">
                  <c:v>40390</c:v>
                </c:pt>
                <c:pt idx="40">
                  <c:v>40421</c:v>
                </c:pt>
                <c:pt idx="41">
                  <c:v>40451</c:v>
                </c:pt>
                <c:pt idx="42">
                  <c:v>40482</c:v>
                </c:pt>
                <c:pt idx="43">
                  <c:v>40512</c:v>
                </c:pt>
                <c:pt idx="44">
                  <c:v>40543</c:v>
                </c:pt>
                <c:pt idx="45">
                  <c:v>40574</c:v>
                </c:pt>
                <c:pt idx="46">
                  <c:v>40602</c:v>
                </c:pt>
                <c:pt idx="47">
                  <c:v>40633</c:v>
                </c:pt>
                <c:pt idx="48">
                  <c:v>40663</c:v>
                </c:pt>
                <c:pt idx="49">
                  <c:v>40694</c:v>
                </c:pt>
                <c:pt idx="50">
                  <c:v>40724</c:v>
                </c:pt>
                <c:pt idx="51">
                  <c:v>40755</c:v>
                </c:pt>
                <c:pt idx="52">
                  <c:v>40786</c:v>
                </c:pt>
                <c:pt idx="53">
                  <c:v>40816</c:v>
                </c:pt>
                <c:pt idx="54">
                  <c:v>40847</c:v>
                </c:pt>
                <c:pt idx="55">
                  <c:v>40877</c:v>
                </c:pt>
                <c:pt idx="56">
                  <c:v>40908</c:v>
                </c:pt>
                <c:pt idx="57">
                  <c:v>40939</c:v>
                </c:pt>
                <c:pt idx="58">
                  <c:v>40968</c:v>
                </c:pt>
                <c:pt idx="59">
                  <c:v>40999</c:v>
                </c:pt>
                <c:pt idx="60">
                  <c:v>41029</c:v>
                </c:pt>
                <c:pt idx="61">
                  <c:v>41060</c:v>
                </c:pt>
                <c:pt idx="62">
                  <c:v>41090</c:v>
                </c:pt>
                <c:pt idx="63">
                  <c:v>41121</c:v>
                </c:pt>
                <c:pt idx="64">
                  <c:v>41152</c:v>
                </c:pt>
                <c:pt idx="65">
                  <c:v>41182</c:v>
                </c:pt>
                <c:pt idx="66">
                  <c:v>41213</c:v>
                </c:pt>
                <c:pt idx="67">
                  <c:v>41243</c:v>
                </c:pt>
                <c:pt idx="68">
                  <c:v>41274</c:v>
                </c:pt>
                <c:pt idx="69">
                  <c:v>41305</c:v>
                </c:pt>
                <c:pt idx="70">
                  <c:v>41333</c:v>
                </c:pt>
                <c:pt idx="71">
                  <c:v>41364</c:v>
                </c:pt>
                <c:pt idx="72">
                  <c:v>41394</c:v>
                </c:pt>
                <c:pt idx="73">
                  <c:v>41425</c:v>
                </c:pt>
                <c:pt idx="74">
                  <c:v>41455</c:v>
                </c:pt>
                <c:pt idx="75">
                  <c:v>41486</c:v>
                </c:pt>
                <c:pt idx="76">
                  <c:v>41517</c:v>
                </c:pt>
                <c:pt idx="77">
                  <c:v>41547</c:v>
                </c:pt>
                <c:pt idx="78">
                  <c:v>41578</c:v>
                </c:pt>
                <c:pt idx="79">
                  <c:v>41608</c:v>
                </c:pt>
                <c:pt idx="80">
                  <c:v>41639</c:v>
                </c:pt>
                <c:pt idx="81">
                  <c:v>41670</c:v>
                </c:pt>
                <c:pt idx="82">
                  <c:v>41698</c:v>
                </c:pt>
                <c:pt idx="83">
                  <c:v>41729</c:v>
                </c:pt>
                <c:pt idx="84">
                  <c:v>41759</c:v>
                </c:pt>
                <c:pt idx="85">
                  <c:v>41790</c:v>
                </c:pt>
                <c:pt idx="86">
                  <c:v>41820</c:v>
                </c:pt>
                <c:pt idx="87">
                  <c:v>41851</c:v>
                </c:pt>
                <c:pt idx="88">
                  <c:v>41882</c:v>
                </c:pt>
                <c:pt idx="89">
                  <c:v>41912</c:v>
                </c:pt>
                <c:pt idx="90">
                  <c:v>41943</c:v>
                </c:pt>
                <c:pt idx="91">
                  <c:v>41973</c:v>
                </c:pt>
                <c:pt idx="92">
                  <c:v>42004</c:v>
                </c:pt>
                <c:pt idx="93">
                  <c:v>42035</c:v>
                </c:pt>
                <c:pt idx="94">
                  <c:v>42063</c:v>
                </c:pt>
                <c:pt idx="95">
                  <c:v>42094</c:v>
                </c:pt>
                <c:pt idx="96">
                  <c:v>42124</c:v>
                </c:pt>
                <c:pt idx="97">
                  <c:v>42155</c:v>
                </c:pt>
                <c:pt idx="98">
                  <c:v>42185</c:v>
                </c:pt>
                <c:pt idx="99">
                  <c:v>42216</c:v>
                </c:pt>
                <c:pt idx="100">
                  <c:v>42247</c:v>
                </c:pt>
                <c:pt idx="101">
                  <c:v>42277</c:v>
                </c:pt>
                <c:pt idx="102">
                  <c:v>42308</c:v>
                </c:pt>
                <c:pt idx="103">
                  <c:v>42338</c:v>
                </c:pt>
                <c:pt idx="104">
                  <c:v>42369</c:v>
                </c:pt>
                <c:pt idx="105">
                  <c:v>42400</c:v>
                </c:pt>
                <c:pt idx="106">
                  <c:v>42429</c:v>
                </c:pt>
                <c:pt idx="107">
                  <c:v>42460</c:v>
                </c:pt>
                <c:pt idx="108">
                  <c:v>42490</c:v>
                </c:pt>
                <c:pt idx="109">
                  <c:v>42521</c:v>
                </c:pt>
                <c:pt idx="110">
                  <c:v>42551</c:v>
                </c:pt>
                <c:pt idx="111">
                  <c:v>42582</c:v>
                </c:pt>
                <c:pt idx="112">
                  <c:v>42613</c:v>
                </c:pt>
                <c:pt idx="113">
                  <c:v>42643</c:v>
                </c:pt>
                <c:pt idx="114">
                  <c:v>42674</c:v>
                </c:pt>
                <c:pt idx="115">
                  <c:v>42704</c:v>
                </c:pt>
                <c:pt idx="116">
                  <c:v>42735</c:v>
                </c:pt>
                <c:pt idx="117">
                  <c:v>42766</c:v>
                </c:pt>
                <c:pt idx="118">
                  <c:v>42794</c:v>
                </c:pt>
                <c:pt idx="119">
                  <c:v>42825</c:v>
                </c:pt>
                <c:pt idx="120">
                  <c:v>42855</c:v>
                </c:pt>
                <c:pt idx="121">
                  <c:v>42886</c:v>
                </c:pt>
                <c:pt idx="122">
                  <c:v>42916</c:v>
                </c:pt>
                <c:pt idx="123">
                  <c:v>42947</c:v>
                </c:pt>
                <c:pt idx="124">
                  <c:v>42978</c:v>
                </c:pt>
                <c:pt idx="125">
                  <c:v>43008</c:v>
                </c:pt>
                <c:pt idx="126">
                  <c:v>43039</c:v>
                </c:pt>
                <c:pt idx="127">
                  <c:v>43069</c:v>
                </c:pt>
                <c:pt idx="128">
                  <c:v>43100</c:v>
                </c:pt>
                <c:pt idx="129">
                  <c:v>43131</c:v>
                </c:pt>
                <c:pt idx="130">
                  <c:v>43159</c:v>
                </c:pt>
                <c:pt idx="131">
                  <c:v>43190</c:v>
                </c:pt>
                <c:pt idx="132">
                  <c:v>43220</c:v>
                </c:pt>
                <c:pt idx="133">
                  <c:v>43251</c:v>
                </c:pt>
                <c:pt idx="134">
                  <c:v>43281</c:v>
                </c:pt>
                <c:pt idx="135">
                  <c:v>43312</c:v>
                </c:pt>
                <c:pt idx="136">
                  <c:v>43343</c:v>
                </c:pt>
                <c:pt idx="137">
                  <c:v>43373</c:v>
                </c:pt>
                <c:pt idx="138">
                  <c:v>43404</c:v>
                </c:pt>
                <c:pt idx="139">
                  <c:v>43434</c:v>
                </c:pt>
                <c:pt idx="140">
                  <c:v>43465</c:v>
                </c:pt>
                <c:pt idx="141">
                  <c:v>43496</c:v>
                </c:pt>
                <c:pt idx="142">
                  <c:v>43524</c:v>
                </c:pt>
                <c:pt idx="143">
                  <c:v>43555</c:v>
                </c:pt>
                <c:pt idx="144">
                  <c:v>43585</c:v>
                </c:pt>
                <c:pt idx="145">
                  <c:v>43616</c:v>
                </c:pt>
                <c:pt idx="146">
                  <c:v>43646</c:v>
                </c:pt>
                <c:pt idx="147">
                  <c:v>43677</c:v>
                </c:pt>
                <c:pt idx="148">
                  <c:v>43708</c:v>
                </c:pt>
                <c:pt idx="149">
                  <c:v>43738</c:v>
                </c:pt>
                <c:pt idx="150">
                  <c:v>43769</c:v>
                </c:pt>
                <c:pt idx="151">
                  <c:v>43799</c:v>
                </c:pt>
                <c:pt idx="152">
                  <c:v>43830</c:v>
                </c:pt>
                <c:pt idx="153">
                  <c:v>43861</c:v>
                </c:pt>
                <c:pt idx="154">
                  <c:v>43890</c:v>
                </c:pt>
                <c:pt idx="155">
                  <c:v>43921</c:v>
                </c:pt>
                <c:pt idx="156">
                  <c:v>43951</c:v>
                </c:pt>
                <c:pt idx="157">
                  <c:v>43982</c:v>
                </c:pt>
                <c:pt idx="158">
                  <c:v>44012</c:v>
                </c:pt>
                <c:pt idx="159">
                  <c:v>44043</c:v>
                </c:pt>
                <c:pt idx="160">
                  <c:v>44074</c:v>
                </c:pt>
                <c:pt idx="161">
                  <c:v>44104</c:v>
                </c:pt>
                <c:pt idx="162">
                  <c:v>44135</c:v>
                </c:pt>
                <c:pt idx="163">
                  <c:v>44165</c:v>
                </c:pt>
                <c:pt idx="164">
                  <c:v>44196</c:v>
                </c:pt>
                <c:pt idx="165">
                  <c:v>44227</c:v>
                </c:pt>
                <c:pt idx="166">
                  <c:v>44255</c:v>
                </c:pt>
                <c:pt idx="167">
                  <c:v>44286</c:v>
                </c:pt>
                <c:pt idx="168">
                  <c:v>44316</c:v>
                </c:pt>
                <c:pt idx="169">
                  <c:v>44347</c:v>
                </c:pt>
                <c:pt idx="170">
                  <c:v>44377</c:v>
                </c:pt>
                <c:pt idx="171">
                  <c:v>44408</c:v>
                </c:pt>
                <c:pt idx="172">
                  <c:v>44439</c:v>
                </c:pt>
                <c:pt idx="173">
                  <c:v>44469</c:v>
                </c:pt>
                <c:pt idx="174">
                  <c:v>44500</c:v>
                </c:pt>
                <c:pt idx="175">
                  <c:v>44530</c:v>
                </c:pt>
                <c:pt idx="176">
                  <c:v>44561</c:v>
                </c:pt>
                <c:pt idx="177">
                  <c:v>44592</c:v>
                </c:pt>
                <c:pt idx="178">
                  <c:v>44620</c:v>
                </c:pt>
                <c:pt idx="179">
                  <c:v>44651</c:v>
                </c:pt>
                <c:pt idx="180">
                  <c:v>44681</c:v>
                </c:pt>
                <c:pt idx="181">
                  <c:v>44712</c:v>
                </c:pt>
                <c:pt idx="182">
                  <c:v>44742</c:v>
                </c:pt>
                <c:pt idx="183">
                  <c:v>44773</c:v>
                </c:pt>
                <c:pt idx="184">
                  <c:v>44804</c:v>
                </c:pt>
                <c:pt idx="185">
                  <c:v>44834</c:v>
                </c:pt>
                <c:pt idx="186">
                  <c:v>44865</c:v>
                </c:pt>
                <c:pt idx="187">
                  <c:v>44895</c:v>
                </c:pt>
                <c:pt idx="188">
                  <c:v>44926</c:v>
                </c:pt>
              </c:numCache>
            </c:numRef>
          </c:cat>
          <c:val>
            <c:numRef>
              <c:f>QT!$F$14:$F$1174</c:f>
              <c:numCache>
                <c:formatCode>General</c:formatCode>
                <c:ptCount val="1161"/>
                <c:pt idx="182">
                  <c:v>-201.85987213408657</c:v>
                </c:pt>
                <c:pt idx="183">
                  <c:v>-481.91601089074521</c:v>
                </c:pt>
                <c:pt idx="184">
                  <c:v>-954.86132214523866</c:v>
                </c:pt>
                <c:pt idx="185">
                  <c:v>-1215.4728876369782</c:v>
                </c:pt>
                <c:pt idx="186">
                  <c:v>-1232.650890943863</c:v>
                </c:pt>
                <c:pt idx="187">
                  <c:v>-1421.4502735157107</c:v>
                </c:pt>
                <c:pt idx="188">
                  <c:v>-1592.8610845841886</c:v>
                </c:pt>
              </c:numCache>
            </c:numRef>
          </c:val>
          <c:smooth val="0"/>
          <c:extLst>
            <c:ext xmlns:c16="http://schemas.microsoft.com/office/drawing/2014/chart" uri="{C3380CC4-5D6E-409C-BE32-E72D297353CC}">
              <c16:uniqueId val="{00000002-87A0-4283-B2F1-BD0AAB9F3951}"/>
            </c:ext>
          </c:extLst>
        </c:ser>
        <c:dLbls>
          <c:showLegendKey val="0"/>
          <c:showVal val="0"/>
          <c:showCatName val="0"/>
          <c:showSerName val="0"/>
          <c:showPercent val="0"/>
          <c:showBubbleSize val="0"/>
        </c:dLbls>
        <c:marker val="1"/>
        <c:smooth val="0"/>
        <c:axId val="310090752"/>
        <c:axId val="310100736"/>
      </c:lineChart>
      <c:dateAx>
        <c:axId val="310090752"/>
        <c:scaling>
          <c:orientation val="minMax"/>
          <c:max val="44926"/>
          <c:min val="39813"/>
        </c:scaling>
        <c:delete val="0"/>
        <c:axPos val="b"/>
        <c:numFmt formatCode="[$-409]mmm\-yy;@" sourceLinked="0"/>
        <c:majorTickMark val="out"/>
        <c:minorTickMark val="none"/>
        <c:tickLblPos val="low"/>
        <c:spPr>
          <a:ln>
            <a:solidFill>
              <a:srgbClr val="FFFFFF">
                <a:lumMod val="50000"/>
              </a:srgbClr>
            </a:solidFill>
          </a:ln>
        </c:spPr>
        <c:txPr>
          <a:bodyPr rot="-5400000"/>
          <a:lstStyle/>
          <a:p>
            <a:pPr>
              <a:defRPr/>
            </a:pPr>
            <a:endParaRPr lang="en-US"/>
          </a:p>
        </c:txPr>
        <c:crossAx val="310100736"/>
        <c:crosses val="autoZero"/>
        <c:auto val="1"/>
        <c:lblOffset val="100"/>
        <c:baseTimeUnit val="months"/>
        <c:majorUnit val="6"/>
        <c:majorTimeUnit val="months"/>
      </c:dateAx>
      <c:valAx>
        <c:axId val="310100736"/>
        <c:scaling>
          <c:orientation val="minMax"/>
        </c:scaling>
        <c:delete val="0"/>
        <c:axPos val="l"/>
        <c:numFmt formatCode="&quot;$&quot;#,##0" sourceLinked="0"/>
        <c:majorTickMark val="out"/>
        <c:minorTickMark val="none"/>
        <c:tickLblPos val="nextTo"/>
        <c:spPr>
          <a:ln>
            <a:solidFill>
              <a:srgbClr val="FFFFFF">
                <a:lumMod val="50000"/>
              </a:srgbClr>
            </a:solidFill>
          </a:ln>
        </c:spPr>
        <c:crossAx val="310090752"/>
        <c:crosses val="autoZero"/>
        <c:crossBetween val="between"/>
      </c:valAx>
    </c:plotArea>
    <c:legend>
      <c:legendPos val="r"/>
      <c:legendEntry>
        <c:idx val="4"/>
        <c:delete val="1"/>
      </c:legendEntry>
      <c:layout>
        <c:manualLayout>
          <c:xMode val="edge"/>
          <c:yMode val="edge"/>
          <c:x val="0"/>
          <c:y val="0.10186133843135643"/>
          <c:w val="0.37474215960397383"/>
          <c:h val="5.0137168786380699E-2"/>
        </c:manualLayout>
      </c:layout>
      <c:overlay val="0"/>
    </c:legend>
    <c:plotVisOnly val="1"/>
    <c:dispBlanksAs val="gap"/>
    <c:showDLblsOverMax val="0"/>
  </c:chart>
  <c:txPr>
    <a:bodyPr/>
    <a:lstStyle/>
    <a:p>
      <a:pPr>
        <a:defRPr sz="1000">
          <a:latin typeface="Arial" panose="020B0604020202020204" pitchFamily="34" charset="0"/>
          <a:cs typeface="Arial" panose="020B0604020202020204" pitchFamily="34" charset="0"/>
        </a:defRPr>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761377329615276"/>
          <c:y val="0.14604952146413819"/>
          <c:w val="0.85954757239064372"/>
          <c:h val="0.68365937226216567"/>
        </c:manualLayout>
      </c:layout>
      <c:lineChart>
        <c:grouping val="standard"/>
        <c:varyColors val="0"/>
        <c:ser>
          <c:idx val="0"/>
          <c:order val="0"/>
          <c:spPr>
            <a:ln w="25400" cap="rnd">
              <a:solidFill>
                <a:srgbClr val="7A9A3D"/>
              </a:solidFill>
              <a:round/>
            </a:ln>
            <a:effectLst/>
          </c:spPr>
          <c:marker>
            <c:symbol val="none"/>
          </c:marker>
          <c:cat>
            <c:numRef>
              <c:f>Sheet1!$G$7:$G$155</c:f>
              <c:numCache>
                <c:formatCode>m/d/yyyy</c:formatCode>
                <c:ptCount val="149"/>
                <c:pt idx="0">
                  <c:v>40209</c:v>
                </c:pt>
                <c:pt idx="1">
                  <c:v>40237</c:v>
                </c:pt>
                <c:pt idx="2">
                  <c:v>40268</c:v>
                </c:pt>
                <c:pt idx="3">
                  <c:v>40298</c:v>
                </c:pt>
                <c:pt idx="4">
                  <c:v>40329</c:v>
                </c:pt>
                <c:pt idx="5">
                  <c:v>40359</c:v>
                </c:pt>
                <c:pt idx="6">
                  <c:v>40390</c:v>
                </c:pt>
                <c:pt idx="7">
                  <c:v>40421</c:v>
                </c:pt>
                <c:pt idx="8">
                  <c:v>40451</c:v>
                </c:pt>
                <c:pt idx="9">
                  <c:v>40482</c:v>
                </c:pt>
                <c:pt idx="10">
                  <c:v>40512</c:v>
                </c:pt>
                <c:pt idx="11">
                  <c:v>40543</c:v>
                </c:pt>
                <c:pt idx="12">
                  <c:v>40574</c:v>
                </c:pt>
                <c:pt idx="13">
                  <c:v>40602</c:v>
                </c:pt>
                <c:pt idx="14">
                  <c:v>40633</c:v>
                </c:pt>
                <c:pt idx="15">
                  <c:v>40663</c:v>
                </c:pt>
                <c:pt idx="16">
                  <c:v>40694</c:v>
                </c:pt>
                <c:pt idx="17">
                  <c:v>40724</c:v>
                </c:pt>
                <c:pt idx="18">
                  <c:v>40755</c:v>
                </c:pt>
                <c:pt idx="19">
                  <c:v>40786</c:v>
                </c:pt>
                <c:pt idx="20">
                  <c:v>40816</c:v>
                </c:pt>
                <c:pt idx="21">
                  <c:v>40847</c:v>
                </c:pt>
                <c:pt idx="22">
                  <c:v>40877</c:v>
                </c:pt>
                <c:pt idx="23">
                  <c:v>40908</c:v>
                </c:pt>
                <c:pt idx="24">
                  <c:v>40939</c:v>
                </c:pt>
                <c:pt idx="25">
                  <c:v>40968</c:v>
                </c:pt>
                <c:pt idx="26">
                  <c:v>40999</c:v>
                </c:pt>
                <c:pt idx="27">
                  <c:v>41029</c:v>
                </c:pt>
                <c:pt idx="28">
                  <c:v>41060</c:v>
                </c:pt>
                <c:pt idx="29">
                  <c:v>41090</c:v>
                </c:pt>
                <c:pt idx="30">
                  <c:v>41121</c:v>
                </c:pt>
                <c:pt idx="31">
                  <c:v>41152</c:v>
                </c:pt>
                <c:pt idx="32">
                  <c:v>41182</c:v>
                </c:pt>
                <c:pt idx="33">
                  <c:v>41213</c:v>
                </c:pt>
                <c:pt idx="34">
                  <c:v>41243</c:v>
                </c:pt>
                <c:pt idx="35">
                  <c:v>41274</c:v>
                </c:pt>
                <c:pt idx="36">
                  <c:v>41305</c:v>
                </c:pt>
                <c:pt idx="37">
                  <c:v>41333</c:v>
                </c:pt>
                <c:pt idx="38">
                  <c:v>41364</c:v>
                </c:pt>
                <c:pt idx="39">
                  <c:v>41394</c:v>
                </c:pt>
                <c:pt idx="40">
                  <c:v>41425</c:v>
                </c:pt>
                <c:pt idx="41">
                  <c:v>41455</c:v>
                </c:pt>
                <c:pt idx="42">
                  <c:v>41486</c:v>
                </c:pt>
                <c:pt idx="43">
                  <c:v>41517</c:v>
                </c:pt>
                <c:pt idx="44">
                  <c:v>41547</c:v>
                </c:pt>
                <c:pt idx="45">
                  <c:v>41578</c:v>
                </c:pt>
                <c:pt idx="46">
                  <c:v>41608</c:v>
                </c:pt>
                <c:pt idx="47">
                  <c:v>41639</c:v>
                </c:pt>
                <c:pt idx="48">
                  <c:v>41670</c:v>
                </c:pt>
                <c:pt idx="49">
                  <c:v>41698</c:v>
                </c:pt>
                <c:pt idx="50">
                  <c:v>41729</c:v>
                </c:pt>
                <c:pt idx="51">
                  <c:v>41759</c:v>
                </c:pt>
                <c:pt idx="52">
                  <c:v>41790</c:v>
                </c:pt>
                <c:pt idx="53">
                  <c:v>41820</c:v>
                </c:pt>
                <c:pt idx="54">
                  <c:v>41851</c:v>
                </c:pt>
                <c:pt idx="55">
                  <c:v>41882</c:v>
                </c:pt>
                <c:pt idx="56">
                  <c:v>41912</c:v>
                </c:pt>
                <c:pt idx="57">
                  <c:v>41943</c:v>
                </c:pt>
                <c:pt idx="58">
                  <c:v>41973</c:v>
                </c:pt>
                <c:pt idx="59">
                  <c:v>42004</c:v>
                </c:pt>
                <c:pt idx="60">
                  <c:v>42035</c:v>
                </c:pt>
                <c:pt idx="61">
                  <c:v>42063</c:v>
                </c:pt>
                <c:pt idx="62">
                  <c:v>42094</c:v>
                </c:pt>
                <c:pt idx="63">
                  <c:v>42124</c:v>
                </c:pt>
                <c:pt idx="64">
                  <c:v>42155</c:v>
                </c:pt>
                <c:pt idx="65">
                  <c:v>42185</c:v>
                </c:pt>
                <c:pt idx="66">
                  <c:v>42216</c:v>
                </c:pt>
                <c:pt idx="67">
                  <c:v>42247</c:v>
                </c:pt>
                <c:pt idx="68">
                  <c:v>42277</c:v>
                </c:pt>
                <c:pt idx="69">
                  <c:v>42308</c:v>
                </c:pt>
                <c:pt idx="70">
                  <c:v>42338</c:v>
                </c:pt>
                <c:pt idx="71">
                  <c:v>42369</c:v>
                </c:pt>
                <c:pt idx="72">
                  <c:v>42400</c:v>
                </c:pt>
                <c:pt idx="73">
                  <c:v>42429</c:v>
                </c:pt>
                <c:pt idx="74">
                  <c:v>42460</c:v>
                </c:pt>
                <c:pt idx="75">
                  <c:v>42490</c:v>
                </c:pt>
                <c:pt idx="76">
                  <c:v>42521</c:v>
                </c:pt>
                <c:pt idx="77">
                  <c:v>42551</c:v>
                </c:pt>
                <c:pt idx="78">
                  <c:v>42582</c:v>
                </c:pt>
                <c:pt idx="79">
                  <c:v>42613</c:v>
                </c:pt>
                <c:pt idx="80">
                  <c:v>42643</c:v>
                </c:pt>
                <c:pt idx="81">
                  <c:v>42674</c:v>
                </c:pt>
                <c:pt idx="82">
                  <c:v>42704</c:v>
                </c:pt>
                <c:pt idx="83">
                  <c:v>42735</c:v>
                </c:pt>
                <c:pt idx="84">
                  <c:v>42766</c:v>
                </c:pt>
                <c:pt idx="85">
                  <c:v>42794</c:v>
                </c:pt>
                <c:pt idx="86">
                  <c:v>42825</c:v>
                </c:pt>
                <c:pt idx="87">
                  <c:v>42855</c:v>
                </c:pt>
                <c:pt idx="88">
                  <c:v>42886</c:v>
                </c:pt>
                <c:pt idx="89">
                  <c:v>42916</c:v>
                </c:pt>
                <c:pt idx="90">
                  <c:v>42947</c:v>
                </c:pt>
                <c:pt idx="91">
                  <c:v>42978</c:v>
                </c:pt>
                <c:pt idx="92">
                  <c:v>43008</c:v>
                </c:pt>
                <c:pt idx="93">
                  <c:v>43039</c:v>
                </c:pt>
                <c:pt idx="94">
                  <c:v>43069</c:v>
                </c:pt>
                <c:pt idx="95">
                  <c:v>43100</c:v>
                </c:pt>
                <c:pt idx="96">
                  <c:v>43131</c:v>
                </c:pt>
                <c:pt idx="97">
                  <c:v>43159</c:v>
                </c:pt>
                <c:pt idx="98">
                  <c:v>43190</c:v>
                </c:pt>
                <c:pt idx="99">
                  <c:v>43220</c:v>
                </c:pt>
                <c:pt idx="100">
                  <c:v>43251</c:v>
                </c:pt>
                <c:pt idx="101">
                  <c:v>43281</c:v>
                </c:pt>
                <c:pt idx="102">
                  <c:v>43312</c:v>
                </c:pt>
                <c:pt idx="103">
                  <c:v>43343</c:v>
                </c:pt>
                <c:pt idx="104">
                  <c:v>43373</c:v>
                </c:pt>
                <c:pt idx="105">
                  <c:v>43404</c:v>
                </c:pt>
                <c:pt idx="106">
                  <c:v>43434</c:v>
                </c:pt>
                <c:pt idx="107">
                  <c:v>43465</c:v>
                </c:pt>
                <c:pt idx="108">
                  <c:v>43496</c:v>
                </c:pt>
                <c:pt idx="109">
                  <c:v>43524</c:v>
                </c:pt>
                <c:pt idx="110">
                  <c:v>43555</c:v>
                </c:pt>
                <c:pt idx="111">
                  <c:v>43585</c:v>
                </c:pt>
                <c:pt idx="112">
                  <c:v>43616</c:v>
                </c:pt>
                <c:pt idx="113">
                  <c:v>43646</c:v>
                </c:pt>
                <c:pt idx="114">
                  <c:v>43677</c:v>
                </c:pt>
                <c:pt idx="115">
                  <c:v>43708</c:v>
                </c:pt>
                <c:pt idx="116">
                  <c:v>43738</c:v>
                </c:pt>
                <c:pt idx="117">
                  <c:v>43769</c:v>
                </c:pt>
                <c:pt idx="118">
                  <c:v>43799</c:v>
                </c:pt>
                <c:pt idx="119">
                  <c:v>43830</c:v>
                </c:pt>
                <c:pt idx="120">
                  <c:v>43861</c:v>
                </c:pt>
                <c:pt idx="121">
                  <c:v>43890</c:v>
                </c:pt>
                <c:pt idx="122">
                  <c:v>43921</c:v>
                </c:pt>
                <c:pt idx="123">
                  <c:v>43951</c:v>
                </c:pt>
                <c:pt idx="124">
                  <c:v>43982</c:v>
                </c:pt>
                <c:pt idx="125">
                  <c:v>44012</c:v>
                </c:pt>
                <c:pt idx="126">
                  <c:v>44043</c:v>
                </c:pt>
                <c:pt idx="127">
                  <c:v>44074</c:v>
                </c:pt>
                <c:pt idx="128">
                  <c:v>44104</c:v>
                </c:pt>
                <c:pt idx="129">
                  <c:v>44135</c:v>
                </c:pt>
                <c:pt idx="130">
                  <c:v>44165</c:v>
                </c:pt>
                <c:pt idx="131">
                  <c:v>44196</c:v>
                </c:pt>
                <c:pt idx="132">
                  <c:v>44227</c:v>
                </c:pt>
                <c:pt idx="133">
                  <c:v>44255</c:v>
                </c:pt>
                <c:pt idx="134">
                  <c:v>44286</c:v>
                </c:pt>
                <c:pt idx="135">
                  <c:v>44316</c:v>
                </c:pt>
                <c:pt idx="136">
                  <c:v>44347</c:v>
                </c:pt>
                <c:pt idx="137">
                  <c:v>44377</c:v>
                </c:pt>
                <c:pt idx="138">
                  <c:v>44408</c:v>
                </c:pt>
                <c:pt idx="139">
                  <c:v>44439</c:v>
                </c:pt>
                <c:pt idx="140">
                  <c:v>44469</c:v>
                </c:pt>
                <c:pt idx="141">
                  <c:v>44500</c:v>
                </c:pt>
                <c:pt idx="142">
                  <c:v>44530</c:v>
                </c:pt>
                <c:pt idx="143">
                  <c:v>44561</c:v>
                </c:pt>
                <c:pt idx="144">
                  <c:v>44592</c:v>
                </c:pt>
                <c:pt idx="145">
                  <c:v>44620</c:v>
                </c:pt>
                <c:pt idx="146">
                  <c:v>44651</c:v>
                </c:pt>
                <c:pt idx="147">
                  <c:v>44681</c:v>
                </c:pt>
                <c:pt idx="148">
                  <c:v>44712</c:v>
                </c:pt>
              </c:numCache>
            </c:numRef>
          </c:cat>
          <c:val>
            <c:numRef>
              <c:f>Sheet1!$H$7:$H$155</c:f>
              <c:numCache>
                <c:formatCode>General</c:formatCode>
                <c:ptCount val="149"/>
                <c:pt idx="0">
                  <c:v>9.8000000000000007</c:v>
                </c:pt>
                <c:pt idx="1">
                  <c:v>9.8000000000000007</c:v>
                </c:pt>
                <c:pt idx="2">
                  <c:v>9.9</c:v>
                </c:pt>
                <c:pt idx="3">
                  <c:v>9.9</c:v>
                </c:pt>
                <c:pt idx="4">
                  <c:v>9.6</c:v>
                </c:pt>
                <c:pt idx="5">
                  <c:v>9.4</c:v>
                </c:pt>
                <c:pt idx="6">
                  <c:v>9.4</c:v>
                </c:pt>
                <c:pt idx="7">
                  <c:v>9.5</c:v>
                </c:pt>
                <c:pt idx="8">
                  <c:v>9.5</c:v>
                </c:pt>
                <c:pt idx="9">
                  <c:v>9.4</c:v>
                </c:pt>
                <c:pt idx="10">
                  <c:v>9.8000000000000007</c:v>
                </c:pt>
                <c:pt idx="11">
                  <c:v>9.3000000000000007</c:v>
                </c:pt>
                <c:pt idx="12">
                  <c:v>9.1</c:v>
                </c:pt>
                <c:pt idx="13">
                  <c:v>9</c:v>
                </c:pt>
                <c:pt idx="14">
                  <c:v>9</c:v>
                </c:pt>
                <c:pt idx="15">
                  <c:v>9.1</c:v>
                </c:pt>
                <c:pt idx="16">
                  <c:v>9</c:v>
                </c:pt>
                <c:pt idx="17">
                  <c:v>9.1</c:v>
                </c:pt>
                <c:pt idx="18">
                  <c:v>9</c:v>
                </c:pt>
                <c:pt idx="19">
                  <c:v>9</c:v>
                </c:pt>
                <c:pt idx="20">
                  <c:v>9</c:v>
                </c:pt>
                <c:pt idx="21">
                  <c:v>8.8000000000000007</c:v>
                </c:pt>
                <c:pt idx="22">
                  <c:v>8.6</c:v>
                </c:pt>
                <c:pt idx="23">
                  <c:v>8.5</c:v>
                </c:pt>
                <c:pt idx="24">
                  <c:v>8.3000000000000007</c:v>
                </c:pt>
                <c:pt idx="25">
                  <c:v>8.3000000000000007</c:v>
                </c:pt>
                <c:pt idx="26">
                  <c:v>8.1999999999999993</c:v>
                </c:pt>
                <c:pt idx="27">
                  <c:v>8.1999999999999993</c:v>
                </c:pt>
                <c:pt idx="28">
                  <c:v>8.1999999999999993</c:v>
                </c:pt>
                <c:pt idx="29">
                  <c:v>8.1999999999999993</c:v>
                </c:pt>
                <c:pt idx="30">
                  <c:v>8.1999999999999993</c:v>
                </c:pt>
                <c:pt idx="31">
                  <c:v>8.1</c:v>
                </c:pt>
                <c:pt idx="32">
                  <c:v>7.8</c:v>
                </c:pt>
                <c:pt idx="33">
                  <c:v>7.8</c:v>
                </c:pt>
                <c:pt idx="34">
                  <c:v>7.7</c:v>
                </c:pt>
                <c:pt idx="35">
                  <c:v>7.9</c:v>
                </c:pt>
                <c:pt idx="36">
                  <c:v>8</c:v>
                </c:pt>
                <c:pt idx="37">
                  <c:v>7.7</c:v>
                </c:pt>
                <c:pt idx="38">
                  <c:v>7.5</c:v>
                </c:pt>
                <c:pt idx="39">
                  <c:v>7.6</c:v>
                </c:pt>
                <c:pt idx="40">
                  <c:v>7.5</c:v>
                </c:pt>
                <c:pt idx="41">
                  <c:v>7.5</c:v>
                </c:pt>
                <c:pt idx="42">
                  <c:v>7.3</c:v>
                </c:pt>
                <c:pt idx="43">
                  <c:v>7.2</c:v>
                </c:pt>
                <c:pt idx="44">
                  <c:v>7.2</c:v>
                </c:pt>
                <c:pt idx="45">
                  <c:v>7.2</c:v>
                </c:pt>
                <c:pt idx="46">
                  <c:v>6.9</c:v>
                </c:pt>
                <c:pt idx="47">
                  <c:v>6.7</c:v>
                </c:pt>
                <c:pt idx="48">
                  <c:v>6.6</c:v>
                </c:pt>
                <c:pt idx="49">
                  <c:v>6.7</c:v>
                </c:pt>
                <c:pt idx="50">
                  <c:v>6.7</c:v>
                </c:pt>
                <c:pt idx="51">
                  <c:v>6.2</c:v>
                </c:pt>
                <c:pt idx="52">
                  <c:v>6.3</c:v>
                </c:pt>
                <c:pt idx="53">
                  <c:v>6.1</c:v>
                </c:pt>
                <c:pt idx="54">
                  <c:v>6.2</c:v>
                </c:pt>
                <c:pt idx="55">
                  <c:v>6.1</c:v>
                </c:pt>
                <c:pt idx="56">
                  <c:v>5.9</c:v>
                </c:pt>
                <c:pt idx="57">
                  <c:v>5.7</c:v>
                </c:pt>
                <c:pt idx="58">
                  <c:v>5.8</c:v>
                </c:pt>
                <c:pt idx="59">
                  <c:v>5.6</c:v>
                </c:pt>
                <c:pt idx="60">
                  <c:v>5.7</c:v>
                </c:pt>
                <c:pt idx="61">
                  <c:v>5.5</c:v>
                </c:pt>
                <c:pt idx="62">
                  <c:v>5.4</c:v>
                </c:pt>
                <c:pt idx="63">
                  <c:v>5.4</c:v>
                </c:pt>
                <c:pt idx="64">
                  <c:v>5.6</c:v>
                </c:pt>
                <c:pt idx="65">
                  <c:v>5.3</c:v>
                </c:pt>
                <c:pt idx="66">
                  <c:v>5.2</c:v>
                </c:pt>
                <c:pt idx="67">
                  <c:v>5.0999999999999996</c:v>
                </c:pt>
                <c:pt idx="68">
                  <c:v>5</c:v>
                </c:pt>
                <c:pt idx="69">
                  <c:v>5</c:v>
                </c:pt>
                <c:pt idx="70">
                  <c:v>5.0999999999999996</c:v>
                </c:pt>
                <c:pt idx="71">
                  <c:v>5</c:v>
                </c:pt>
                <c:pt idx="72">
                  <c:v>4.8</c:v>
                </c:pt>
                <c:pt idx="73">
                  <c:v>4.9000000000000004</c:v>
                </c:pt>
                <c:pt idx="74">
                  <c:v>5</c:v>
                </c:pt>
                <c:pt idx="75">
                  <c:v>5.0999999999999996</c:v>
                </c:pt>
                <c:pt idx="76">
                  <c:v>4.8</c:v>
                </c:pt>
                <c:pt idx="77">
                  <c:v>4.9000000000000004</c:v>
                </c:pt>
                <c:pt idx="78">
                  <c:v>4.8</c:v>
                </c:pt>
                <c:pt idx="79">
                  <c:v>4.9000000000000004</c:v>
                </c:pt>
                <c:pt idx="80">
                  <c:v>5</c:v>
                </c:pt>
                <c:pt idx="81">
                  <c:v>4.9000000000000004</c:v>
                </c:pt>
                <c:pt idx="82">
                  <c:v>4.7</c:v>
                </c:pt>
                <c:pt idx="83">
                  <c:v>4.7</c:v>
                </c:pt>
                <c:pt idx="84">
                  <c:v>4.7</c:v>
                </c:pt>
                <c:pt idx="85">
                  <c:v>4.5999999999999996</c:v>
                </c:pt>
                <c:pt idx="86">
                  <c:v>4.4000000000000004</c:v>
                </c:pt>
                <c:pt idx="87">
                  <c:v>4.5</c:v>
                </c:pt>
                <c:pt idx="88">
                  <c:v>4.4000000000000004</c:v>
                </c:pt>
                <c:pt idx="89">
                  <c:v>4.3</c:v>
                </c:pt>
                <c:pt idx="90">
                  <c:v>4.3</c:v>
                </c:pt>
                <c:pt idx="91">
                  <c:v>4.4000000000000004</c:v>
                </c:pt>
                <c:pt idx="92">
                  <c:v>4.2</c:v>
                </c:pt>
                <c:pt idx="93">
                  <c:v>4.0999999999999996</c:v>
                </c:pt>
                <c:pt idx="94">
                  <c:v>4.2</c:v>
                </c:pt>
                <c:pt idx="95">
                  <c:v>4.0999999999999996</c:v>
                </c:pt>
                <c:pt idx="96">
                  <c:v>4</c:v>
                </c:pt>
                <c:pt idx="97">
                  <c:v>4.0999999999999996</c:v>
                </c:pt>
                <c:pt idx="98">
                  <c:v>4</c:v>
                </c:pt>
                <c:pt idx="99">
                  <c:v>4</c:v>
                </c:pt>
                <c:pt idx="100">
                  <c:v>3.8</c:v>
                </c:pt>
                <c:pt idx="101">
                  <c:v>4</c:v>
                </c:pt>
                <c:pt idx="102">
                  <c:v>3.8</c:v>
                </c:pt>
                <c:pt idx="103">
                  <c:v>3.8</c:v>
                </c:pt>
                <c:pt idx="104">
                  <c:v>3.7</c:v>
                </c:pt>
                <c:pt idx="105">
                  <c:v>3.8</c:v>
                </c:pt>
                <c:pt idx="106">
                  <c:v>3.8</c:v>
                </c:pt>
                <c:pt idx="107">
                  <c:v>3.9</c:v>
                </c:pt>
                <c:pt idx="108">
                  <c:v>4</c:v>
                </c:pt>
                <c:pt idx="109">
                  <c:v>3.8</c:v>
                </c:pt>
                <c:pt idx="110">
                  <c:v>3.8</c:v>
                </c:pt>
                <c:pt idx="111">
                  <c:v>3.7</c:v>
                </c:pt>
                <c:pt idx="112">
                  <c:v>3.7</c:v>
                </c:pt>
                <c:pt idx="113">
                  <c:v>3.6</c:v>
                </c:pt>
                <c:pt idx="114">
                  <c:v>3.6</c:v>
                </c:pt>
                <c:pt idx="115">
                  <c:v>3.7</c:v>
                </c:pt>
                <c:pt idx="116">
                  <c:v>3.5</c:v>
                </c:pt>
                <c:pt idx="117">
                  <c:v>3.6</c:v>
                </c:pt>
                <c:pt idx="118">
                  <c:v>3.6</c:v>
                </c:pt>
                <c:pt idx="119">
                  <c:v>3.6</c:v>
                </c:pt>
                <c:pt idx="120">
                  <c:v>3.5</c:v>
                </c:pt>
                <c:pt idx="121">
                  <c:v>3.5</c:v>
                </c:pt>
                <c:pt idx="122">
                  <c:v>4.4000000000000004</c:v>
                </c:pt>
                <c:pt idx="123">
                  <c:v>14.8</c:v>
                </c:pt>
                <c:pt idx="124">
                  <c:v>13.3</c:v>
                </c:pt>
                <c:pt idx="125">
                  <c:v>11.1</c:v>
                </c:pt>
                <c:pt idx="126">
                  <c:v>10.199999999999999</c:v>
                </c:pt>
                <c:pt idx="127">
                  <c:v>8.4</c:v>
                </c:pt>
                <c:pt idx="128">
                  <c:v>7.8</c:v>
                </c:pt>
                <c:pt idx="129">
                  <c:v>6.9</c:v>
                </c:pt>
                <c:pt idx="130">
                  <c:v>6.7</c:v>
                </c:pt>
                <c:pt idx="131">
                  <c:v>6.7</c:v>
                </c:pt>
                <c:pt idx="132">
                  <c:v>6.3</c:v>
                </c:pt>
                <c:pt idx="133">
                  <c:v>6.2</c:v>
                </c:pt>
                <c:pt idx="134">
                  <c:v>6</c:v>
                </c:pt>
                <c:pt idx="135">
                  <c:v>6.1</c:v>
                </c:pt>
                <c:pt idx="136">
                  <c:v>5.8</c:v>
                </c:pt>
                <c:pt idx="137">
                  <c:v>5.9</c:v>
                </c:pt>
                <c:pt idx="138">
                  <c:v>5.4</c:v>
                </c:pt>
                <c:pt idx="139">
                  <c:v>5.2</c:v>
                </c:pt>
                <c:pt idx="140">
                  <c:v>4.7</c:v>
                </c:pt>
                <c:pt idx="141">
                  <c:v>4.5999999999999996</c:v>
                </c:pt>
                <c:pt idx="142">
                  <c:v>4.2</c:v>
                </c:pt>
                <c:pt idx="143">
                  <c:v>3.9</c:v>
                </c:pt>
                <c:pt idx="144">
                  <c:v>4</c:v>
                </c:pt>
                <c:pt idx="145">
                  <c:v>3.8</c:v>
                </c:pt>
                <c:pt idx="146">
                  <c:v>3.6</c:v>
                </c:pt>
                <c:pt idx="147">
                  <c:v>3.6</c:v>
                </c:pt>
                <c:pt idx="148">
                  <c:v>3.6</c:v>
                </c:pt>
              </c:numCache>
            </c:numRef>
          </c:val>
          <c:smooth val="0"/>
          <c:extLst>
            <c:ext xmlns:c16="http://schemas.microsoft.com/office/drawing/2014/chart" uri="{C3380CC4-5D6E-409C-BE32-E72D297353CC}">
              <c16:uniqueId val="{00000000-3C1D-4469-9C99-733875AF9850}"/>
            </c:ext>
          </c:extLst>
        </c:ser>
        <c:ser>
          <c:idx val="1"/>
          <c:order val="1"/>
          <c:spPr>
            <a:ln w="25400" cap="rnd">
              <a:solidFill>
                <a:srgbClr val="E09B00"/>
              </a:solidFill>
              <a:prstDash val="dash"/>
              <a:round/>
            </a:ln>
            <a:effectLst/>
          </c:spPr>
          <c:marker>
            <c:symbol val="none"/>
          </c:marker>
          <c:cat>
            <c:numRef>
              <c:f>Sheet1!$G$7:$G$155</c:f>
              <c:numCache>
                <c:formatCode>m/d/yyyy</c:formatCode>
                <c:ptCount val="149"/>
                <c:pt idx="0">
                  <c:v>40209</c:v>
                </c:pt>
                <c:pt idx="1">
                  <c:v>40237</c:v>
                </c:pt>
                <c:pt idx="2">
                  <c:v>40268</c:v>
                </c:pt>
                <c:pt idx="3">
                  <c:v>40298</c:v>
                </c:pt>
                <c:pt idx="4">
                  <c:v>40329</c:v>
                </c:pt>
                <c:pt idx="5">
                  <c:v>40359</c:v>
                </c:pt>
                <c:pt idx="6">
                  <c:v>40390</c:v>
                </c:pt>
                <c:pt idx="7">
                  <c:v>40421</c:v>
                </c:pt>
                <c:pt idx="8">
                  <c:v>40451</c:v>
                </c:pt>
                <c:pt idx="9">
                  <c:v>40482</c:v>
                </c:pt>
                <c:pt idx="10">
                  <c:v>40512</c:v>
                </c:pt>
                <c:pt idx="11">
                  <c:v>40543</c:v>
                </c:pt>
                <c:pt idx="12">
                  <c:v>40574</c:v>
                </c:pt>
                <c:pt idx="13">
                  <c:v>40602</c:v>
                </c:pt>
                <c:pt idx="14">
                  <c:v>40633</c:v>
                </c:pt>
                <c:pt idx="15">
                  <c:v>40663</c:v>
                </c:pt>
                <c:pt idx="16">
                  <c:v>40694</c:v>
                </c:pt>
                <c:pt idx="17">
                  <c:v>40724</c:v>
                </c:pt>
                <c:pt idx="18">
                  <c:v>40755</c:v>
                </c:pt>
                <c:pt idx="19">
                  <c:v>40786</c:v>
                </c:pt>
                <c:pt idx="20">
                  <c:v>40816</c:v>
                </c:pt>
                <c:pt idx="21">
                  <c:v>40847</c:v>
                </c:pt>
                <c:pt idx="22">
                  <c:v>40877</c:v>
                </c:pt>
                <c:pt idx="23">
                  <c:v>40908</c:v>
                </c:pt>
                <c:pt idx="24">
                  <c:v>40939</c:v>
                </c:pt>
                <c:pt idx="25">
                  <c:v>40968</c:v>
                </c:pt>
                <c:pt idx="26">
                  <c:v>40999</c:v>
                </c:pt>
                <c:pt idx="27">
                  <c:v>41029</c:v>
                </c:pt>
                <c:pt idx="28">
                  <c:v>41060</c:v>
                </c:pt>
                <c:pt idx="29">
                  <c:v>41090</c:v>
                </c:pt>
                <c:pt idx="30">
                  <c:v>41121</c:v>
                </c:pt>
                <c:pt idx="31">
                  <c:v>41152</c:v>
                </c:pt>
                <c:pt idx="32">
                  <c:v>41182</c:v>
                </c:pt>
                <c:pt idx="33">
                  <c:v>41213</c:v>
                </c:pt>
                <c:pt idx="34">
                  <c:v>41243</c:v>
                </c:pt>
                <c:pt idx="35">
                  <c:v>41274</c:v>
                </c:pt>
                <c:pt idx="36">
                  <c:v>41305</c:v>
                </c:pt>
                <c:pt idx="37">
                  <c:v>41333</c:v>
                </c:pt>
                <c:pt idx="38">
                  <c:v>41364</c:v>
                </c:pt>
                <c:pt idx="39">
                  <c:v>41394</c:v>
                </c:pt>
                <c:pt idx="40">
                  <c:v>41425</c:v>
                </c:pt>
                <c:pt idx="41">
                  <c:v>41455</c:v>
                </c:pt>
                <c:pt idx="42">
                  <c:v>41486</c:v>
                </c:pt>
                <c:pt idx="43">
                  <c:v>41517</c:v>
                </c:pt>
                <c:pt idx="44">
                  <c:v>41547</c:v>
                </c:pt>
                <c:pt idx="45">
                  <c:v>41578</c:v>
                </c:pt>
                <c:pt idx="46">
                  <c:v>41608</c:v>
                </c:pt>
                <c:pt idx="47">
                  <c:v>41639</c:v>
                </c:pt>
                <c:pt idx="48">
                  <c:v>41670</c:v>
                </c:pt>
                <c:pt idx="49">
                  <c:v>41698</c:v>
                </c:pt>
                <c:pt idx="50">
                  <c:v>41729</c:v>
                </c:pt>
                <c:pt idx="51">
                  <c:v>41759</c:v>
                </c:pt>
                <c:pt idx="52">
                  <c:v>41790</c:v>
                </c:pt>
                <c:pt idx="53">
                  <c:v>41820</c:v>
                </c:pt>
                <c:pt idx="54">
                  <c:v>41851</c:v>
                </c:pt>
                <c:pt idx="55">
                  <c:v>41882</c:v>
                </c:pt>
                <c:pt idx="56">
                  <c:v>41912</c:v>
                </c:pt>
                <c:pt idx="57">
                  <c:v>41943</c:v>
                </c:pt>
                <c:pt idx="58">
                  <c:v>41973</c:v>
                </c:pt>
                <c:pt idx="59">
                  <c:v>42004</c:v>
                </c:pt>
                <c:pt idx="60">
                  <c:v>42035</c:v>
                </c:pt>
                <c:pt idx="61">
                  <c:v>42063</c:v>
                </c:pt>
                <c:pt idx="62">
                  <c:v>42094</c:v>
                </c:pt>
                <c:pt idx="63">
                  <c:v>42124</c:v>
                </c:pt>
                <c:pt idx="64">
                  <c:v>42155</c:v>
                </c:pt>
                <c:pt idx="65">
                  <c:v>42185</c:v>
                </c:pt>
                <c:pt idx="66">
                  <c:v>42216</c:v>
                </c:pt>
                <c:pt idx="67">
                  <c:v>42247</c:v>
                </c:pt>
                <c:pt idx="68">
                  <c:v>42277</c:v>
                </c:pt>
                <c:pt idx="69">
                  <c:v>42308</c:v>
                </c:pt>
                <c:pt idx="70">
                  <c:v>42338</c:v>
                </c:pt>
                <c:pt idx="71">
                  <c:v>42369</c:v>
                </c:pt>
                <c:pt idx="72">
                  <c:v>42400</c:v>
                </c:pt>
                <c:pt idx="73">
                  <c:v>42429</c:v>
                </c:pt>
                <c:pt idx="74">
                  <c:v>42460</c:v>
                </c:pt>
                <c:pt idx="75">
                  <c:v>42490</c:v>
                </c:pt>
                <c:pt idx="76">
                  <c:v>42521</c:v>
                </c:pt>
                <c:pt idx="77">
                  <c:v>42551</c:v>
                </c:pt>
                <c:pt idx="78">
                  <c:v>42582</c:v>
                </c:pt>
                <c:pt idx="79">
                  <c:v>42613</c:v>
                </c:pt>
                <c:pt idx="80">
                  <c:v>42643</c:v>
                </c:pt>
                <c:pt idx="81">
                  <c:v>42674</c:v>
                </c:pt>
                <c:pt idx="82">
                  <c:v>42704</c:v>
                </c:pt>
                <c:pt idx="83">
                  <c:v>42735</c:v>
                </c:pt>
                <c:pt idx="84">
                  <c:v>42766</c:v>
                </c:pt>
                <c:pt idx="85">
                  <c:v>42794</c:v>
                </c:pt>
                <c:pt idx="86">
                  <c:v>42825</c:v>
                </c:pt>
                <c:pt idx="87">
                  <c:v>42855</c:v>
                </c:pt>
                <c:pt idx="88">
                  <c:v>42886</c:v>
                </c:pt>
                <c:pt idx="89">
                  <c:v>42916</c:v>
                </c:pt>
                <c:pt idx="90">
                  <c:v>42947</c:v>
                </c:pt>
                <c:pt idx="91">
                  <c:v>42978</c:v>
                </c:pt>
                <c:pt idx="92">
                  <c:v>43008</c:v>
                </c:pt>
                <c:pt idx="93">
                  <c:v>43039</c:v>
                </c:pt>
                <c:pt idx="94">
                  <c:v>43069</c:v>
                </c:pt>
                <c:pt idx="95">
                  <c:v>43100</c:v>
                </c:pt>
                <c:pt idx="96">
                  <c:v>43131</c:v>
                </c:pt>
                <c:pt idx="97">
                  <c:v>43159</c:v>
                </c:pt>
                <c:pt idx="98">
                  <c:v>43190</c:v>
                </c:pt>
                <c:pt idx="99">
                  <c:v>43220</c:v>
                </c:pt>
                <c:pt idx="100">
                  <c:v>43251</c:v>
                </c:pt>
                <c:pt idx="101">
                  <c:v>43281</c:v>
                </c:pt>
                <c:pt idx="102">
                  <c:v>43312</c:v>
                </c:pt>
                <c:pt idx="103">
                  <c:v>43343</c:v>
                </c:pt>
                <c:pt idx="104">
                  <c:v>43373</c:v>
                </c:pt>
                <c:pt idx="105">
                  <c:v>43404</c:v>
                </c:pt>
                <c:pt idx="106">
                  <c:v>43434</c:v>
                </c:pt>
                <c:pt idx="107">
                  <c:v>43465</c:v>
                </c:pt>
                <c:pt idx="108">
                  <c:v>43496</c:v>
                </c:pt>
                <c:pt idx="109">
                  <c:v>43524</c:v>
                </c:pt>
                <c:pt idx="110">
                  <c:v>43555</c:v>
                </c:pt>
                <c:pt idx="111">
                  <c:v>43585</c:v>
                </c:pt>
                <c:pt idx="112">
                  <c:v>43616</c:v>
                </c:pt>
                <c:pt idx="113">
                  <c:v>43646</c:v>
                </c:pt>
                <c:pt idx="114">
                  <c:v>43677</c:v>
                </c:pt>
                <c:pt idx="115">
                  <c:v>43708</c:v>
                </c:pt>
                <c:pt idx="116">
                  <c:v>43738</c:v>
                </c:pt>
                <c:pt idx="117">
                  <c:v>43769</c:v>
                </c:pt>
                <c:pt idx="118">
                  <c:v>43799</c:v>
                </c:pt>
                <c:pt idx="119">
                  <c:v>43830</c:v>
                </c:pt>
                <c:pt idx="120">
                  <c:v>43861</c:v>
                </c:pt>
                <c:pt idx="121">
                  <c:v>43890</c:v>
                </c:pt>
                <c:pt idx="122">
                  <c:v>43921</c:v>
                </c:pt>
                <c:pt idx="123">
                  <c:v>43951</c:v>
                </c:pt>
                <c:pt idx="124">
                  <c:v>43982</c:v>
                </c:pt>
                <c:pt idx="125">
                  <c:v>44012</c:v>
                </c:pt>
                <c:pt idx="126">
                  <c:v>44043</c:v>
                </c:pt>
                <c:pt idx="127">
                  <c:v>44074</c:v>
                </c:pt>
                <c:pt idx="128">
                  <c:v>44104</c:v>
                </c:pt>
                <c:pt idx="129">
                  <c:v>44135</c:v>
                </c:pt>
                <c:pt idx="130">
                  <c:v>44165</c:v>
                </c:pt>
                <c:pt idx="131">
                  <c:v>44196</c:v>
                </c:pt>
                <c:pt idx="132">
                  <c:v>44227</c:v>
                </c:pt>
                <c:pt idx="133">
                  <c:v>44255</c:v>
                </c:pt>
                <c:pt idx="134">
                  <c:v>44286</c:v>
                </c:pt>
                <c:pt idx="135">
                  <c:v>44316</c:v>
                </c:pt>
                <c:pt idx="136">
                  <c:v>44347</c:v>
                </c:pt>
                <c:pt idx="137">
                  <c:v>44377</c:v>
                </c:pt>
                <c:pt idx="138">
                  <c:v>44408</c:v>
                </c:pt>
                <c:pt idx="139">
                  <c:v>44439</c:v>
                </c:pt>
                <c:pt idx="140">
                  <c:v>44469</c:v>
                </c:pt>
                <c:pt idx="141">
                  <c:v>44500</c:v>
                </c:pt>
                <c:pt idx="142">
                  <c:v>44530</c:v>
                </c:pt>
                <c:pt idx="143">
                  <c:v>44561</c:v>
                </c:pt>
                <c:pt idx="144">
                  <c:v>44592</c:v>
                </c:pt>
                <c:pt idx="145">
                  <c:v>44620</c:v>
                </c:pt>
                <c:pt idx="146">
                  <c:v>44651</c:v>
                </c:pt>
                <c:pt idx="147">
                  <c:v>44681</c:v>
                </c:pt>
                <c:pt idx="148">
                  <c:v>44712</c:v>
                </c:pt>
              </c:numCache>
            </c:numRef>
          </c:cat>
          <c:val>
            <c:numRef>
              <c:f>Sheet1!$I$7:$I$155</c:f>
              <c:numCache>
                <c:formatCode>General</c:formatCode>
                <c:ptCount val="149"/>
                <c:pt idx="0">
                  <c:v>4.8507282830000005</c:v>
                </c:pt>
                <c:pt idx="1">
                  <c:v>4.8507282830000005</c:v>
                </c:pt>
                <c:pt idx="2">
                  <c:v>4.8507282830000005</c:v>
                </c:pt>
                <c:pt idx="3">
                  <c:v>4.8439365910000003</c:v>
                </c:pt>
                <c:pt idx="4">
                  <c:v>4.8439365910000003</c:v>
                </c:pt>
                <c:pt idx="5">
                  <c:v>4.8439365910000003</c:v>
                </c:pt>
                <c:pt idx="6">
                  <c:v>4.836630897</c:v>
                </c:pt>
                <c:pt idx="7">
                  <c:v>4.836630897</c:v>
                </c:pt>
                <c:pt idx="8">
                  <c:v>4.836630897</c:v>
                </c:pt>
                <c:pt idx="9">
                  <c:v>4.8287428630000004</c:v>
                </c:pt>
                <c:pt idx="10">
                  <c:v>4.8287428630000004</c:v>
                </c:pt>
                <c:pt idx="11">
                  <c:v>4.8287428630000004</c:v>
                </c:pt>
                <c:pt idx="12">
                  <c:v>4.8202440069999994</c:v>
                </c:pt>
                <c:pt idx="13">
                  <c:v>4.8202440069999994</c:v>
                </c:pt>
                <c:pt idx="14">
                  <c:v>4.8202440069999994</c:v>
                </c:pt>
                <c:pt idx="15">
                  <c:v>4.8111581239999994</c:v>
                </c:pt>
                <c:pt idx="16">
                  <c:v>4.8111581239999994</c:v>
                </c:pt>
                <c:pt idx="17">
                  <c:v>4.8111581239999994</c:v>
                </c:pt>
                <c:pt idx="18">
                  <c:v>4.8015698130000004</c:v>
                </c:pt>
                <c:pt idx="19">
                  <c:v>4.8015698130000004</c:v>
                </c:pt>
                <c:pt idx="20">
                  <c:v>4.8015698130000004</c:v>
                </c:pt>
                <c:pt idx="21">
                  <c:v>4.7916221180000003</c:v>
                </c:pt>
                <c:pt idx="22">
                  <c:v>4.7916221180000003</c:v>
                </c:pt>
                <c:pt idx="23">
                  <c:v>4.7916221180000003</c:v>
                </c:pt>
                <c:pt idx="24">
                  <c:v>4.7814995289999995</c:v>
                </c:pt>
                <c:pt idx="25">
                  <c:v>4.7814995289999995</c:v>
                </c:pt>
                <c:pt idx="26">
                  <c:v>4.7814995289999995</c:v>
                </c:pt>
                <c:pt idx="27">
                  <c:v>4.7713995210000002</c:v>
                </c:pt>
                <c:pt idx="28">
                  <c:v>4.7713995210000002</c:v>
                </c:pt>
                <c:pt idx="29">
                  <c:v>4.7713995210000002</c:v>
                </c:pt>
                <c:pt idx="30">
                  <c:v>4.7615027149999998</c:v>
                </c:pt>
                <c:pt idx="31">
                  <c:v>4.7615027149999998</c:v>
                </c:pt>
                <c:pt idx="32">
                  <c:v>4.7615027149999998</c:v>
                </c:pt>
                <c:pt idx="33">
                  <c:v>4.7519488569999995</c:v>
                </c:pt>
                <c:pt idx="34">
                  <c:v>4.7519488569999995</c:v>
                </c:pt>
                <c:pt idx="35">
                  <c:v>4.7519488569999995</c:v>
                </c:pt>
                <c:pt idx="36">
                  <c:v>4.7428248569999996</c:v>
                </c:pt>
                <c:pt idx="37">
                  <c:v>4.7428248569999996</c:v>
                </c:pt>
                <c:pt idx="38">
                  <c:v>4.7428248569999996</c:v>
                </c:pt>
                <c:pt idx="39">
                  <c:v>4.7341672180000005</c:v>
                </c:pt>
                <c:pt idx="40">
                  <c:v>4.7341672180000005</c:v>
                </c:pt>
                <c:pt idx="41">
                  <c:v>4.7341672180000005</c:v>
                </c:pt>
                <c:pt idx="42">
                  <c:v>4.7259732520000002</c:v>
                </c:pt>
                <c:pt idx="43">
                  <c:v>4.7259732520000002</c:v>
                </c:pt>
                <c:pt idx="44">
                  <c:v>4.7259732520000002</c:v>
                </c:pt>
                <c:pt idx="45">
                  <c:v>4.7182122930000006</c:v>
                </c:pt>
                <c:pt idx="46">
                  <c:v>4.7182122930000006</c:v>
                </c:pt>
                <c:pt idx="47">
                  <c:v>4.7182122930000006</c:v>
                </c:pt>
                <c:pt idx="48">
                  <c:v>4.7108351619999995</c:v>
                </c:pt>
                <c:pt idx="49">
                  <c:v>4.7108351619999995</c:v>
                </c:pt>
                <c:pt idx="50">
                  <c:v>4.7108351619999995</c:v>
                </c:pt>
                <c:pt idx="51">
                  <c:v>4.7037808310000004</c:v>
                </c:pt>
                <c:pt idx="52">
                  <c:v>4.7037808310000004</c:v>
                </c:pt>
                <c:pt idx="53">
                  <c:v>4.7037808310000004</c:v>
                </c:pt>
                <c:pt idx="54">
                  <c:v>4.6969798379999999</c:v>
                </c:pt>
                <c:pt idx="55">
                  <c:v>4.6969798379999999</c:v>
                </c:pt>
                <c:pt idx="56">
                  <c:v>4.6969798379999999</c:v>
                </c:pt>
                <c:pt idx="57">
                  <c:v>4.6903562780000003</c:v>
                </c:pt>
                <c:pt idx="58">
                  <c:v>4.6903562780000003</c:v>
                </c:pt>
                <c:pt idx="59">
                  <c:v>4.6903562780000003</c:v>
                </c:pt>
                <c:pt idx="60">
                  <c:v>4.6838315389999998</c:v>
                </c:pt>
                <c:pt idx="61">
                  <c:v>4.6838315389999998</c:v>
                </c:pt>
                <c:pt idx="62">
                  <c:v>4.6838315389999998</c:v>
                </c:pt>
                <c:pt idx="63">
                  <c:v>4.6773284660000005</c:v>
                </c:pt>
                <c:pt idx="64">
                  <c:v>4.6773284660000005</c:v>
                </c:pt>
                <c:pt idx="65">
                  <c:v>4.6773284660000005</c:v>
                </c:pt>
                <c:pt idx="66">
                  <c:v>4.6707745940000001</c:v>
                </c:pt>
                <c:pt idx="67">
                  <c:v>4.6707745940000001</c:v>
                </c:pt>
                <c:pt idx="68">
                  <c:v>4.6707745940000001</c:v>
                </c:pt>
                <c:pt idx="69">
                  <c:v>4.6641073539999995</c:v>
                </c:pt>
                <c:pt idx="70">
                  <c:v>4.6641073539999995</c:v>
                </c:pt>
                <c:pt idx="71">
                  <c:v>4.6641073539999995</c:v>
                </c:pt>
                <c:pt idx="72">
                  <c:v>4.657280063</c:v>
                </c:pt>
                <c:pt idx="73">
                  <c:v>4.657280063</c:v>
                </c:pt>
                <c:pt idx="74">
                  <c:v>4.657280063</c:v>
                </c:pt>
                <c:pt idx="75">
                  <c:v>4.6502667630000003</c:v>
                </c:pt>
                <c:pt idx="76">
                  <c:v>4.6502667630000003</c:v>
                </c:pt>
                <c:pt idx="77">
                  <c:v>4.6502667630000003</c:v>
                </c:pt>
                <c:pt idx="78">
                  <c:v>4.6430657960000001</c:v>
                </c:pt>
                <c:pt idx="79">
                  <c:v>4.6430657960000001</c:v>
                </c:pt>
                <c:pt idx="80">
                  <c:v>4.6430657960000001</c:v>
                </c:pt>
                <c:pt idx="81">
                  <c:v>4.6356975120000001</c:v>
                </c:pt>
                <c:pt idx="82">
                  <c:v>4.6356975120000001</c:v>
                </c:pt>
                <c:pt idx="83">
                  <c:v>4.6356975120000001</c:v>
                </c:pt>
                <c:pt idx="84">
                  <c:v>4.6281924649999997</c:v>
                </c:pt>
                <c:pt idx="85">
                  <c:v>4.6281924649999997</c:v>
                </c:pt>
                <c:pt idx="86">
                  <c:v>4.6281924649999997</c:v>
                </c:pt>
                <c:pt idx="87">
                  <c:v>4.6205740230000005</c:v>
                </c:pt>
                <c:pt idx="88">
                  <c:v>4.6205740230000005</c:v>
                </c:pt>
                <c:pt idx="89">
                  <c:v>4.6205740230000005</c:v>
                </c:pt>
                <c:pt idx="90">
                  <c:v>4.6128389890000001</c:v>
                </c:pt>
                <c:pt idx="91">
                  <c:v>4.6128389890000001</c:v>
                </c:pt>
                <c:pt idx="92">
                  <c:v>4.6128389890000001</c:v>
                </c:pt>
                <c:pt idx="93">
                  <c:v>4.6049403710000005</c:v>
                </c:pt>
                <c:pt idx="94">
                  <c:v>4.6049403710000005</c:v>
                </c:pt>
                <c:pt idx="95">
                  <c:v>4.6049403710000005</c:v>
                </c:pt>
                <c:pt idx="96">
                  <c:v>4.5967845340000002</c:v>
                </c:pt>
                <c:pt idx="97">
                  <c:v>4.5967845340000002</c:v>
                </c:pt>
                <c:pt idx="98">
                  <c:v>4.5967845340000002</c:v>
                </c:pt>
                <c:pt idx="99">
                  <c:v>4.5882442330000002</c:v>
                </c:pt>
                <c:pt idx="100">
                  <c:v>4.5882442330000002</c:v>
                </c:pt>
                <c:pt idx="101">
                  <c:v>4.5882442330000002</c:v>
                </c:pt>
                <c:pt idx="102">
                  <c:v>4.5791828580000002</c:v>
                </c:pt>
                <c:pt idx="103">
                  <c:v>4.5791828580000002</c:v>
                </c:pt>
                <c:pt idx="104">
                  <c:v>4.5791828580000002</c:v>
                </c:pt>
                <c:pt idx="105">
                  <c:v>4.569488335</c:v>
                </c:pt>
                <c:pt idx="106">
                  <c:v>4.569488335</c:v>
                </c:pt>
                <c:pt idx="107">
                  <c:v>4.569488335</c:v>
                </c:pt>
                <c:pt idx="108">
                  <c:v>4.5591073499999997</c:v>
                </c:pt>
                <c:pt idx="109">
                  <c:v>4.5591073499999997</c:v>
                </c:pt>
                <c:pt idx="110">
                  <c:v>4.5591073499999997</c:v>
                </c:pt>
                <c:pt idx="111">
                  <c:v>4.5480723169999999</c:v>
                </c:pt>
                <c:pt idx="112">
                  <c:v>4.5480723169999999</c:v>
                </c:pt>
                <c:pt idx="113">
                  <c:v>4.5480723169999999</c:v>
                </c:pt>
                <c:pt idx="114">
                  <c:v>4.5365183849999999</c:v>
                </c:pt>
                <c:pt idx="115">
                  <c:v>4.5365183849999999</c:v>
                </c:pt>
                <c:pt idx="116">
                  <c:v>4.5365183849999999</c:v>
                </c:pt>
                <c:pt idx="117">
                  <c:v>4.5246824210000005</c:v>
                </c:pt>
                <c:pt idx="118">
                  <c:v>4.5246824210000005</c:v>
                </c:pt>
                <c:pt idx="119">
                  <c:v>4.5246824210000005</c:v>
                </c:pt>
                <c:pt idx="120">
                  <c:v>4.5128759970000001</c:v>
                </c:pt>
                <c:pt idx="121">
                  <c:v>4.5128759970000001</c:v>
                </c:pt>
                <c:pt idx="122">
                  <c:v>4.5128759970000001</c:v>
                </c:pt>
                <c:pt idx="123">
                  <c:v>4.5014350759999999</c:v>
                </c:pt>
                <c:pt idx="124">
                  <c:v>4.5014350759999999</c:v>
                </c:pt>
                <c:pt idx="125">
                  <c:v>4.5014350759999999</c:v>
                </c:pt>
                <c:pt idx="126">
                  <c:v>4.4906582410000002</c:v>
                </c:pt>
                <c:pt idx="127">
                  <c:v>4.4906582410000002</c:v>
                </c:pt>
                <c:pt idx="128">
                  <c:v>4.4906582410000002</c:v>
                </c:pt>
                <c:pt idx="129">
                  <c:v>4.4807563269999999</c:v>
                </c:pt>
                <c:pt idx="130">
                  <c:v>4.4807563269999999</c:v>
                </c:pt>
                <c:pt idx="131">
                  <c:v>4.4807563269999999</c:v>
                </c:pt>
                <c:pt idx="132">
                  <c:v>4.4718328339999998</c:v>
                </c:pt>
                <c:pt idx="133">
                  <c:v>4.4718328339999998</c:v>
                </c:pt>
                <c:pt idx="134">
                  <c:v>4.4718328339999998</c:v>
                </c:pt>
                <c:pt idx="135">
                  <c:v>4.463891501</c:v>
                </c:pt>
                <c:pt idx="136">
                  <c:v>4.463891501</c:v>
                </c:pt>
                <c:pt idx="137">
                  <c:v>4.463891501</c:v>
                </c:pt>
                <c:pt idx="138" formatCode="0.0000000000000000">
                  <c:v>4.4568650000000005</c:v>
                </c:pt>
                <c:pt idx="139" formatCode="0.0000000000000000">
                  <c:v>4.4568650000000005</c:v>
                </c:pt>
                <c:pt idx="140" formatCode="0.0000000000000000">
                  <c:v>4.4568650000000005</c:v>
                </c:pt>
                <c:pt idx="141" formatCode="0.0000000000000000">
                  <c:v>4.4506510000000006</c:v>
                </c:pt>
                <c:pt idx="142" formatCode="0.0000000000000000">
                  <c:v>4.4506510000000006</c:v>
                </c:pt>
                <c:pt idx="143" formatCode="0.0000000000000000">
                  <c:v>4.4506510000000006</c:v>
                </c:pt>
                <c:pt idx="144" formatCode="0.0000000000000000">
                  <c:v>4.4451369999999999</c:v>
                </c:pt>
                <c:pt idx="145" formatCode="0.0000000000000000">
                  <c:v>4.4451369999999999</c:v>
                </c:pt>
                <c:pt idx="146" formatCode="0.0000000000000000">
                  <c:v>4.4451369999999999</c:v>
                </c:pt>
                <c:pt idx="147" formatCode="0.0000000000000000">
                  <c:v>4.4402140000000001</c:v>
                </c:pt>
                <c:pt idx="148" formatCode="0.0000000000000000">
                  <c:v>4.4402140000000001</c:v>
                </c:pt>
              </c:numCache>
            </c:numRef>
          </c:val>
          <c:smooth val="0"/>
          <c:extLst>
            <c:ext xmlns:c16="http://schemas.microsoft.com/office/drawing/2014/chart" uri="{C3380CC4-5D6E-409C-BE32-E72D297353CC}">
              <c16:uniqueId val="{00000001-3C1D-4469-9C99-733875AF9850}"/>
            </c:ext>
          </c:extLst>
        </c:ser>
        <c:dLbls>
          <c:showLegendKey val="0"/>
          <c:showVal val="0"/>
          <c:showCatName val="0"/>
          <c:showSerName val="0"/>
          <c:showPercent val="0"/>
          <c:showBubbleSize val="0"/>
        </c:dLbls>
        <c:smooth val="0"/>
        <c:axId val="996138816"/>
        <c:axId val="996129632"/>
      </c:lineChart>
      <c:dateAx>
        <c:axId val="996138816"/>
        <c:scaling>
          <c:orientation val="minMax"/>
          <c:max val="44682"/>
        </c:scaling>
        <c:delete val="0"/>
        <c:axPos val="b"/>
        <c:numFmt formatCode="yyyy" sourceLinked="0"/>
        <c:majorTickMark val="out"/>
        <c:minorTickMark val="none"/>
        <c:tickLblPos val="nextTo"/>
        <c:spPr>
          <a:noFill/>
          <a:ln w="3175" cap="flat" cmpd="sng" algn="ctr">
            <a:solidFill>
              <a:schemeClr val="tx1"/>
            </a:solidFill>
            <a:round/>
          </a:ln>
          <a:effectLst/>
        </c:spPr>
        <c:txPr>
          <a:bodyPr rot="-5400000" spcFirstLastPara="1" vertOverflow="ellipsis" wrap="square" anchor="ctr" anchorCtr="1"/>
          <a:lstStyle/>
          <a:p>
            <a:pPr>
              <a:defRPr sz="8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996129632"/>
        <c:crosses val="autoZero"/>
        <c:auto val="1"/>
        <c:lblOffset val="100"/>
        <c:baseTimeUnit val="months"/>
        <c:majorUnit val="1"/>
        <c:majorTimeUnit val="years"/>
      </c:dateAx>
      <c:valAx>
        <c:axId val="996129632"/>
        <c:scaling>
          <c:orientation val="minMax"/>
          <c:max val="16"/>
          <c:min val="0"/>
        </c:scaling>
        <c:delete val="0"/>
        <c:axPos val="l"/>
        <c:numFmt formatCode="General" sourceLinked="1"/>
        <c:majorTickMark val="out"/>
        <c:minorTickMark val="none"/>
        <c:tickLblPos val="nextTo"/>
        <c:spPr>
          <a:noFill/>
          <a:ln w="3175">
            <a:solidFill>
              <a:schemeClr val="tx1"/>
            </a:solidFill>
          </a:ln>
          <a:effectLst/>
        </c:spPr>
        <c:txPr>
          <a:bodyPr rot="-60000000" spcFirstLastPara="1" vertOverflow="ellipsis" vert="horz" wrap="square" anchor="ctr" anchorCtr="1"/>
          <a:lstStyle/>
          <a:p>
            <a:pPr>
              <a:defRPr sz="8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99613881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752404620647621"/>
          <c:y val="0.15079171783658823"/>
          <c:w val="0.81081607294204072"/>
          <c:h val="0.64595132501204866"/>
        </c:manualLayout>
      </c:layout>
      <c:lineChart>
        <c:grouping val="standard"/>
        <c:varyColors val="0"/>
        <c:ser>
          <c:idx val="0"/>
          <c:order val="0"/>
          <c:spPr>
            <a:ln w="25400">
              <a:solidFill>
                <a:srgbClr val="298FC2"/>
              </a:solidFill>
            </a:ln>
          </c:spPr>
          <c:marker>
            <c:symbol val="none"/>
          </c:marker>
          <c:cat>
            <c:numRef>
              <c:f>'Global PMI and Core PCE'!$E$4:$E$290</c:f>
              <c:numCache>
                <c:formatCode>m/d/yyyy</c:formatCode>
                <c:ptCount val="287"/>
                <c:pt idx="0">
                  <c:v>36585</c:v>
                </c:pt>
                <c:pt idx="1">
                  <c:v>36616</c:v>
                </c:pt>
                <c:pt idx="2">
                  <c:v>36646</c:v>
                </c:pt>
                <c:pt idx="3">
                  <c:v>36677</c:v>
                </c:pt>
                <c:pt idx="4">
                  <c:v>36707</c:v>
                </c:pt>
                <c:pt idx="5">
                  <c:v>36738</c:v>
                </c:pt>
                <c:pt idx="6">
                  <c:v>36769</c:v>
                </c:pt>
                <c:pt idx="7">
                  <c:v>36799</c:v>
                </c:pt>
                <c:pt idx="8">
                  <c:v>36830</c:v>
                </c:pt>
                <c:pt idx="9">
                  <c:v>36860</c:v>
                </c:pt>
                <c:pt idx="10">
                  <c:v>36891</c:v>
                </c:pt>
                <c:pt idx="11">
                  <c:v>36922</c:v>
                </c:pt>
                <c:pt idx="12">
                  <c:v>36950</c:v>
                </c:pt>
                <c:pt idx="13">
                  <c:v>36981</c:v>
                </c:pt>
                <c:pt idx="14">
                  <c:v>37011</c:v>
                </c:pt>
                <c:pt idx="15">
                  <c:v>37042</c:v>
                </c:pt>
                <c:pt idx="16">
                  <c:v>37072</c:v>
                </c:pt>
                <c:pt idx="17">
                  <c:v>37103</c:v>
                </c:pt>
                <c:pt idx="18">
                  <c:v>37134</c:v>
                </c:pt>
                <c:pt idx="19">
                  <c:v>37164</c:v>
                </c:pt>
                <c:pt idx="20">
                  <c:v>37195</c:v>
                </c:pt>
                <c:pt idx="21">
                  <c:v>37225</c:v>
                </c:pt>
                <c:pt idx="22">
                  <c:v>37256</c:v>
                </c:pt>
                <c:pt idx="23">
                  <c:v>37287</c:v>
                </c:pt>
                <c:pt idx="24">
                  <c:v>37315</c:v>
                </c:pt>
                <c:pt idx="25">
                  <c:v>37346</c:v>
                </c:pt>
                <c:pt idx="26">
                  <c:v>37376</c:v>
                </c:pt>
                <c:pt idx="27">
                  <c:v>37407</c:v>
                </c:pt>
                <c:pt idx="28">
                  <c:v>37437</c:v>
                </c:pt>
                <c:pt idx="29">
                  <c:v>37468</c:v>
                </c:pt>
                <c:pt idx="30">
                  <c:v>37499</c:v>
                </c:pt>
                <c:pt idx="31">
                  <c:v>37529</c:v>
                </c:pt>
                <c:pt idx="32">
                  <c:v>37560</c:v>
                </c:pt>
                <c:pt idx="33">
                  <c:v>37590</c:v>
                </c:pt>
                <c:pt idx="34">
                  <c:v>37621</c:v>
                </c:pt>
                <c:pt idx="35">
                  <c:v>37652</c:v>
                </c:pt>
                <c:pt idx="36">
                  <c:v>37680</c:v>
                </c:pt>
                <c:pt idx="37">
                  <c:v>37711</c:v>
                </c:pt>
                <c:pt idx="38">
                  <c:v>37741</c:v>
                </c:pt>
                <c:pt idx="39">
                  <c:v>37772</c:v>
                </c:pt>
                <c:pt idx="40">
                  <c:v>37802</c:v>
                </c:pt>
                <c:pt idx="41">
                  <c:v>37833</c:v>
                </c:pt>
                <c:pt idx="42">
                  <c:v>37864</c:v>
                </c:pt>
                <c:pt idx="43">
                  <c:v>37894</c:v>
                </c:pt>
                <c:pt idx="44">
                  <c:v>37925</c:v>
                </c:pt>
                <c:pt idx="45">
                  <c:v>37955</c:v>
                </c:pt>
                <c:pt idx="46">
                  <c:v>37986</c:v>
                </c:pt>
                <c:pt idx="47">
                  <c:v>38017</c:v>
                </c:pt>
                <c:pt idx="48">
                  <c:v>38046</c:v>
                </c:pt>
                <c:pt idx="49">
                  <c:v>38077</c:v>
                </c:pt>
                <c:pt idx="50">
                  <c:v>38107</c:v>
                </c:pt>
                <c:pt idx="51">
                  <c:v>38138</c:v>
                </c:pt>
                <c:pt idx="52">
                  <c:v>38168</c:v>
                </c:pt>
                <c:pt idx="53">
                  <c:v>38199</c:v>
                </c:pt>
                <c:pt idx="54">
                  <c:v>38230</c:v>
                </c:pt>
                <c:pt idx="55">
                  <c:v>38260</c:v>
                </c:pt>
                <c:pt idx="56">
                  <c:v>38291</c:v>
                </c:pt>
                <c:pt idx="57">
                  <c:v>38321</c:v>
                </c:pt>
                <c:pt idx="58">
                  <c:v>38352</c:v>
                </c:pt>
                <c:pt idx="59">
                  <c:v>38383</c:v>
                </c:pt>
                <c:pt idx="60">
                  <c:v>38411</c:v>
                </c:pt>
                <c:pt idx="61">
                  <c:v>38442</c:v>
                </c:pt>
                <c:pt idx="62">
                  <c:v>38472</c:v>
                </c:pt>
                <c:pt idx="63">
                  <c:v>38503</c:v>
                </c:pt>
                <c:pt idx="64">
                  <c:v>38533</c:v>
                </c:pt>
                <c:pt idx="65">
                  <c:v>38564</c:v>
                </c:pt>
                <c:pt idx="66">
                  <c:v>38595</c:v>
                </c:pt>
                <c:pt idx="67">
                  <c:v>38625</c:v>
                </c:pt>
                <c:pt idx="68">
                  <c:v>38656</c:v>
                </c:pt>
                <c:pt idx="69">
                  <c:v>38686</c:v>
                </c:pt>
                <c:pt idx="70">
                  <c:v>38717</c:v>
                </c:pt>
                <c:pt idx="71">
                  <c:v>38748</c:v>
                </c:pt>
                <c:pt idx="72">
                  <c:v>38776</c:v>
                </c:pt>
                <c:pt idx="73">
                  <c:v>38807</c:v>
                </c:pt>
                <c:pt idx="74">
                  <c:v>38837</c:v>
                </c:pt>
                <c:pt idx="75">
                  <c:v>38868</c:v>
                </c:pt>
                <c:pt idx="76">
                  <c:v>38898</c:v>
                </c:pt>
                <c:pt idx="77">
                  <c:v>38929</c:v>
                </c:pt>
                <c:pt idx="78">
                  <c:v>38960</c:v>
                </c:pt>
                <c:pt idx="79">
                  <c:v>38990</c:v>
                </c:pt>
                <c:pt idx="80">
                  <c:v>39021</c:v>
                </c:pt>
                <c:pt idx="81">
                  <c:v>39051</c:v>
                </c:pt>
                <c:pt idx="82">
                  <c:v>39082</c:v>
                </c:pt>
                <c:pt idx="83">
                  <c:v>39113</c:v>
                </c:pt>
                <c:pt idx="84">
                  <c:v>39141</c:v>
                </c:pt>
                <c:pt idx="85">
                  <c:v>39172</c:v>
                </c:pt>
                <c:pt idx="86">
                  <c:v>39202</c:v>
                </c:pt>
                <c:pt idx="87">
                  <c:v>39233</c:v>
                </c:pt>
                <c:pt idx="88">
                  <c:v>39263</c:v>
                </c:pt>
                <c:pt idx="89">
                  <c:v>39294</c:v>
                </c:pt>
                <c:pt idx="90">
                  <c:v>39325</c:v>
                </c:pt>
                <c:pt idx="91">
                  <c:v>39355</c:v>
                </c:pt>
                <c:pt idx="92">
                  <c:v>39386</c:v>
                </c:pt>
                <c:pt idx="93">
                  <c:v>39416</c:v>
                </c:pt>
                <c:pt idx="94">
                  <c:v>39447</c:v>
                </c:pt>
                <c:pt idx="95">
                  <c:v>39478</c:v>
                </c:pt>
                <c:pt idx="96">
                  <c:v>39507</c:v>
                </c:pt>
                <c:pt idx="97">
                  <c:v>39538</c:v>
                </c:pt>
                <c:pt idx="98">
                  <c:v>39568</c:v>
                </c:pt>
                <c:pt idx="99">
                  <c:v>39599</c:v>
                </c:pt>
                <c:pt idx="100">
                  <c:v>39629</c:v>
                </c:pt>
                <c:pt idx="101">
                  <c:v>39660</c:v>
                </c:pt>
                <c:pt idx="102">
                  <c:v>39691</c:v>
                </c:pt>
                <c:pt idx="103">
                  <c:v>39721</c:v>
                </c:pt>
                <c:pt idx="104">
                  <c:v>39752</c:v>
                </c:pt>
                <c:pt idx="105">
                  <c:v>39782</c:v>
                </c:pt>
                <c:pt idx="106">
                  <c:v>39813</c:v>
                </c:pt>
                <c:pt idx="107">
                  <c:v>39844</c:v>
                </c:pt>
                <c:pt idx="108">
                  <c:v>39872</c:v>
                </c:pt>
                <c:pt idx="109">
                  <c:v>39903</c:v>
                </c:pt>
                <c:pt idx="110">
                  <c:v>39933</c:v>
                </c:pt>
                <c:pt idx="111">
                  <c:v>39964</c:v>
                </c:pt>
                <c:pt idx="112">
                  <c:v>39994</c:v>
                </c:pt>
                <c:pt idx="113">
                  <c:v>40025</c:v>
                </c:pt>
                <c:pt idx="114">
                  <c:v>40056</c:v>
                </c:pt>
                <c:pt idx="115">
                  <c:v>40086</c:v>
                </c:pt>
                <c:pt idx="116">
                  <c:v>40117</c:v>
                </c:pt>
                <c:pt idx="117">
                  <c:v>40147</c:v>
                </c:pt>
                <c:pt idx="118">
                  <c:v>40178</c:v>
                </c:pt>
                <c:pt idx="119">
                  <c:v>40209</c:v>
                </c:pt>
                <c:pt idx="120">
                  <c:v>40237</c:v>
                </c:pt>
                <c:pt idx="121">
                  <c:v>40268</c:v>
                </c:pt>
                <c:pt idx="122">
                  <c:v>40298</c:v>
                </c:pt>
                <c:pt idx="123">
                  <c:v>40329</c:v>
                </c:pt>
                <c:pt idx="124">
                  <c:v>40359</c:v>
                </c:pt>
                <c:pt idx="125">
                  <c:v>40390</c:v>
                </c:pt>
                <c:pt idx="126">
                  <c:v>40421</c:v>
                </c:pt>
                <c:pt idx="127">
                  <c:v>40451</c:v>
                </c:pt>
                <c:pt idx="128">
                  <c:v>40482</c:v>
                </c:pt>
                <c:pt idx="129">
                  <c:v>40512</c:v>
                </c:pt>
                <c:pt idx="130">
                  <c:v>40543</c:v>
                </c:pt>
                <c:pt idx="131">
                  <c:v>40574</c:v>
                </c:pt>
                <c:pt idx="132">
                  <c:v>40602</c:v>
                </c:pt>
                <c:pt idx="133">
                  <c:v>40633</c:v>
                </c:pt>
                <c:pt idx="134">
                  <c:v>40663</c:v>
                </c:pt>
                <c:pt idx="135">
                  <c:v>40694</c:v>
                </c:pt>
                <c:pt idx="136">
                  <c:v>40724</c:v>
                </c:pt>
                <c:pt idx="137">
                  <c:v>40755</c:v>
                </c:pt>
                <c:pt idx="138">
                  <c:v>40786</c:v>
                </c:pt>
                <c:pt idx="139">
                  <c:v>40816</c:v>
                </c:pt>
                <c:pt idx="140">
                  <c:v>40847</c:v>
                </c:pt>
                <c:pt idx="141">
                  <c:v>40877</c:v>
                </c:pt>
                <c:pt idx="142">
                  <c:v>40908</c:v>
                </c:pt>
                <c:pt idx="143">
                  <c:v>40939</c:v>
                </c:pt>
                <c:pt idx="144">
                  <c:v>40968</c:v>
                </c:pt>
                <c:pt idx="145">
                  <c:v>40999</c:v>
                </c:pt>
                <c:pt idx="146">
                  <c:v>41029</c:v>
                </c:pt>
                <c:pt idx="147">
                  <c:v>41060</c:v>
                </c:pt>
                <c:pt idx="148">
                  <c:v>41090</c:v>
                </c:pt>
                <c:pt idx="149">
                  <c:v>41121</c:v>
                </c:pt>
                <c:pt idx="150">
                  <c:v>41152</c:v>
                </c:pt>
                <c:pt idx="151">
                  <c:v>41182</c:v>
                </c:pt>
                <c:pt idx="152">
                  <c:v>41213</c:v>
                </c:pt>
                <c:pt idx="153">
                  <c:v>41243</c:v>
                </c:pt>
                <c:pt idx="154">
                  <c:v>41274</c:v>
                </c:pt>
                <c:pt idx="155">
                  <c:v>41305</c:v>
                </c:pt>
                <c:pt idx="156">
                  <c:v>41333</c:v>
                </c:pt>
                <c:pt idx="157">
                  <c:v>41364</c:v>
                </c:pt>
                <c:pt idx="158">
                  <c:v>41394</c:v>
                </c:pt>
                <c:pt idx="159">
                  <c:v>41425</c:v>
                </c:pt>
                <c:pt idx="160">
                  <c:v>41455</c:v>
                </c:pt>
                <c:pt idx="161">
                  <c:v>41486</c:v>
                </c:pt>
                <c:pt idx="162">
                  <c:v>41517</c:v>
                </c:pt>
                <c:pt idx="163">
                  <c:v>41547</c:v>
                </c:pt>
                <c:pt idx="164">
                  <c:v>41578</c:v>
                </c:pt>
                <c:pt idx="165">
                  <c:v>41608</c:v>
                </c:pt>
                <c:pt idx="166">
                  <c:v>41639</c:v>
                </c:pt>
                <c:pt idx="167">
                  <c:v>41670</c:v>
                </c:pt>
                <c:pt idx="168">
                  <c:v>41698</c:v>
                </c:pt>
                <c:pt idx="169">
                  <c:v>41729</c:v>
                </c:pt>
                <c:pt idx="170">
                  <c:v>41759</c:v>
                </c:pt>
                <c:pt idx="171">
                  <c:v>41790</c:v>
                </c:pt>
                <c:pt idx="172">
                  <c:v>41820</c:v>
                </c:pt>
                <c:pt idx="173">
                  <c:v>41851</c:v>
                </c:pt>
                <c:pt idx="174">
                  <c:v>41882</c:v>
                </c:pt>
                <c:pt idx="175">
                  <c:v>41912</c:v>
                </c:pt>
                <c:pt idx="176">
                  <c:v>41943</c:v>
                </c:pt>
                <c:pt idx="177">
                  <c:v>41973</c:v>
                </c:pt>
                <c:pt idx="178">
                  <c:v>42004</c:v>
                </c:pt>
                <c:pt idx="179">
                  <c:v>42035</c:v>
                </c:pt>
                <c:pt idx="180">
                  <c:v>42063</c:v>
                </c:pt>
                <c:pt idx="181">
                  <c:v>42094</c:v>
                </c:pt>
                <c:pt idx="182">
                  <c:v>42124</c:v>
                </c:pt>
                <c:pt idx="183">
                  <c:v>42155</c:v>
                </c:pt>
                <c:pt idx="184">
                  <c:v>42185</c:v>
                </c:pt>
                <c:pt idx="185">
                  <c:v>42216</c:v>
                </c:pt>
                <c:pt idx="186">
                  <c:v>42247</c:v>
                </c:pt>
                <c:pt idx="187">
                  <c:v>42277</c:v>
                </c:pt>
                <c:pt idx="188">
                  <c:v>42308</c:v>
                </c:pt>
                <c:pt idx="189">
                  <c:v>42338</c:v>
                </c:pt>
                <c:pt idx="190">
                  <c:v>42369</c:v>
                </c:pt>
                <c:pt idx="191">
                  <c:v>42400</c:v>
                </c:pt>
                <c:pt idx="192">
                  <c:v>42429</c:v>
                </c:pt>
                <c:pt idx="193">
                  <c:v>42460</c:v>
                </c:pt>
                <c:pt idx="194">
                  <c:v>42490</c:v>
                </c:pt>
                <c:pt idx="195">
                  <c:v>42521</c:v>
                </c:pt>
                <c:pt idx="196">
                  <c:v>42551</c:v>
                </c:pt>
                <c:pt idx="197">
                  <c:v>42582</c:v>
                </c:pt>
                <c:pt idx="198">
                  <c:v>42613</c:v>
                </c:pt>
                <c:pt idx="199">
                  <c:v>42643</c:v>
                </c:pt>
                <c:pt idx="200">
                  <c:v>42674</c:v>
                </c:pt>
                <c:pt idx="201">
                  <c:v>42704</c:v>
                </c:pt>
                <c:pt idx="202">
                  <c:v>42735</c:v>
                </c:pt>
                <c:pt idx="203">
                  <c:v>42766</c:v>
                </c:pt>
                <c:pt idx="204">
                  <c:v>42794</c:v>
                </c:pt>
                <c:pt idx="205">
                  <c:v>42825</c:v>
                </c:pt>
                <c:pt idx="206">
                  <c:v>42855</c:v>
                </c:pt>
                <c:pt idx="207">
                  <c:v>42886</c:v>
                </c:pt>
                <c:pt idx="208">
                  <c:v>42916</c:v>
                </c:pt>
                <c:pt idx="209">
                  <c:v>42947</c:v>
                </c:pt>
                <c:pt idx="210">
                  <c:v>42978</c:v>
                </c:pt>
                <c:pt idx="211">
                  <c:v>43008</c:v>
                </c:pt>
                <c:pt idx="212">
                  <c:v>43039</c:v>
                </c:pt>
                <c:pt idx="213">
                  <c:v>43069</c:v>
                </c:pt>
                <c:pt idx="214">
                  <c:v>43100</c:v>
                </c:pt>
                <c:pt idx="215">
                  <c:v>43131</c:v>
                </c:pt>
                <c:pt idx="216">
                  <c:v>43159</c:v>
                </c:pt>
                <c:pt idx="217">
                  <c:v>43190</c:v>
                </c:pt>
                <c:pt idx="218">
                  <c:v>43220</c:v>
                </c:pt>
                <c:pt idx="219">
                  <c:v>43251</c:v>
                </c:pt>
                <c:pt idx="220">
                  <c:v>43281</c:v>
                </c:pt>
                <c:pt idx="221">
                  <c:v>43312</c:v>
                </c:pt>
                <c:pt idx="222">
                  <c:v>43343</c:v>
                </c:pt>
                <c:pt idx="223">
                  <c:v>43373</c:v>
                </c:pt>
                <c:pt idx="224">
                  <c:v>43404</c:v>
                </c:pt>
                <c:pt idx="225">
                  <c:v>43434</c:v>
                </c:pt>
                <c:pt idx="226">
                  <c:v>43465</c:v>
                </c:pt>
                <c:pt idx="227">
                  <c:v>43496</c:v>
                </c:pt>
                <c:pt idx="228">
                  <c:v>43524</c:v>
                </c:pt>
                <c:pt idx="229">
                  <c:v>43555</c:v>
                </c:pt>
                <c:pt idx="230">
                  <c:v>43585</c:v>
                </c:pt>
                <c:pt idx="231">
                  <c:v>43616</c:v>
                </c:pt>
                <c:pt idx="232">
                  <c:v>43646</c:v>
                </c:pt>
                <c:pt idx="233">
                  <c:v>43677</c:v>
                </c:pt>
                <c:pt idx="234">
                  <c:v>43708</c:v>
                </c:pt>
                <c:pt idx="235">
                  <c:v>43738</c:v>
                </c:pt>
                <c:pt idx="236">
                  <c:v>43769</c:v>
                </c:pt>
                <c:pt idx="237">
                  <c:v>43799</c:v>
                </c:pt>
                <c:pt idx="238">
                  <c:v>43830</c:v>
                </c:pt>
                <c:pt idx="239">
                  <c:v>43861</c:v>
                </c:pt>
                <c:pt idx="240">
                  <c:v>43890</c:v>
                </c:pt>
                <c:pt idx="241">
                  <c:v>43921</c:v>
                </c:pt>
                <c:pt idx="242">
                  <c:v>43951</c:v>
                </c:pt>
                <c:pt idx="243">
                  <c:v>43982</c:v>
                </c:pt>
                <c:pt idx="244">
                  <c:v>44012</c:v>
                </c:pt>
                <c:pt idx="245">
                  <c:v>44043</c:v>
                </c:pt>
                <c:pt idx="246">
                  <c:v>44074</c:v>
                </c:pt>
                <c:pt idx="247">
                  <c:v>44104</c:v>
                </c:pt>
                <c:pt idx="248">
                  <c:v>44135</c:v>
                </c:pt>
                <c:pt idx="249">
                  <c:v>44165</c:v>
                </c:pt>
                <c:pt idx="250">
                  <c:v>44196</c:v>
                </c:pt>
                <c:pt idx="251">
                  <c:v>44227</c:v>
                </c:pt>
                <c:pt idx="252">
                  <c:v>44255</c:v>
                </c:pt>
                <c:pt idx="253">
                  <c:v>44286</c:v>
                </c:pt>
                <c:pt idx="254">
                  <c:v>44316</c:v>
                </c:pt>
                <c:pt idx="255">
                  <c:v>44347</c:v>
                </c:pt>
                <c:pt idx="256">
                  <c:v>44377</c:v>
                </c:pt>
                <c:pt idx="257">
                  <c:v>44408</c:v>
                </c:pt>
                <c:pt idx="258">
                  <c:v>44439</c:v>
                </c:pt>
                <c:pt idx="259">
                  <c:v>44469</c:v>
                </c:pt>
                <c:pt idx="260">
                  <c:v>44500</c:v>
                </c:pt>
                <c:pt idx="261">
                  <c:v>44530</c:v>
                </c:pt>
                <c:pt idx="262">
                  <c:v>44561</c:v>
                </c:pt>
                <c:pt idx="263">
                  <c:v>44592</c:v>
                </c:pt>
                <c:pt idx="264">
                  <c:v>44620</c:v>
                </c:pt>
                <c:pt idx="265">
                  <c:v>44651</c:v>
                </c:pt>
                <c:pt idx="266">
                  <c:v>44681</c:v>
                </c:pt>
                <c:pt idx="267">
                  <c:v>44712</c:v>
                </c:pt>
                <c:pt idx="268">
                  <c:v>44742</c:v>
                </c:pt>
                <c:pt idx="269">
                  <c:v>44773</c:v>
                </c:pt>
                <c:pt idx="270">
                  <c:v>44804</c:v>
                </c:pt>
                <c:pt idx="271">
                  <c:v>44834</c:v>
                </c:pt>
                <c:pt idx="272">
                  <c:v>44865</c:v>
                </c:pt>
                <c:pt idx="273">
                  <c:v>44895</c:v>
                </c:pt>
                <c:pt idx="274">
                  <c:v>44926</c:v>
                </c:pt>
                <c:pt idx="275">
                  <c:v>44957</c:v>
                </c:pt>
                <c:pt idx="276">
                  <c:v>44985</c:v>
                </c:pt>
                <c:pt idx="277">
                  <c:v>45016</c:v>
                </c:pt>
                <c:pt idx="278">
                  <c:v>45046</c:v>
                </c:pt>
                <c:pt idx="279">
                  <c:v>45077</c:v>
                </c:pt>
                <c:pt idx="280">
                  <c:v>45107</c:v>
                </c:pt>
                <c:pt idx="281">
                  <c:v>45138</c:v>
                </c:pt>
                <c:pt idx="282">
                  <c:v>45169</c:v>
                </c:pt>
                <c:pt idx="283">
                  <c:v>45199</c:v>
                </c:pt>
                <c:pt idx="284">
                  <c:v>45230</c:v>
                </c:pt>
                <c:pt idx="285">
                  <c:v>45260</c:v>
                </c:pt>
                <c:pt idx="286">
                  <c:v>45291</c:v>
                </c:pt>
              </c:numCache>
            </c:numRef>
          </c:cat>
          <c:val>
            <c:numRef>
              <c:f>'Global PMI and Core PCE'!$F$4:$F$290</c:f>
              <c:numCache>
                <c:formatCode>General</c:formatCode>
                <c:ptCount val="287"/>
                <c:pt idx="0">
                  <c:v>1.7232000000000001</c:v>
                </c:pt>
                <c:pt idx="1">
                  <c:v>1.90039</c:v>
                </c:pt>
                <c:pt idx="2">
                  <c:v>1.7068700000000001</c:v>
                </c:pt>
                <c:pt idx="3">
                  <c:v>1.71787</c:v>
                </c:pt>
                <c:pt idx="4">
                  <c:v>1.74227</c:v>
                </c:pt>
                <c:pt idx="5">
                  <c:v>1.79087</c:v>
                </c:pt>
                <c:pt idx="6">
                  <c:v>1.87201</c:v>
                </c:pt>
                <c:pt idx="7">
                  <c:v>1.84945</c:v>
                </c:pt>
                <c:pt idx="8">
                  <c:v>1.8186599999999999</c:v>
                </c:pt>
                <c:pt idx="9">
                  <c:v>1.901</c:v>
                </c:pt>
                <c:pt idx="10">
                  <c:v>1.87103</c:v>
                </c:pt>
                <c:pt idx="11">
                  <c:v>2.00658</c:v>
                </c:pt>
                <c:pt idx="12">
                  <c:v>2.0348000000000002</c:v>
                </c:pt>
                <c:pt idx="13">
                  <c:v>1.9322299999999999</c:v>
                </c:pt>
                <c:pt idx="14">
                  <c:v>2.0268099999999998</c:v>
                </c:pt>
                <c:pt idx="15">
                  <c:v>1.94133</c:v>
                </c:pt>
                <c:pt idx="16">
                  <c:v>2.0926999999999998</c:v>
                </c:pt>
                <c:pt idx="17">
                  <c:v>2.1226400000000001</c:v>
                </c:pt>
                <c:pt idx="18">
                  <c:v>2.0419200000000002</c:v>
                </c:pt>
                <c:pt idx="19">
                  <c:v>1.2179899999999999</c:v>
                </c:pt>
                <c:pt idx="20">
                  <c:v>1.7874099999999999</c:v>
                </c:pt>
                <c:pt idx="21">
                  <c:v>1.81382</c:v>
                </c:pt>
                <c:pt idx="22">
                  <c:v>1.7382500000000001</c:v>
                </c:pt>
                <c:pt idx="23">
                  <c:v>1.4192499999999999</c:v>
                </c:pt>
                <c:pt idx="24">
                  <c:v>1.43266</c:v>
                </c:pt>
                <c:pt idx="25">
                  <c:v>1.44828</c:v>
                </c:pt>
                <c:pt idx="26">
                  <c:v>1.5704499999999999</c:v>
                </c:pt>
                <c:pt idx="27">
                  <c:v>1.6603600000000001</c:v>
                </c:pt>
                <c:pt idx="28">
                  <c:v>1.59335</c:v>
                </c:pt>
                <c:pt idx="29">
                  <c:v>1.53705</c:v>
                </c:pt>
                <c:pt idx="30">
                  <c:v>1.68798</c:v>
                </c:pt>
                <c:pt idx="31">
                  <c:v>2.4347300000000001</c:v>
                </c:pt>
                <c:pt idx="32">
                  <c:v>1.8045</c:v>
                </c:pt>
                <c:pt idx="33">
                  <c:v>1.6980500000000001</c:v>
                </c:pt>
                <c:pt idx="34">
                  <c:v>1.7689999999999999</c:v>
                </c:pt>
                <c:pt idx="35">
                  <c:v>1.78006</c:v>
                </c:pt>
                <c:pt idx="36">
                  <c:v>1.7272400000000001</c:v>
                </c:pt>
                <c:pt idx="37">
                  <c:v>1.7685500000000001</c:v>
                </c:pt>
                <c:pt idx="38">
                  <c:v>1.5978300000000001</c:v>
                </c:pt>
                <c:pt idx="39">
                  <c:v>1.6308499999999999</c:v>
                </c:pt>
                <c:pt idx="40">
                  <c:v>1.52762</c:v>
                </c:pt>
                <c:pt idx="41">
                  <c:v>1.5747500000000001</c:v>
                </c:pt>
                <c:pt idx="42">
                  <c:v>1.4893099999999999</c:v>
                </c:pt>
                <c:pt idx="43">
                  <c:v>1.4654400000000001</c:v>
                </c:pt>
                <c:pt idx="44">
                  <c:v>1.5653900000000001</c:v>
                </c:pt>
                <c:pt idx="45">
                  <c:v>1.60548</c:v>
                </c:pt>
                <c:pt idx="46">
                  <c:v>1.63845</c:v>
                </c:pt>
                <c:pt idx="47">
                  <c:v>1.8284800000000001</c:v>
                </c:pt>
                <c:pt idx="48">
                  <c:v>1.85324</c:v>
                </c:pt>
                <c:pt idx="49">
                  <c:v>1.86093</c:v>
                </c:pt>
                <c:pt idx="50">
                  <c:v>2.0125799999999998</c:v>
                </c:pt>
                <c:pt idx="51">
                  <c:v>2.0049600000000001</c:v>
                </c:pt>
                <c:pt idx="52">
                  <c:v>2.10886</c:v>
                </c:pt>
                <c:pt idx="53">
                  <c:v>1.97648</c:v>
                </c:pt>
                <c:pt idx="54">
                  <c:v>1.90018</c:v>
                </c:pt>
                <c:pt idx="55">
                  <c:v>1.948</c:v>
                </c:pt>
                <c:pt idx="56">
                  <c:v>1.98312</c:v>
                </c:pt>
                <c:pt idx="57">
                  <c:v>2.0623399999999998</c:v>
                </c:pt>
                <c:pt idx="58">
                  <c:v>2.0655999999999999</c:v>
                </c:pt>
                <c:pt idx="59">
                  <c:v>2.1711</c:v>
                </c:pt>
                <c:pt idx="60">
                  <c:v>2.1745700000000001</c:v>
                </c:pt>
                <c:pt idx="61">
                  <c:v>2.2557700000000001</c:v>
                </c:pt>
                <c:pt idx="62">
                  <c:v>2.1084999999999998</c:v>
                </c:pt>
                <c:pt idx="63">
                  <c:v>2.1773799999999999</c:v>
                </c:pt>
                <c:pt idx="64">
                  <c:v>2.0861000000000001</c:v>
                </c:pt>
                <c:pt idx="65">
                  <c:v>2.1147900000000002</c:v>
                </c:pt>
                <c:pt idx="66">
                  <c:v>2.1589800000000001</c:v>
                </c:pt>
                <c:pt idx="67">
                  <c:v>2.1941199999999998</c:v>
                </c:pt>
                <c:pt idx="68">
                  <c:v>2.2640600000000002</c:v>
                </c:pt>
                <c:pt idx="69">
                  <c:v>2.3062200000000002</c:v>
                </c:pt>
                <c:pt idx="70">
                  <c:v>2.2803599999999999</c:v>
                </c:pt>
                <c:pt idx="71">
                  <c:v>2.1432199999999999</c:v>
                </c:pt>
                <c:pt idx="72">
                  <c:v>2.13855</c:v>
                </c:pt>
                <c:pt idx="73">
                  <c:v>2.16736</c:v>
                </c:pt>
                <c:pt idx="74">
                  <c:v>2.3612500000000001</c:v>
                </c:pt>
                <c:pt idx="75">
                  <c:v>2.40855</c:v>
                </c:pt>
                <c:pt idx="76">
                  <c:v>2.5959500000000002</c:v>
                </c:pt>
                <c:pt idx="77">
                  <c:v>2.5457800000000002</c:v>
                </c:pt>
                <c:pt idx="78">
                  <c:v>2.6702300000000001</c:v>
                </c:pt>
                <c:pt idx="79">
                  <c:v>2.6057199999999998</c:v>
                </c:pt>
                <c:pt idx="80">
                  <c:v>2.4971299999999998</c:v>
                </c:pt>
                <c:pt idx="81">
                  <c:v>2.2845</c:v>
                </c:pt>
                <c:pt idx="82">
                  <c:v>2.3157399999999999</c:v>
                </c:pt>
                <c:pt idx="83">
                  <c:v>2.50047</c:v>
                </c:pt>
                <c:pt idx="84">
                  <c:v>2.5566900000000001</c:v>
                </c:pt>
                <c:pt idx="85">
                  <c:v>2.3783599999999998</c:v>
                </c:pt>
                <c:pt idx="86">
                  <c:v>2.2114099999999999</c:v>
                </c:pt>
                <c:pt idx="87">
                  <c:v>2.0764499999999999</c:v>
                </c:pt>
                <c:pt idx="88">
                  <c:v>1.98736</c:v>
                </c:pt>
                <c:pt idx="89">
                  <c:v>2.04053</c:v>
                </c:pt>
                <c:pt idx="90">
                  <c:v>1.9857800000000001</c:v>
                </c:pt>
                <c:pt idx="91">
                  <c:v>2.1023700000000001</c:v>
                </c:pt>
                <c:pt idx="92">
                  <c:v>2.18411</c:v>
                </c:pt>
                <c:pt idx="93">
                  <c:v>2.3353899999999999</c:v>
                </c:pt>
                <c:pt idx="94">
                  <c:v>2.4045100000000001</c:v>
                </c:pt>
                <c:pt idx="95">
                  <c:v>2.19313</c:v>
                </c:pt>
                <c:pt idx="96">
                  <c:v>2.0720200000000002</c:v>
                </c:pt>
                <c:pt idx="97">
                  <c:v>2.1688100000000001</c:v>
                </c:pt>
                <c:pt idx="98">
                  <c:v>2.0832600000000001</c:v>
                </c:pt>
                <c:pt idx="99">
                  <c:v>2.14907</c:v>
                </c:pt>
                <c:pt idx="100">
                  <c:v>2.2147899999999998</c:v>
                </c:pt>
                <c:pt idx="101">
                  <c:v>2.2449499999999998</c:v>
                </c:pt>
                <c:pt idx="102">
                  <c:v>2.2178900000000001</c:v>
                </c:pt>
                <c:pt idx="103">
                  <c:v>2.0440200000000002</c:v>
                </c:pt>
                <c:pt idx="104">
                  <c:v>1.63419</c:v>
                </c:pt>
                <c:pt idx="105">
                  <c:v>1.3900399999999999</c:v>
                </c:pt>
                <c:pt idx="106">
                  <c:v>1.1371500000000001</c:v>
                </c:pt>
                <c:pt idx="107">
                  <c:v>0.90556999999999999</c:v>
                </c:pt>
                <c:pt idx="108">
                  <c:v>0.88763999999999998</c:v>
                </c:pt>
                <c:pt idx="109">
                  <c:v>0.76254</c:v>
                </c:pt>
                <c:pt idx="110">
                  <c:v>0.92896999999999996</c:v>
                </c:pt>
                <c:pt idx="111">
                  <c:v>0.82223999999999997</c:v>
                </c:pt>
                <c:pt idx="112">
                  <c:v>0.7198</c:v>
                </c:pt>
                <c:pt idx="113">
                  <c:v>0.62551999999999996</c:v>
                </c:pt>
                <c:pt idx="114">
                  <c:v>0.65114000000000005</c:v>
                </c:pt>
                <c:pt idx="115">
                  <c:v>0.72428000000000003</c:v>
                </c:pt>
                <c:pt idx="116">
                  <c:v>1.2394499999999999</c:v>
                </c:pt>
                <c:pt idx="117">
                  <c:v>1.3741399999999999</c:v>
                </c:pt>
                <c:pt idx="118">
                  <c:v>1.5100800000000001</c:v>
                </c:pt>
                <c:pt idx="119">
                  <c:v>1.69024</c:v>
                </c:pt>
                <c:pt idx="120">
                  <c:v>1.69841</c:v>
                </c:pt>
                <c:pt idx="121">
                  <c:v>1.7774000000000001</c:v>
                </c:pt>
                <c:pt idx="122">
                  <c:v>1.6017699999999999</c:v>
                </c:pt>
                <c:pt idx="123">
                  <c:v>1.6363300000000001</c:v>
                </c:pt>
                <c:pt idx="124">
                  <c:v>1.5564800000000001</c:v>
                </c:pt>
                <c:pt idx="125">
                  <c:v>1.4700800000000001</c:v>
                </c:pt>
                <c:pt idx="126">
                  <c:v>1.41757</c:v>
                </c:pt>
                <c:pt idx="127">
                  <c:v>1.2978700000000001</c:v>
                </c:pt>
                <c:pt idx="128">
                  <c:v>1.0793299999999999</c:v>
                </c:pt>
                <c:pt idx="129">
                  <c:v>1.1210899999999999</c:v>
                </c:pt>
                <c:pt idx="130">
                  <c:v>1.05559</c:v>
                </c:pt>
                <c:pt idx="131">
                  <c:v>1.12473</c:v>
                </c:pt>
                <c:pt idx="132">
                  <c:v>1.21306</c:v>
                </c:pt>
                <c:pt idx="133">
                  <c:v>1.2143600000000001</c:v>
                </c:pt>
                <c:pt idx="134">
                  <c:v>1.39514</c:v>
                </c:pt>
                <c:pt idx="135">
                  <c:v>1.5240499999999999</c:v>
                </c:pt>
                <c:pt idx="136">
                  <c:v>1.5853900000000001</c:v>
                </c:pt>
                <c:pt idx="137">
                  <c:v>1.7343900000000001</c:v>
                </c:pt>
                <c:pt idx="138">
                  <c:v>1.8392200000000001</c:v>
                </c:pt>
                <c:pt idx="139">
                  <c:v>1.85057</c:v>
                </c:pt>
                <c:pt idx="140">
                  <c:v>1.7445999999999999</c:v>
                </c:pt>
                <c:pt idx="141">
                  <c:v>1.82785</c:v>
                </c:pt>
                <c:pt idx="142">
                  <c:v>1.9758100000000001</c:v>
                </c:pt>
                <c:pt idx="143">
                  <c:v>2.0609999999999999</c:v>
                </c:pt>
                <c:pt idx="144">
                  <c:v>2.0245700000000002</c:v>
                </c:pt>
                <c:pt idx="145">
                  <c:v>2.04406</c:v>
                </c:pt>
                <c:pt idx="146">
                  <c:v>1.9647600000000001</c:v>
                </c:pt>
                <c:pt idx="147">
                  <c:v>1.8254699999999999</c:v>
                </c:pt>
                <c:pt idx="148">
                  <c:v>1.8193999999999999</c:v>
                </c:pt>
                <c:pt idx="149">
                  <c:v>1.774</c:v>
                </c:pt>
                <c:pt idx="150">
                  <c:v>1.6354500000000001</c:v>
                </c:pt>
                <c:pt idx="151">
                  <c:v>1.6921600000000001</c:v>
                </c:pt>
                <c:pt idx="152">
                  <c:v>1.8890899999999999</c:v>
                </c:pt>
                <c:pt idx="153">
                  <c:v>1.7839100000000001</c:v>
                </c:pt>
                <c:pt idx="154">
                  <c:v>1.68903</c:v>
                </c:pt>
                <c:pt idx="155">
                  <c:v>1.5943499999999999</c:v>
                </c:pt>
                <c:pt idx="156">
                  <c:v>1.5750299999999999</c:v>
                </c:pt>
                <c:pt idx="157">
                  <c:v>1.4960599999999999</c:v>
                </c:pt>
                <c:pt idx="158">
                  <c:v>1.4206099999999999</c:v>
                </c:pt>
                <c:pt idx="159">
                  <c:v>1.42719</c:v>
                </c:pt>
                <c:pt idx="160">
                  <c:v>1.48875</c:v>
                </c:pt>
                <c:pt idx="161">
                  <c:v>1.5132000000000001</c:v>
                </c:pt>
                <c:pt idx="162">
                  <c:v>1.56718</c:v>
                </c:pt>
                <c:pt idx="163">
                  <c:v>1.5552699999999999</c:v>
                </c:pt>
                <c:pt idx="164">
                  <c:v>1.5256400000000001</c:v>
                </c:pt>
                <c:pt idx="165">
                  <c:v>1.59358</c:v>
                </c:pt>
                <c:pt idx="166">
                  <c:v>1.6579900000000001</c:v>
                </c:pt>
                <c:pt idx="167">
                  <c:v>1.5415700000000001</c:v>
                </c:pt>
                <c:pt idx="168">
                  <c:v>1.4823</c:v>
                </c:pt>
                <c:pt idx="169">
                  <c:v>1.5818399999999999</c:v>
                </c:pt>
                <c:pt idx="170">
                  <c:v>1.6962699999999999</c:v>
                </c:pt>
                <c:pt idx="171">
                  <c:v>1.7665200000000001</c:v>
                </c:pt>
                <c:pt idx="172">
                  <c:v>1.7173</c:v>
                </c:pt>
                <c:pt idx="173">
                  <c:v>1.7742</c:v>
                </c:pt>
                <c:pt idx="174">
                  <c:v>1.69445</c:v>
                </c:pt>
                <c:pt idx="175">
                  <c:v>1.7062999999999999</c:v>
                </c:pt>
                <c:pt idx="176">
                  <c:v>1.58212</c:v>
                </c:pt>
                <c:pt idx="177">
                  <c:v>1.51281</c:v>
                </c:pt>
                <c:pt idx="178">
                  <c:v>1.4697100000000001</c:v>
                </c:pt>
                <c:pt idx="179">
                  <c:v>1.3570800000000001</c:v>
                </c:pt>
                <c:pt idx="180">
                  <c:v>1.39625</c:v>
                </c:pt>
                <c:pt idx="181">
                  <c:v>1.35951</c:v>
                </c:pt>
                <c:pt idx="182">
                  <c:v>1.33846</c:v>
                </c:pt>
                <c:pt idx="183">
                  <c:v>1.28468</c:v>
                </c:pt>
                <c:pt idx="184">
                  <c:v>1.2899799999999999</c:v>
                </c:pt>
                <c:pt idx="185">
                  <c:v>1.1937800000000001</c:v>
                </c:pt>
                <c:pt idx="186">
                  <c:v>1.22912</c:v>
                </c:pt>
                <c:pt idx="187">
                  <c:v>1.2343500000000001</c:v>
                </c:pt>
                <c:pt idx="188">
                  <c:v>1.15798</c:v>
                </c:pt>
                <c:pt idx="189">
                  <c:v>1.1567400000000001</c:v>
                </c:pt>
                <c:pt idx="190">
                  <c:v>1.1287</c:v>
                </c:pt>
                <c:pt idx="191">
                  <c:v>1.3369800000000001</c:v>
                </c:pt>
                <c:pt idx="192">
                  <c:v>1.39435</c:v>
                </c:pt>
                <c:pt idx="193">
                  <c:v>1.3845099999999999</c:v>
                </c:pt>
                <c:pt idx="194">
                  <c:v>1.4675499999999999</c:v>
                </c:pt>
                <c:pt idx="195">
                  <c:v>1.4973399999999999</c:v>
                </c:pt>
                <c:pt idx="196">
                  <c:v>1.49841</c:v>
                </c:pt>
                <c:pt idx="197">
                  <c:v>1.5812200000000001</c:v>
                </c:pt>
                <c:pt idx="198">
                  <c:v>1.69757</c:v>
                </c:pt>
                <c:pt idx="199">
                  <c:v>1.6839299999999999</c:v>
                </c:pt>
                <c:pt idx="200">
                  <c:v>1.8201000000000001</c:v>
                </c:pt>
                <c:pt idx="201">
                  <c:v>1.76196</c:v>
                </c:pt>
                <c:pt idx="202">
                  <c:v>1.8284100000000001</c:v>
                </c:pt>
                <c:pt idx="203">
                  <c:v>1.90107</c:v>
                </c:pt>
                <c:pt idx="204">
                  <c:v>1.8867</c:v>
                </c:pt>
                <c:pt idx="205">
                  <c:v>1.69255</c:v>
                </c:pt>
                <c:pt idx="206">
                  <c:v>1.7024900000000001</c:v>
                </c:pt>
                <c:pt idx="207">
                  <c:v>1.6527000000000001</c:v>
                </c:pt>
                <c:pt idx="208">
                  <c:v>1.6959299999999999</c:v>
                </c:pt>
                <c:pt idx="209">
                  <c:v>1.5876600000000001</c:v>
                </c:pt>
                <c:pt idx="210">
                  <c:v>1.50484</c:v>
                </c:pt>
                <c:pt idx="211">
                  <c:v>1.5838000000000001</c:v>
                </c:pt>
                <c:pt idx="212">
                  <c:v>1.69482</c:v>
                </c:pt>
                <c:pt idx="213">
                  <c:v>1.6968000000000001</c:v>
                </c:pt>
                <c:pt idx="214">
                  <c:v>1.7207600000000001</c:v>
                </c:pt>
                <c:pt idx="215">
                  <c:v>1.7312700000000001</c:v>
                </c:pt>
                <c:pt idx="216">
                  <c:v>1.7847</c:v>
                </c:pt>
                <c:pt idx="217">
                  <c:v>2.0828099999999998</c:v>
                </c:pt>
                <c:pt idx="218">
                  <c:v>2.01233</c:v>
                </c:pt>
                <c:pt idx="219">
                  <c:v>2.1077300000000001</c:v>
                </c:pt>
                <c:pt idx="220">
                  <c:v>2.0671900000000001</c:v>
                </c:pt>
                <c:pt idx="221">
                  <c:v>2.1251699999999998</c:v>
                </c:pt>
                <c:pt idx="222">
                  <c:v>2.0257700000000001</c:v>
                </c:pt>
                <c:pt idx="223">
                  <c:v>2.0394000000000001</c:v>
                </c:pt>
                <c:pt idx="224">
                  <c:v>1.9300600000000001</c:v>
                </c:pt>
                <c:pt idx="225">
                  <c:v>2.0598299999999998</c:v>
                </c:pt>
                <c:pt idx="226">
                  <c:v>2.0566499999999999</c:v>
                </c:pt>
                <c:pt idx="227">
                  <c:v>1.83385</c:v>
                </c:pt>
                <c:pt idx="228">
                  <c:v>1.6682999999999999</c:v>
                </c:pt>
                <c:pt idx="229">
                  <c:v>1.56287</c:v>
                </c:pt>
                <c:pt idx="230">
                  <c:v>1.69018</c:v>
                </c:pt>
                <c:pt idx="231">
                  <c:v>1.61409</c:v>
                </c:pt>
                <c:pt idx="232">
                  <c:v>1.71743</c:v>
                </c:pt>
                <c:pt idx="233">
                  <c:v>1.7344299999999999</c:v>
                </c:pt>
                <c:pt idx="234">
                  <c:v>1.8522000000000001</c:v>
                </c:pt>
                <c:pt idx="235">
                  <c:v>1.7125999999999999</c:v>
                </c:pt>
                <c:pt idx="236">
                  <c:v>1.7163600000000001</c:v>
                </c:pt>
                <c:pt idx="237">
                  <c:v>1.5680499999999999</c:v>
                </c:pt>
                <c:pt idx="238">
                  <c:v>1.63775</c:v>
                </c:pt>
                <c:pt idx="239">
                  <c:v>1.7828200000000001</c:v>
                </c:pt>
                <c:pt idx="240">
                  <c:v>1.9073599999999999</c:v>
                </c:pt>
                <c:pt idx="241">
                  <c:v>1.70421</c:v>
                </c:pt>
                <c:pt idx="242">
                  <c:v>0.91481000000000001</c:v>
                </c:pt>
                <c:pt idx="243">
                  <c:v>1.0022899999999999</c:v>
                </c:pt>
                <c:pt idx="244">
                  <c:v>1.1321699999999999</c:v>
                </c:pt>
                <c:pt idx="245">
                  <c:v>1.30183</c:v>
                </c:pt>
                <c:pt idx="246">
                  <c:v>1.4979199999999999</c:v>
                </c:pt>
                <c:pt idx="247">
                  <c:v>1.56986</c:v>
                </c:pt>
                <c:pt idx="248">
                  <c:v>1.4190499999999999</c:v>
                </c:pt>
                <c:pt idx="249">
                  <c:v>1.3839600000000001</c:v>
                </c:pt>
                <c:pt idx="250">
                  <c:v>1.4801899999999999</c:v>
                </c:pt>
                <c:pt idx="251">
                  <c:v>1.5092000000000001</c:v>
                </c:pt>
                <c:pt idx="252">
                  <c:v>1.4874400000000001</c:v>
                </c:pt>
                <c:pt idx="253">
                  <c:v>1.97349</c:v>
                </c:pt>
                <c:pt idx="254">
                  <c:v>3.0827200000000001</c:v>
                </c:pt>
                <c:pt idx="255">
                  <c:v>3.4572600000000002</c:v>
                </c:pt>
                <c:pt idx="256">
                  <c:v>3.5862799999999999</c:v>
                </c:pt>
                <c:pt idx="257">
                  <c:v>3.6035599999999999</c:v>
                </c:pt>
                <c:pt idx="258">
                  <c:v>3.5991599999999999</c:v>
                </c:pt>
                <c:pt idx="259">
                  <c:v>3.7027700000000001</c:v>
                </c:pt>
                <c:pt idx="260">
                  <c:v>4.1862000000000004</c:v>
                </c:pt>
                <c:pt idx="261">
                  <c:v>4.6866000000000003</c:v>
                </c:pt>
                <c:pt idx="262">
                  <c:v>4.8893399999999998</c:v>
                </c:pt>
                <c:pt idx="263">
                  <c:v>5.1330799999999996</c:v>
                </c:pt>
                <c:pt idx="264">
                  <c:v>5.3116199999999996</c:v>
                </c:pt>
                <c:pt idx="265">
                  <c:v>5.22173</c:v>
                </c:pt>
                <c:pt idx="266">
                  <c:v>4.9207599999999996</c:v>
                </c:pt>
                <c:pt idx="267">
                  <c:v>4.6854399999999998</c:v>
                </c:pt>
              </c:numCache>
            </c:numRef>
          </c:val>
          <c:smooth val="0"/>
          <c:extLst>
            <c:ext xmlns:c16="http://schemas.microsoft.com/office/drawing/2014/chart" uri="{C3380CC4-5D6E-409C-BE32-E72D297353CC}">
              <c16:uniqueId val="{00000000-1270-46EC-AE23-8684A3EB071E}"/>
            </c:ext>
          </c:extLst>
        </c:ser>
        <c:ser>
          <c:idx val="1"/>
          <c:order val="1"/>
          <c:spPr>
            <a:ln w="25400">
              <a:solidFill>
                <a:srgbClr val="056E9A"/>
              </a:solidFill>
              <a:prstDash val="dash"/>
            </a:ln>
          </c:spPr>
          <c:marker>
            <c:symbol val="none"/>
          </c:marker>
          <c:cat>
            <c:numRef>
              <c:f>'Global PMI and Core PCE'!$E$4:$E$290</c:f>
              <c:numCache>
                <c:formatCode>m/d/yyyy</c:formatCode>
                <c:ptCount val="287"/>
                <c:pt idx="0">
                  <c:v>36585</c:v>
                </c:pt>
                <c:pt idx="1">
                  <c:v>36616</c:v>
                </c:pt>
                <c:pt idx="2">
                  <c:v>36646</c:v>
                </c:pt>
                <c:pt idx="3">
                  <c:v>36677</c:v>
                </c:pt>
                <c:pt idx="4">
                  <c:v>36707</c:v>
                </c:pt>
                <c:pt idx="5">
                  <c:v>36738</c:v>
                </c:pt>
                <c:pt idx="6">
                  <c:v>36769</c:v>
                </c:pt>
                <c:pt idx="7">
                  <c:v>36799</c:v>
                </c:pt>
                <c:pt idx="8">
                  <c:v>36830</c:v>
                </c:pt>
                <c:pt idx="9">
                  <c:v>36860</c:v>
                </c:pt>
                <c:pt idx="10">
                  <c:v>36891</c:v>
                </c:pt>
                <c:pt idx="11">
                  <c:v>36922</c:v>
                </c:pt>
                <c:pt idx="12">
                  <c:v>36950</c:v>
                </c:pt>
                <c:pt idx="13">
                  <c:v>36981</c:v>
                </c:pt>
                <c:pt idx="14">
                  <c:v>37011</c:v>
                </c:pt>
                <c:pt idx="15">
                  <c:v>37042</c:v>
                </c:pt>
                <c:pt idx="16">
                  <c:v>37072</c:v>
                </c:pt>
                <c:pt idx="17">
                  <c:v>37103</c:v>
                </c:pt>
                <c:pt idx="18">
                  <c:v>37134</c:v>
                </c:pt>
                <c:pt idx="19">
                  <c:v>37164</c:v>
                </c:pt>
                <c:pt idx="20">
                  <c:v>37195</c:v>
                </c:pt>
                <c:pt idx="21">
                  <c:v>37225</c:v>
                </c:pt>
                <c:pt idx="22">
                  <c:v>37256</c:v>
                </c:pt>
                <c:pt idx="23">
                  <c:v>37287</c:v>
                </c:pt>
                <c:pt idx="24">
                  <c:v>37315</c:v>
                </c:pt>
                <c:pt idx="25">
                  <c:v>37346</c:v>
                </c:pt>
                <c:pt idx="26">
                  <c:v>37376</c:v>
                </c:pt>
                <c:pt idx="27">
                  <c:v>37407</c:v>
                </c:pt>
                <c:pt idx="28">
                  <c:v>37437</c:v>
                </c:pt>
                <c:pt idx="29">
                  <c:v>37468</c:v>
                </c:pt>
                <c:pt idx="30">
                  <c:v>37499</c:v>
                </c:pt>
                <c:pt idx="31">
                  <c:v>37529</c:v>
                </c:pt>
                <c:pt idx="32">
                  <c:v>37560</c:v>
                </c:pt>
                <c:pt idx="33">
                  <c:v>37590</c:v>
                </c:pt>
                <c:pt idx="34">
                  <c:v>37621</c:v>
                </c:pt>
                <c:pt idx="35">
                  <c:v>37652</c:v>
                </c:pt>
                <c:pt idx="36">
                  <c:v>37680</c:v>
                </c:pt>
                <c:pt idx="37">
                  <c:v>37711</c:v>
                </c:pt>
                <c:pt idx="38">
                  <c:v>37741</c:v>
                </c:pt>
                <c:pt idx="39">
                  <c:v>37772</c:v>
                </c:pt>
                <c:pt idx="40">
                  <c:v>37802</c:v>
                </c:pt>
                <c:pt idx="41">
                  <c:v>37833</c:v>
                </c:pt>
                <c:pt idx="42">
                  <c:v>37864</c:v>
                </c:pt>
                <c:pt idx="43">
                  <c:v>37894</c:v>
                </c:pt>
                <c:pt idx="44">
                  <c:v>37925</c:v>
                </c:pt>
                <c:pt idx="45">
                  <c:v>37955</c:v>
                </c:pt>
                <c:pt idx="46">
                  <c:v>37986</c:v>
                </c:pt>
                <c:pt idx="47">
                  <c:v>38017</c:v>
                </c:pt>
                <c:pt idx="48">
                  <c:v>38046</c:v>
                </c:pt>
                <c:pt idx="49">
                  <c:v>38077</c:v>
                </c:pt>
                <c:pt idx="50">
                  <c:v>38107</c:v>
                </c:pt>
                <c:pt idx="51">
                  <c:v>38138</c:v>
                </c:pt>
                <c:pt idx="52">
                  <c:v>38168</c:v>
                </c:pt>
                <c:pt idx="53">
                  <c:v>38199</c:v>
                </c:pt>
                <c:pt idx="54">
                  <c:v>38230</c:v>
                </c:pt>
                <c:pt idx="55">
                  <c:v>38260</c:v>
                </c:pt>
                <c:pt idx="56">
                  <c:v>38291</c:v>
                </c:pt>
                <c:pt idx="57">
                  <c:v>38321</c:v>
                </c:pt>
                <c:pt idx="58">
                  <c:v>38352</c:v>
                </c:pt>
                <c:pt idx="59">
                  <c:v>38383</c:v>
                </c:pt>
                <c:pt idx="60">
                  <c:v>38411</c:v>
                </c:pt>
                <c:pt idx="61">
                  <c:v>38442</c:v>
                </c:pt>
                <c:pt idx="62">
                  <c:v>38472</c:v>
                </c:pt>
                <c:pt idx="63">
                  <c:v>38503</c:v>
                </c:pt>
                <c:pt idx="64">
                  <c:v>38533</c:v>
                </c:pt>
                <c:pt idx="65">
                  <c:v>38564</c:v>
                </c:pt>
                <c:pt idx="66">
                  <c:v>38595</c:v>
                </c:pt>
                <c:pt idx="67">
                  <c:v>38625</c:v>
                </c:pt>
                <c:pt idx="68">
                  <c:v>38656</c:v>
                </c:pt>
                <c:pt idx="69">
                  <c:v>38686</c:v>
                </c:pt>
                <c:pt idx="70">
                  <c:v>38717</c:v>
                </c:pt>
                <c:pt idx="71">
                  <c:v>38748</c:v>
                </c:pt>
                <c:pt idx="72">
                  <c:v>38776</c:v>
                </c:pt>
                <c:pt idx="73">
                  <c:v>38807</c:v>
                </c:pt>
                <c:pt idx="74">
                  <c:v>38837</c:v>
                </c:pt>
                <c:pt idx="75">
                  <c:v>38868</c:v>
                </c:pt>
                <c:pt idx="76">
                  <c:v>38898</c:v>
                </c:pt>
                <c:pt idx="77">
                  <c:v>38929</c:v>
                </c:pt>
                <c:pt idx="78">
                  <c:v>38960</c:v>
                </c:pt>
                <c:pt idx="79">
                  <c:v>38990</c:v>
                </c:pt>
                <c:pt idx="80">
                  <c:v>39021</c:v>
                </c:pt>
                <c:pt idx="81">
                  <c:v>39051</c:v>
                </c:pt>
                <c:pt idx="82">
                  <c:v>39082</c:v>
                </c:pt>
                <c:pt idx="83">
                  <c:v>39113</c:v>
                </c:pt>
                <c:pt idx="84">
                  <c:v>39141</c:v>
                </c:pt>
                <c:pt idx="85">
                  <c:v>39172</c:v>
                </c:pt>
                <c:pt idx="86">
                  <c:v>39202</c:v>
                </c:pt>
                <c:pt idx="87">
                  <c:v>39233</c:v>
                </c:pt>
                <c:pt idx="88">
                  <c:v>39263</c:v>
                </c:pt>
                <c:pt idx="89">
                  <c:v>39294</c:v>
                </c:pt>
                <c:pt idx="90">
                  <c:v>39325</c:v>
                </c:pt>
                <c:pt idx="91">
                  <c:v>39355</c:v>
                </c:pt>
                <c:pt idx="92">
                  <c:v>39386</c:v>
                </c:pt>
                <c:pt idx="93">
                  <c:v>39416</c:v>
                </c:pt>
                <c:pt idx="94">
                  <c:v>39447</c:v>
                </c:pt>
                <c:pt idx="95">
                  <c:v>39478</c:v>
                </c:pt>
                <c:pt idx="96">
                  <c:v>39507</c:v>
                </c:pt>
                <c:pt idx="97">
                  <c:v>39538</c:v>
                </c:pt>
                <c:pt idx="98">
                  <c:v>39568</c:v>
                </c:pt>
                <c:pt idx="99">
                  <c:v>39599</c:v>
                </c:pt>
                <c:pt idx="100">
                  <c:v>39629</c:v>
                </c:pt>
                <c:pt idx="101">
                  <c:v>39660</c:v>
                </c:pt>
                <c:pt idx="102">
                  <c:v>39691</c:v>
                </c:pt>
                <c:pt idx="103">
                  <c:v>39721</c:v>
                </c:pt>
                <c:pt idx="104">
                  <c:v>39752</c:v>
                </c:pt>
                <c:pt idx="105">
                  <c:v>39782</c:v>
                </c:pt>
                <c:pt idx="106">
                  <c:v>39813</c:v>
                </c:pt>
                <c:pt idx="107">
                  <c:v>39844</c:v>
                </c:pt>
                <c:pt idx="108">
                  <c:v>39872</c:v>
                </c:pt>
                <c:pt idx="109">
                  <c:v>39903</c:v>
                </c:pt>
                <c:pt idx="110">
                  <c:v>39933</c:v>
                </c:pt>
                <c:pt idx="111">
                  <c:v>39964</c:v>
                </c:pt>
                <c:pt idx="112">
                  <c:v>39994</c:v>
                </c:pt>
                <c:pt idx="113">
                  <c:v>40025</c:v>
                </c:pt>
                <c:pt idx="114">
                  <c:v>40056</c:v>
                </c:pt>
                <c:pt idx="115">
                  <c:v>40086</c:v>
                </c:pt>
                <c:pt idx="116">
                  <c:v>40117</c:v>
                </c:pt>
                <c:pt idx="117">
                  <c:v>40147</c:v>
                </c:pt>
                <c:pt idx="118">
                  <c:v>40178</c:v>
                </c:pt>
                <c:pt idx="119">
                  <c:v>40209</c:v>
                </c:pt>
                <c:pt idx="120">
                  <c:v>40237</c:v>
                </c:pt>
                <c:pt idx="121">
                  <c:v>40268</c:v>
                </c:pt>
                <c:pt idx="122">
                  <c:v>40298</c:v>
                </c:pt>
                <c:pt idx="123">
                  <c:v>40329</c:v>
                </c:pt>
                <c:pt idx="124">
                  <c:v>40359</c:v>
                </c:pt>
                <c:pt idx="125">
                  <c:v>40390</c:v>
                </c:pt>
                <c:pt idx="126">
                  <c:v>40421</c:v>
                </c:pt>
                <c:pt idx="127">
                  <c:v>40451</c:v>
                </c:pt>
                <c:pt idx="128">
                  <c:v>40482</c:v>
                </c:pt>
                <c:pt idx="129">
                  <c:v>40512</c:v>
                </c:pt>
                <c:pt idx="130">
                  <c:v>40543</c:v>
                </c:pt>
                <c:pt idx="131">
                  <c:v>40574</c:v>
                </c:pt>
                <c:pt idx="132">
                  <c:v>40602</c:v>
                </c:pt>
                <c:pt idx="133">
                  <c:v>40633</c:v>
                </c:pt>
                <c:pt idx="134">
                  <c:v>40663</c:v>
                </c:pt>
                <c:pt idx="135">
                  <c:v>40694</c:v>
                </c:pt>
                <c:pt idx="136">
                  <c:v>40724</c:v>
                </c:pt>
                <c:pt idx="137">
                  <c:v>40755</c:v>
                </c:pt>
                <c:pt idx="138">
                  <c:v>40786</c:v>
                </c:pt>
                <c:pt idx="139">
                  <c:v>40816</c:v>
                </c:pt>
                <c:pt idx="140">
                  <c:v>40847</c:v>
                </c:pt>
                <c:pt idx="141">
                  <c:v>40877</c:v>
                </c:pt>
                <c:pt idx="142">
                  <c:v>40908</c:v>
                </c:pt>
                <c:pt idx="143">
                  <c:v>40939</c:v>
                </c:pt>
                <c:pt idx="144">
                  <c:v>40968</c:v>
                </c:pt>
                <c:pt idx="145">
                  <c:v>40999</c:v>
                </c:pt>
                <c:pt idx="146">
                  <c:v>41029</c:v>
                </c:pt>
                <c:pt idx="147">
                  <c:v>41060</c:v>
                </c:pt>
                <c:pt idx="148">
                  <c:v>41090</c:v>
                </c:pt>
                <c:pt idx="149">
                  <c:v>41121</c:v>
                </c:pt>
                <c:pt idx="150">
                  <c:v>41152</c:v>
                </c:pt>
                <c:pt idx="151">
                  <c:v>41182</c:v>
                </c:pt>
                <c:pt idx="152">
                  <c:v>41213</c:v>
                </c:pt>
                <c:pt idx="153">
                  <c:v>41243</c:v>
                </c:pt>
                <c:pt idx="154">
                  <c:v>41274</c:v>
                </c:pt>
                <c:pt idx="155">
                  <c:v>41305</c:v>
                </c:pt>
                <c:pt idx="156">
                  <c:v>41333</c:v>
                </c:pt>
                <c:pt idx="157">
                  <c:v>41364</c:v>
                </c:pt>
                <c:pt idx="158">
                  <c:v>41394</c:v>
                </c:pt>
                <c:pt idx="159">
                  <c:v>41425</c:v>
                </c:pt>
                <c:pt idx="160">
                  <c:v>41455</c:v>
                </c:pt>
                <c:pt idx="161">
                  <c:v>41486</c:v>
                </c:pt>
                <c:pt idx="162">
                  <c:v>41517</c:v>
                </c:pt>
                <c:pt idx="163">
                  <c:v>41547</c:v>
                </c:pt>
                <c:pt idx="164">
                  <c:v>41578</c:v>
                </c:pt>
                <c:pt idx="165">
                  <c:v>41608</c:v>
                </c:pt>
                <c:pt idx="166">
                  <c:v>41639</c:v>
                </c:pt>
                <c:pt idx="167">
                  <c:v>41670</c:v>
                </c:pt>
                <c:pt idx="168">
                  <c:v>41698</c:v>
                </c:pt>
                <c:pt idx="169">
                  <c:v>41729</c:v>
                </c:pt>
                <c:pt idx="170">
                  <c:v>41759</c:v>
                </c:pt>
                <c:pt idx="171">
                  <c:v>41790</c:v>
                </c:pt>
                <c:pt idx="172">
                  <c:v>41820</c:v>
                </c:pt>
                <c:pt idx="173">
                  <c:v>41851</c:v>
                </c:pt>
                <c:pt idx="174">
                  <c:v>41882</c:v>
                </c:pt>
                <c:pt idx="175">
                  <c:v>41912</c:v>
                </c:pt>
                <c:pt idx="176">
                  <c:v>41943</c:v>
                </c:pt>
                <c:pt idx="177">
                  <c:v>41973</c:v>
                </c:pt>
                <c:pt idx="178">
                  <c:v>42004</c:v>
                </c:pt>
                <c:pt idx="179">
                  <c:v>42035</c:v>
                </c:pt>
                <c:pt idx="180">
                  <c:v>42063</c:v>
                </c:pt>
                <c:pt idx="181">
                  <c:v>42094</c:v>
                </c:pt>
                <c:pt idx="182">
                  <c:v>42124</c:v>
                </c:pt>
                <c:pt idx="183">
                  <c:v>42155</c:v>
                </c:pt>
                <c:pt idx="184">
                  <c:v>42185</c:v>
                </c:pt>
                <c:pt idx="185">
                  <c:v>42216</c:v>
                </c:pt>
                <c:pt idx="186">
                  <c:v>42247</c:v>
                </c:pt>
                <c:pt idx="187">
                  <c:v>42277</c:v>
                </c:pt>
                <c:pt idx="188">
                  <c:v>42308</c:v>
                </c:pt>
                <c:pt idx="189">
                  <c:v>42338</c:v>
                </c:pt>
                <c:pt idx="190">
                  <c:v>42369</c:v>
                </c:pt>
                <c:pt idx="191">
                  <c:v>42400</c:v>
                </c:pt>
                <c:pt idx="192">
                  <c:v>42429</c:v>
                </c:pt>
                <c:pt idx="193">
                  <c:v>42460</c:v>
                </c:pt>
                <c:pt idx="194">
                  <c:v>42490</c:v>
                </c:pt>
                <c:pt idx="195">
                  <c:v>42521</c:v>
                </c:pt>
                <c:pt idx="196">
                  <c:v>42551</c:v>
                </c:pt>
                <c:pt idx="197">
                  <c:v>42582</c:v>
                </c:pt>
                <c:pt idx="198">
                  <c:v>42613</c:v>
                </c:pt>
                <c:pt idx="199">
                  <c:v>42643</c:v>
                </c:pt>
                <c:pt idx="200">
                  <c:v>42674</c:v>
                </c:pt>
                <c:pt idx="201">
                  <c:v>42704</c:v>
                </c:pt>
                <c:pt idx="202">
                  <c:v>42735</c:v>
                </c:pt>
                <c:pt idx="203">
                  <c:v>42766</c:v>
                </c:pt>
                <c:pt idx="204">
                  <c:v>42794</c:v>
                </c:pt>
                <c:pt idx="205">
                  <c:v>42825</c:v>
                </c:pt>
                <c:pt idx="206">
                  <c:v>42855</c:v>
                </c:pt>
                <c:pt idx="207">
                  <c:v>42886</c:v>
                </c:pt>
                <c:pt idx="208">
                  <c:v>42916</c:v>
                </c:pt>
                <c:pt idx="209">
                  <c:v>42947</c:v>
                </c:pt>
                <c:pt idx="210">
                  <c:v>42978</c:v>
                </c:pt>
                <c:pt idx="211">
                  <c:v>43008</c:v>
                </c:pt>
                <c:pt idx="212">
                  <c:v>43039</c:v>
                </c:pt>
                <c:pt idx="213">
                  <c:v>43069</c:v>
                </c:pt>
                <c:pt idx="214">
                  <c:v>43100</c:v>
                </c:pt>
                <c:pt idx="215">
                  <c:v>43131</c:v>
                </c:pt>
                <c:pt idx="216">
                  <c:v>43159</c:v>
                </c:pt>
                <c:pt idx="217">
                  <c:v>43190</c:v>
                </c:pt>
                <c:pt idx="218">
                  <c:v>43220</c:v>
                </c:pt>
                <c:pt idx="219">
                  <c:v>43251</c:v>
                </c:pt>
                <c:pt idx="220">
                  <c:v>43281</c:v>
                </c:pt>
                <c:pt idx="221">
                  <c:v>43312</c:v>
                </c:pt>
                <c:pt idx="222">
                  <c:v>43343</c:v>
                </c:pt>
                <c:pt idx="223">
                  <c:v>43373</c:v>
                </c:pt>
                <c:pt idx="224">
                  <c:v>43404</c:v>
                </c:pt>
                <c:pt idx="225">
                  <c:v>43434</c:v>
                </c:pt>
                <c:pt idx="226">
                  <c:v>43465</c:v>
                </c:pt>
                <c:pt idx="227">
                  <c:v>43496</c:v>
                </c:pt>
                <c:pt idx="228">
                  <c:v>43524</c:v>
                </c:pt>
                <c:pt idx="229">
                  <c:v>43555</c:v>
                </c:pt>
                <c:pt idx="230">
                  <c:v>43585</c:v>
                </c:pt>
                <c:pt idx="231">
                  <c:v>43616</c:v>
                </c:pt>
                <c:pt idx="232">
                  <c:v>43646</c:v>
                </c:pt>
                <c:pt idx="233">
                  <c:v>43677</c:v>
                </c:pt>
                <c:pt idx="234">
                  <c:v>43708</c:v>
                </c:pt>
                <c:pt idx="235">
                  <c:v>43738</c:v>
                </c:pt>
                <c:pt idx="236">
                  <c:v>43769</c:v>
                </c:pt>
                <c:pt idx="237">
                  <c:v>43799</c:v>
                </c:pt>
                <c:pt idx="238">
                  <c:v>43830</c:v>
                </c:pt>
                <c:pt idx="239">
                  <c:v>43861</c:v>
                </c:pt>
                <c:pt idx="240">
                  <c:v>43890</c:v>
                </c:pt>
                <c:pt idx="241">
                  <c:v>43921</c:v>
                </c:pt>
                <c:pt idx="242">
                  <c:v>43951</c:v>
                </c:pt>
                <c:pt idx="243">
                  <c:v>43982</c:v>
                </c:pt>
                <c:pt idx="244">
                  <c:v>44012</c:v>
                </c:pt>
                <c:pt idx="245">
                  <c:v>44043</c:v>
                </c:pt>
                <c:pt idx="246">
                  <c:v>44074</c:v>
                </c:pt>
                <c:pt idx="247">
                  <c:v>44104</c:v>
                </c:pt>
                <c:pt idx="248">
                  <c:v>44135</c:v>
                </c:pt>
                <c:pt idx="249">
                  <c:v>44165</c:v>
                </c:pt>
                <c:pt idx="250">
                  <c:v>44196</c:v>
                </c:pt>
                <c:pt idx="251">
                  <c:v>44227</c:v>
                </c:pt>
                <c:pt idx="252">
                  <c:v>44255</c:v>
                </c:pt>
                <c:pt idx="253">
                  <c:v>44286</c:v>
                </c:pt>
                <c:pt idx="254">
                  <c:v>44316</c:v>
                </c:pt>
                <c:pt idx="255">
                  <c:v>44347</c:v>
                </c:pt>
                <c:pt idx="256">
                  <c:v>44377</c:v>
                </c:pt>
                <c:pt idx="257">
                  <c:v>44408</c:v>
                </c:pt>
                <c:pt idx="258">
                  <c:v>44439</c:v>
                </c:pt>
                <c:pt idx="259">
                  <c:v>44469</c:v>
                </c:pt>
                <c:pt idx="260">
                  <c:v>44500</c:v>
                </c:pt>
                <c:pt idx="261">
                  <c:v>44530</c:v>
                </c:pt>
                <c:pt idx="262">
                  <c:v>44561</c:v>
                </c:pt>
                <c:pt idx="263">
                  <c:v>44592</c:v>
                </c:pt>
                <c:pt idx="264">
                  <c:v>44620</c:v>
                </c:pt>
                <c:pt idx="265">
                  <c:v>44651</c:v>
                </c:pt>
                <c:pt idx="266">
                  <c:v>44681</c:v>
                </c:pt>
                <c:pt idx="267">
                  <c:v>44712</c:v>
                </c:pt>
                <c:pt idx="268">
                  <c:v>44742</c:v>
                </c:pt>
                <c:pt idx="269">
                  <c:v>44773</c:v>
                </c:pt>
                <c:pt idx="270">
                  <c:v>44804</c:v>
                </c:pt>
                <c:pt idx="271">
                  <c:v>44834</c:v>
                </c:pt>
                <c:pt idx="272">
                  <c:v>44865</c:v>
                </c:pt>
                <c:pt idx="273">
                  <c:v>44895</c:v>
                </c:pt>
                <c:pt idx="274">
                  <c:v>44926</c:v>
                </c:pt>
                <c:pt idx="275">
                  <c:v>44957</c:v>
                </c:pt>
                <c:pt idx="276">
                  <c:v>44985</c:v>
                </c:pt>
                <c:pt idx="277">
                  <c:v>45016</c:v>
                </c:pt>
                <c:pt idx="278">
                  <c:v>45046</c:v>
                </c:pt>
                <c:pt idx="279">
                  <c:v>45077</c:v>
                </c:pt>
                <c:pt idx="280">
                  <c:v>45107</c:v>
                </c:pt>
                <c:pt idx="281">
                  <c:v>45138</c:v>
                </c:pt>
                <c:pt idx="282">
                  <c:v>45169</c:v>
                </c:pt>
                <c:pt idx="283">
                  <c:v>45199</c:v>
                </c:pt>
                <c:pt idx="284">
                  <c:v>45230</c:v>
                </c:pt>
                <c:pt idx="285">
                  <c:v>45260</c:v>
                </c:pt>
                <c:pt idx="286">
                  <c:v>45291</c:v>
                </c:pt>
              </c:numCache>
            </c:numRef>
          </c:cat>
          <c:val>
            <c:numRef>
              <c:f>'Global PMI and Core PCE'!$G$4:$G$290</c:f>
              <c:numCache>
                <c:formatCode>General</c:formatCode>
                <c:ptCount val="287"/>
                <c:pt idx="255">
                  <c:v>#N/A</c:v>
                </c:pt>
                <c:pt idx="256">
                  <c:v>#N/A</c:v>
                </c:pt>
                <c:pt idx="257">
                  <c:v>#N/A</c:v>
                </c:pt>
                <c:pt idx="258">
                  <c:v>#N/A</c:v>
                </c:pt>
                <c:pt idx="259">
                  <c:v>#N/A</c:v>
                </c:pt>
                <c:pt idx="260">
                  <c:v>#N/A</c:v>
                </c:pt>
                <c:pt idx="261">
                  <c:v>#N/A</c:v>
                </c:pt>
                <c:pt idx="262">
                  <c:v>#N/A</c:v>
                </c:pt>
                <c:pt idx="263">
                  <c:v>#N/A</c:v>
                </c:pt>
                <c:pt idx="264">
                  <c:v>#N/A</c:v>
                </c:pt>
                <c:pt idx="265">
                  <c:v>#N/A</c:v>
                </c:pt>
                <c:pt idx="266">
                  <c:v>#N/A</c:v>
                </c:pt>
                <c:pt idx="267">
                  <c:v>4.6854399999999998</c:v>
                </c:pt>
                <c:pt idx="268">
                  <c:v>#N/A</c:v>
                </c:pt>
                <c:pt idx="269">
                  <c:v>#N/A</c:v>
                </c:pt>
                <c:pt idx="270">
                  <c:v>#N/A</c:v>
                </c:pt>
                <c:pt idx="271">
                  <c:v>#N/A</c:v>
                </c:pt>
                <c:pt idx="272">
                  <c:v>#N/A</c:v>
                </c:pt>
                <c:pt idx="273">
                  <c:v>#N/A</c:v>
                </c:pt>
                <c:pt idx="274">
                  <c:v>4.3</c:v>
                </c:pt>
                <c:pt idx="275">
                  <c:v>#N/A</c:v>
                </c:pt>
                <c:pt idx="276">
                  <c:v>#N/A</c:v>
                </c:pt>
                <c:pt idx="277">
                  <c:v>#N/A</c:v>
                </c:pt>
                <c:pt idx="278">
                  <c:v>#N/A</c:v>
                </c:pt>
                <c:pt idx="279">
                  <c:v>#N/A</c:v>
                </c:pt>
                <c:pt idx="280">
                  <c:v>#N/A</c:v>
                </c:pt>
                <c:pt idx="281">
                  <c:v>#N/A</c:v>
                </c:pt>
                <c:pt idx="282">
                  <c:v>#N/A</c:v>
                </c:pt>
                <c:pt idx="283">
                  <c:v>#N/A</c:v>
                </c:pt>
                <c:pt idx="284">
                  <c:v>#N/A</c:v>
                </c:pt>
                <c:pt idx="285">
                  <c:v>#N/A</c:v>
                </c:pt>
                <c:pt idx="286">
                  <c:v>2.7</c:v>
                </c:pt>
              </c:numCache>
            </c:numRef>
          </c:val>
          <c:smooth val="0"/>
          <c:extLst>
            <c:ext xmlns:c16="http://schemas.microsoft.com/office/drawing/2014/chart" uri="{C3380CC4-5D6E-409C-BE32-E72D297353CC}">
              <c16:uniqueId val="{00000001-1270-46EC-AE23-8684A3EB071E}"/>
            </c:ext>
          </c:extLst>
        </c:ser>
        <c:ser>
          <c:idx val="2"/>
          <c:order val="2"/>
          <c:spPr>
            <a:ln w="25400">
              <a:solidFill>
                <a:srgbClr val="E09B00"/>
              </a:solidFill>
              <a:prstDash val="dash"/>
            </a:ln>
          </c:spPr>
          <c:marker>
            <c:symbol val="none"/>
          </c:marker>
          <c:cat>
            <c:numRef>
              <c:f>'Global PMI and Core PCE'!$E$4:$E$290</c:f>
              <c:numCache>
                <c:formatCode>m/d/yyyy</c:formatCode>
                <c:ptCount val="287"/>
                <c:pt idx="0">
                  <c:v>36585</c:v>
                </c:pt>
                <c:pt idx="1">
                  <c:v>36616</c:v>
                </c:pt>
                <c:pt idx="2">
                  <c:v>36646</c:v>
                </c:pt>
                <c:pt idx="3">
                  <c:v>36677</c:v>
                </c:pt>
                <c:pt idx="4">
                  <c:v>36707</c:v>
                </c:pt>
                <c:pt idx="5">
                  <c:v>36738</c:v>
                </c:pt>
                <c:pt idx="6">
                  <c:v>36769</c:v>
                </c:pt>
                <c:pt idx="7">
                  <c:v>36799</c:v>
                </c:pt>
                <c:pt idx="8">
                  <c:v>36830</c:v>
                </c:pt>
                <c:pt idx="9">
                  <c:v>36860</c:v>
                </c:pt>
                <c:pt idx="10">
                  <c:v>36891</c:v>
                </c:pt>
                <c:pt idx="11">
                  <c:v>36922</c:v>
                </c:pt>
                <c:pt idx="12">
                  <c:v>36950</c:v>
                </c:pt>
                <c:pt idx="13">
                  <c:v>36981</c:v>
                </c:pt>
                <c:pt idx="14">
                  <c:v>37011</c:v>
                </c:pt>
                <c:pt idx="15">
                  <c:v>37042</c:v>
                </c:pt>
                <c:pt idx="16">
                  <c:v>37072</c:v>
                </c:pt>
                <c:pt idx="17">
                  <c:v>37103</c:v>
                </c:pt>
                <c:pt idx="18">
                  <c:v>37134</c:v>
                </c:pt>
                <c:pt idx="19">
                  <c:v>37164</c:v>
                </c:pt>
                <c:pt idx="20">
                  <c:v>37195</c:v>
                </c:pt>
                <c:pt idx="21">
                  <c:v>37225</c:v>
                </c:pt>
                <c:pt idx="22">
                  <c:v>37256</c:v>
                </c:pt>
                <c:pt idx="23">
                  <c:v>37287</c:v>
                </c:pt>
                <c:pt idx="24">
                  <c:v>37315</c:v>
                </c:pt>
                <c:pt idx="25">
                  <c:v>37346</c:v>
                </c:pt>
                <c:pt idx="26">
                  <c:v>37376</c:v>
                </c:pt>
                <c:pt idx="27">
                  <c:v>37407</c:v>
                </c:pt>
                <c:pt idx="28">
                  <c:v>37437</c:v>
                </c:pt>
                <c:pt idx="29">
                  <c:v>37468</c:v>
                </c:pt>
                <c:pt idx="30">
                  <c:v>37499</c:v>
                </c:pt>
                <c:pt idx="31">
                  <c:v>37529</c:v>
                </c:pt>
                <c:pt idx="32">
                  <c:v>37560</c:v>
                </c:pt>
                <c:pt idx="33">
                  <c:v>37590</c:v>
                </c:pt>
                <c:pt idx="34">
                  <c:v>37621</c:v>
                </c:pt>
                <c:pt idx="35">
                  <c:v>37652</c:v>
                </c:pt>
                <c:pt idx="36">
                  <c:v>37680</c:v>
                </c:pt>
                <c:pt idx="37">
                  <c:v>37711</c:v>
                </c:pt>
                <c:pt idx="38">
                  <c:v>37741</c:v>
                </c:pt>
                <c:pt idx="39">
                  <c:v>37772</c:v>
                </c:pt>
                <c:pt idx="40">
                  <c:v>37802</c:v>
                </c:pt>
                <c:pt idx="41">
                  <c:v>37833</c:v>
                </c:pt>
                <c:pt idx="42">
                  <c:v>37864</c:v>
                </c:pt>
                <c:pt idx="43">
                  <c:v>37894</c:v>
                </c:pt>
                <c:pt idx="44">
                  <c:v>37925</c:v>
                </c:pt>
                <c:pt idx="45">
                  <c:v>37955</c:v>
                </c:pt>
                <c:pt idx="46">
                  <c:v>37986</c:v>
                </c:pt>
                <c:pt idx="47">
                  <c:v>38017</c:v>
                </c:pt>
                <c:pt idx="48">
                  <c:v>38046</c:v>
                </c:pt>
                <c:pt idx="49">
                  <c:v>38077</c:v>
                </c:pt>
                <c:pt idx="50">
                  <c:v>38107</c:v>
                </c:pt>
                <c:pt idx="51">
                  <c:v>38138</c:v>
                </c:pt>
                <c:pt idx="52">
                  <c:v>38168</c:v>
                </c:pt>
                <c:pt idx="53">
                  <c:v>38199</c:v>
                </c:pt>
                <c:pt idx="54">
                  <c:v>38230</c:v>
                </c:pt>
                <c:pt idx="55">
                  <c:v>38260</c:v>
                </c:pt>
                <c:pt idx="56">
                  <c:v>38291</c:v>
                </c:pt>
                <c:pt idx="57">
                  <c:v>38321</c:v>
                </c:pt>
                <c:pt idx="58">
                  <c:v>38352</c:v>
                </c:pt>
                <c:pt idx="59">
                  <c:v>38383</c:v>
                </c:pt>
                <c:pt idx="60">
                  <c:v>38411</c:v>
                </c:pt>
                <c:pt idx="61">
                  <c:v>38442</c:v>
                </c:pt>
                <c:pt idx="62">
                  <c:v>38472</c:v>
                </c:pt>
                <c:pt idx="63">
                  <c:v>38503</c:v>
                </c:pt>
                <c:pt idx="64">
                  <c:v>38533</c:v>
                </c:pt>
                <c:pt idx="65">
                  <c:v>38564</c:v>
                </c:pt>
                <c:pt idx="66">
                  <c:v>38595</c:v>
                </c:pt>
                <c:pt idx="67">
                  <c:v>38625</c:v>
                </c:pt>
                <c:pt idx="68">
                  <c:v>38656</c:v>
                </c:pt>
                <c:pt idx="69">
                  <c:v>38686</c:v>
                </c:pt>
                <c:pt idx="70">
                  <c:v>38717</c:v>
                </c:pt>
                <c:pt idx="71">
                  <c:v>38748</c:v>
                </c:pt>
                <c:pt idx="72">
                  <c:v>38776</c:v>
                </c:pt>
                <c:pt idx="73">
                  <c:v>38807</c:v>
                </c:pt>
                <c:pt idx="74">
                  <c:v>38837</c:v>
                </c:pt>
                <c:pt idx="75">
                  <c:v>38868</c:v>
                </c:pt>
                <c:pt idx="76">
                  <c:v>38898</c:v>
                </c:pt>
                <c:pt idx="77">
                  <c:v>38929</c:v>
                </c:pt>
                <c:pt idx="78">
                  <c:v>38960</c:v>
                </c:pt>
                <c:pt idx="79">
                  <c:v>38990</c:v>
                </c:pt>
                <c:pt idx="80">
                  <c:v>39021</c:v>
                </c:pt>
                <c:pt idx="81">
                  <c:v>39051</c:v>
                </c:pt>
                <c:pt idx="82">
                  <c:v>39082</c:v>
                </c:pt>
                <c:pt idx="83">
                  <c:v>39113</c:v>
                </c:pt>
                <c:pt idx="84">
                  <c:v>39141</c:v>
                </c:pt>
                <c:pt idx="85">
                  <c:v>39172</c:v>
                </c:pt>
                <c:pt idx="86">
                  <c:v>39202</c:v>
                </c:pt>
                <c:pt idx="87">
                  <c:v>39233</c:v>
                </c:pt>
                <c:pt idx="88">
                  <c:v>39263</c:v>
                </c:pt>
                <c:pt idx="89">
                  <c:v>39294</c:v>
                </c:pt>
                <c:pt idx="90">
                  <c:v>39325</c:v>
                </c:pt>
                <c:pt idx="91">
                  <c:v>39355</c:v>
                </c:pt>
                <c:pt idx="92">
                  <c:v>39386</c:v>
                </c:pt>
                <c:pt idx="93">
                  <c:v>39416</c:v>
                </c:pt>
                <c:pt idx="94">
                  <c:v>39447</c:v>
                </c:pt>
                <c:pt idx="95">
                  <c:v>39478</c:v>
                </c:pt>
                <c:pt idx="96">
                  <c:v>39507</c:v>
                </c:pt>
                <c:pt idx="97">
                  <c:v>39538</c:v>
                </c:pt>
                <c:pt idx="98">
                  <c:v>39568</c:v>
                </c:pt>
                <c:pt idx="99">
                  <c:v>39599</c:v>
                </c:pt>
                <c:pt idx="100">
                  <c:v>39629</c:v>
                </c:pt>
                <c:pt idx="101">
                  <c:v>39660</c:v>
                </c:pt>
                <c:pt idx="102">
                  <c:v>39691</c:v>
                </c:pt>
                <c:pt idx="103">
                  <c:v>39721</c:v>
                </c:pt>
                <c:pt idx="104">
                  <c:v>39752</c:v>
                </c:pt>
                <c:pt idx="105">
                  <c:v>39782</c:v>
                </c:pt>
                <c:pt idx="106">
                  <c:v>39813</c:v>
                </c:pt>
                <c:pt idx="107">
                  <c:v>39844</c:v>
                </c:pt>
                <c:pt idx="108">
                  <c:v>39872</c:v>
                </c:pt>
                <c:pt idx="109">
                  <c:v>39903</c:v>
                </c:pt>
                <c:pt idx="110">
                  <c:v>39933</c:v>
                </c:pt>
                <c:pt idx="111">
                  <c:v>39964</c:v>
                </c:pt>
                <c:pt idx="112">
                  <c:v>39994</c:v>
                </c:pt>
                <c:pt idx="113">
                  <c:v>40025</c:v>
                </c:pt>
                <c:pt idx="114">
                  <c:v>40056</c:v>
                </c:pt>
                <c:pt idx="115">
                  <c:v>40086</c:v>
                </c:pt>
                <c:pt idx="116">
                  <c:v>40117</c:v>
                </c:pt>
                <c:pt idx="117">
                  <c:v>40147</c:v>
                </c:pt>
                <c:pt idx="118">
                  <c:v>40178</c:v>
                </c:pt>
                <c:pt idx="119">
                  <c:v>40209</c:v>
                </c:pt>
                <c:pt idx="120">
                  <c:v>40237</c:v>
                </c:pt>
                <c:pt idx="121">
                  <c:v>40268</c:v>
                </c:pt>
                <c:pt idx="122">
                  <c:v>40298</c:v>
                </c:pt>
                <c:pt idx="123">
                  <c:v>40329</c:v>
                </c:pt>
                <c:pt idx="124">
                  <c:v>40359</c:v>
                </c:pt>
                <c:pt idx="125">
                  <c:v>40390</c:v>
                </c:pt>
                <c:pt idx="126">
                  <c:v>40421</c:v>
                </c:pt>
                <c:pt idx="127">
                  <c:v>40451</c:v>
                </c:pt>
                <c:pt idx="128">
                  <c:v>40482</c:v>
                </c:pt>
                <c:pt idx="129">
                  <c:v>40512</c:v>
                </c:pt>
                <c:pt idx="130">
                  <c:v>40543</c:v>
                </c:pt>
                <c:pt idx="131">
                  <c:v>40574</c:v>
                </c:pt>
                <c:pt idx="132">
                  <c:v>40602</c:v>
                </c:pt>
                <c:pt idx="133">
                  <c:v>40633</c:v>
                </c:pt>
                <c:pt idx="134">
                  <c:v>40663</c:v>
                </c:pt>
                <c:pt idx="135">
                  <c:v>40694</c:v>
                </c:pt>
                <c:pt idx="136">
                  <c:v>40724</c:v>
                </c:pt>
                <c:pt idx="137">
                  <c:v>40755</c:v>
                </c:pt>
                <c:pt idx="138">
                  <c:v>40786</c:v>
                </c:pt>
                <c:pt idx="139">
                  <c:v>40816</c:v>
                </c:pt>
                <c:pt idx="140">
                  <c:v>40847</c:v>
                </c:pt>
                <c:pt idx="141">
                  <c:v>40877</c:v>
                </c:pt>
                <c:pt idx="142">
                  <c:v>40908</c:v>
                </c:pt>
                <c:pt idx="143">
                  <c:v>40939</c:v>
                </c:pt>
                <c:pt idx="144">
                  <c:v>40968</c:v>
                </c:pt>
                <c:pt idx="145">
                  <c:v>40999</c:v>
                </c:pt>
                <c:pt idx="146">
                  <c:v>41029</c:v>
                </c:pt>
                <c:pt idx="147">
                  <c:v>41060</c:v>
                </c:pt>
                <c:pt idx="148">
                  <c:v>41090</c:v>
                </c:pt>
                <c:pt idx="149">
                  <c:v>41121</c:v>
                </c:pt>
                <c:pt idx="150">
                  <c:v>41152</c:v>
                </c:pt>
                <c:pt idx="151">
                  <c:v>41182</c:v>
                </c:pt>
                <c:pt idx="152">
                  <c:v>41213</c:v>
                </c:pt>
                <c:pt idx="153">
                  <c:v>41243</c:v>
                </c:pt>
                <c:pt idx="154">
                  <c:v>41274</c:v>
                </c:pt>
                <c:pt idx="155">
                  <c:v>41305</c:v>
                </c:pt>
                <c:pt idx="156">
                  <c:v>41333</c:v>
                </c:pt>
                <c:pt idx="157">
                  <c:v>41364</c:v>
                </c:pt>
                <c:pt idx="158">
                  <c:v>41394</c:v>
                </c:pt>
                <c:pt idx="159">
                  <c:v>41425</c:v>
                </c:pt>
                <c:pt idx="160">
                  <c:v>41455</c:v>
                </c:pt>
                <c:pt idx="161">
                  <c:v>41486</c:v>
                </c:pt>
                <c:pt idx="162">
                  <c:v>41517</c:v>
                </c:pt>
                <c:pt idx="163">
                  <c:v>41547</c:v>
                </c:pt>
                <c:pt idx="164">
                  <c:v>41578</c:v>
                </c:pt>
                <c:pt idx="165">
                  <c:v>41608</c:v>
                </c:pt>
                <c:pt idx="166">
                  <c:v>41639</c:v>
                </c:pt>
                <c:pt idx="167">
                  <c:v>41670</c:v>
                </c:pt>
                <c:pt idx="168">
                  <c:v>41698</c:v>
                </c:pt>
                <c:pt idx="169">
                  <c:v>41729</c:v>
                </c:pt>
                <c:pt idx="170">
                  <c:v>41759</c:v>
                </c:pt>
                <c:pt idx="171">
                  <c:v>41790</c:v>
                </c:pt>
                <c:pt idx="172">
                  <c:v>41820</c:v>
                </c:pt>
                <c:pt idx="173">
                  <c:v>41851</c:v>
                </c:pt>
                <c:pt idx="174">
                  <c:v>41882</c:v>
                </c:pt>
                <c:pt idx="175">
                  <c:v>41912</c:v>
                </c:pt>
                <c:pt idx="176">
                  <c:v>41943</c:v>
                </c:pt>
                <c:pt idx="177">
                  <c:v>41973</c:v>
                </c:pt>
                <c:pt idx="178">
                  <c:v>42004</c:v>
                </c:pt>
                <c:pt idx="179">
                  <c:v>42035</c:v>
                </c:pt>
                <c:pt idx="180">
                  <c:v>42063</c:v>
                </c:pt>
                <c:pt idx="181">
                  <c:v>42094</c:v>
                </c:pt>
                <c:pt idx="182">
                  <c:v>42124</c:v>
                </c:pt>
                <c:pt idx="183">
                  <c:v>42155</c:v>
                </c:pt>
                <c:pt idx="184">
                  <c:v>42185</c:v>
                </c:pt>
                <c:pt idx="185">
                  <c:v>42216</c:v>
                </c:pt>
                <c:pt idx="186">
                  <c:v>42247</c:v>
                </c:pt>
                <c:pt idx="187">
                  <c:v>42277</c:v>
                </c:pt>
                <c:pt idx="188">
                  <c:v>42308</c:v>
                </c:pt>
                <c:pt idx="189">
                  <c:v>42338</c:v>
                </c:pt>
                <c:pt idx="190">
                  <c:v>42369</c:v>
                </c:pt>
                <c:pt idx="191">
                  <c:v>42400</c:v>
                </c:pt>
                <c:pt idx="192">
                  <c:v>42429</c:v>
                </c:pt>
                <c:pt idx="193">
                  <c:v>42460</c:v>
                </c:pt>
                <c:pt idx="194">
                  <c:v>42490</c:v>
                </c:pt>
                <c:pt idx="195">
                  <c:v>42521</c:v>
                </c:pt>
                <c:pt idx="196">
                  <c:v>42551</c:v>
                </c:pt>
                <c:pt idx="197">
                  <c:v>42582</c:v>
                </c:pt>
                <c:pt idx="198">
                  <c:v>42613</c:v>
                </c:pt>
                <c:pt idx="199">
                  <c:v>42643</c:v>
                </c:pt>
                <c:pt idx="200">
                  <c:v>42674</c:v>
                </c:pt>
                <c:pt idx="201">
                  <c:v>42704</c:v>
                </c:pt>
                <c:pt idx="202">
                  <c:v>42735</c:v>
                </c:pt>
                <c:pt idx="203">
                  <c:v>42766</c:v>
                </c:pt>
                <c:pt idx="204">
                  <c:v>42794</c:v>
                </c:pt>
                <c:pt idx="205">
                  <c:v>42825</c:v>
                </c:pt>
                <c:pt idx="206">
                  <c:v>42855</c:v>
                </c:pt>
                <c:pt idx="207">
                  <c:v>42886</c:v>
                </c:pt>
                <c:pt idx="208">
                  <c:v>42916</c:v>
                </c:pt>
                <c:pt idx="209">
                  <c:v>42947</c:v>
                </c:pt>
                <c:pt idx="210">
                  <c:v>42978</c:v>
                </c:pt>
                <c:pt idx="211">
                  <c:v>43008</c:v>
                </c:pt>
                <c:pt idx="212">
                  <c:v>43039</c:v>
                </c:pt>
                <c:pt idx="213">
                  <c:v>43069</c:v>
                </c:pt>
                <c:pt idx="214">
                  <c:v>43100</c:v>
                </c:pt>
                <c:pt idx="215">
                  <c:v>43131</c:v>
                </c:pt>
                <c:pt idx="216">
                  <c:v>43159</c:v>
                </c:pt>
                <c:pt idx="217">
                  <c:v>43190</c:v>
                </c:pt>
                <c:pt idx="218">
                  <c:v>43220</c:v>
                </c:pt>
                <c:pt idx="219">
                  <c:v>43251</c:v>
                </c:pt>
                <c:pt idx="220">
                  <c:v>43281</c:v>
                </c:pt>
                <c:pt idx="221">
                  <c:v>43312</c:v>
                </c:pt>
                <c:pt idx="222">
                  <c:v>43343</c:v>
                </c:pt>
                <c:pt idx="223">
                  <c:v>43373</c:v>
                </c:pt>
                <c:pt idx="224">
                  <c:v>43404</c:v>
                </c:pt>
                <c:pt idx="225">
                  <c:v>43434</c:v>
                </c:pt>
                <c:pt idx="226">
                  <c:v>43465</c:v>
                </c:pt>
                <c:pt idx="227">
                  <c:v>43496</c:v>
                </c:pt>
                <c:pt idx="228">
                  <c:v>43524</c:v>
                </c:pt>
                <c:pt idx="229">
                  <c:v>43555</c:v>
                </c:pt>
                <c:pt idx="230">
                  <c:v>43585</c:v>
                </c:pt>
                <c:pt idx="231">
                  <c:v>43616</c:v>
                </c:pt>
                <c:pt idx="232">
                  <c:v>43646</c:v>
                </c:pt>
                <c:pt idx="233">
                  <c:v>43677</c:v>
                </c:pt>
                <c:pt idx="234">
                  <c:v>43708</c:v>
                </c:pt>
                <c:pt idx="235">
                  <c:v>43738</c:v>
                </c:pt>
                <c:pt idx="236">
                  <c:v>43769</c:v>
                </c:pt>
                <c:pt idx="237">
                  <c:v>43799</c:v>
                </c:pt>
                <c:pt idx="238">
                  <c:v>43830</c:v>
                </c:pt>
                <c:pt idx="239">
                  <c:v>43861</c:v>
                </c:pt>
                <c:pt idx="240">
                  <c:v>43890</c:v>
                </c:pt>
                <c:pt idx="241">
                  <c:v>43921</c:v>
                </c:pt>
                <c:pt idx="242">
                  <c:v>43951</c:v>
                </c:pt>
                <c:pt idx="243">
                  <c:v>43982</c:v>
                </c:pt>
                <c:pt idx="244">
                  <c:v>44012</c:v>
                </c:pt>
                <c:pt idx="245">
                  <c:v>44043</c:v>
                </c:pt>
                <c:pt idx="246">
                  <c:v>44074</c:v>
                </c:pt>
                <c:pt idx="247">
                  <c:v>44104</c:v>
                </c:pt>
                <c:pt idx="248">
                  <c:v>44135</c:v>
                </c:pt>
                <c:pt idx="249">
                  <c:v>44165</c:v>
                </c:pt>
                <c:pt idx="250">
                  <c:v>44196</c:v>
                </c:pt>
                <c:pt idx="251">
                  <c:v>44227</c:v>
                </c:pt>
                <c:pt idx="252">
                  <c:v>44255</c:v>
                </c:pt>
                <c:pt idx="253">
                  <c:v>44286</c:v>
                </c:pt>
                <c:pt idx="254">
                  <c:v>44316</c:v>
                </c:pt>
                <c:pt idx="255">
                  <c:v>44347</c:v>
                </c:pt>
                <c:pt idx="256">
                  <c:v>44377</c:v>
                </c:pt>
                <c:pt idx="257">
                  <c:v>44408</c:v>
                </c:pt>
                <c:pt idx="258">
                  <c:v>44439</c:v>
                </c:pt>
                <c:pt idx="259">
                  <c:v>44469</c:v>
                </c:pt>
                <c:pt idx="260">
                  <c:v>44500</c:v>
                </c:pt>
                <c:pt idx="261">
                  <c:v>44530</c:v>
                </c:pt>
                <c:pt idx="262">
                  <c:v>44561</c:v>
                </c:pt>
                <c:pt idx="263">
                  <c:v>44592</c:v>
                </c:pt>
                <c:pt idx="264">
                  <c:v>44620</c:v>
                </c:pt>
                <c:pt idx="265">
                  <c:v>44651</c:v>
                </c:pt>
                <c:pt idx="266">
                  <c:v>44681</c:v>
                </c:pt>
                <c:pt idx="267">
                  <c:v>44712</c:v>
                </c:pt>
                <c:pt idx="268">
                  <c:v>44742</c:v>
                </c:pt>
                <c:pt idx="269">
                  <c:v>44773</c:v>
                </c:pt>
                <c:pt idx="270">
                  <c:v>44804</c:v>
                </c:pt>
                <c:pt idx="271">
                  <c:v>44834</c:v>
                </c:pt>
                <c:pt idx="272">
                  <c:v>44865</c:v>
                </c:pt>
                <c:pt idx="273">
                  <c:v>44895</c:v>
                </c:pt>
                <c:pt idx="274">
                  <c:v>44926</c:v>
                </c:pt>
                <c:pt idx="275">
                  <c:v>44957</c:v>
                </c:pt>
                <c:pt idx="276">
                  <c:v>44985</c:v>
                </c:pt>
                <c:pt idx="277">
                  <c:v>45016</c:v>
                </c:pt>
                <c:pt idx="278">
                  <c:v>45046</c:v>
                </c:pt>
                <c:pt idx="279">
                  <c:v>45077</c:v>
                </c:pt>
                <c:pt idx="280">
                  <c:v>45107</c:v>
                </c:pt>
                <c:pt idx="281">
                  <c:v>45138</c:v>
                </c:pt>
                <c:pt idx="282">
                  <c:v>45169</c:v>
                </c:pt>
                <c:pt idx="283">
                  <c:v>45199</c:v>
                </c:pt>
                <c:pt idx="284">
                  <c:v>45230</c:v>
                </c:pt>
                <c:pt idx="285">
                  <c:v>45260</c:v>
                </c:pt>
                <c:pt idx="286">
                  <c:v>45291</c:v>
                </c:pt>
              </c:numCache>
            </c:numRef>
          </c:cat>
          <c:val>
            <c:numRef>
              <c:f>'Global PMI and Core PCE'!$H$4:$H$290</c:f>
              <c:numCache>
                <c:formatCode>General</c:formatCode>
                <c:ptCount val="287"/>
                <c:pt idx="0">
                  <c:v>2</c:v>
                </c:pt>
                <c:pt idx="1">
                  <c:v>2</c:v>
                </c:pt>
                <c:pt idx="2">
                  <c:v>2</c:v>
                </c:pt>
                <c:pt idx="3">
                  <c:v>2</c:v>
                </c:pt>
                <c:pt idx="4">
                  <c:v>2</c:v>
                </c:pt>
                <c:pt idx="5">
                  <c:v>2</c:v>
                </c:pt>
                <c:pt idx="6">
                  <c:v>2</c:v>
                </c:pt>
                <c:pt idx="7">
                  <c:v>2</c:v>
                </c:pt>
                <c:pt idx="8">
                  <c:v>2</c:v>
                </c:pt>
                <c:pt idx="9">
                  <c:v>2</c:v>
                </c:pt>
                <c:pt idx="10">
                  <c:v>2</c:v>
                </c:pt>
                <c:pt idx="11">
                  <c:v>2</c:v>
                </c:pt>
                <c:pt idx="12">
                  <c:v>2</c:v>
                </c:pt>
                <c:pt idx="13">
                  <c:v>2</c:v>
                </c:pt>
                <c:pt idx="14">
                  <c:v>2</c:v>
                </c:pt>
                <c:pt idx="15">
                  <c:v>2</c:v>
                </c:pt>
                <c:pt idx="16">
                  <c:v>2</c:v>
                </c:pt>
                <c:pt idx="17">
                  <c:v>2</c:v>
                </c:pt>
                <c:pt idx="18">
                  <c:v>2</c:v>
                </c:pt>
                <c:pt idx="19">
                  <c:v>2</c:v>
                </c:pt>
                <c:pt idx="20">
                  <c:v>2</c:v>
                </c:pt>
                <c:pt idx="21">
                  <c:v>2</c:v>
                </c:pt>
                <c:pt idx="22">
                  <c:v>2</c:v>
                </c:pt>
                <c:pt idx="23">
                  <c:v>2</c:v>
                </c:pt>
                <c:pt idx="24">
                  <c:v>2</c:v>
                </c:pt>
                <c:pt idx="25">
                  <c:v>2</c:v>
                </c:pt>
                <c:pt idx="26">
                  <c:v>2</c:v>
                </c:pt>
                <c:pt idx="27">
                  <c:v>2</c:v>
                </c:pt>
                <c:pt idx="28">
                  <c:v>2</c:v>
                </c:pt>
                <c:pt idx="29">
                  <c:v>2</c:v>
                </c:pt>
                <c:pt idx="30">
                  <c:v>2</c:v>
                </c:pt>
                <c:pt idx="31">
                  <c:v>2</c:v>
                </c:pt>
                <c:pt idx="32">
                  <c:v>2</c:v>
                </c:pt>
                <c:pt idx="33">
                  <c:v>2</c:v>
                </c:pt>
                <c:pt idx="34">
                  <c:v>2</c:v>
                </c:pt>
                <c:pt idx="35">
                  <c:v>2</c:v>
                </c:pt>
                <c:pt idx="36">
                  <c:v>2</c:v>
                </c:pt>
                <c:pt idx="37">
                  <c:v>2</c:v>
                </c:pt>
                <c:pt idx="38">
                  <c:v>2</c:v>
                </c:pt>
                <c:pt idx="39">
                  <c:v>2</c:v>
                </c:pt>
                <c:pt idx="40">
                  <c:v>2</c:v>
                </c:pt>
                <c:pt idx="41">
                  <c:v>2</c:v>
                </c:pt>
                <c:pt idx="42">
                  <c:v>2</c:v>
                </c:pt>
                <c:pt idx="43">
                  <c:v>2</c:v>
                </c:pt>
                <c:pt idx="44">
                  <c:v>2</c:v>
                </c:pt>
                <c:pt idx="45">
                  <c:v>2</c:v>
                </c:pt>
                <c:pt idx="46">
                  <c:v>2</c:v>
                </c:pt>
                <c:pt idx="47">
                  <c:v>2</c:v>
                </c:pt>
                <c:pt idx="48">
                  <c:v>2</c:v>
                </c:pt>
                <c:pt idx="49">
                  <c:v>2</c:v>
                </c:pt>
                <c:pt idx="50">
                  <c:v>2</c:v>
                </c:pt>
                <c:pt idx="51">
                  <c:v>2</c:v>
                </c:pt>
                <c:pt idx="52">
                  <c:v>2</c:v>
                </c:pt>
                <c:pt idx="53">
                  <c:v>2</c:v>
                </c:pt>
                <c:pt idx="54">
                  <c:v>2</c:v>
                </c:pt>
                <c:pt idx="55">
                  <c:v>2</c:v>
                </c:pt>
                <c:pt idx="56">
                  <c:v>2</c:v>
                </c:pt>
                <c:pt idx="57">
                  <c:v>2</c:v>
                </c:pt>
                <c:pt idx="58">
                  <c:v>2</c:v>
                </c:pt>
                <c:pt idx="59">
                  <c:v>2</c:v>
                </c:pt>
                <c:pt idx="60">
                  <c:v>2</c:v>
                </c:pt>
                <c:pt idx="61">
                  <c:v>2</c:v>
                </c:pt>
                <c:pt idx="62">
                  <c:v>2</c:v>
                </c:pt>
                <c:pt idx="63">
                  <c:v>2</c:v>
                </c:pt>
                <c:pt idx="64">
                  <c:v>2</c:v>
                </c:pt>
                <c:pt idx="65">
                  <c:v>2</c:v>
                </c:pt>
                <c:pt idx="66">
                  <c:v>2</c:v>
                </c:pt>
                <c:pt idx="67">
                  <c:v>2</c:v>
                </c:pt>
                <c:pt idx="68">
                  <c:v>2</c:v>
                </c:pt>
                <c:pt idx="69">
                  <c:v>2</c:v>
                </c:pt>
                <c:pt idx="70">
                  <c:v>2</c:v>
                </c:pt>
                <c:pt idx="71">
                  <c:v>2</c:v>
                </c:pt>
                <c:pt idx="72">
                  <c:v>2</c:v>
                </c:pt>
                <c:pt idx="73">
                  <c:v>2</c:v>
                </c:pt>
                <c:pt idx="74">
                  <c:v>2</c:v>
                </c:pt>
                <c:pt idx="75">
                  <c:v>2</c:v>
                </c:pt>
                <c:pt idx="76">
                  <c:v>2</c:v>
                </c:pt>
                <c:pt idx="77">
                  <c:v>2</c:v>
                </c:pt>
                <c:pt idx="78">
                  <c:v>2</c:v>
                </c:pt>
                <c:pt idx="79">
                  <c:v>2</c:v>
                </c:pt>
                <c:pt idx="80">
                  <c:v>2</c:v>
                </c:pt>
                <c:pt idx="81">
                  <c:v>2</c:v>
                </c:pt>
                <c:pt idx="82">
                  <c:v>2</c:v>
                </c:pt>
                <c:pt idx="83">
                  <c:v>2</c:v>
                </c:pt>
                <c:pt idx="84">
                  <c:v>2</c:v>
                </c:pt>
                <c:pt idx="85">
                  <c:v>2</c:v>
                </c:pt>
                <c:pt idx="86">
                  <c:v>2</c:v>
                </c:pt>
                <c:pt idx="87">
                  <c:v>2</c:v>
                </c:pt>
                <c:pt idx="88">
                  <c:v>2</c:v>
                </c:pt>
                <c:pt idx="89">
                  <c:v>2</c:v>
                </c:pt>
                <c:pt idx="90">
                  <c:v>2</c:v>
                </c:pt>
                <c:pt idx="91">
                  <c:v>2</c:v>
                </c:pt>
                <c:pt idx="92">
                  <c:v>2</c:v>
                </c:pt>
                <c:pt idx="93">
                  <c:v>2</c:v>
                </c:pt>
                <c:pt idx="94">
                  <c:v>2</c:v>
                </c:pt>
                <c:pt idx="95">
                  <c:v>2</c:v>
                </c:pt>
                <c:pt idx="96">
                  <c:v>2</c:v>
                </c:pt>
                <c:pt idx="97">
                  <c:v>2</c:v>
                </c:pt>
                <c:pt idx="98">
                  <c:v>2</c:v>
                </c:pt>
                <c:pt idx="99">
                  <c:v>2</c:v>
                </c:pt>
                <c:pt idx="100">
                  <c:v>2</c:v>
                </c:pt>
                <c:pt idx="101">
                  <c:v>2</c:v>
                </c:pt>
                <c:pt idx="102">
                  <c:v>2</c:v>
                </c:pt>
                <c:pt idx="103">
                  <c:v>2</c:v>
                </c:pt>
                <c:pt idx="104">
                  <c:v>2</c:v>
                </c:pt>
                <c:pt idx="105">
                  <c:v>2</c:v>
                </c:pt>
                <c:pt idx="106">
                  <c:v>2</c:v>
                </c:pt>
                <c:pt idx="107">
                  <c:v>2</c:v>
                </c:pt>
                <c:pt idx="108">
                  <c:v>2</c:v>
                </c:pt>
                <c:pt idx="109">
                  <c:v>2</c:v>
                </c:pt>
                <c:pt idx="110">
                  <c:v>2</c:v>
                </c:pt>
                <c:pt idx="111">
                  <c:v>2</c:v>
                </c:pt>
                <c:pt idx="112">
                  <c:v>2</c:v>
                </c:pt>
                <c:pt idx="113">
                  <c:v>2</c:v>
                </c:pt>
                <c:pt idx="114">
                  <c:v>2</c:v>
                </c:pt>
                <c:pt idx="115">
                  <c:v>2</c:v>
                </c:pt>
                <c:pt idx="116">
                  <c:v>2</c:v>
                </c:pt>
                <c:pt idx="117">
                  <c:v>2</c:v>
                </c:pt>
                <c:pt idx="118">
                  <c:v>2</c:v>
                </c:pt>
                <c:pt idx="119">
                  <c:v>2</c:v>
                </c:pt>
                <c:pt idx="120">
                  <c:v>2</c:v>
                </c:pt>
                <c:pt idx="121">
                  <c:v>2</c:v>
                </c:pt>
                <c:pt idx="122">
                  <c:v>2</c:v>
                </c:pt>
                <c:pt idx="123">
                  <c:v>2</c:v>
                </c:pt>
                <c:pt idx="124">
                  <c:v>2</c:v>
                </c:pt>
                <c:pt idx="125">
                  <c:v>2</c:v>
                </c:pt>
                <c:pt idx="126">
                  <c:v>2</c:v>
                </c:pt>
                <c:pt idx="127">
                  <c:v>2</c:v>
                </c:pt>
                <c:pt idx="128">
                  <c:v>2</c:v>
                </c:pt>
                <c:pt idx="129">
                  <c:v>2</c:v>
                </c:pt>
                <c:pt idx="130">
                  <c:v>2</c:v>
                </c:pt>
                <c:pt idx="131">
                  <c:v>2</c:v>
                </c:pt>
                <c:pt idx="132">
                  <c:v>2</c:v>
                </c:pt>
                <c:pt idx="133">
                  <c:v>2</c:v>
                </c:pt>
                <c:pt idx="134">
                  <c:v>2</c:v>
                </c:pt>
                <c:pt idx="135">
                  <c:v>2</c:v>
                </c:pt>
                <c:pt idx="136">
                  <c:v>2</c:v>
                </c:pt>
                <c:pt idx="137">
                  <c:v>2</c:v>
                </c:pt>
                <c:pt idx="138">
                  <c:v>2</c:v>
                </c:pt>
                <c:pt idx="139">
                  <c:v>2</c:v>
                </c:pt>
                <c:pt idx="140">
                  <c:v>2</c:v>
                </c:pt>
                <c:pt idx="141">
                  <c:v>2</c:v>
                </c:pt>
                <c:pt idx="142">
                  <c:v>2</c:v>
                </c:pt>
                <c:pt idx="143">
                  <c:v>2</c:v>
                </c:pt>
                <c:pt idx="144">
                  <c:v>2</c:v>
                </c:pt>
                <c:pt idx="145">
                  <c:v>2</c:v>
                </c:pt>
                <c:pt idx="146">
                  <c:v>2</c:v>
                </c:pt>
                <c:pt idx="147">
                  <c:v>2</c:v>
                </c:pt>
                <c:pt idx="148">
                  <c:v>2</c:v>
                </c:pt>
                <c:pt idx="149">
                  <c:v>2</c:v>
                </c:pt>
                <c:pt idx="150">
                  <c:v>2</c:v>
                </c:pt>
                <c:pt idx="151">
                  <c:v>2</c:v>
                </c:pt>
                <c:pt idx="152">
                  <c:v>2</c:v>
                </c:pt>
                <c:pt idx="153">
                  <c:v>2</c:v>
                </c:pt>
                <c:pt idx="154">
                  <c:v>2</c:v>
                </c:pt>
                <c:pt idx="155">
                  <c:v>2</c:v>
                </c:pt>
                <c:pt idx="156">
                  <c:v>2</c:v>
                </c:pt>
                <c:pt idx="157">
                  <c:v>2</c:v>
                </c:pt>
                <c:pt idx="158">
                  <c:v>2</c:v>
                </c:pt>
                <c:pt idx="159">
                  <c:v>2</c:v>
                </c:pt>
                <c:pt idx="160">
                  <c:v>2</c:v>
                </c:pt>
                <c:pt idx="161">
                  <c:v>2</c:v>
                </c:pt>
                <c:pt idx="162">
                  <c:v>2</c:v>
                </c:pt>
                <c:pt idx="163">
                  <c:v>2</c:v>
                </c:pt>
                <c:pt idx="164">
                  <c:v>2</c:v>
                </c:pt>
                <c:pt idx="165">
                  <c:v>2</c:v>
                </c:pt>
                <c:pt idx="166">
                  <c:v>2</c:v>
                </c:pt>
                <c:pt idx="167">
                  <c:v>2</c:v>
                </c:pt>
                <c:pt idx="168">
                  <c:v>2</c:v>
                </c:pt>
                <c:pt idx="169">
                  <c:v>2</c:v>
                </c:pt>
                <c:pt idx="170">
                  <c:v>2</c:v>
                </c:pt>
                <c:pt idx="171">
                  <c:v>2</c:v>
                </c:pt>
                <c:pt idx="172">
                  <c:v>2</c:v>
                </c:pt>
                <c:pt idx="173">
                  <c:v>2</c:v>
                </c:pt>
                <c:pt idx="174">
                  <c:v>2</c:v>
                </c:pt>
                <c:pt idx="175">
                  <c:v>2</c:v>
                </c:pt>
                <c:pt idx="176">
                  <c:v>2</c:v>
                </c:pt>
                <c:pt idx="177">
                  <c:v>2</c:v>
                </c:pt>
                <c:pt idx="178">
                  <c:v>2</c:v>
                </c:pt>
                <c:pt idx="179">
                  <c:v>2</c:v>
                </c:pt>
                <c:pt idx="180">
                  <c:v>2</c:v>
                </c:pt>
                <c:pt idx="181">
                  <c:v>2</c:v>
                </c:pt>
                <c:pt idx="182">
                  <c:v>2</c:v>
                </c:pt>
                <c:pt idx="183">
                  <c:v>2</c:v>
                </c:pt>
                <c:pt idx="184">
                  <c:v>2</c:v>
                </c:pt>
                <c:pt idx="185">
                  <c:v>2</c:v>
                </c:pt>
                <c:pt idx="186">
                  <c:v>2</c:v>
                </c:pt>
                <c:pt idx="187">
                  <c:v>2</c:v>
                </c:pt>
                <c:pt idx="188">
                  <c:v>2</c:v>
                </c:pt>
                <c:pt idx="189">
                  <c:v>2</c:v>
                </c:pt>
                <c:pt idx="190">
                  <c:v>2</c:v>
                </c:pt>
                <c:pt idx="191">
                  <c:v>2</c:v>
                </c:pt>
                <c:pt idx="192">
                  <c:v>2</c:v>
                </c:pt>
                <c:pt idx="193">
                  <c:v>2</c:v>
                </c:pt>
                <c:pt idx="194">
                  <c:v>2</c:v>
                </c:pt>
                <c:pt idx="195">
                  <c:v>2</c:v>
                </c:pt>
                <c:pt idx="196">
                  <c:v>2</c:v>
                </c:pt>
                <c:pt idx="197">
                  <c:v>2</c:v>
                </c:pt>
                <c:pt idx="198">
                  <c:v>2</c:v>
                </c:pt>
                <c:pt idx="199">
                  <c:v>2</c:v>
                </c:pt>
                <c:pt idx="200">
                  <c:v>2</c:v>
                </c:pt>
                <c:pt idx="201">
                  <c:v>2</c:v>
                </c:pt>
                <c:pt idx="202">
                  <c:v>2</c:v>
                </c:pt>
                <c:pt idx="203">
                  <c:v>2</c:v>
                </c:pt>
                <c:pt idx="204">
                  <c:v>2</c:v>
                </c:pt>
                <c:pt idx="205">
                  <c:v>2</c:v>
                </c:pt>
                <c:pt idx="206">
                  <c:v>2</c:v>
                </c:pt>
                <c:pt idx="207">
                  <c:v>2</c:v>
                </c:pt>
                <c:pt idx="208">
                  <c:v>2</c:v>
                </c:pt>
                <c:pt idx="209">
                  <c:v>2</c:v>
                </c:pt>
                <c:pt idx="210">
                  <c:v>2</c:v>
                </c:pt>
                <c:pt idx="211">
                  <c:v>2</c:v>
                </c:pt>
                <c:pt idx="212">
                  <c:v>2</c:v>
                </c:pt>
                <c:pt idx="213">
                  <c:v>2</c:v>
                </c:pt>
                <c:pt idx="214">
                  <c:v>2</c:v>
                </c:pt>
                <c:pt idx="215">
                  <c:v>2</c:v>
                </c:pt>
                <c:pt idx="216">
                  <c:v>2</c:v>
                </c:pt>
                <c:pt idx="217">
                  <c:v>2</c:v>
                </c:pt>
                <c:pt idx="218">
                  <c:v>2</c:v>
                </c:pt>
                <c:pt idx="219">
                  <c:v>2</c:v>
                </c:pt>
                <c:pt idx="220">
                  <c:v>2</c:v>
                </c:pt>
                <c:pt idx="221">
                  <c:v>2</c:v>
                </c:pt>
                <c:pt idx="222">
                  <c:v>2</c:v>
                </c:pt>
                <c:pt idx="223">
                  <c:v>2</c:v>
                </c:pt>
                <c:pt idx="224">
                  <c:v>2</c:v>
                </c:pt>
                <c:pt idx="225">
                  <c:v>2</c:v>
                </c:pt>
                <c:pt idx="226">
                  <c:v>2</c:v>
                </c:pt>
                <c:pt idx="227">
                  <c:v>2</c:v>
                </c:pt>
                <c:pt idx="228">
                  <c:v>2</c:v>
                </c:pt>
                <c:pt idx="229">
                  <c:v>2</c:v>
                </c:pt>
                <c:pt idx="230">
                  <c:v>2</c:v>
                </c:pt>
                <c:pt idx="231">
                  <c:v>2</c:v>
                </c:pt>
                <c:pt idx="232">
                  <c:v>2</c:v>
                </c:pt>
                <c:pt idx="233">
                  <c:v>2</c:v>
                </c:pt>
                <c:pt idx="234">
                  <c:v>2</c:v>
                </c:pt>
                <c:pt idx="235">
                  <c:v>2</c:v>
                </c:pt>
                <c:pt idx="236">
                  <c:v>2</c:v>
                </c:pt>
                <c:pt idx="237">
                  <c:v>2</c:v>
                </c:pt>
                <c:pt idx="238">
                  <c:v>2</c:v>
                </c:pt>
                <c:pt idx="239">
                  <c:v>2</c:v>
                </c:pt>
                <c:pt idx="240">
                  <c:v>2</c:v>
                </c:pt>
                <c:pt idx="241">
                  <c:v>2</c:v>
                </c:pt>
                <c:pt idx="242">
                  <c:v>2</c:v>
                </c:pt>
                <c:pt idx="243">
                  <c:v>2</c:v>
                </c:pt>
                <c:pt idx="244">
                  <c:v>2</c:v>
                </c:pt>
                <c:pt idx="245">
                  <c:v>2</c:v>
                </c:pt>
                <c:pt idx="246">
                  <c:v>2</c:v>
                </c:pt>
                <c:pt idx="247">
                  <c:v>2</c:v>
                </c:pt>
                <c:pt idx="248">
                  <c:v>2</c:v>
                </c:pt>
                <c:pt idx="249">
                  <c:v>2</c:v>
                </c:pt>
                <c:pt idx="250">
                  <c:v>2</c:v>
                </c:pt>
                <c:pt idx="251">
                  <c:v>2</c:v>
                </c:pt>
                <c:pt idx="252">
                  <c:v>2</c:v>
                </c:pt>
                <c:pt idx="253">
                  <c:v>2</c:v>
                </c:pt>
                <c:pt idx="254">
                  <c:v>2</c:v>
                </c:pt>
                <c:pt idx="255">
                  <c:v>2</c:v>
                </c:pt>
                <c:pt idx="256">
                  <c:v>2</c:v>
                </c:pt>
                <c:pt idx="257">
                  <c:v>2</c:v>
                </c:pt>
                <c:pt idx="258">
                  <c:v>2</c:v>
                </c:pt>
                <c:pt idx="259">
                  <c:v>2</c:v>
                </c:pt>
                <c:pt idx="260">
                  <c:v>2</c:v>
                </c:pt>
                <c:pt idx="261">
                  <c:v>2</c:v>
                </c:pt>
                <c:pt idx="262">
                  <c:v>2</c:v>
                </c:pt>
                <c:pt idx="263">
                  <c:v>2</c:v>
                </c:pt>
                <c:pt idx="264">
                  <c:v>2</c:v>
                </c:pt>
                <c:pt idx="265">
                  <c:v>2</c:v>
                </c:pt>
                <c:pt idx="266">
                  <c:v>2</c:v>
                </c:pt>
                <c:pt idx="267">
                  <c:v>2</c:v>
                </c:pt>
                <c:pt idx="268">
                  <c:v>2</c:v>
                </c:pt>
                <c:pt idx="269">
                  <c:v>2</c:v>
                </c:pt>
                <c:pt idx="270">
                  <c:v>2</c:v>
                </c:pt>
                <c:pt idx="271">
                  <c:v>2</c:v>
                </c:pt>
                <c:pt idx="272">
                  <c:v>2</c:v>
                </c:pt>
                <c:pt idx="273">
                  <c:v>2</c:v>
                </c:pt>
                <c:pt idx="274">
                  <c:v>2</c:v>
                </c:pt>
                <c:pt idx="275">
                  <c:v>2</c:v>
                </c:pt>
                <c:pt idx="276">
                  <c:v>2</c:v>
                </c:pt>
                <c:pt idx="277">
                  <c:v>2</c:v>
                </c:pt>
                <c:pt idx="278">
                  <c:v>2</c:v>
                </c:pt>
                <c:pt idx="279">
                  <c:v>2</c:v>
                </c:pt>
                <c:pt idx="280">
                  <c:v>2</c:v>
                </c:pt>
                <c:pt idx="281">
                  <c:v>2</c:v>
                </c:pt>
                <c:pt idx="282">
                  <c:v>2</c:v>
                </c:pt>
                <c:pt idx="283">
                  <c:v>2</c:v>
                </c:pt>
                <c:pt idx="284">
                  <c:v>2</c:v>
                </c:pt>
                <c:pt idx="285">
                  <c:v>2</c:v>
                </c:pt>
                <c:pt idx="286">
                  <c:v>2</c:v>
                </c:pt>
              </c:numCache>
            </c:numRef>
          </c:val>
          <c:smooth val="0"/>
          <c:extLst>
            <c:ext xmlns:c16="http://schemas.microsoft.com/office/drawing/2014/chart" uri="{C3380CC4-5D6E-409C-BE32-E72D297353CC}">
              <c16:uniqueId val="{00000002-1270-46EC-AE23-8684A3EB071E}"/>
            </c:ext>
          </c:extLst>
        </c:ser>
        <c:dLbls>
          <c:showLegendKey val="0"/>
          <c:showVal val="0"/>
          <c:showCatName val="0"/>
          <c:showSerName val="0"/>
          <c:showPercent val="0"/>
          <c:showBubbleSize val="0"/>
        </c:dLbls>
        <c:smooth val="0"/>
        <c:axId val="52632576"/>
        <c:axId val="52635136"/>
      </c:lineChart>
      <c:dateAx>
        <c:axId val="52632576"/>
        <c:scaling>
          <c:orientation val="minMax"/>
          <c:max val="45291"/>
          <c:min val="42766"/>
        </c:scaling>
        <c:delete val="0"/>
        <c:axPos val="b"/>
        <c:numFmt formatCode="[$-409]mmm\-yy;@" sourceLinked="0"/>
        <c:majorTickMark val="out"/>
        <c:minorTickMark val="none"/>
        <c:tickLblPos val="nextTo"/>
        <c:spPr>
          <a:ln w="3175">
            <a:solidFill>
              <a:schemeClr val="tx1"/>
            </a:solidFill>
          </a:ln>
        </c:spPr>
        <c:txPr>
          <a:bodyPr rot="-5400000" vert="horz"/>
          <a:lstStyle/>
          <a:p>
            <a:pPr>
              <a:defRPr sz="800"/>
            </a:pPr>
            <a:endParaRPr lang="en-US"/>
          </a:p>
        </c:txPr>
        <c:crossAx val="52635136"/>
        <c:crosses val="autoZero"/>
        <c:auto val="1"/>
        <c:lblOffset val="100"/>
        <c:baseTimeUnit val="months"/>
        <c:majorUnit val="6"/>
        <c:majorTimeUnit val="months"/>
      </c:dateAx>
      <c:valAx>
        <c:axId val="52635136"/>
        <c:scaling>
          <c:orientation val="minMax"/>
          <c:min val="0.8"/>
        </c:scaling>
        <c:delete val="0"/>
        <c:axPos val="l"/>
        <c:numFmt formatCode="#,##0.0" sourceLinked="0"/>
        <c:majorTickMark val="out"/>
        <c:minorTickMark val="none"/>
        <c:tickLblPos val="nextTo"/>
        <c:spPr>
          <a:ln w="3175">
            <a:solidFill>
              <a:schemeClr val="tx1"/>
            </a:solidFill>
          </a:ln>
        </c:spPr>
        <c:txPr>
          <a:bodyPr/>
          <a:lstStyle/>
          <a:p>
            <a:pPr>
              <a:defRPr sz="800"/>
            </a:pPr>
            <a:endParaRPr lang="en-US"/>
          </a:p>
        </c:txPr>
        <c:crossAx val="52632576"/>
        <c:crosses val="autoZero"/>
        <c:crossBetween val="midCat"/>
        <c:majorUnit val="0.4"/>
      </c:valAx>
    </c:plotArea>
    <c:plotVisOnly val="1"/>
    <c:dispBlanksAs val="gap"/>
    <c:showDLblsOverMax val="0"/>
  </c:chart>
  <c:txPr>
    <a:bodyPr/>
    <a:lstStyle/>
    <a:p>
      <a:pPr>
        <a:defRPr sz="1400">
          <a:latin typeface="Arial" panose="020B0604020202020204" pitchFamily="34" charset="0"/>
          <a:cs typeface="Arial" panose="020B0604020202020204" pitchFamily="34" charset="0"/>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416945445485874"/>
          <c:y val="8.2028680091739914E-2"/>
          <c:w val="0.87758598079510897"/>
          <c:h val="0.8731602859394052"/>
        </c:manualLayout>
      </c:layout>
      <c:lineChart>
        <c:grouping val="standard"/>
        <c:varyColors val="0"/>
        <c:ser>
          <c:idx val="0"/>
          <c:order val="0"/>
          <c:tx>
            <c:strRef>
              <c:f>Sheet1!$D$17</c:f>
              <c:strCache>
                <c:ptCount val="1"/>
                <c:pt idx="0">
                  <c:v>Pre-Inflation Surge - 9/30/21</c:v>
                </c:pt>
              </c:strCache>
            </c:strRef>
          </c:tx>
          <c:spPr>
            <a:ln w="28575" cap="rnd">
              <a:solidFill>
                <a:srgbClr val="7A9A3D"/>
              </a:solidFill>
              <a:round/>
            </a:ln>
            <a:effectLst/>
          </c:spPr>
          <c:marker>
            <c:symbol val="none"/>
          </c:marker>
          <c:cat>
            <c:numRef>
              <c:f>Sheet1!$C$18:$C$27</c:f>
              <c:numCache>
                <c:formatCode>m/d/yyyy</c:formatCode>
                <c:ptCount val="10"/>
                <c:pt idx="0">
                  <c:v>44651</c:v>
                </c:pt>
                <c:pt idx="1">
                  <c:v>44681</c:v>
                </c:pt>
                <c:pt idx="2">
                  <c:v>44712</c:v>
                </c:pt>
                <c:pt idx="3">
                  <c:v>44742</c:v>
                </c:pt>
                <c:pt idx="4">
                  <c:v>44773</c:v>
                </c:pt>
                <c:pt idx="5">
                  <c:v>44804</c:v>
                </c:pt>
                <c:pt idx="6">
                  <c:v>44834</c:v>
                </c:pt>
                <c:pt idx="7">
                  <c:v>44865</c:v>
                </c:pt>
                <c:pt idx="8">
                  <c:v>44895</c:v>
                </c:pt>
                <c:pt idx="9">
                  <c:v>44926</c:v>
                </c:pt>
              </c:numCache>
            </c:numRef>
          </c:cat>
          <c:val>
            <c:numRef>
              <c:f>Sheet1!$D$18:$D$27</c:f>
              <c:numCache>
                <c:formatCode>General</c:formatCode>
                <c:ptCount val="10"/>
                <c:pt idx="0">
                  <c:v>0.08</c:v>
                </c:pt>
                <c:pt idx="1">
                  <c:v>0.08</c:v>
                </c:pt>
                <c:pt idx="2">
                  <c:v>8.5000000000000006E-2</c:v>
                </c:pt>
                <c:pt idx="3">
                  <c:v>0.105</c:v>
                </c:pt>
                <c:pt idx="4">
                  <c:v>0.125</c:v>
                </c:pt>
                <c:pt idx="5">
                  <c:v>0.14499999999999999</c:v>
                </c:pt>
                <c:pt idx="6">
                  <c:v>0.16500000000000001</c:v>
                </c:pt>
                <c:pt idx="7">
                  <c:v>0.215</c:v>
                </c:pt>
                <c:pt idx="8">
                  <c:v>0.245</c:v>
                </c:pt>
                <c:pt idx="9">
                  <c:v>0.3</c:v>
                </c:pt>
              </c:numCache>
            </c:numRef>
          </c:val>
          <c:smooth val="0"/>
          <c:extLst>
            <c:ext xmlns:c16="http://schemas.microsoft.com/office/drawing/2014/chart" uri="{C3380CC4-5D6E-409C-BE32-E72D297353CC}">
              <c16:uniqueId val="{00000000-D680-4318-8910-74776CD7A40C}"/>
            </c:ext>
          </c:extLst>
        </c:ser>
        <c:ser>
          <c:idx val="1"/>
          <c:order val="1"/>
          <c:tx>
            <c:strRef>
              <c:f>Sheet1!$E$17</c:f>
              <c:strCache>
                <c:ptCount val="1"/>
                <c:pt idx="0">
                  <c:v>Powell Pivot - 12/20</c:v>
                </c:pt>
              </c:strCache>
            </c:strRef>
          </c:tx>
          <c:spPr>
            <a:ln w="28575" cap="rnd">
              <a:solidFill>
                <a:srgbClr val="298FC2"/>
              </a:solidFill>
              <a:round/>
            </a:ln>
            <a:effectLst/>
          </c:spPr>
          <c:marker>
            <c:symbol val="none"/>
          </c:marker>
          <c:cat>
            <c:numRef>
              <c:f>Sheet1!$C$18:$C$27</c:f>
              <c:numCache>
                <c:formatCode>m/d/yyyy</c:formatCode>
                <c:ptCount val="10"/>
                <c:pt idx="0">
                  <c:v>44651</c:v>
                </c:pt>
                <c:pt idx="1">
                  <c:v>44681</c:v>
                </c:pt>
                <c:pt idx="2">
                  <c:v>44712</c:v>
                </c:pt>
                <c:pt idx="3">
                  <c:v>44742</c:v>
                </c:pt>
                <c:pt idx="4">
                  <c:v>44773</c:v>
                </c:pt>
                <c:pt idx="5">
                  <c:v>44804</c:v>
                </c:pt>
                <c:pt idx="6">
                  <c:v>44834</c:v>
                </c:pt>
                <c:pt idx="7">
                  <c:v>44865</c:v>
                </c:pt>
                <c:pt idx="8">
                  <c:v>44895</c:v>
                </c:pt>
                <c:pt idx="9">
                  <c:v>44926</c:v>
                </c:pt>
              </c:numCache>
            </c:numRef>
          </c:cat>
          <c:val>
            <c:numRef>
              <c:f>Sheet1!$E$18:$E$27</c:f>
              <c:numCache>
                <c:formatCode>General</c:formatCode>
                <c:ptCount val="10"/>
                <c:pt idx="0">
                  <c:v>0.15</c:v>
                </c:pt>
                <c:pt idx="1">
                  <c:v>0.215</c:v>
                </c:pt>
                <c:pt idx="2">
                  <c:v>0.28000000000000003</c:v>
                </c:pt>
                <c:pt idx="3">
                  <c:v>0.35</c:v>
                </c:pt>
                <c:pt idx="4">
                  <c:v>0.42499999999999999</c:v>
                </c:pt>
                <c:pt idx="5">
                  <c:v>0.48</c:v>
                </c:pt>
                <c:pt idx="6">
                  <c:v>0.51</c:v>
                </c:pt>
                <c:pt idx="7">
                  <c:v>0.57999999999999996</c:v>
                </c:pt>
                <c:pt idx="8">
                  <c:v>0.63500000000000001</c:v>
                </c:pt>
                <c:pt idx="9">
                  <c:v>0.69499999999999995</c:v>
                </c:pt>
              </c:numCache>
            </c:numRef>
          </c:val>
          <c:smooth val="0"/>
          <c:extLst>
            <c:ext xmlns:c16="http://schemas.microsoft.com/office/drawing/2014/chart" uri="{C3380CC4-5D6E-409C-BE32-E72D297353CC}">
              <c16:uniqueId val="{00000001-D680-4318-8910-74776CD7A40C}"/>
            </c:ext>
          </c:extLst>
        </c:ser>
        <c:ser>
          <c:idx val="2"/>
          <c:order val="2"/>
          <c:tx>
            <c:strRef>
              <c:f>Sheet1!$F$17</c:f>
              <c:strCache>
                <c:ptCount val="1"/>
                <c:pt idx="0">
                  <c:v>Bullard Comments - 2/10/22</c:v>
                </c:pt>
              </c:strCache>
            </c:strRef>
          </c:tx>
          <c:spPr>
            <a:ln w="28575" cap="rnd">
              <a:solidFill>
                <a:srgbClr val="004F6B"/>
              </a:solidFill>
              <a:round/>
            </a:ln>
            <a:effectLst/>
          </c:spPr>
          <c:marker>
            <c:symbol val="none"/>
          </c:marker>
          <c:cat>
            <c:numRef>
              <c:f>Sheet1!$C$18:$C$27</c:f>
              <c:numCache>
                <c:formatCode>m/d/yyyy</c:formatCode>
                <c:ptCount val="10"/>
                <c:pt idx="0">
                  <c:v>44651</c:v>
                </c:pt>
                <c:pt idx="1">
                  <c:v>44681</c:v>
                </c:pt>
                <c:pt idx="2">
                  <c:v>44712</c:v>
                </c:pt>
                <c:pt idx="3">
                  <c:v>44742</c:v>
                </c:pt>
                <c:pt idx="4">
                  <c:v>44773</c:v>
                </c:pt>
                <c:pt idx="5">
                  <c:v>44804</c:v>
                </c:pt>
                <c:pt idx="6">
                  <c:v>44834</c:v>
                </c:pt>
                <c:pt idx="7">
                  <c:v>44865</c:v>
                </c:pt>
                <c:pt idx="8">
                  <c:v>44895</c:v>
                </c:pt>
                <c:pt idx="9">
                  <c:v>44926</c:v>
                </c:pt>
              </c:numCache>
            </c:numRef>
          </c:cat>
          <c:val>
            <c:numRef>
              <c:f>Sheet1!$F$18:$F$27</c:f>
              <c:numCache>
                <c:formatCode>General</c:formatCode>
                <c:ptCount val="10"/>
                <c:pt idx="0">
                  <c:v>0.375</c:v>
                </c:pt>
                <c:pt idx="1">
                  <c:v>0.52500000000000002</c:v>
                </c:pt>
                <c:pt idx="2">
                  <c:v>0.8</c:v>
                </c:pt>
                <c:pt idx="3">
                  <c:v>0.96499999999999997</c:v>
                </c:pt>
                <c:pt idx="4">
                  <c:v>1.105</c:v>
                </c:pt>
                <c:pt idx="5">
                  <c:v>1.26</c:v>
                </c:pt>
                <c:pt idx="6">
                  <c:v>1.32</c:v>
                </c:pt>
                <c:pt idx="7">
                  <c:v>1.4650000000000001</c:v>
                </c:pt>
                <c:pt idx="8">
                  <c:v>1.5649999999999999</c:v>
                </c:pt>
                <c:pt idx="9">
                  <c:v>1.65</c:v>
                </c:pt>
              </c:numCache>
            </c:numRef>
          </c:val>
          <c:smooth val="0"/>
          <c:extLst>
            <c:ext xmlns:c16="http://schemas.microsoft.com/office/drawing/2014/chart" uri="{C3380CC4-5D6E-409C-BE32-E72D297353CC}">
              <c16:uniqueId val="{00000002-D680-4318-8910-74776CD7A40C}"/>
            </c:ext>
          </c:extLst>
        </c:ser>
        <c:ser>
          <c:idx val="3"/>
          <c:order val="3"/>
          <c:tx>
            <c:strRef>
              <c:f>Sheet1!$G$17</c:f>
              <c:strCache>
                <c:ptCount val="1"/>
                <c:pt idx="0">
                  <c:v>Ukraine War Begins - 2/24/22</c:v>
                </c:pt>
              </c:strCache>
            </c:strRef>
          </c:tx>
          <c:spPr>
            <a:ln w="28575" cap="rnd">
              <a:solidFill>
                <a:srgbClr val="8FB6BB"/>
              </a:solidFill>
              <a:round/>
            </a:ln>
            <a:effectLst/>
          </c:spPr>
          <c:marker>
            <c:symbol val="none"/>
          </c:marker>
          <c:cat>
            <c:numRef>
              <c:f>Sheet1!$C$18:$C$27</c:f>
              <c:numCache>
                <c:formatCode>m/d/yyyy</c:formatCode>
                <c:ptCount val="10"/>
                <c:pt idx="0">
                  <c:v>44651</c:v>
                </c:pt>
                <c:pt idx="1">
                  <c:v>44681</c:v>
                </c:pt>
                <c:pt idx="2">
                  <c:v>44712</c:v>
                </c:pt>
                <c:pt idx="3">
                  <c:v>44742</c:v>
                </c:pt>
                <c:pt idx="4">
                  <c:v>44773</c:v>
                </c:pt>
                <c:pt idx="5">
                  <c:v>44804</c:v>
                </c:pt>
                <c:pt idx="6">
                  <c:v>44834</c:v>
                </c:pt>
                <c:pt idx="7">
                  <c:v>44865</c:v>
                </c:pt>
                <c:pt idx="8">
                  <c:v>44895</c:v>
                </c:pt>
                <c:pt idx="9">
                  <c:v>44926</c:v>
                </c:pt>
              </c:numCache>
            </c:numRef>
          </c:cat>
          <c:val>
            <c:numRef>
              <c:f>Sheet1!$G$18:$G$27</c:f>
              <c:numCache>
                <c:formatCode>General</c:formatCode>
                <c:ptCount val="10"/>
                <c:pt idx="0">
                  <c:v>0.22500000000000001</c:v>
                </c:pt>
                <c:pt idx="1">
                  <c:v>0.37</c:v>
                </c:pt>
                <c:pt idx="2">
                  <c:v>0.63500000000000001</c:v>
                </c:pt>
                <c:pt idx="3">
                  <c:v>0.80500000000000005</c:v>
                </c:pt>
                <c:pt idx="4">
                  <c:v>0.94499999999999995</c:v>
                </c:pt>
                <c:pt idx="5">
                  <c:v>1.105</c:v>
                </c:pt>
                <c:pt idx="6">
                  <c:v>1.17</c:v>
                </c:pt>
                <c:pt idx="7">
                  <c:v>1.31</c:v>
                </c:pt>
                <c:pt idx="8">
                  <c:v>1.4450000000000001</c:v>
                </c:pt>
                <c:pt idx="9">
                  <c:v>1.55</c:v>
                </c:pt>
              </c:numCache>
            </c:numRef>
          </c:val>
          <c:smooth val="0"/>
          <c:extLst>
            <c:ext xmlns:c16="http://schemas.microsoft.com/office/drawing/2014/chart" uri="{C3380CC4-5D6E-409C-BE32-E72D297353CC}">
              <c16:uniqueId val="{00000003-D680-4318-8910-74776CD7A40C}"/>
            </c:ext>
          </c:extLst>
        </c:ser>
        <c:ser>
          <c:idx val="4"/>
          <c:order val="4"/>
          <c:tx>
            <c:strRef>
              <c:f>Sheet1!$H$17</c:f>
              <c:strCache>
                <c:ptCount val="1"/>
                <c:pt idx="0">
                  <c:v>5/31/2022</c:v>
                </c:pt>
              </c:strCache>
            </c:strRef>
          </c:tx>
          <c:spPr>
            <a:ln w="28575" cap="rnd">
              <a:solidFill>
                <a:srgbClr val="4B7838"/>
              </a:solidFill>
              <a:round/>
            </a:ln>
            <a:effectLst/>
          </c:spPr>
          <c:marker>
            <c:symbol val="none"/>
          </c:marker>
          <c:cat>
            <c:numRef>
              <c:f>Sheet1!$C$18:$C$27</c:f>
              <c:numCache>
                <c:formatCode>m/d/yyyy</c:formatCode>
                <c:ptCount val="10"/>
                <c:pt idx="0">
                  <c:v>44651</c:v>
                </c:pt>
                <c:pt idx="1">
                  <c:v>44681</c:v>
                </c:pt>
                <c:pt idx="2">
                  <c:v>44712</c:v>
                </c:pt>
                <c:pt idx="3">
                  <c:v>44742</c:v>
                </c:pt>
                <c:pt idx="4">
                  <c:v>44773</c:v>
                </c:pt>
                <c:pt idx="5">
                  <c:v>44804</c:v>
                </c:pt>
                <c:pt idx="6">
                  <c:v>44834</c:v>
                </c:pt>
                <c:pt idx="7">
                  <c:v>44865</c:v>
                </c:pt>
                <c:pt idx="8">
                  <c:v>44895</c:v>
                </c:pt>
                <c:pt idx="9">
                  <c:v>44926</c:v>
                </c:pt>
              </c:numCache>
            </c:numRef>
          </c:cat>
          <c:val>
            <c:numRef>
              <c:f>Sheet1!$H$18:$H$27</c:f>
              <c:numCache>
                <c:formatCode>General</c:formatCode>
                <c:ptCount val="10"/>
                <c:pt idx="2">
                  <c:v>0.76500000000000001</c:v>
                </c:pt>
                <c:pt idx="3">
                  <c:v>1.0825</c:v>
                </c:pt>
                <c:pt idx="4">
                  <c:v>1.4</c:v>
                </c:pt>
                <c:pt idx="5">
                  <c:v>1.825</c:v>
                </c:pt>
                <c:pt idx="6">
                  <c:v>1.94</c:v>
                </c:pt>
                <c:pt idx="7">
                  <c:v>2.2149999999999999</c:v>
                </c:pt>
                <c:pt idx="8">
                  <c:v>2.4649999999999999</c:v>
                </c:pt>
                <c:pt idx="9">
                  <c:v>2.6150000000000002</c:v>
                </c:pt>
              </c:numCache>
            </c:numRef>
          </c:val>
          <c:smooth val="0"/>
          <c:extLst>
            <c:ext xmlns:c16="http://schemas.microsoft.com/office/drawing/2014/chart" uri="{C3380CC4-5D6E-409C-BE32-E72D297353CC}">
              <c16:uniqueId val="{00000004-D680-4318-8910-74776CD7A40C}"/>
            </c:ext>
          </c:extLst>
        </c:ser>
        <c:ser>
          <c:idx val="5"/>
          <c:order val="5"/>
          <c:tx>
            <c:strRef>
              <c:f>Sheet1!$I$17</c:f>
              <c:strCache>
                <c:ptCount val="1"/>
                <c:pt idx="0">
                  <c:v>1 Hike</c:v>
                </c:pt>
              </c:strCache>
            </c:strRef>
          </c:tx>
          <c:spPr>
            <a:ln w="28575" cap="rnd">
              <a:solidFill>
                <a:schemeClr val="bg1">
                  <a:lumMod val="75000"/>
                </a:schemeClr>
              </a:solidFill>
              <a:prstDash val="sysDot"/>
              <a:round/>
            </a:ln>
            <a:effectLst/>
          </c:spPr>
          <c:marker>
            <c:symbol val="none"/>
          </c:marker>
          <c:dLbls>
            <c:dLbl>
              <c:idx val="9"/>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D680-4318-8910-74776CD7A40C}"/>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C$18:$C$27</c:f>
              <c:numCache>
                <c:formatCode>m/d/yyyy</c:formatCode>
                <c:ptCount val="10"/>
                <c:pt idx="0">
                  <c:v>44651</c:v>
                </c:pt>
                <c:pt idx="1">
                  <c:v>44681</c:v>
                </c:pt>
                <c:pt idx="2">
                  <c:v>44712</c:v>
                </c:pt>
                <c:pt idx="3">
                  <c:v>44742</c:v>
                </c:pt>
                <c:pt idx="4">
                  <c:v>44773</c:v>
                </c:pt>
                <c:pt idx="5">
                  <c:v>44804</c:v>
                </c:pt>
                <c:pt idx="6">
                  <c:v>44834</c:v>
                </c:pt>
                <c:pt idx="7">
                  <c:v>44865</c:v>
                </c:pt>
                <c:pt idx="8">
                  <c:v>44895</c:v>
                </c:pt>
                <c:pt idx="9">
                  <c:v>44926</c:v>
                </c:pt>
              </c:numCache>
            </c:numRef>
          </c:cat>
          <c:val>
            <c:numRef>
              <c:f>Sheet1!$I$18:$I$27</c:f>
              <c:numCache>
                <c:formatCode>General</c:formatCode>
                <c:ptCount val="10"/>
                <c:pt idx="0">
                  <c:v>0.33</c:v>
                </c:pt>
                <c:pt idx="1">
                  <c:v>0.33</c:v>
                </c:pt>
                <c:pt idx="2">
                  <c:v>0.33</c:v>
                </c:pt>
                <c:pt idx="3">
                  <c:v>0.33</c:v>
                </c:pt>
                <c:pt idx="4">
                  <c:v>0.33</c:v>
                </c:pt>
                <c:pt idx="5">
                  <c:v>0.33</c:v>
                </c:pt>
                <c:pt idx="6">
                  <c:v>0.33</c:v>
                </c:pt>
                <c:pt idx="7">
                  <c:v>0.33</c:v>
                </c:pt>
                <c:pt idx="8">
                  <c:v>0.33</c:v>
                </c:pt>
                <c:pt idx="9">
                  <c:v>0.33</c:v>
                </c:pt>
              </c:numCache>
            </c:numRef>
          </c:val>
          <c:smooth val="0"/>
          <c:extLst>
            <c:ext xmlns:c16="http://schemas.microsoft.com/office/drawing/2014/chart" uri="{C3380CC4-5D6E-409C-BE32-E72D297353CC}">
              <c16:uniqueId val="{00000006-D680-4318-8910-74776CD7A40C}"/>
            </c:ext>
          </c:extLst>
        </c:ser>
        <c:ser>
          <c:idx val="6"/>
          <c:order val="6"/>
          <c:tx>
            <c:strRef>
              <c:f>Sheet1!$J$17</c:f>
              <c:strCache>
                <c:ptCount val="1"/>
                <c:pt idx="0">
                  <c:v>2 Hikes</c:v>
                </c:pt>
              </c:strCache>
            </c:strRef>
          </c:tx>
          <c:spPr>
            <a:ln w="28575" cap="rnd">
              <a:solidFill>
                <a:schemeClr val="bg1">
                  <a:lumMod val="75000"/>
                </a:schemeClr>
              </a:solidFill>
              <a:prstDash val="sysDot"/>
              <a:round/>
            </a:ln>
            <a:effectLst/>
          </c:spPr>
          <c:marker>
            <c:symbol val="none"/>
          </c:marker>
          <c:dLbls>
            <c:dLbl>
              <c:idx val="9"/>
              <c:tx>
                <c:rich>
                  <a:bodyPr/>
                  <a:lstStyle/>
                  <a:p>
                    <a:r>
                      <a:rPr lang="en-US"/>
                      <a:t>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D680-4318-8910-74776CD7A40C}"/>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C$18:$C$27</c:f>
              <c:numCache>
                <c:formatCode>m/d/yyyy</c:formatCode>
                <c:ptCount val="10"/>
                <c:pt idx="0">
                  <c:v>44651</c:v>
                </c:pt>
                <c:pt idx="1">
                  <c:v>44681</c:v>
                </c:pt>
                <c:pt idx="2">
                  <c:v>44712</c:v>
                </c:pt>
                <c:pt idx="3">
                  <c:v>44742</c:v>
                </c:pt>
                <c:pt idx="4">
                  <c:v>44773</c:v>
                </c:pt>
                <c:pt idx="5">
                  <c:v>44804</c:v>
                </c:pt>
                <c:pt idx="6">
                  <c:v>44834</c:v>
                </c:pt>
                <c:pt idx="7">
                  <c:v>44865</c:v>
                </c:pt>
                <c:pt idx="8">
                  <c:v>44895</c:v>
                </c:pt>
                <c:pt idx="9">
                  <c:v>44926</c:v>
                </c:pt>
              </c:numCache>
            </c:numRef>
          </c:cat>
          <c:val>
            <c:numRef>
              <c:f>Sheet1!$J$18:$J$27</c:f>
              <c:numCache>
                <c:formatCode>General</c:formatCode>
                <c:ptCount val="10"/>
                <c:pt idx="0">
                  <c:v>0.57999999999999996</c:v>
                </c:pt>
                <c:pt idx="1">
                  <c:v>0.57999999999999996</c:v>
                </c:pt>
                <c:pt idx="2">
                  <c:v>0.57999999999999996</c:v>
                </c:pt>
                <c:pt idx="3">
                  <c:v>0.57999999999999996</c:v>
                </c:pt>
                <c:pt idx="4">
                  <c:v>0.57999999999999996</c:v>
                </c:pt>
                <c:pt idx="5">
                  <c:v>0.57999999999999996</c:v>
                </c:pt>
                <c:pt idx="6">
                  <c:v>0.57999999999999996</c:v>
                </c:pt>
                <c:pt idx="7">
                  <c:v>0.57999999999999996</c:v>
                </c:pt>
                <c:pt idx="8">
                  <c:v>0.57999999999999996</c:v>
                </c:pt>
                <c:pt idx="9">
                  <c:v>0.57999999999999996</c:v>
                </c:pt>
              </c:numCache>
            </c:numRef>
          </c:val>
          <c:smooth val="0"/>
          <c:extLst>
            <c:ext xmlns:c16="http://schemas.microsoft.com/office/drawing/2014/chart" uri="{C3380CC4-5D6E-409C-BE32-E72D297353CC}">
              <c16:uniqueId val="{00000008-D680-4318-8910-74776CD7A40C}"/>
            </c:ext>
          </c:extLst>
        </c:ser>
        <c:ser>
          <c:idx val="7"/>
          <c:order val="7"/>
          <c:tx>
            <c:strRef>
              <c:f>Sheet1!$K$17</c:f>
              <c:strCache>
                <c:ptCount val="1"/>
                <c:pt idx="0">
                  <c:v>3 Hikes</c:v>
                </c:pt>
              </c:strCache>
            </c:strRef>
          </c:tx>
          <c:spPr>
            <a:ln w="28575" cap="rnd">
              <a:solidFill>
                <a:schemeClr val="bg1">
                  <a:lumMod val="75000"/>
                </a:schemeClr>
              </a:solidFill>
              <a:prstDash val="sysDot"/>
              <a:round/>
            </a:ln>
            <a:effectLst/>
          </c:spPr>
          <c:marker>
            <c:symbol val="none"/>
          </c:marker>
          <c:dLbls>
            <c:dLbl>
              <c:idx val="9"/>
              <c:tx>
                <c:rich>
                  <a:bodyPr/>
                  <a:lstStyle/>
                  <a:p>
                    <a:r>
                      <a:rPr lang="en-US"/>
                      <a:t>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D680-4318-8910-74776CD7A40C}"/>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C$18:$C$27</c:f>
              <c:numCache>
                <c:formatCode>m/d/yyyy</c:formatCode>
                <c:ptCount val="10"/>
                <c:pt idx="0">
                  <c:v>44651</c:v>
                </c:pt>
                <c:pt idx="1">
                  <c:v>44681</c:v>
                </c:pt>
                <c:pt idx="2">
                  <c:v>44712</c:v>
                </c:pt>
                <c:pt idx="3">
                  <c:v>44742</c:v>
                </c:pt>
                <c:pt idx="4">
                  <c:v>44773</c:v>
                </c:pt>
                <c:pt idx="5">
                  <c:v>44804</c:v>
                </c:pt>
                <c:pt idx="6">
                  <c:v>44834</c:v>
                </c:pt>
                <c:pt idx="7">
                  <c:v>44865</c:v>
                </c:pt>
                <c:pt idx="8">
                  <c:v>44895</c:v>
                </c:pt>
                <c:pt idx="9">
                  <c:v>44926</c:v>
                </c:pt>
              </c:numCache>
            </c:numRef>
          </c:cat>
          <c:val>
            <c:numRef>
              <c:f>Sheet1!$K$18:$K$27</c:f>
              <c:numCache>
                <c:formatCode>General</c:formatCode>
                <c:ptCount val="10"/>
                <c:pt idx="0">
                  <c:v>0.83</c:v>
                </c:pt>
                <c:pt idx="1">
                  <c:v>0.83</c:v>
                </c:pt>
                <c:pt idx="2">
                  <c:v>0.83</c:v>
                </c:pt>
                <c:pt idx="3">
                  <c:v>0.83</c:v>
                </c:pt>
                <c:pt idx="4">
                  <c:v>0.83</c:v>
                </c:pt>
                <c:pt idx="5">
                  <c:v>0.83</c:v>
                </c:pt>
                <c:pt idx="6">
                  <c:v>0.83</c:v>
                </c:pt>
                <c:pt idx="7">
                  <c:v>0.83</c:v>
                </c:pt>
                <c:pt idx="8">
                  <c:v>0.83</c:v>
                </c:pt>
                <c:pt idx="9">
                  <c:v>0.83</c:v>
                </c:pt>
              </c:numCache>
            </c:numRef>
          </c:val>
          <c:smooth val="0"/>
          <c:extLst>
            <c:ext xmlns:c16="http://schemas.microsoft.com/office/drawing/2014/chart" uri="{C3380CC4-5D6E-409C-BE32-E72D297353CC}">
              <c16:uniqueId val="{0000000A-D680-4318-8910-74776CD7A40C}"/>
            </c:ext>
          </c:extLst>
        </c:ser>
        <c:ser>
          <c:idx val="8"/>
          <c:order val="8"/>
          <c:tx>
            <c:strRef>
              <c:f>Sheet1!$L$17</c:f>
              <c:strCache>
                <c:ptCount val="1"/>
                <c:pt idx="0">
                  <c:v>4 Hikes</c:v>
                </c:pt>
              </c:strCache>
            </c:strRef>
          </c:tx>
          <c:spPr>
            <a:ln w="28575" cap="rnd">
              <a:solidFill>
                <a:schemeClr val="bg1">
                  <a:lumMod val="75000"/>
                </a:schemeClr>
              </a:solidFill>
              <a:prstDash val="sysDot"/>
              <a:round/>
            </a:ln>
            <a:effectLst/>
          </c:spPr>
          <c:marker>
            <c:symbol val="none"/>
          </c:marker>
          <c:dLbls>
            <c:dLbl>
              <c:idx val="9"/>
              <c:tx>
                <c:rich>
                  <a:bodyPr/>
                  <a:lstStyle/>
                  <a:p>
                    <a:r>
                      <a:rPr lang="en-US"/>
                      <a:t>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D680-4318-8910-74776CD7A40C}"/>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C$18:$C$27</c:f>
              <c:numCache>
                <c:formatCode>m/d/yyyy</c:formatCode>
                <c:ptCount val="10"/>
                <c:pt idx="0">
                  <c:v>44651</c:v>
                </c:pt>
                <c:pt idx="1">
                  <c:v>44681</c:v>
                </c:pt>
                <c:pt idx="2">
                  <c:v>44712</c:v>
                </c:pt>
                <c:pt idx="3">
                  <c:v>44742</c:v>
                </c:pt>
                <c:pt idx="4">
                  <c:v>44773</c:v>
                </c:pt>
                <c:pt idx="5">
                  <c:v>44804</c:v>
                </c:pt>
                <c:pt idx="6">
                  <c:v>44834</c:v>
                </c:pt>
                <c:pt idx="7">
                  <c:v>44865</c:v>
                </c:pt>
                <c:pt idx="8">
                  <c:v>44895</c:v>
                </c:pt>
                <c:pt idx="9">
                  <c:v>44926</c:v>
                </c:pt>
              </c:numCache>
            </c:numRef>
          </c:cat>
          <c:val>
            <c:numRef>
              <c:f>Sheet1!$L$18:$L$27</c:f>
              <c:numCache>
                <c:formatCode>General</c:formatCode>
                <c:ptCount val="10"/>
                <c:pt idx="0">
                  <c:v>1.08</c:v>
                </c:pt>
                <c:pt idx="1">
                  <c:v>1.08</c:v>
                </c:pt>
                <c:pt idx="2">
                  <c:v>1.08</c:v>
                </c:pt>
                <c:pt idx="3">
                  <c:v>1.08</c:v>
                </c:pt>
                <c:pt idx="4">
                  <c:v>1.08</c:v>
                </c:pt>
                <c:pt idx="5">
                  <c:v>1.08</c:v>
                </c:pt>
                <c:pt idx="6">
                  <c:v>1.08</c:v>
                </c:pt>
                <c:pt idx="7">
                  <c:v>1.08</c:v>
                </c:pt>
                <c:pt idx="8">
                  <c:v>1.08</c:v>
                </c:pt>
                <c:pt idx="9">
                  <c:v>1.08</c:v>
                </c:pt>
              </c:numCache>
            </c:numRef>
          </c:val>
          <c:smooth val="0"/>
          <c:extLst>
            <c:ext xmlns:c16="http://schemas.microsoft.com/office/drawing/2014/chart" uri="{C3380CC4-5D6E-409C-BE32-E72D297353CC}">
              <c16:uniqueId val="{0000000C-D680-4318-8910-74776CD7A40C}"/>
            </c:ext>
          </c:extLst>
        </c:ser>
        <c:ser>
          <c:idx val="9"/>
          <c:order val="9"/>
          <c:tx>
            <c:strRef>
              <c:f>Sheet1!$M$17</c:f>
              <c:strCache>
                <c:ptCount val="1"/>
                <c:pt idx="0">
                  <c:v>5 Hikes</c:v>
                </c:pt>
              </c:strCache>
            </c:strRef>
          </c:tx>
          <c:spPr>
            <a:ln w="28575" cap="rnd">
              <a:solidFill>
                <a:schemeClr val="bg1">
                  <a:lumMod val="75000"/>
                </a:schemeClr>
              </a:solidFill>
              <a:prstDash val="sysDot"/>
              <a:round/>
            </a:ln>
            <a:effectLst/>
          </c:spPr>
          <c:marker>
            <c:symbol val="none"/>
          </c:marker>
          <c:dLbls>
            <c:dLbl>
              <c:idx val="9"/>
              <c:tx>
                <c:rich>
                  <a:bodyPr/>
                  <a:lstStyle/>
                  <a:p>
                    <a:r>
                      <a:rPr lang="en-US"/>
                      <a:t>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D680-4318-8910-74776CD7A40C}"/>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C$18:$C$27</c:f>
              <c:numCache>
                <c:formatCode>m/d/yyyy</c:formatCode>
                <c:ptCount val="10"/>
                <c:pt idx="0">
                  <c:v>44651</c:v>
                </c:pt>
                <c:pt idx="1">
                  <c:v>44681</c:v>
                </c:pt>
                <c:pt idx="2">
                  <c:v>44712</c:v>
                </c:pt>
                <c:pt idx="3">
                  <c:v>44742</c:v>
                </c:pt>
                <c:pt idx="4">
                  <c:v>44773</c:v>
                </c:pt>
                <c:pt idx="5">
                  <c:v>44804</c:v>
                </c:pt>
                <c:pt idx="6">
                  <c:v>44834</c:v>
                </c:pt>
                <c:pt idx="7">
                  <c:v>44865</c:v>
                </c:pt>
                <c:pt idx="8">
                  <c:v>44895</c:v>
                </c:pt>
                <c:pt idx="9">
                  <c:v>44926</c:v>
                </c:pt>
              </c:numCache>
            </c:numRef>
          </c:cat>
          <c:val>
            <c:numRef>
              <c:f>Sheet1!$M$18:$M$27</c:f>
              <c:numCache>
                <c:formatCode>General</c:formatCode>
                <c:ptCount val="10"/>
                <c:pt idx="0">
                  <c:v>1.33</c:v>
                </c:pt>
                <c:pt idx="1">
                  <c:v>1.33</c:v>
                </c:pt>
                <c:pt idx="2">
                  <c:v>1.33</c:v>
                </c:pt>
                <c:pt idx="3">
                  <c:v>1.33</c:v>
                </c:pt>
                <c:pt idx="4">
                  <c:v>1.33</c:v>
                </c:pt>
                <c:pt idx="5">
                  <c:v>1.33</c:v>
                </c:pt>
                <c:pt idx="6">
                  <c:v>1.33</c:v>
                </c:pt>
                <c:pt idx="7">
                  <c:v>1.33</c:v>
                </c:pt>
                <c:pt idx="8">
                  <c:v>1.33</c:v>
                </c:pt>
                <c:pt idx="9">
                  <c:v>1.33</c:v>
                </c:pt>
              </c:numCache>
            </c:numRef>
          </c:val>
          <c:smooth val="0"/>
          <c:extLst>
            <c:ext xmlns:c16="http://schemas.microsoft.com/office/drawing/2014/chart" uri="{C3380CC4-5D6E-409C-BE32-E72D297353CC}">
              <c16:uniqueId val="{0000000E-D680-4318-8910-74776CD7A40C}"/>
            </c:ext>
          </c:extLst>
        </c:ser>
        <c:ser>
          <c:idx val="10"/>
          <c:order val="10"/>
          <c:tx>
            <c:strRef>
              <c:f>Sheet1!$N$17</c:f>
              <c:strCache>
                <c:ptCount val="1"/>
                <c:pt idx="0">
                  <c:v>6 Hikes</c:v>
                </c:pt>
              </c:strCache>
            </c:strRef>
          </c:tx>
          <c:spPr>
            <a:ln w="28575" cap="rnd">
              <a:solidFill>
                <a:schemeClr val="bg1">
                  <a:lumMod val="75000"/>
                </a:schemeClr>
              </a:solidFill>
              <a:prstDash val="sysDot"/>
              <a:round/>
            </a:ln>
            <a:effectLst/>
          </c:spPr>
          <c:marker>
            <c:symbol val="none"/>
          </c:marker>
          <c:dLbls>
            <c:dLbl>
              <c:idx val="9"/>
              <c:tx>
                <c:rich>
                  <a:bodyPr/>
                  <a:lstStyle/>
                  <a:p>
                    <a:r>
                      <a:rPr lang="en-US" sz="800" b="1" dirty="0">
                        <a:latin typeface="Arial" panose="020B0604020202020204" pitchFamily="34" charset="0"/>
                        <a:cs typeface="Arial" panose="020B0604020202020204" pitchFamily="34" charset="0"/>
                      </a:rPr>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D680-4318-8910-74776CD7A40C}"/>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C$18:$C$27</c:f>
              <c:numCache>
                <c:formatCode>m/d/yyyy</c:formatCode>
                <c:ptCount val="10"/>
                <c:pt idx="0">
                  <c:v>44651</c:v>
                </c:pt>
                <c:pt idx="1">
                  <c:v>44681</c:v>
                </c:pt>
                <c:pt idx="2">
                  <c:v>44712</c:v>
                </c:pt>
                <c:pt idx="3">
                  <c:v>44742</c:v>
                </c:pt>
                <c:pt idx="4">
                  <c:v>44773</c:v>
                </c:pt>
                <c:pt idx="5">
                  <c:v>44804</c:v>
                </c:pt>
                <c:pt idx="6">
                  <c:v>44834</c:v>
                </c:pt>
                <c:pt idx="7">
                  <c:v>44865</c:v>
                </c:pt>
                <c:pt idx="8">
                  <c:v>44895</c:v>
                </c:pt>
                <c:pt idx="9">
                  <c:v>44926</c:v>
                </c:pt>
              </c:numCache>
            </c:numRef>
          </c:cat>
          <c:val>
            <c:numRef>
              <c:f>Sheet1!$N$18:$N$27</c:f>
              <c:numCache>
                <c:formatCode>General</c:formatCode>
                <c:ptCount val="10"/>
                <c:pt idx="0">
                  <c:v>1.58</c:v>
                </c:pt>
                <c:pt idx="1">
                  <c:v>1.58</c:v>
                </c:pt>
                <c:pt idx="2">
                  <c:v>1.58</c:v>
                </c:pt>
                <c:pt idx="3">
                  <c:v>1.58</c:v>
                </c:pt>
                <c:pt idx="4">
                  <c:v>1.58</c:v>
                </c:pt>
                <c:pt idx="5">
                  <c:v>1.58</c:v>
                </c:pt>
                <c:pt idx="6">
                  <c:v>1.58</c:v>
                </c:pt>
                <c:pt idx="7">
                  <c:v>1.58</c:v>
                </c:pt>
                <c:pt idx="8">
                  <c:v>1.58</c:v>
                </c:pt>
                <c:pt idx="9">
                  <c:v>1.58</c:v>
                </c:pt>
              </c:numCache>
            </c:numRef>
          </c:val>
          <c:smooth val="0"/>
          <c:extLst>
            <c:ext xmlns:c16="http://schemas.microsoft.com/office/drawing/2014/chart" uri="{C3380CC4-5D6E-409C-BE32-E72D297353CC}">
              <c16:uniqueId val="{00000010-D680-4318-8910-74776CD7A40C}"/>
            </c:ext>
          </c:extLst>
        </c:ser>
        <c:ser>
          <c:idx val="11"/>
          <c:order val="11"/>
          <c:tx>
            <c:strRef>
              <c:f>Sheet1!$O$17</c:f>
              <c:strCache>
                <c:ptCount val="1"/>
                <c:pt idx="0">
                  <c:v>7 Hikes</c:v>
                </c:pt>
              </c:strCache>
            </c:strRef>
          </c:tx>
          <c:spPr>
            <a:ln w="28575" cap="rnd">
              <a:solidFill>
                <a:schemeClr val="bg1">
                  <a:lumMod val="75000"/>
                </a:schemeClr>
              </a:solidFill>
              <a:prstDash val="sysDot"/>
              <a:round/>
            </a:ln>
            <a:effectLst/>
          </c:spPr>
          <c:marker>
            <c:symbol val="none"/>
          </c:marker>
          <c:dLbls>
            <c:dLbl>
              <c:idx val="9"/>
              <c:tx>
                <c:rich>
                  <a:bodyPr/>
                  <a:lstStyle/>
                  <a:p>
                    <a:r>
                      <a:rPr lang="en-US"/>
                      <a:t>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D680-4318-8910-74776CD7A40C}"/>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C$18:$C$27</c:f>
              <c:numCache>
                <c:formatCode>m/d/yyyy</c:formatCode>
                <c:ptCount val="10"/>
                <c:pt idx="0">
                  <c:v>44651</c:v>
                </c:pt>
                <c:pt idx="1">
                  <c:v>44681</c:v>
                </c:pt>
                <c:pt idx="2">
                  <c:v>44712</c:v>
                </c:pt>
                <c:pt idx="3">
                  <c:v>44742</c:v>
                </c:pt>
                <c:pt idx="4">
                  <c:v>44773</c:v>
                </c:pt>
                <c:pt idx="5">
                  <c:v>44804</c:v>
                </c:pt>
                <c:pt idx="6">
                  <c:v>44834</c:v>
                </c:pt>
                <c:pt idx="7">
                  <c:v>44865</c:v>
                </c:pt>
                <c:pt idx="8">
                  <c:v>44895</c:v>
                </c:pt>
                <c:pt idx="9">
                  <c:v>44926</c:v>
                </c:pt>
              </c:numCache>
            </c:numRef>
          </c:cat>
          <c:val>
            <c:numRef>
              <c:f>Sheet1!$O$18:$O$27</c:f>
              <c:numCache>
                <c:formatCode>General</c:formatCode>
                <c:ptCount val="10"/>
                <c:pt idx="0">
                  <c:v>1.83</c:v>
                </c:pt>
                <c:pt idx="1">
                  <c:v>1.83</c:v>
                </c:pt>
                <c:pt idx="2">
                  <c:v>1.83</c:v>
                </c:pt>
                <c:pt idx="3">
                  <c:v>1.83</c:v>
                </c:pt>
                <c:pt idx="4">
                  <c:v>1.83</c:v>
                </c:pt>
                <c:pt idx="5">
                  <c:v>1.83</c:v>
                </c:pt>
                <c:pt idx="6">
                  <c:v>1.83</c:v>
                </c:pt>
                <c:pt idx="7">
                  <c:v>1.83</c:v>
                </c:pt>
                <c:pt idx="8">
                  <c:v>1.83</c:v>
                </c:pt>
                <c:pt idx="9">
                  <c:v>1.83</c:v>
                </c:pt>
              </c:numCache>
            </c:numRef>
          </c:val>
          <c:smooth val="0"/>
          <c:extLst>
            <c:ext xmlns:c16="http://schemas.microsoft.com/office/drawing/2014/chart" uri="{C3380CC4-5D6E-409C-BE32-E72D297353CC}">
              <c16:uniqueId val="{00000012-D680-4318-8910-74776CD7A40C}"/>
            </c:ext>
          </c:extLst>
        </c:ser>
        <c:ser>
          <c:idx val="12"/>
          <c:order val="12"/>
          <c:tx>
            <c:strRef>
              <c:f>Sheet1!$P$17</c:f>
              <c:strCache>
                <c:ptCount val="1"/>
                <c:pt idx="0">
                  <c:v>8 Hikes</c:v>
                </c:pt>
              </c:strCache>
            </c:strRef>
          </c:tx>
          <c:spPr>
            <a:ln w="28575" cap="rnd">
              <a:solidFill>
                <a:schemeClr val="bg1">
                  <a:lumMod val="75000"/>
                </a:schemeClr>
              </a:solidFill>
              <a:prstDash val="sysDot"/>
              <a:round/>
            </a:ln>
            <a:effectLst/>
          </c:spPr>
          <c:marker>
            <c:symbol val="none"/>
          </c:marker>
          <c:dLbls>
            <c:dLbl>
              <c:idx val="9"/>
              <c:tx>
                <c:rich>
                  <a:bodyPr/>
                  <a:lstStyle/>
                  <a:p>
                    <a:r>
                      <a:rPr lang="en-US"/>
                      <a:t>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D680-4318-8910-74776CD7A40C}"/>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C$18:$C$27</c:f>
              <c:numCache>
                <c:formatCode>m/d/yyyy</c:formatCode>
                <c:ptCount val="10"/>
                <c:pt idx="0">
                  <c:v>44651</c:v>
                </c:pt>
                <c:pt idx="1">
                  <c:v>44681</c:v>
                </c:pt>
                <c:pt idx="2">
                  <c:v>44712</c:v>
                </c:pt>
                <c:pt idx="3">
                  <c:v>44742</c:v>
                </c:pt>
                <c:pt idx="4">
                  <c:v>44773</c:v>
                </c:pt>
                <c:pt idx="5">
                  <c:v>44804</c:v>
                </c:pt>
                <c:pt idx="6">
                  <c:v>44834</c:v>
                </c:pt>
                <c:pt idx="7">
                  <c:v>44865</c:v>
                </c:pt>
                <c:pt idx="8">
                  <c:v>44895</c:v>
                </c:pt>
                <c:pt idx="9">
                  <c:v>44926</c:v>
                </c:pt>
              </c:numCache>
            </c:numRef>
          </c:cat>
          <c:val>
            <c:numRef>
              <c:f>Sheet1!$P$18:$P$27</c:f>
              <c:numCache>
                <c:formatCode>General</c:formatCode>
                <c:ptCount val="10"/>
                <c:pt idx="0">
                  <c:v>2.08</c:v>
                </c:pt>
                <c:pt idx="1">
                  <c:v>2.08</c:v>
                </c:pt>
                <c:pt idx="2">
                  <c:v>2.08</c:v>
                </c:pt>
                <c:pt idx="3">
                  <c:v>2.08</c:v>
                </c:pt>
                <c:pt idx="4">
                  <c:v>2.08</c:v>
                </c:pt>
                <c:pt idx="5">
                  <c:v>2.08</c:v>
                </c:pt>
                <c:pt idx="6">
                  <c:v>2.08</c:v>
                </c:pt>
                <c:pt idx="7">
                  <c:v>2.08</c:v>
                </c:pt>
                <c:pt idx="8">
                  <c:v>2.08</c:v>
                </c:pt>
                <c:pt idx="9">
                  <c:v>2.08</c:v>
                </c:pt>
              </c:numCache>
            </c:numRef>
          </c:val>
          <c:smooth val="0"/>
          <c:extLst>
            <c:ext xmlns:c16="http://schemas.microsoft.com/office/drawing/2014/chart" uri="{C3380CC4-5D6E-409C-BE32-E72D297353CC}">
              <c16:uniqueId val="{00000014-D680-4318-8910-74776CD7A40C}"/>
            </c:ext>
          </c:extLst>
        </c:ser>
        <c:ser>
          <c:idx val="13"/>
          <c:order val="13"/>
          <c:tx>
            <c:strRef>
              <c:f>Sheet1!$Q$17</c:f>
              <c:strCache>
                <c:ptCount val="1"/>
                <c:pt idx="0">
                  <c:v>9 Hikes</c:v>
                </c:pt>
              </c:strCache>
            </c:strRef>
          </c:tx>
          <c:spPr>
            <a:ln w="28575" cap="rnd">
              <a:solidFill>
                <a:schemeClr val="bg1">
                  <a:lumMod val="75000"/>
                </a:schemeClr>
              </a:solidFill>
              <a:prstDash val="sysDot"/>
              <a:round/>
            </a:ln>
            <a:effectLst/>
          </c:spPr>
          <c:marker>
            <c:symbol val="none"/>
          </c:marker>
          <c:dLbls>
            <c:dLbl>
              <c:idx val="9"/>
              <c:tx>
                <c:rich>
                  <a:bodyPr/>
                  <a:lstStyle/>
                  <a:p>
                    <a:r>
                      <a:rPr lang="en-US"/>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D680-4318-8910-74776CD7A40C}"/>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C$18:$C$27</c:f>
              <c:numCache>
                <c:formatCode>m/d/yyyy</c:formatCode>
                <c:ptCount val="10"/>
                <c:pt idx="0">
                  <c:v>44651</c:v>
                </c:pt>
                <c:pt idx="1">
                  <c:v>44681</c:v>
                </c:pt>
                <c:pt idx="2">
                  <c:v>44712</c:v>
                </c:pt>
                <c:pt idx="3">
                  <c:v>44742</c:v>
                </c:pt>
                <c:pt idx="4">
                  <c:v>44773</c:v>
                </c:pt>
                <c:pt idx="5">
                  <c:v>44804</c:v>
                </c:pt>
                <c:pt idx="6">
                  <c:v>44834</c:v>
                </c:pt>
                <c:pt idx="7">
                  <c:v>44865</c:v>
                </c:pt>
                <c:pt idx="8">
                  <c:v>44895</c:v>
                </c:pt>
                <c:pt idx="9">
                  <c:v>44926</c:v>
                </c:pt>
              </c:numCache>
            </c:numRef>
          </c:cat>
          <c:val>
            <c:numRef>
              <c:f>Sheet1!$Q$18:$Q$27</c:f>
              <c:numCache>
                <c:formatCode>General</c:formatCode>
                <c:ptCount val="10"/>
                <c:pt idx="0">
                  <c:v>2.33</c:v>
                </c:pt>
                <c:pt idx="1">
                  <c:v>2.33</c:v>
                </c:pt>
                <c:pt idx="2">
                  <c:v>2.33</c:v>
                </c:pt>
                <c:pt idx="3">
                  <c:v>2.33</c:v>
                </c:pt>
                <c:pt idx="4">
                  <c:v>2.33</c:v>
                </c:pt>
                <c:pt idx="5">
                  <c:v>2.33</c:v>
                </c:pt>
                <c:pt idx="6">
                  <c:v>2.33</c:v>
                </c:pt>
                <c:pt idx="7">
                  <c:v>2.33</c:v>
                </c:pt>
                <c:pt idx="8">
                  <c:v>2.33</c:v>
                </c:pt>
                <c:pt idx="9">
                  <c:v>2.33</c:v>
                </c:pt>
              </c:numCache>
            </c:numRef>
          </c:val>
          <c:smooth val="0"/>
          <c:extLst>
            <c:ext xmlns:c16="http://schemas.microsoft.com/office/drawing/2014/chart" uri="{C3380CC4-5D6E-409C-BE32-E72D297353CC}">
              <c16:uniqueId val="{00000016-D680-4318-8910-74776CD7A40C}"/>
            </c:ext>
          </c:extLst>
        </c:ser>
        <c:dLbls>
          <c:showLegendKey val="0"/>
          <c:showVal val="0"/>
          <c:showCatName val="0"/>
          <c:showSerName val="0"/>
          <c:showPercent val="0"/>
          <c:showBubbleSize val="0"/>
        </c:dLbls>
        <c:smooth val="0"/>
        <c:axId val="1577054400"/>
        <c:axId val="1577054728"/>
      </c:lineChart>
      <c:dateAx>
        <c:axId val="1577054400"/>
        <c:scaling>
          <c:orientation val="minMax"/>
        </c:scaling>
        <c:delete val="0"/>
        <c:axPos val="b"/>
        <c:numFmt formatCode="[$-409]mmm\-yy;@" sourceLinked="0"/>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577054728"/>
        <c:crosses val="autoZero"/>
        <c:auto val="1"/>
        <c:lblOffset val="100"/>
        <c:baseTimeUnit val="months"/>
      </c:dateAx>
      <c:valAx>
        <c:axId val="1577054728"/>
        <c:scaling>
          <c:orientation val="minMax"/>
        </c:scaling>
        <c:delete val="0"/>
        <c:axPos val="l"/>
        <c:majorGridlines>
          <c:spPr>
            <a:ln w="9525" cap="flat" cmpd="sng" algn="ctr">
              <a:noFill/>
              <a:round/>
            </a:ln>
            <a:effectLst/>
          </c:spPr>
        </c:majorGridlines>
        <c:numFmt formatCode="0.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577054400"/>
        <c:crosses val="autoZero"/>
        <c:crossBetween val="midCat"/>
        <c:dispUnits>
          <c:builtInUnit val="hundreds"/>
        </c:dispUnits>
      </c:valAx>
      <c:spPr>
        <a:noFill/>
        <a:ln>
          <a:noFill/>
        </a:ln>
        <a:effectLst/>
      </c:spPr>
    </c:plotArea>
    <c:legend>
      <c:legendPos val="t"/>
      <c:legendEntry>
        <c:idx val="5"/>
        <c:delete val="1"/>
      </c:legendEntry>
      <c:legendEntry>
        <c:idx val="6"/>
        <c:delete val="1"/>
      </c:legendEntry>
      <c:legendEntry>
        <c:idx val="7"/>
        <c:delete val="1"/>
      </c:legendEntry>
      <c:legendEntry>
        <c:idx val="8"/>
        <c:delete val="1"/>
      </c:legendEntry>
      <c:legendEntry>
        <c:idx val="9"/>
        <c:delete val="1"/>
      </c:legendEntry>
      <c:legendEntry>
        <c:idx val="10"/>
        <c:delete val="1"/>
      </c:legendEntry>
      <c:legendEntry>
        <c:idx val="11"/>
        <c:delete val="1"/>
      </c:legendEntry>
      <c:legendEntry>
        <c:idx val="12"/>
        <c:delete val="1"/>
      </c:legendEntry>
      <c:legendEntry>
        <c:idx val="13"/>
        <c:delete val="1"/>
      </c:legendEntry>
      <c:layout>
        <c:manualLayout>
          <c:xMode val="edge"/>
          <c:yMode val="edge"/>
          <c:x val="0.10198966835148394"/>
          <c:y val="2.0186007970559156E-2"/>
          <c:w val="0.86045579783182624"/>
          <c:h val="0.13291506088121197"/>
        </c:manualLayout>
      </c:layout>
      <c:overlay val="0"/>
      <c:spPr>
        <a:solidFill>
          <a:schemeClr val="bg1"/>
        </a:solid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8.5369895640709778E-2"/>
          <c:y val="0.2064974240780911"/>
          <c:w val="0.85421397019627032"/>
          <c:h val="0.59454888532063443"/>
        </c:manualLayout>
      </c:layout>
      <c:lineChart>
        <c:grouping val="standard"/>
        <c:varyColors val="0"/>
        <c:ser>
          <c:idx val="0"/>
          <c:order val="0"/>
          <c:tx>
            <c:strRef>
              <c:f>Sheet1!$B$1</c:f>
              <c:strCache>
                <c:ptCount val="1"/>
                <c:pt idx="0">
                  <c:v>3-Month Treasury Bill</c:v>
                </c:pt>
              </c:strCache>
            </c:strRef>
          </c:tx>
          <c:spPr>
            <a:ln w="25400">
              <a:solidFill>
                <a:srgbClr val="298FC2"/>
              </a:solidFill>
            </a:ln>
          </c:spPr>
          <c:marker>
            <c:symbol val="none"/>
          </c:marker>
          <c:cat>
            <c:numRef>
              <c:f>Sheet1!$A$632:$A$1176</c:f>
              <c:numCache>
                <c:formatCode>m/d/yyyy</c:formatCode>
                <c:ptCount val="545"/>
                <c:pt idx="0">
                  <c:v>43980</c:v>
                </c:pt>
                <c:pt idx="1">
                  <c:v>43983</c:v>
                </c:pt>
                <c:pt idx="2">
                  <c:v>43984</c:v>
                </c:pt>
                <c:pt idx="3">
                  <c:v>43985</c:v>
                </c:pt>
                <c:pt idx="4">
                  <c:v>43986</c:v>
                </c:pt>
                <c:pt idx="5">
                  <c:v>43987</c:v>
                </c:pt>
                <c:pt idx="6">
                  <c:v>43990</c:v>
                </c:pt>
                <c:pt idx="7">
                  <c:v>43991</c:v>
                </c:pt>
                <c:pt idx="8">
                  <c:v>43992</c:v>
                </c:pt>
                <c:pt idx="9">
                  <c:v>43993</c:v>
                </c:pt>
                <c:pt idx="10">
                  <c:v>43994</c:v>
                </c:pt>
                <c:pt idx="11">
                  <c:v>43997</c:v>
                </c:pt>
                <c:pt idx="12">
                  <c:v>43998</c:v>
                </c:pt>
                <c:pt idx="13">
                  <c:v>43999</c:v>
                </c:pt>
                <c:pt idx="14">
                  <c:v>44000</c:v>
                </c:pt>
                <c:pt idx="15">
                  <c:v>44001</c:v>
                </c:pt>
                <c:pt idx="16">
                  <c:v>44004</c:v>
                </c:pt>
                <c:pt idx="17">
                  <c:v>44005</c:v>
                </c:pt>
                <c:pt idx="18">
                  <c:v>44006</c:v>
                </c:pt>
                <c:pt idx="19">
                  <c:v>44007</c:v>
                </c:pt>
                <c:pt idx="20">
                  <c:v>44008</c:v>
                </c:pt>
                <c:pt idx="21">
                  <c:v>44011</c:v>
                </c:pt>
                <c:pt idx="22">
                  <c:v>44012</c:v>
                </c:pt>
                <c:pt idx="23">
                  <c:v>44013</c:v>
                </c:pt>
                <c:pt idx="24">
                  <c:v>44014</c:v>
                </c:pt>
                <c:pt idx="25">
                  <c:v>44015</c:v>
                </c:pt>
                <c:pt idx="26">
                  <c:v>44018</c:v>
                </c:pt>
                <c:pt idx="27">
                  <c:v>44019</c:v>
                </c:pt>
                <c:pt idx="28">
                  <c:v>44020</c:v>
                </c:pt>
                <c:pt idx="29">
                  <c:v>44021</c:v>
                </c:pt>
                <c:pt idx="30">
                  <c:v>44022</c:v>
                </c:pt>
                <c:pt idx="31">
                  <c:v>44025</c:v>
                </c:pt>
                <c:pt idx="32">
                  <c:v>44026</c:v>
                </c:pt>
                <c:pt idx="33">
                  <c:v>44027</c:v>
                </c:pt>
                <c:pt idx="34">
                  <c:v>44028</c:v>
                </c:pt>
                <c:pt idx="35">
                  <c:v>44029</c:v>
                </c:pt>
                <c:pt idx="36">
                  <c:v>44032</c:v>
                </c:pt>
                <c:pt idx="37">
                  <c:v>44033</c:v>
                </c:pt>
                <c:pt idx="38">
                  <c:v>44034</c:v>
                </c:pt>
                <c:pt idx="39">
                  <c:v>44035</c:v>
                </c:pt>
                <c:pt idx="40">
                  <c:v>44036</c:v>
                </c:pt>
                <c:pt idx="41">
                  <c:v>44039</c:v>
                </c:pt>
                <c:pt idx="42">
                  <c:v>44040</c:v>
                </c:pt>
                <c:pt idx="43">
                  <c:v>44041</c:v>
                </c:pt>
                <c:pt idx="44">
                  <c:v>44042</c:v>
                </c:pt>
                <c:pt idx="45">
                  <c:v>44043</c:v>
                </c:pt>
                <c:pt idx="46">
                  <c:v>44046</c:v>
                </c:pt>
                <c:pt idx="47">
                  <c:v>44047</c:v>
                </c:pt>
                <c:pt idx="48">
                  <c:v>44048</c:v>
                </c:pt>
                <c:pt idx="49">
                  <c:v>44049</c:v>
                </c:pt>
                <c:pt idx="50">
                  <c:v>44050</c:v>
                </c:pt>
                <c:pt idx="51">
                  <c:v>44053</c:v>
                </c:pt>
                <c:pt idx="52">
                  <c:v>44054</c:v>
                </c:pt>
                <c:pt idx="53">
                  <c:v>44055</c:v>
                </c:pt>
                <c:pt idx="54">
                  <c:v>44056</c:v>
                </c:pt>
                <c:pt idx="55">
                  <c:v>44057</c:v>
                </c:pt>
                <c:pt idx="56">
                  <c:v>44060</c:v>
                </c:pt>
                <c:pt idx="57">
                  <c:v>44061</c:v>
                </c:pt>
                <c:pt idx="58">
                  <c:v>44062</c:v>
                </c:pt>
                <c:pt idx="59">
                  <c:v>44063</c:v>
                </c:pt>
                <c:pt idx="60">
                  <c:v>44064</c:v>
                </c:pt>
                <c:pt idx="61">
                  <c:v>44067</c:v>
                </c:pt>
                <c:pt idx="62">
                  <c:v>44068</c:v>
                </c:pt>
                <c:pt idx="63">
                  <c:v>44069</c:v>
                </c:pt>
                <c:pt idx="64">
                  <c:v>44070</c:v>
                </c:pt>
                <c:pt idx="65">
                  <c:v>44071</c:v>
                </c:pt>
                <c:pt idx="66">
                  <c:v>44074</c:v>
                </c:pt>
                <c:pt idx="67">
                  <c:v>44075</c:v>
                </c:pt>
                <c:pt idx="68">
                  <c:v>44076</c:v>
                </c:pt>
                <c:pt idx="69">
                  <c:v>44077</c:v>
                </c:pt>
                <c:pt idx="70">
                  <c:v>44078</c:v>
                </c:pt>
                <c:pt idx="71">
                  <c:v>44081</c:v>
                </c:pt>
                <c:pt idx="72">
                  <c:v>44082</c:v>
                </c:pt>
                <c:pt idx="73">
                  <c:v>44083</c:v>
                </c:pt>
                <c:pt idx="74">
                  <c:v>44084</c:v>
                </c:pt>
                <c:pt idx="75">
                  <c:v>44085</c:v>
                </c:pt>
                <c:pt idx="76">
                  <c:v>44088</c:v>
                </c:pt>
                <c:pt idx="77">
                  <c:v>44089</c:v>
                </c:pt>
                <c:pt idx="78">
                  <c:v>44090</c:v>
                </c:pt>
                <c:pt idx="79">
                  <c:v>44091</c:v>
                </c:pt>
                <c:pt idx="80">
                  <c:v>44092</c:v>
                </c:pt>
                <c:pt idx="81">
                  <c:v>44095</c:v>
                </c:pt>
                <c:pt idx="82">
                  <c:v>44096</c:v>
                </c:pt>
                <c:pt idx="83">
                  <c:v>44097</c:v>
                </c:pt>
                <c:pt idx="84">
                  <c:v>44098</c:v>
                </c:pt>
                <c:pt idx="85">
                  <c:v>44099</c:v>
                </c:pt>
                <c:pt idx="86">
                  <c:v>44102</c:v>
                </c:pt>
                <c:pt idx="87">
                  <c:v>44103</c:v>
                </c:pt>
                <c:pt idx="88">
                  <c:v>44104</c:v>
                </c:pt>
                <c:pt idx="89">
                  <c:v>44105</c:v>
                </c:pt>
                <c:pt idx="90">
                  <c:v>44106</c:v>
                </c:pt>
                <c:pt idx="91">
                  <c:v>44109</c:v>
                </c:pt>
                <c:pt idx="92">
                  <c:v>44110</c:v>
                </c:pt>
                <c:pt idx="93">
                  <c:v>44111</c:v>
                </c:pt>
                <c:pt idx="94">
                  <c:v>44112</c:v>
                </c:pt>
                <c:pt idx="95">
                  <c:v>44113</c:v>
                </c:pt>
                <c:pt idx="96">
                  <c:v>44116</c:v>
                </c:pt>
                <c:pt idx="97">
                  <c:v>44117</c:v>
                </c:pt>
                <c:pt idx="98">
                  <c:v>44118</c:v>
                </c:pt>
                <c:pt idx="99">
                  <c:v>44119</c:v>
                </c:pt>
                <c:pt idx="100">
                  <c:v>44120</c:v>
                </c:pt>
                <c:pt idx="101">
                  <c:v>44123</c:v>
                </c:pt>
                <c:pt idx="102">
                  <c:v>44124</c:v>
                </c:pt>
                <c:pt idx="103">
                  <c:v>44125</c:v>
                </c:pt>
                <c:pt idx="104">
                  <c:v>44126</c:v>
                </c:pt>
                <c:pt idx="105">
                  <c:v>44127</c:v>
                </c:pt>
                <c:pt idx="106">
                  <c:v>44130</c:v>
                </c:pt>
                <c:pt idx="107">
                  <c:v>44131</c:v>
                </c:pt>
                <c:pt idx="108">
                  <c:v>44132</c:v>
                </c:pt>
                <c:pt idx="109">
                  <c:v>44133</c:v>
                </c:pt>
                <c:pt idx="110">
                  <c:v>44134</c:v>
                </c:pt>
                <c:pt idx="111">
                  <c:v>44137</c:v>
                </c:pt>
                <c:pt idx="112">
                  <c:v>44138</c:v>
                </c:pt>
                <c:pt idx="113">
                  <c:v>44139</c:v>
                </c:pt>
                <c:pt idx="114">
                  <c:v>44140</c:v>
                </c:pt>
                <c:pt idx="115">
                  <c:v>44141</c:v>
                </c:pt>
                <c:pt idx="116">
                  <c:v>44144</c:v>
                </c:pt>
                <c:pt idx="117">
                  <c:v>44145</c:v>
                </c:pt>
                <c:pt idx="118">
                  <c:v>44146</c:v>
                </c:pt>
                <c:pt idx="119">
                  <c:v>44147</c:v>
                </c:pt>
                <c:pt idx="120">
                  <c:v>44148</c:v>
                </c:pt>
                <c:pt idx="121">
                  <c:v>44151</c:v>
                </c:pt>
                <c:pt idx="122">
                  <c:v>44152</c:v>
                </c:pt>
                <c:pt idx="123">
                  <c:v>44153</c:v>
                </c:pt>
                <c:pt idx="124">
                  <c:v>44154</c:v>
                </c:pt>
                <c:pt idx="125">
                  <c:v>44155</c:v>
                </c:pt>
                <c:pt idx="126">
                  <c:v>44158</c:v>
                </c:pt>
                <c:pt idx="127">
                  <c:v>44159</c:v>
                </c:pt>
                <c:pt idx="128">
                  <c:v>44160</c:v>
                </c:pt>
                <c:pt idx="129">
                  <c:v>44161</c:v>
                </c:pt>
                <c:pt idx="130">
                  <c:v>44162</c:v>
                </c:pt>
                <c:pt idx="131">
                  <c:v>44165</c:v>
                </c:pt>
                <c:pt idx="132">
                  <c:v>44166</c:v>
                </c:pt>
                <c:pt idx="133">
                  <c:v>44167</c:v>
                </c:pt>
                <c:pt idx="134">
                  <c:v>44168</c:v>
                </c:pt>
                <c:pt idx="135">
                  <c:v>44169</c:v>
                </c:pt>
                <c:pt idx="136">
                  <c:v>44172</c:v>
                </c:pt>
                <c:pt idx="137">
                  <c:v>44173</c:v>
                </c:pt>
                <c:pt idx="138">
                  <c:v>44174</c:v>
                </c:pt>
                <c:pt idx="139">
                  <c:v>44175</c:v>
                </c:pt>
                <c:pt idx="140">
                  <c:v>44176</c:v>
                </c:pt>
                <c:pt idx="141">
                  <c:v>44179</c:v>
                </c:pt>
                <c:pt idx="142">
                  <c:v>44180</c:v>
                </c:pt>
                <c:pt idx="143">
                  <c:v>44181</c:v>
                </c:pt>
                <c:pt idx="144">
                  <c:v>44182</c:v>
                </c:pt>
                <c:pt idx="145">
                  <c:v>44183</c:v>
                </c:pt>
                <c:pt idx="146">
                  <c:v>44186</c:v>
                </c:pt>
                <c:pt idx="147">
                  <c:v>44187</c:v>
                </c:pt>
                <c:pt idx="148">
                  <c:v>44188</c:v>
                </c:pt>
                <c:pt idx="149">
                  <c:v>44189</c:v>
                </c:pt>
                <c:pt idx="150">
                  <c:v>44190</c:v>
                </c:pt>
                <c:pt idx="151">
                  <c:v>44193</c:v>
                </c:pt>
                <c:pt idx="152">
                  <c:v>44194</c:v>
                </c:pt>
                <c:pt idx="153">
                  <c:v>44195</c:v>
                </c:pt>
                <c:pt idx="154">
                  <c:v>44196</c:v>
                </c:pt>
                <c:pt idx="155">
                  <c:v>44197</c:v>
                </c:pt>
                <c:pt idx="156">
                  <c:v>44200</c:v>
                </c:pt>
                <c:pt idx="157">
                  <c:v>44201</c:v>
                </c:pt>
                <c:pt idx="158">
                  <c:v>44202</c:v>
                </c:pt>
                <c:pt idx="159">
                  <c:v>44203</c:v>
                </c:pt>
                <c:pt idx="160">
                  <c:v>44204</c:v>
                </c:pt>
                <c:pt idx="161">
                  <c:v>44207</c:v>
                </c:pt>
                <c:pt idx="162">
                  <c:v>44208</c:v>
                </c:pt>
                <c:pt idx="163">
                  <c:v>44209</c:v>
                </c:pt>
                <c:pt idx="164">
                  <c:v>44210</c:v>
                </c:pt>
                <c:pt idx="165">
                  <c:v>44211</c:v>
                </c:pt>
                <c:pt idx="166">
                  <c:v>44214</c:v>
                </c:pt>
                <c:pt idx="167">
                  <c:v>44215</c:v>
                </c:pt>
                <c:pt idx="168">
                  <c:v>44216</c:v>
                </c:pt>
                <c:pt idx="169">
                  <c:v>44217</c:v>
                </c:pt>
                <c:pt idx="170">
                  <c:v>44218</c:v>
                </c:pt>
                <c:pt idx="171">
                  <c:v>44221</c:v>
                </c:pt>
                <c:pt idx="172">
                  <c:v>44222</c:v>
                </c:pt>
                <c:pt idx="173">
                  <c:v>44223</c:v>
                </c:pt>
                <c:pt idx="174">
                  <c:v>44224</c:v>
                </c:pt>
                <c:pt idx="175">
                  <c:v>44225</c:v>
                </c:pt>
                <c:pt idx="176">
                  <c:v>44228</c:v>
                </c:pt>
                <c:pt idx="177">
                  <c:v>44229</c:v>
                </c:pt>
                <c:pt idx="178">
                  <c:v>44230</c:v>
                </c:pt>
                <c:pt idx="179">
                  <c:v>44231</c:v>
                </c:pt>
                <c:pt idx="180">
                  <c:v>44232</c:v>
                </c:pt>
                <c:pt idx="181">
                  <c:v>44235</c:v>
                </c:pt>
                <c:pt idx="182">
                  <c:v>44236</c:v>
                </c:pt>
                <c:pt idx="183">
                  <c:v>44237</c:v>
                </c:pt>
                <c:pt idx="184">
                  <c:v>44238</c:v>
                </c:pt>
                <c:pt idx="185">
                  <c:v>44239</c:v>
                </c:pt>
                <c:pt idx="186">
                  <c:v>44242</c:v>
                </c:pt>
                <c:pt idx="187">
                  <c:v>44243</c:v>
                </c:pt>
                <c:pt idx="188">
                  <c:v>44244</c:v>
                </c:pt>
                <c:pt idx="189">
                  <c:v>44245</c:v>
                </c:pt>
                <c:pt idx="190">
                  <c:v>44246</c:v>
                </c:pt>
                <c:pt idx="191">
                  <c:v>44249</c:v>
                </c:pt>
                <c:pt idx="192">
                  <c:v>44250</c:v>
                </c:pt>
                <c:pt idx="193">
                  <c:v>44251</c:v>
                </c:pt>
                <c:pt idx="194">
                  <c:v>44252</c:v>
                </c:pt>
                <c:pt idx="195">
                  <c:v>44253</c:v>
                </c:pt>
                <c:pt idx="196">
                  <c:v>44256</c:v>
                </c:pt>
                <c:pt idx="197">
                  <c:v>44257</c:v>
                </c:pt>
                <c:pt idx="198">
                  <c:v>44258</c:v>
                </c:pt>
                <c:pt idx="199">
                  <c:v>44259</c:v>
                </c:pt>
                <c:pt idx="200">
                  <c:v>44260</c:v>
                </c:pt>
                <c:pt idx="201">
                  <c:v>44263</c:v>
                </c:pt>
                <c:pt idx="202">
                  <c:v>44264</c:v>
                </c:pt>
                <c:pt idx="203">
                  <c:v>44265</c:v>
                </c:pt>
                <c:pt idx="204">
                  <c:v>44266</c:v>
                </c:pt>
                <c:pt idx="205">
                  <c:v>44267</c:v>
                </c:pt>
                <c:pt idx="206">
                  <c:v>44270</c:v>
                </c:pt>
                <c:pt idx="207">
                  <c:v>44271</c:v>
                </c:pt>
                <c:pt idx="208">
                  <c:v>44272</c:v>
                </c:pt>
                <c:pt idx="209">
                  <c:v>44273</c:v>
                </c:pt>
                <c:pt idx="210">
                  <c:v>44274</c:v>
                </c:pt>
                <c:pt idx="211">
                  <c:v>44277</c:v>
                </c:pt>
                <c:pt idx="212">
                  <c:v>44278</c:v>
                </c:pt>
                <c:pt idx="213">
                  <c:v>44279</c:v>
                </c:pt>
                <c:pt idx="214">
                  <c:v>44280</c:v>
                </c:pt>
                <c:pt idx="215">
                  <c:v>44281</c:v>
                </c:pt>
                <c:pt idx="216">
                  <c:v>44284</c:v>
                </c:pt>
                <c:pt idx="217">
                  <c:v>44285</c:v>
                </c:pt>
                <c:pt idx="218">
                  <c:v>44286</c:v>
                </c:pt>
                <c:pt idx="219">
                  <c:v>44287</c:v>
                </c:pt>
                <c:pt idx="220">
                  <c:v>44288</c:v>
                </c:pt>
                <c:pt idx="221">
                  <c:v>44291</c:v>
                </c:pt>
                <c:pt idx="222">
                  <c:v>44292</c:v>
                </c:pt>
                <c:pt idx="223">
                  <c:v>44293</c:v>
                </c:pt>
                <c:pt idx="224">
                  <c:v>44294</c:v>
                </c:pt>
                <c:pt idx="225">
                  <c:v>44295</c:v>
                </c:pt>
                <c:pt idx="226">
                  <c:v>44298</c:v>
                </c:pt>
                <c:pt idx="227">
                  <c:v>44299</c:v>
                </c:pt>
                <c:pt idx="228">
                  <c:v>44300</c:v>
                </c:pt>
                <c:pt idx="229">
                  <c:v>44301</c:v>
                </c:pt>
                <c:pt idx="230">
                  <c:v>44302</c:v>
                </c:pt>
                <c:pt idx="231">
                  <c:v>44305</c:v>
                </c:pt>
                <c:pt idx="232">
                  <c:v>44306</c:v>
                </c:pt>
                <c:pt idx="233">
                  <c:v>44307</c:v>
                </c:pt>
                <c:pt idx="234">
                  <c:v>44308</c:v>
                </c:pt>
                <c:pt idx="235">
                  <c:v>44309</c:v>
                </c:pt>
                <c:pt idx="236">
                  <c:v>44312</c:v>
                </c:pt>
                <c:pt idx="237">
                  <c:v>44313</c:v>
                </c:pt>
                <c:pt idx="238">
                  <c:v>44314</c:v>
                </c:pt>
                <c:pt idx="239">
                  <c:v>44315</c:v>
                </c:pt>
                <c:pt idx="240">
                  <c:v>44316</c:v>
                </c:pt>
                <c:pt idx="241">
                  <c:v>44319</c:v>
                </c:pt>
                <c:pt idx="242">
                  <c:v>44320</c:v>
                </c:pt>
                <c:pt idx="243">
                  <c:v>44321</c:v>
                </c:pt>
                <c:pt idx="244">
                  <c:v>44322</c:v>
                </c:pt>
                <c:pt idx="245">
                  <c:v>44323</c:v>
                </c:pt>
                <c:pt idx="246">
                  <c:v>44326</c:v>
                </c:pt>
                <c:pt idx="247">
                  <c:v>44327</c:v>
                </c:pt>
                <c:pt idx="248">
                  <c:v>44328</c:v>
                </c:pt>
                <c:pt idx="249">
                  <c:v>44329</c:v>
                </c:pt>
                <c:pt idx="250">
                  <c:v>44330</c:v>
                </c:pt>
                <c:pt idx="251">
                  <c:v>44333</c:v>
                </c:pt>
                <c:pt idx="252">
                  <c:v>44334</c:v>
                </c:pt>
                <c:pt idx="253">
                  <c:v>44335</c:v>
                </c:pt>
                <c:pt idx="254">
                  <c:v>44336</c:v>
                </c:pt>
                <c:pt idx="255">
                  <c:v>44337</c:v>
                </c:pt>
                <c:pt idx="256">
                  <c:v>44340</c:v>
                </c:pt>
                <c:pt idx="257">
                  <c:v>44341</c:v>
                </c:pt>
                <c:pt idx="258">
                  <c:v>44342</c:v>
                </c:pt>
                <c:pt idx="259">
                  <c:v>44343</c:v>
                </c:pt>
                <c:pt idx="260">
                  <c:v>44344</c:v>
                </c:pt>
                <c:pt idx="261">
                  <c:v>44347</c:v>
                </c:pt>
                <c:pt idx="262">
                  <c:v>44348</c:v>
                </c:pt>
                <c:pt idx="263">
                  <c:v>44349</c:v>
                </c:pt>
                <c:pt idx="264">
                  <c:v>44350</c:v>
                </c:pt>
                <c:pt idx="265">
                  <c:v>44351</c:v>
                </c:pt>
                <c:pt idx="266">
                  <c:v>44354</c:v>
                </c:pt>
                <c:pt idx="267">
                  <c:v>44355</c:v>
                </c:pt>
                <c:pt idx="268">
                  <c:v>44356</c:v>
                </c:pt>
                <c:pt idx="269">
                  <c:v>44357</c:v>
                </c:pt>
                <c:pt idx="270">
                  <c:v>44358</c:v>
                </c:pt>
                <c:pt idx="271">
                  <c:v>44361</c:v>
                </c:pt>
                <c:pt idx="272">
                  <c:v>44362</c:v>
                </c:pt>
                <c:pt idx="273">
                  <c:v>44363</c:v>
                </c:pt>
                <c:pt idx="274">
                  <c:v>44364</c:v>
                </c:pt>
                <c:pt idx="275">
                  <c:v>44365</c:v>
                </c:pt>
                <c:pt idx="276">
                  <c:v>44368</c:v>
                </c:pt>
                <c:pt idx="277">
                  <c:v>44369</c:v>
                </c:pt>
                <c:pt idx="278">
                  <c:v>44370</c:v>
                </c:pt>
                <c:pt idx="279">
                  <c:v>44371</c:v>
                </c:pt>
                <c:pt idx="280">
                  <c:v>44372</c:v>
                </c:pt>
                <c:pt idx="281">
                  <c:v>44375</c:v>
                </c:pt>
                <c:pt idx="282">
                  <c:v>44376</c:v>
                </c:pt>
                <c:pt idx="283">
                  <c:v>44377</c:v>
                </c:pt>
                <c:pt idx="284">
                  <c:v>44378</c:v>
                </c:pt>
                <c:pt idx="285">
                  <c:v>44379</c:v>
                </c:pt>
                <c:pt idx="286">
                  <c:v>44382</c:v>
                </c:pt>
                <c:pt idx="287">
                  <c:v>44383</c:v>
                </c:pt>
                <c:pt idx="288">
                  <c:v>44384</c:v>
                </c:pt>
                <c:pt idx="289">
                  <c:v>44385</c:v>
                </c:pt>
                <c:pt idx="290">
                  <c:v>44386</c:v>
                </c:pt>
                <c:pt idx="291">
                  <c:v>44389</c:v>
                </c:pt>
                <c:pt idx="292">
                  <c:v>44390</c:v>
                </c:pt>
                <c:pt idx="293">
                  <c:v>44391</c:v>
                </c:pt>
                <c:pt idx="294">
                  <c:v>44392</c:v>
                </c:pt>
                <c:pt idx="295">
                  <c:v>44393</c:v>
                </c:pt>
                <c:pt idx="296">
                  <c:v>44396</c:v>
                </c:pt>
                <c:pt idx="297">
                  <c:v>44397</c:v>
                </c:pt>
                <c:pt idx="298">
                  <c:v>44398</c:v>
                </c:pt>
                <c:pt idx="299">
                  <c:v>44399</c:v>
                </c:pt>
                <c:pt idx="300">
                  <c:v>44400</c:v>
                </c:pt>
                <c:pt idx="301">
                  <c:v>44403</c:v>
                </c:pt>
                <c:pt idx="302">
                  <c:v>44404</c:v>
                </c:pt>
                <c:pt idx="303">
                  <c:v>44405</c:v>
                </c:pt>
                <c:pt idx="304">
                  <c:v>44406</c:v>
                </c:pt>
                <c:pt idx="305">
                  <c:v>44407</c:v>
                </c:pt>
                <c:pt idx="306">
                  <c:v>44410</c:v>
                </c:pt>
                <c:pt idx="307">
                  <c:v>44411</c:v>
                </c:pt>
                <c:pt idx="308">
                  <c:v>44412</c:v>
                </c:pt>
                <c:pt idx="309">
                  <c:v>44413</c:v>
                </c:pt>
                <c:pt idx="310">
                  <c:v>44414</c:v>
                </c:pt>
                <c:pt idx="311">
                  <c:v>44417</c:v>
                </c:pt>
                <c:pt idx="312">
                  <c:v>44418</c:v>
                </c:pt>
                <c:pt idx="313">
                  <c:v>44419</c:v>
                </c:pt>
                <c:pt idx="314">
                  <c:v>44420</c:v>
                </c:pt>
                <c:pt idx="315">
                  <c:v>44421</c:v>
                </c:pt>
                <c:pt idx="316">
                  <c:v>44424</c:v>
                </c:pt>
                <c:pt idx="317">
                  <c:v>44425</c:v>
                </c:pt>
                <c:pt idx="318">
                  <c:v>44426</c:v>
                </c:pt>
                <c:pt idx="319">
                  <c:v>44427</c:v>
                </c:pt>
                <c:pt idx="320">
                  <c:v>44428</c:v>
                </c:pt>
                <c:pt idx="321">
                  <c:v>44431</c:v>
                </c:pt>
                <c:pt idx="322">
                  <c:v>44432</c:v>
                </c:pt>
                <c:pt idx="323">
                  <c:v>44433</c:v>
                </c:pt>
                <c:pt idx="324">
                  <c:v>44434</c:v>
                </c:pt>
                <c:pt idx="325">
                  <c:v>44435</c:v>
                </c:pt>
                <c:pt idx="326">
                  <c:v>44438</c:v>
                </c:pt>
                <c:pt idx="327">
                  <c:v>44439</c:v>
                </c:pt>
                <c:pt idx="328">
                  <c:v>44440</c:v>
                </c:pt>
                <c:pt idx="329">
                  <c:v>44441</c:v>
                </c:pt>
                <c:pt idx="330">
                  <c:v>44442</c:v>
                </c:pt>
                <c:pt idx="331">
                  <c:v>44445</c:v>
                </c:pt>
                <c:pt idx="332">
                  <c:v>44446</c:v>
                </c:pt>
                <c:pt idx="333">
                  <c:v>44447</c:v>
                </c:pt>
                <c:pt idx="334">
                  <c:v>44448</c:v>
                </c:pt>
                <c:pt idx="335">
                  <c:v>44449</c:v>
                </c:pt>
                <c:pt idx="336">
                  <c:v>44452</c:v>
                </c:pt>
                <c:pt idx="337">
                  <c:v>44453</c:v>
                </c:pt>
                <c:pt idx="338">
                  <c:v>44454</c:v>
                </c:pt>
                <c:pt idx="339">
                  <c:v>44455</c:v>
                </c:pt>
                <c:pt idx="340">
                  <c:v>44456</c:v>
                </c:pt>
                <c:pt idx="341">
                  <c:v>44459</c:v>
                </c:pt>
                <c:pt idx="342">
                  <c:v>44460</c:v>
                </c:pt>
                <c:pt idx="343">
                  <c:v>44461</c:v>
                </c:pt>
                <c:pt idx="344">
                  <c:v>44462</c:v>
                </c:pt>
                <c:pt idx="345">
                  <c:v>44463</c:v>
                </c:pt>
                <c:pt idx="346">
                  <c:v>44466</c:v>
                </c:pt>
                <c:pt idx="347">
                  <c:v>44467</c:v>
                </c:pt>
                <c:pt idx="348">
                  <c:v>44468</c:v>
                </c:pt>
                <c:pt idx="349">
                  <c:v>44469</c:v>
                </c:pt>
                <c:pt idx="350">
                  <c:v>44470</c:v>
                </c:pt>
                <c:pt idx="351">
                  <c:v>44473</c:v>
                </c:pt>
                <c:pt idx="352">
                  <c:v>44474</c:v>
                </c:pt>
                <c:pt idx="353">
                  <c:v>44475</c:v>
                </c:pt>
                <c:pt idx="354">
                  <c:v>44476</c:v>
                </c:pt>
                <c:pt idx="355">
                  <c:v>44477</c:v>
                </c:pt>
                <c:pt idx="356">
                  <c:v>44480</c:v>
                </c:pt>
                <c:pt idx="357">
                  <c:v>44481</c:v>
                </c:pt>
                <c:pt idx="358">
                  <c:v>44482</c:v>
                </c:pt>
                <c:pt idx="359">
                  <c:v>44483</c:v>
                </c:pt>
                <c:pt idx="360">
                  <c:v>44484</c:v>
                </c:pt>
                <c:pt idx="361">
                  <c:v>44487</c:v>
                </c:pt>
                <c:pt idx="362">
                  <c:v>44488</c:v>
                </c:pt>
                <c:pt idx="363">
                  <c:v>44489</c:v>
                </c:pt>
                <c:pt idx="364">
                  <c:v>44490</c:v>
                </c:pt>
                <c:pt idx="365">
                  <c:v>44491</c:v>
                </c:pt>
                <c:pt idx="366">
                  <c:v>44494</c:v>
                </c:pt>
                <c:pt idx="367">
                  <c:v>44495</c:v>
                </c:pt>
                <c:pt idx="368">
                  <c:v>44496</c:v>
                </c:pt>
                <c:pt idx="369">
                  <c:v>44497</c:v>
                </c:pt>
                <c:pt idx="370">
                  <c:v>44498</c:v>
                </c:pt>
                <c:pt idx="371">
                  <c:v>44501</c:v>
                </c:pt>
                <c:pt idx="372">
                  <c:v>44502</c:v>
                </c:pt>
                <c:pt idx="373">
                  <c:v>44503</c:v>
                </c:pt>
                <c:pt idx="374">
                  <c:v>44504</c:v>
                </c:pt>
                <c:pt idx="375">
                  <c:v>44505</c:v>
                </c:pt>
                <c:pt idx="376">
                  <c:v>44508</c:v>
                </c:pt>
                <c:pt idx="377">
                  <c:v>44509</c:v>
                </c:pt>
                <c:pt idx="378">
                  <c:v>44510</c:v>
                </c:pt>
                <c:pt idx="379">
                  <c:v>44511</c:v>
                </c:pt>
                <c:pt idx="380">
                  <c:v>44512</c:v>
                </c:pt>
                <c:pt idx="381">
                  <c:v>44515</c:v>
                </c:pt>
                <c:pt idx="382">
                  <c:v>44516</c:v>
                </c:pt>
                <c:pt idx="383">
                  <c:v>44517</c:v>
                </c:pt>
                <c:pt idx="384">
                  <c:v>44518</c:v>
                </c:pt>
                <c:pt idx="385">
                  <c:v>44519</c:v>
                </c:pt>
                <c:pt idx="386">
                  <c:v>44522</c:v>
                </c:pt>
                <c:pt idx="387">
                  <c:v>44523</c:v>
                </c:pt>
                <c:pt idx="388">
                  <c:v>44524</c:v>
                </c:pt>
                <c:pt idx="389">
                  <c:v>44525</c:v>
                </c:pt>
                <c:pt idx="390">
                  <c:v>44526</c:v>
                </c:pt>
                <c:pt idx="391">
                  <c:v>44529</c:v>
                </c:pt>
                <c:pt idx="392">
                  <c:v>44530</c:v>
                </c:pt>
                <c:pt idx="393">
                  <c:v>44531</c:v>
                </c:pt>
                <c:pt idx="394">
                  <c:v>44532</c:v>
                </c:pt>
                <c:pt idx="395">
                  <c:v>44533</c:v>
                </c:pt>
                <c:pt idx="396">
                  <c:v>44536</c:v>
                </c:pt>
                <c:pt idx="397">
                  <c:v>44537</c:v>
                </c:pt>
                <c:pt idx="398">
                  <c:v>44538</c:v>
                </c:pt>
                <c:pt idx="399">
                  <c:v>44539</c:v>
                </c:pt>
                <c:pt idx="400">
                  <c:v>44540</c:v>
                </c:pt>
                <c:pt idx="401">
                  <c:v>44543</c:v>
                </c:pt>
                <c:pt idx="402">
                  <c:v>44544</c:v>
                </c:pt>
                <c:pt idx="403">
                  <c:v>44545</c:v>
                </c:pt>
                <c:pt idx="404">
                  <c:v>44546</c:v>
                </c:pt>
                <c:pt idx="405">
                  <c:v>44547</c:v>
                </c:pt>
                <c:pt idx="406">
                  <c:v>44550</c:v>
                </c:pt>
                <c:pt idx="407">
                  <c:v>44551</c:v>
                </c:pt>
                <c:pt idx="408">
                  <c:v>44552</c:v>
                </c:pt>
                <c:pt idx="409">
                  <c:v>44553</c:v>
                </c:pt>
                <c:pt idx="410">
                  <c:v>44554</c:v>
                </c:pt>
                <c:pt idx="411">
                  <c:v>44557</c:v>
                </c:pt>
                <c:pt idx="412">
                  <c:v>44558</c:v>
                </c:pt>
                <c:pt idx="413">
                  <c:v>44559</c:v>
                </c:pt>
                <c:pt idx="414">
                  <c:v>44560</c:v>
                </c:pt>
                <c:pt idx="415">
                  <c:v>44561</c:v>
                </c:pt>
                <c:pt idx="416">
                  <c:v>44564</c:v>
                </c:pt>
                <c:pt idx="417">
                  <c:v>44565</c:v>
                </c:pt>
                <c:pt idx="418">
                  <c:v>44566</c:v>
                </c:pt>
                <c:pt idx="419">
                  <c:v>44567</c:v>
                </c:pt>
                <c:pt idx="420">
                  <c:v>44568</c:v>
                </c:pt>
                <c:pt idx="421">
                  <c:v>44571</c:v>
                </c:pt>
                <c:pt idx="422">
                  <c:v>44572</c:v>
                </c:pt>
                <c:pt idx="423">
                  <c:v>44573</c:v>
                </c:pt>
                <c:pt idx="424">
                  <c:v>44574</c:v>
                </c:pt>
                <c:pt idx="425">
                  <c:v>44575</c:v>
                </c:pt>
                <c:pt idx="426">
                  <c:v>44578</c:v>
                </c:pt>
                <c:pt idx="427">
                  <c:v>44579</c:v>
                </c:pt>
                <c:pt idx="428">
                  <c:v>44580</c:v>
                </c:pt>
                <c:pt idx="429">
                  <c:v>44581</c:v>
                </c:pt>
                <c:pt idx="430">
                  <c:v>44582</c:v>
                </c:pt>
                <c:pt idx="431">
                  <c:v>44585</c:v>
                </c:pt>
                <c:pt idx="432">
                  <c:v>44586</c:v>
                </c:pt>
                <c:pt idx="433">
                  <c:v>44587</c:v>
                </c:pt>
                <c:pt idx="434">
                  <c:v>44588</c:v>
                </c:pt>
                <c:pt idx="435">
                  <c:v>44589</c:v>
                </c:pt>
                <c:pt idx="436">
                  <c:v>44592</c:v>
                </c:pt>
                <c:pt idx="437">
                  <c:v>44593</c:v>
                </c:pt>
                <c:pt idx="438">
                  <c:v>44594</c:v>
                </c:pt>
                <c:pt idx="439">
                  <c:v>44595</c:v>
                </c:pt>
                <c:pt idx="440">
                  <c:v>44596</c:v>
                </c:pt>
                <c:pt idx="441">
                  <c:v>44599</c:v>
                </c:pt>
                <c:pt idx="442">
                  <c:v>44600</c:v>
                </c:pt>
                <c:pt idx="443">
                  <c:v>44601</c:v>
                </c:pt>
                <c:pt idx="444">
                  <c:v>44602</c:v>
                </c:pt>
                <c:pt idx="445">
                  <c:v>44603</c:v>
                </c:pt>
                <c:pt idx="446">
                  <c:v>44606</c:v>
                </c:pt>
                <c:pt idx="447">
                  <c:v>44607</c:v>
                </c:pt>
                <c:pt idx="448">
                  <c:v>44608</c:v>
                </c:pt>
                <c:pt idx="449">
                  <c:v>44609</c:v>
                </c:pt>
                <c:pt idx="450">
                  <c:v>44610</c:v>
                </c:pt>
                <c:pt idx="451">
                  <c:v>44613</c:v>
                </c:pt>
                <c:pt idx="452">
                  <c:v>44614</c:v>
                </c:pt>
                <c:pt idx="453">
                  <c:v>44615</c:v>
                </c:pt>
                <c:pt idx="454">
                  <c:v>44616</c:v>
                </c:pt>
                <c:pt idx="455">
                  <c:v>44617</c:v>
                </c:pt>
                <c:pt idx="456">
                  <c:v>44620</c:v>
                </c:pt>
                <c:pt idx="457">
                  <c:v>44621</c:v>
                </c:pt>
                <c:pt idx="458">
                  <c:v>44622</c:v>
                </c:pt>
                <c:pt idx="459">
                  <c:v>44623</c:v>
                </c:pt>
                <c:pt idx="460">
                  <c:v>44624</c:v>
                </c:pt>
                <c:pt idx="461">
                  <c:v>44627</c:v>
                </c:pt>
                <c:pt idx="462">
                  <c:v>44628</c:v>
                </c:pt>
                <c:pt idx="463">
                  <c:v>44629</c:v>
                </c:pt>
                <c:pt idx="464">
                  <c:v>44630</c:v>
                </c:pt>
                <c:pt idx="465">
                  <c:v>44631</c:v>
                </c:pt>
                <c:pt idx="466">
                  <c:v>44634</c:v>
                </c:pt>
                <c:pt idx="467">
                  <c:v>44635</c:v>
                </c:pt>
                <c:pt idx="468">
                  <c:v>44636</c:v>
                </c:pt>
                <c:pt idx="469">
                  <c:v>44637</c:v>
                </c:pt>
                <c:pt idx="470">
                  <c:v>44638</c:v>
                </c:pt>
                <c:pt idx="471">
                  <c:v>44641</c:v>
                </c:pt>
                <c:pt idx="472">
                  <c:v>44642</c:v>
                </c:pt>
                <c:pt idx="473">
                  <c:v>44643</c:v>
                </c:pt>
                <c:pt idx="474">
                  <c:v>44644</c:v>
                </c:pt>
                <c:pt idx="475">
                  <c:v>44645</c:v>
                </c:pt>
                <c:pt idx="476">
                  <c:v>44648</c:v>
                </c:pt>
                <c:pt idx="477">
                  <c:v>44649</c:v>
                </c:pt>
                <c:pt idx="478">
                  <c:v>44650</c:v>
                </c:pt>
                <c:pt idx="479">
                  <c:v>44651</c:v>
                </c:pt>
                <c:pt idx="480">
                  <c:v>44652</c:v>
                </c:pt>
                <c:pt idx="481">
                  <c:v>44655</c:v>
                </c:pt>
                <c:pt idx="482">
                  <c:v>44656</c:v>
                </c:pt>
                <c:pt idx="483">
                  <c:v>44657</c:v>
                </c:pt>
                <c:pt idx="484">
                  <c:v>44658</c:v>
                </c:pt>
                <c:pt idx="485">
                  <c:v>44659</c:v>
                </c:pt>
                <c:pt idx="486">
                  <c:v>44662</c:v>
                </c:pt>
                <c:pt idx="487">
                  <c:v>44663</c:v>
                </c:pt>
                <c:pt idx="488">
                  <c:v>44664</c:v>
                </c:pt>
                <c:pt idx="489">
                  <c:v>44665</c:v>
                </c:pt>
                <c:pt idx="490">
                  <c:v>44666</c:v>
                </c:pt>
                <c:pt idx="491">
                  <c:v>44669</c:v>
                </c:pt>
                <c:pt idx="492">
                  <c:v>44670</c:v>
                </c:pt>
                <c:pt idx="493">
                  <c:v>44671</c:v>
                </c:pt>
                <c:pt idx="494">
                  <c:v>44672</c:v>
                </c:pt>
                <c:pt idx="495">
                  <c:v>44673</c:v>
                </c:pt>
                <c:pt idx="496">
                  <c:v>44676</c:v>
                </c:pt>
                <c:pt idx="497">
                  <c:v>44677</c:v>
                </c:pt>
                <c:pt idx="498">
                  <c:v>44678</c:v>
                </c:pt>
                <c:pt idx="499">
                  <c:v>44679</c:v>
                </c:pt>
                <c:pt idx="500">
                  <c:v>44680</c:v>
                </c:pt>
                <c:pt idx="501">
                  <c:v>44683</c:v>
                </c:pt>
                <c:pt idx="502">
                  <c:v>44684</c:v>
                </c:pt>
                <c:pt idx="503">
                  <c:v>44685</c:v>
                </c:pt>
                <c:pt idx="504">
                  <c:v>44686</c:v>
                </c:pt>
                <c:pt idx="505">
                  <c:v>44687</c:v>
                </c:pt>
                <c:pt idx="506">
                  <c:v>44690</c:v>
                </c:pt>
                <c:pt idx="507">
                  <c:v>44691</c:v>
                </c:pt>
                <c:pt idx="508">
                  <c:v>44692</c:v>
                </c:pt>
                <c:pt idx="509">
                  <c:v>44693</c:v>
                </c:pt>
                <c:pt idx="510">
                  <c:v>44694</c:v>
                </c:pt>
                <c:pt idx="511">
                  <c:v>44697</c:v>
                </c:pt>
                <c:pt idx="512">
                  <c:v>44698</c:v>
                </c:pt>
                <c:pt idx="513">
                  <c:v>44699</c:v>
                </c:pt>
                <c:pt idx="514">
                  <c:v>44700</c:v>
                </c:pt>
                <c:pt idx="515">
                  <c:v>44701</c:v>
                </c:pt>
                <c:pt idx="516">
                  <c:v>44704</c:v>
                </c:pt>
                <c:pt idx="517">
                  <c:v>44705</c:v>
                </c:pt>
                <c:pt idx="518">
                  <c:v>44706</c:v>
                </c:pt>
                <c:pt idx="519">
                  <c:v>44707</c:v>
                </c:pt>
                <c:pt idx="520">
                  <c:v>44708</c:v>
                </c:pt>
                <c:pt idx="521">
                  <c:v>44711</c:v>
                </c:pt>
                <c:pt idx="522">
                  <c:v>44712</c:v>
                </c:pt>
                <c:pt idx="523">
                  <c:v>44713</c:v>
                </c:pt>
                <c:pt idx="524">
                  <c:v>44714</c:v>
                </c:pt>
                <c:pt idx="525">
                  <c:v>44715</c:v>
                </c:pt>
                <c:pt idx="526">
                  <c:v>44718</c:v>
                </c:pt>
                <c:pt idx="527">
                  <c:v>44719</c:v>
                </c:pt>
                <c:pt idx="528">
                  <c:v>44720</c:v>
                </c:pt>
                <c:pt idx="529">
                  <c:v>44721</c:v>
                </c:pt>
                <c:pt idx="530">
                  <c:v>44722</c:v>
                </c:pt>
                <c:pt idx="531">
                  <c:v>44725</c:v>
                </c:pt>
                <c:pt idx="532">
                  <c:v>44726</c:v>
                </c:pt>
                <c:pt idx="533">
                  <c:v>44727</c:v>
                </c:pt>
                <c:pt idx="534">
                  <c:v>44728</c:v>
                </c:pt>
                <c:pt idx="535">
                  <c:v>44729</c:v>
                </c:pt>
                <c:pt idx="536">
                  <c:v>44732</c:v>
                </c:pt>
                <c:pt idx="537">
                  <c:v>44733</c:v>
                </c:pt>
                <c:pt idx="538">
                  <c:v>44734</c:v>
                </c:pt>
                <c:pt idx="539">
                  <c:v>44735</c:v>
                </c:pt>
                <c:pt idx="540">
                  <c:v>44736</c:v>
                </c:pt>
                <c:pt idx="541">
                  <c:v>44739</c:v>
                </c:pt>
                <c:pt idx="542">
                  <c:v>44740</c:v>
                </c:pt>
                <c:pt idx="543">
                  <c:v>44741</c:v>
                </c:pt>
                <c:pt idx="544">
                  <c:v>44742</c:v>
                </c:pt>
              </c:numCache>
            </c:numRef>
          </c:cat>
          <c:val>
            <c:numRef>
              <c:f>Sheet1!$B$632:$B$1176</c:f>
              <c:numCache>
                <c:formatCode>0.00</c:formatCode>
                <c:ptCount val="545"/>
                <c:pt idx="0">
                  <c:v>0.1246</c:v>
                </c:pt>
                <c:pt idx="1">
                  <c:v>0.1246</c:v>
                </c:pt>
                <c:pt idx="2" formatCode="General">
                  <c:v>0.13950000000000001</c:v>
                </c:pt>
                <c:pt idx="3" formatCode="General">
                  <c:v>0.14710000000000001</c:v>
                </c:pt>
                <c:pt idx="4" formatCode="General">
                  <c:v>0.14199999999999999</c:v>
                </c:pt>
                <c:pt idx="5" formatCode="General">
                  <c:v>0.14710000000000001</c:v>
                </c:pt>
                <c:pt idx="6" formatCode="General">
                  <c:v>0.15720000000000001</c:v>
                </c:pt>
                <c:pt idx="7" formatCode="General">
                  <c:v>0.15759999999999999</c:v>
                </c:pt>
                <c:pt idx="8" formatCode="General">
                  <c:v>0.1653</c:v>
                </c:pt>
                <c:pt idx="9" formatCode="General">
                  <c:v>0.16020000000000001</c:v>
                </c:pt>
                <c:pt idx="10" formatCode="General">
                  <c:v>0.15</c:v>
                </c:pt>
                <c:pt idx="11" formatCode="General">
                  <c:v>0.15260000000000001</c:v>
                </c:pt>
                <c:pt idx="12" formatCode="General">
                  <c:v>0.15210000000000001</c:v>
                </c:pt>
                <c:pt idx="13" formatCode="General">
                  <c:v>0.14710000000000001</c:v>
                </c:pt>
                <c:pt idx="14" formatCode="General">
                  <c:v>0.14449999999999999</c:v>
                </c:pt>
                <c:pt idx="15" formatCode="General">
                  <c:v>0.14710000000000001</c:v>
                </c:pt>
                <c:pt idx="16" formatCode="General">
                  <c:v>0.13950000000000001</c:v>
                </c:pt>
                <c:pt idx="17" formatCode="General">
                  <c:v>0.13439999999999999</c:v>
                </c:pt>
                <c:pt idx="18" formatCode="General">
                  <c:v>0.13689999999999999</c:v>
                </c:pt>
                <c:pt idx="19" formatCode="General">
                  <c:v>0.13689999999999999</c:v>
                </c:pt>
                <c:pt idx="20" formatCode="General">
                  <c:v>0.13689999999999999</c:v>
                </c:pt>
                <c:pt idx="21" formatCode="General">
                  <c:v>0.1217</c:v>
                </c:pt>
                <c:pt idx="22" formatCode="General">
                  <c:v>0.1293</c:v>
                </c:pt>
                <c:pt idx="23" formatCode="General">
                  <c:v>0.1293</c:v>
                </c:pt>
                <c:pt idx="24" formatCode="General">
                  <c:v>0.13689999999999999</c:v>
                </c:pt>
                <c:pt idx="25" formatCode="General">
                  <c:v>0.13689999999999999</c:v>
                </c:pt>
                <c:pt idx="26" formatCode="General">
                  <c:v>0.13689999999999999</c:v>
                </c:pt>
                <c:pt idx="27" formatCode="General">
                  <c:v>0.13980000000000001</c:v>
                </c:pt>
                <c:pt idx="28" formatCode="General">
                  <c:v>0.1348</c:v>
                </c:pt>
                <c:pt idx="29" formatCode="General">
                  <c:v>0.1246</c:v>
                </c:pt>
                <c:pt idx="30" formatCode="General">
                  <c:v>0.1246</c:v>
                </c:pt>
                <c:pt idx="31" formatCode="General">
                  <c:v>0.12709999999999999</c:v>
                </c:pt>
                <c:pt idx="32" formatCode="General">
                  <c:v>0.1318</c:v>
                </c:pt>
                <c:pt idx="33" formatCode="General">
                  <c:v>0.1268</c:v>
                </c:pt>
                <c:pt idx="34" formatCode="General">
                  <c:v>0.104</c:v>
                </c:pt>
                <c:pt idx="35" formatCode="General">
                  <c:v>0.10390000000000001</c:v>
                </c:pt>
                <c:pt idx="36" formatCode="General">
                  <c:v>0.109</c:v>
                </c:pt>
                <c:pt idx="37" formatCode="General">
                  <c:v>0.109</c:v>
                </c:pt>
                <c:pt idx="38" formatCode="General">
                  <c:v>0.1116</c:v>
                </c:pt>
                <c:pt idx="39" formatCode="General">
                  <c:v>0.1014</c:v>
                </c:pt>
                <c:pt idx="40" formatCode="General">
                  <c:v>0.10390000000000001</c:v>
                </c:pt>
                <c:pt idx="41" formatCode="General">
                  <c:v>9.6299999999999997E-2</c:v>
                </c:pt>
                <c:pt idx="42" formatCode="General">
                  <c:v>9.8900000000000002E-2</c:v>
                </c:pt>
                <c:pt idx="43" formatCode="General">
                  <c:v>9.6299999999999997E-2</c:v>
                </c:pt>
                <c:pt idx="44" formatCode="General">
                  <c:v>8.6199999999999999E-2</c:v>
                </c:pt>
                <c:pt idx="45" formatCode="General">
                  <c:v>8.3699999999999997E-2</c:v>
                </c:pt>
                <c:pt idx="46" formatCode="General">
                  <c:v>8.3699999999999997E-2</c:v>
                </c:pt>
                <c:pt idx="47" formatCode="General">
                  <c:v>8.6400000000000005E-2</c:v>
                </c:pt>
                <c:pt idx="48" formatCode="General">
                  <c:v>9.4100000000000003E-2</c:v>
                </c:pt>
                <c:pt idx="49" formatCode="General">
                  <c:v>8.6400000000000005E-2</c:v>
                </c:pt>
                <c:pt idx="50" formatCode="General">
                  <c:v>8.8999999999999996E-2</c:v>
                </c:pt>
                <c:pt idx="51" formatCode="General">
                  <c:v>9.1499999999999998E-2</c:v>
                </c:pt>
                <c:pt idx="52" formatCode="General">
                  <c:v>9.8900000000000002E-2</c:v>
                </c:pt>
                <c:pt idx="53" formatCode="General">
                  <c:v>9.3799999999999994E-2</c:v>
                </c:pt>
                <c:pt idx="54" formatCode="General">
                  <c:v>9.3799999999999994E-2</c:v>
                </c:pt>
                <c:pt idx="55" formatCode="General">
                  <c:v>8.8700000000000001E-2</c:v>
                </c:pt>
                <c:pt idx="56" formatCode="General">
                  <c:v>8.6199999999999999E-2</c:v>
                </c:pt>
                <c:pt idx="57" formatCode="General">
                  <c:v>9.1300000000000006E-2</c:v>
                </c:pt>
                <c:pt idx="58" formatCode="General">
                  <c:v>9.3799999999999994E-2</c:v>
                </c:pt>
                <c:pt idx="59" formatCode="General">
                  <c:v>8.8700000000000001E-2</c:v>
                </c:pt>
                <c:pt idx="60" formatCode="General">
                  <c:v>8.8700000000000001E-2</c:v>
                </c:pt>
                <c:pt idx="61" formatCode="General">
                  <c:v>8.6199999999999999E-2</c:v>
                </c:pt>
                <c:pt idx="62" formatCode="General">
                  <c:v>8.8700000000000001E-2</c:v>
                </c:pt>
                <c:pt idx="63" formatCode="General">
                  <c:v>9.1300000000000006E-2</c:v>
                </c:pt>
                <c:pt idx="64" formatCode="General">
                  <c:v>9.3799999999999994E-2</c:v>
                </c:pt>
                <c:pt idx="65" formatCode="General">
                  <c:v>9.6299999999999997E-2</c:v>
                </c:pt>
                <c:pt idx="66" formatCode="General">
                  <c:v>9.3799999999999994E-2</c:v>
                </c:pt>
                <c:pt idx="67" formatCode="General">
                  <c:v>9.9099999999999994E-2</c:v>
                </c:pt>
                <c:pt idx="68" formatCode="General">
                  <c:v>9.9099999999999994E-2</c:v>
                </c:pt>
                <c:pt idx="69" formatCode="General">
                  <c:v>9.9099999999999994E-2</c:v>
                </c:pt>
                <c:pt idx="70" formatCode="General">
                  <c:v>9.9099999999999994E-2</c:v>
                </c:pt>
                <c:pt idx="71" formatCode="General">
                  <c:v>9.9099999999999994E-2</c:v>
                </c:pt>
                <c:pt idx="72" formatCode="General">
                  <c:v>0.10929999999999999</c:v>
                </c:pt>
                <c:pt idx="73" formatCode="General">
                  <c:v>0.1014</c:v>
                </c:pt>
                <c:pt idx="74" formatCode="General">
                  <c:v>0.104</c:v>
                </c:pt>
                <c:pt idx="75" formatCode="General">
                  <c:v>0.109</c:v>
                </c:pt>
                <c:pt idx="76" formatCode="General">
                  <c:v>0.10390000000000001</c:v>
                </c:pt>
                <c:pt idx="77" formatCode="General">
                  <c:v>9.8900000000000002E-2</c:v>
                </c:pt>
                <c:pt idx="78" formatCode="General">
                  <c:v>9.3799999999999994E-2</c:v>
                </c:pt>
                <c:pt idx="79" formatCode="General">
                  <c:v>8.3699999999999997E-2</c:v>
                </c:pt>
                <c:pt idx="80" formatCode="General">
                  <c:v>8.1100000000000005E-2</c:v>
                </c:pt>
                <c:pt idx="81" formatCode="General">
                  <c:v>7.8600000000000003E-2</c:v>
                </c:pt>
                <c:pt idx="82" formatCode="General">
                  <c:v>8.6199999999999999E-2</c:v>
                </c:pt>
                <c:pt idx="83" formatCode="General">
                  <c:v>8.8700000000000001E-2</c:v>
                </c:pt>
                <c:pt idx="84" formatCode="General">
                  <c:v>9.1300000000000006E-2</c:v>
                </c:pt>
                <c:pt idx="85" formatCode="General">
                  <c:v>9.1300000000000006E-2</c:v>
                </c:pt>
                <c:pt idx="86" formatCode="General">
                  <c:v>8.8700000000000001E-2</c:v>
                </c:pt>
                <c:pt idx="87" formatCode="General">
                  <c:v>8.6400000000000005E-2</c:v>
                </c:pt>
                <c:pt idx="88" formatCode="General">
                  <c:v>9.1499999999999998E-2</c:v>
                </c:pt>
                <c:pt idx="89" formatCode="General">
                  <c:v>8.6400000000000005E-2</c:v>
                </c:pt>
                <c:pt idx="90" formatCode="General">
                  <c:v>8.6400000000000005E-2</c:v>
                </c:pt>
                <c:pt idx="91" formatCode="General">
                  <c:v>8.6400000000000005E-2</c:v>
                </c:pt>
                <c:pt idx="92" formatCode="General">
                  <c:v>8.3699999999999997E-2</c:v>
                </c:pt>
                <c:pt idx="93" formatCode="General">
                  <c:v>9.1300000000000006E-2</c:v>
                </c:pt>
                <c:pt idx="94" formatCode="General">
                  <c:v>8.8700000000000001E-2</c:v>
                </c:pt>
                <c:pt idx="95" formatCode="General">
                  <c:v>9.3799999999999994E-2</c:v>
                </c:pt>
                <c:pt idx="96" formatCode="General">
                  <c:v>9.3799999999999994E-2</c:v>
                </c:pt>
                <c:pt idx="97" formatCode="General">
                  <c:v>8.8700000000000001E-2</c:v>
                </c:pt>
                <c:pt idx="98" formatCode="General">
                  <c:v>9.8900000000000002E-2</c:v>
                </c:pt>
                <c:pt idx="99" formatCode="General">
                  <c:v>9.3799999999999994E-2</c:v>
                </c:pt>
                <c:pt idx="100" formatCode="General">
                  <c:v>9.1300000000000006E-2</c:v>
                </c:pt>
                <c:pt idx="101" formatCode="General">
                  <c:v>8.8700000000000001E-2</c:v>
                </c:pt>
                <c:pt idx="102" formatCode="General">
                  <c:v>8.6199999999999999E-2</c:v>
                </c:pt>
                <c:pt idx="103" formatCode="General">
                  <c:v>8.8700000000000001E-2</c:v>
                </c:pt>
                <c:pt idx="104" formatCode="General">
                  <c:v>8.8700000000000001E-2</c:v>
                </c:pt>
                <c:pt idx="105" formatCode="General">
                  <c:v>8.6199999999999999E-2</c:v>
                </c:pt>
                <c:pt idx="106" formatCode="General">
                  <c:v>7.6100000000000001E-2</c:v>
                </c:pt>
                <c:pt idx="107" formatCode="General">
                  <c:v>8.8999999999999996E-2</c:v>
                </c:pt>
                <c:pt idx="108" formatCode="General">
                  <c:v>8.6400000000000005E-2</c:v>
                </c:pt>
                <c:pt idx="109" formatCode="General">
                  <c:v>8.6400000000000005E-2</c:v>
                </c:pt>
                <c:pt idx="110" formatCode="General">
                  <c:v>8.6400000000000005E-2</c:v>
                </c:pt>
                <c:pt idx="111" formatCode="General">
                  <c:v>8.6400000000000005E-2</c:v>
                </c:pt>
                <c:pt idx="112" formatCode="General">
                  <c:v>8.8700000000000001E-2</c:v>
                </c:pt>
                <c:pt idx="113" formatCode="General">
                  <c:v>8.6199999999999999E-2</c:v>
                </c:pt>
                <c:pt idx="114" formatCode="General">
                  <c:v>8.6199999999999999E-2</c:v>
                </c:pt>
                <c:pt idx="115" formatCode="General">
                  <c:v>8.6199999999999999E-2</c:v>
                </c:pt>
                <c:pt idx="116" formatCode="General">
                  <c:v>8.8700000000000001E-2</c:v>
                </c:pt>
                <c:pt idx="117" formatCode="General">
                  <c:v>8.8700000000000001E-2</c:v>
                </c:pt>
                <c:pt idx="118" formatCode="General">
                  <c:v>8.8700000000000001E-2</c:v>
                </c:pt>
                <c:pt idx="119" formatCode="General">
                  <c:v>8.6199999999999999E-2</c:v>
                </c:pt>
                <c:pt idx="120" formatCode="General">
                  <c:v>8.3699999999999997E-2</c:v>
                </c:pt>
                <c:pt idx="121" formatCode="General">
                  <c:v>7.6100000000000001E-2</c:v>
                </c:pt>
                <c:pt idx="122" formatCode="General">
                  <c:v>7.8600000000000003E-2</c:v>
                </c:pt>
                <c:pt idx="123" formatCode="General">
                  <c:v>7.0999999999999994E-2</c:v>
                </c:pt>
                <c:pt idx="124" formatCode="General">
                  <c:v>5.8299999999999998E-2</c:v>
                </c:pt>
                <c:pt idx="125" formatCode="General">
                  <c:v>6.3399999999999998E-2</c:v>
                </c:pt>
                <c:pt idx="126" formatCode="General">
                  <c:v>6.59E-2</c:v>
                </c:pt>
                <c:pt idx="127" formatCode="General">
                  <c:v>7.3700000000000002E-2</c:v>
                </c:pt>
                <c:pt idx="128" formatCode="General">
                  <c:v>7.8799999999999995E-2</c:v>
                </c:pt>
                <c:pt idx="129" formatCode="General">
                  <c:v>7.8799999999999995E-2</c:v>
                </c:pt>
                <c:pt idx="130" formatCode="General">
                  <c:v>7.3700000000000002E-2</c:v>
                </c:pt>
                <c:pt idx="131" formatCode="General">
                  <c:v>7.1199999999999999E-2</c:v>
                </c:pt>
                <c:pt idx="132" formatCode="General">
                  <c:v>7.6100000000000001E-2</c:v>
                </c:pt>
                <c:pt idx="133" formatCode="General">
                  <c:v>7.6100000000000001E-2</c:v>
                </c:pt>
                <c:pt idx="134" formatCode="General">
                  <c:v>7.6100000000000001E-2</c:v>
                </c:pt>
                <c:pt idx="135" formatCode="General">
                  <c:v>7.3499999999999996E-2</c:v>
                </c:pt>
                <c:pt idx="136" formatCode="General">
                  <c:v>6.8400000000000002E-2</c:v>
                </c:pt>
                <c:pt idx="137" formatCode="General">
                  <c:v>6.8400000000000002E-2</c:v>
                </c:pt>
                <c:pt idx="138" formatCode="General">
                  <c:v>7.0999999999999994E-2</c:v>
                </c:pt>
                <c:pt idx="139" formatCode="General">
                  <c:v>7.0999999999999994E-2</c:v>
                </c:pt>
                <c:pt idx="140" formatCode="General">
                  <c:v>6.3399999999999998E-2</c:v>
                </c:pt>
                <c:pt idx="141" formatCode="General">
                  <c:v>6.3399999999999998E-2</c:v>
                </c:pt>
                <c:pt idx="142" formatCode="General">
                  <c:v>6.59E-2</c:v>
                </c:pt>
                <c:pt idx="143" formatCode="General">
                  <c:v>7.6100000000000001E-2</c:v>
                </c:pt>
                <c:pt idx="144" formatCode="General">
                  <c:v>8.1100000000000005E-2</c:v>
                </c:pt>
                <c:pt idx="145" formatCode="General">
                  <c:v>8.1100000000000005E-2</c:v>
                </c:pt>
                <c:pt idx="146" formatCode="General">
                  <c:v>8.1100000000000005E-2</c:v>
                </c:pt>
                <c:pt idx="147" formatCode="General">
                  <c:v>7.6100000000000001E-2</c:v>
                </c:pt>
                <c:pt idx="148" formatCode="General">
                  <c:v>7.8600000000000003E-2</c:v>
                </c:pt>
                <c:pt idx="149" formatCode="General">
                  <c:v>8.1100000000000005E-2</c:v>
                </c:pt>
                <c:pt idx="150" formatCode="General">
                  <c:v>8.1100000000000005E-2</c:v>
                </c:pt>
                <c:pt idx="151" formatCode="General">
                  <c:v>8.3699999999999997E-2</c:v>
                </c:pt>
                <c:pt idx="152" formatCode="General">
                  <c:v>8.6199999999999999E-2</c:v>
                </c:pt>
                <c:pt idx="153" formatCode="General">
                  <c:v>7.0999999999999994E-2</c:v>
                </c:pt>
                <c:pt idx="154" formatCode="General">
                  <c:v>5.8299999999999998E-2</c:v>
                </c:pt>
                <c:pt idx="155" formatCode="General">
                  <c:v>5.8299999999999998E-2</c:v>
                </c:pt>
                <c:pt idx="156" formatCode="General">
                  <c:v>6.3399999999999998E-2</c:v>
                </c:pt>
                <c:pt idx="157" formatCode="General">
                  <c:v>7.6100000000000001E-2</c:v>
                </c:pt>
                <c:pt idx="158" formatCode="General">
                  <c:v>8.1100000000000005E-2</c:v>
                </c:pt>
                <c:pt idx="159" formatCode="General">
                  <c:v>7.8600000000000003E-2</c:v>
                </c:pt>
                <c:pt idx="160" formatCode="General">
                  <c:v>7.0999999999999994E-2</c:v>
                </c:pt>
                <c:pt idx="161" formatCode="General">
                  <c:v>8.1100000000000005E-2</c:v>
                </c:pt>
                <c:pt idx="162" formatCode="General">
                  <c:v>7.6100000000000001E-2</c:v>
                </c:pt>
                <c:pt idx="163" formatCode="General">
                  <c:v>8.1100000000000005E-2</c:v>
                </c:pt>
                <c:pt idx="164" formatCode="General">
                  <c:v>7.3499999999999996E-2</c:v>
                </c:pt>
                <c:pt idx="165" formatCode="General">
                  <c:v>7.6100000000000001E-2</c:v>
                </c:pt>
                <c:pt idx="166" formatCode="General">
                  <c:v>7.6100000000000001E-2</c:v>
                </c:pt>
                <c:pt idx="167" formatCode="General">
                  <c:v>7.0999999999999994E-2</c:v>
                </c:pt>
                <c:pt idx="168" formatCode="General">
                  <c:v>7.3499999999999996E-2</c:v>
                </c:pt>
                <c:pt idx="169" formatCode="General">
                  <c:v>7.0999999999999994E-2</c:v>
                </c:pt>
                <c:pt idx="170" formatCode="General">
                  <c:v>7.0999999999999994E-2</c:v>
                </c:pt>
                <c:pt idx="171" formatCode="General">
                  <c:v>6.8400000000000002E-2</c:v>
                </c:pt>
                <c:pt idx="172" formatCode="General">
                  <c:v>6.3399999999999998E-2</c:v>
                </c:pt>
                <c:pt idx="173" formatCode="General">
                  <c:v>6.08E-2</c:v>
                </c:pt>
                <c:pt idx="174" formatCode="General">
                  <c:v>5.3199999999999997E-2</c:v>
                </c:pt>
                <c:pt idx="175" formatCode="General">
                  <c:v>4.82E-2</c:v>
                </c:pt>
                <c:pt idx="176" formatCode="General">
                  <c:v>4.82E-2</c:v>
                </c:pt>
                <c:pt idx="177" formatCode="General">
                  <c:v>4.5600000000000002E-2</c:v>
                </c:pt>
                <c:pt idx="178" formatCode="General">
                  <c:v>4.0599999999999997E-2</c:v>
                </c:pt>
                <c:pt idx="179" formatCode="General">
                  <c:v>2.2800000000000001E-2</c:v>
                </c:pt>
                <c:pt idx="180" formatCode="General">
                  <c:v>2.0299999999999999E-2</c:v>
                </c:pt>
                <c:pt idx="181" formatCode="General">
                  <c:v>2.53E-2</c:v>
                </c:pt>
                <c:pt idx="182" formatCode="General">
                  <c:v>2.53E-2</c:v>
                </c:pt>
                <c:pt idx="183" formatCode="General">
                  <c:v>3.7999999999999999E-2</c:v>
                </c:pt>
                <c:pt idx="184" formatCode="General">
                  <c:v>3.5499999999999997E-2</c:v>
                </c:pt>
                <c:pt idx="185" formatCode="General">
                  <c:v>3.5499999999999997E-2</c:v>
                </c:pt>
                <c:pt idx="186" formatCode="General">
                  <c:v>3.5499999999999997E-2</c:v>
                </c:pt>
                <c:pt idx="187" formatCode="General">
                  <c:v>3.3000000000000002E-2</c:v>
                </c:pt>
                <c:pt idx="188" formatCode="General">
                  <c:v>3.3000000000000002E-2</c:v>
                </c:pt>
                <c:pt idx="189" formatCode="General">
                  <c:v>2.7900000000000001E-2</c:v>
                </c:pt>
                <c:pt idx="190" formatCode="General">
                  <c:v>2.7900000000000001E-2</c:v>
                </c:pt>
                <c:pt idx="191" formatCode="General">
                  <c:v>2.7900000000000001E-2</c:v>
                </c:pt>
                <c:pt idx="192" formatCode="General">
                  <c:v>2.2800000000000001E-2</c:v>
                </c:pt>
                <c:pt idx="193" formatCode="General">
                  <c:v>3.04E-2</c:v>
                </c:pt>
                <c:pt idx="194" formatCode="General">
                  <c:v>3.3000000000000002E-2</c:v>
                </c:pt>
                <c:pt idx="195" formatCode="General">
                  <c:v>3.3000000000000002E-2</c:v>
                </c:pt>
                <c:pt idx="196" formatCode="General">
                  <c:v>3.3000000000000002E-2</c:v>
                </c:pt>
                <c:pt idx="197" formatCode="General">
                  <c:v>3.04E-2</c:v>
                </c:pt>
                <c:pt idx="198" formatCode="General">
                  <c:v>3.5499999999999997E-2</c:v>
                </c:pt>
                <c:pt idx="199" formatCode="General">
                  <c:v>3.04E-2</c:v>
                </c:pt>
                <c:pt idx="200" formatCode="General">
                  <c:v>2.53E-2</c:v>
                </c:pt>
                <c:pt idx="201" formatCode="General">
                  <c:v>3.3000000000000002E-2</c:v>
                </c:pt>
                <c:pt idx="202" formatCode="General">
                  <c:v>2.7900000000000001E-2</c:v>
                </c:pt>
                <c:pt idx="203" formatCode="General">
                  <c:v>3.04E-2</c:v>
                </c:pt>
                <c:pt idx="204" formatCode="General">
                  <c:v>2.7900000000000001E-2</c:v>
                </c:pt>
                <c:pt idx="205" formatCode="General">
                  <c:v>2.0299999999999999E-2</c:v>
                </c:pt>
                <c:pt idx="206" formatCode="General">
                  <c:v>1.2699999999999999E-2</c:v>
                </c:pt>
                <c:pt idx="207" formatCode="General">
                  <c:v>1.2699999999999999E-2</c:v>
                </c:pt>
                <c:pt idx="208" formatCode="General">
                  <c:v>2.5000000000000001E-3</c:v>
                </c:pt>
                <c:pt idx="209" formatCode="General">
                  <c:v>-2.5000000000000001E-3</c:v>
                </c:pt>
                <c:pt idx="210" formatCode="General">
                  <c:v>-2.5000000000000001E-3</c:v>
                </c:pt>
                <c:pt idx="211" formatCode="General">
                  <c:v>2.5000000000000001E-3</c:v>
                </c:pt>
                <c:pt idx="212" formatCode="General">
                  <c:v>2.5000000000000001E-3</c:v>
                </c:pt>
                <c:pt idx="213" formatCode="General">
                  <c:v>1.52E-2</c:v>
                </c:pt>
                <c:pt idx="214" formatCode="General">
                  <c:v>1.52E-2</c:v>
                </c:pt>
                <c:pt idx="215" formatCode="General">
                  <c:v>1.52E-2</c:v>
                </c:pt>
                <c:pt idx="216" formatCode="General">
                  <c:v>1.01E-2</c:v>
                </c:pt>
                <c:pt idx="217" formatCode="General">
                  <c:v>1.01E-2</c:v>
                </c:pt>
                <c:pt idx="218" formatCode="General">
                  <c:v>1.52E-2</c:v>
                </c:pt>
                <c:pt idx="219" formatCode="General">
                  <c:v>1.2699999999999999E-2</c:v>
                </c:pt>
                <c:pt idx="220" formatCode="General">
                  <c:v>1.2699999999999999E-2</c:v>
                </c:pt>
                <c:pt idx="221" formatCode="General">
                  <c:v>1.52E-2</c:v>
                </c:pt>
                <c:pt idx="222" formatCode="General">
                  <c:v>1.52E-2</c:v>
                </c:pt>
                <c:pt idx="223" formatCode="General">
                  <c:v>1.01E-2</c:v>
                </c:pt>
                <c:pt idx="224" formatCode="General">
                  <c:v>1.01E-2</c:v>
                </c:pt>
                <c:pt idx="225" formatCode="General">
                  <c:v>7.6E-3</c:v>
                </c:pt>
                <c:pt idx="226" formatCode="General">
                  <c:v>7.6E-3</c:v>
                </c:pt>
                <c:pt idx="227" formatCode="General">
                  <c:v>1.01E-2</c:v>
                </c:pt>
                <c:pt idx="228" formatCode="General">
                  <c:v>1.52E-2</c:v>
                </c:pt>
                <c:pt idx="229" formatCode="General">
                  <c:v>5.1000000000000004E-3</c:v>
                </c:pt>
                <c:pt idx="230" formatCode="General">
                  <c:v>1.01E-2</c:v>
                </c:pt>
                <c:pt idx="231" formatCode="General">
                  <c:v>1.52E-2</c:v>
                </c:pt>
                <c:pt idx="232" formatCode="General">
                  <c:v>1.2699999999999999E-2</c:v>
                </c:pt>
                <c:pt idx="233" formatCode="General">
                  <c:v>1.2699999999999999E-2</c:v>
                </c:pt>
                <c:pt idx="234" formatCode="General">
                  <c:v>1.52E-2</c:v>
                </c:pt>
                <c:pt idx="235" formatCode="General">
                  <c:v>1.52E-2</c:v>
                </c:pt>
                <c:pt idx="236" formatCode="General">
                  <c:v>7.6E-3</c:v>
                </c:pt>
                <c:pt idx="237" formatCode="General">
                  <c:v>2.5000000000000001E-3</c:v>
                </c:pt>
                <c:pt idx="238" formatCode="General">
                  <c:v>2.5000000000000001E-3</c:v>
                </c:pt>
                <c:pt idx="239" formatCode="General">
                  <c:v>2.5000000000000001E-3</c:v>
                </c:pt>
                <c:pt idx="240" formatCode="General">
                  <c:v>2.5000000000000001E-3</c:v>
                </c:pt>
                <c:pt idx="241" formatCode="General">
                  <c:v>5.1000000000000004E-3</c:v>
                </c:pt>
                <c:pt idx="242" formatCode="General">
                  <c:v>7.6E-3</c:v>
                </c:pt>
                <c:pt idx="243" formatCode="General">
                  <c:v>1.01E-2</c:v>
                </c:pt>
                <c:pt idx="244" formatCode="General">
                  <c:v>1.01E-2</c:v>
                </c:pt>
                <c:pt idx="245" formatCode="General">
                  <c:v>5.1000000000000004E-3</c:v>
                </c:pt>
                <c:pt idx="246" formatCode="General">
                  <c:v>-2.5000000000000001E-3</c:v>
                </c:pt>
                <c:pt idx="247" formatCode="General">
                  <c:v>5.1000000000000004E-3</c:v>
                </c:pt>
                <c:pt idx="248" formatCode="General">
                  <c:v>5.1000000000000004E-3</c:v>
                </c:pt>
                <c:pt idx="249" formatCode="General">
                  <c:v>7.6E-3</c:v>
                </c:pt>
                <c:pt idx="250" formatCode="General">
                  <c:v>-2.5000000000000001E-3</c:v>
                </c:pt>
                <c:pt idx="251" formatCode="General">
                  <c:v>5.1000000000000004E-3</c:v>
                </c:pt>
                <c:pt idx="252" formatCode="General">
                  <c:v>2.5000000000000001E-3</c:v>
                </c:pt>
                <c:pt idx="253" formatCode="General">
                  <c:v>2.5000000000000001E-3</c:v>
                </c:pt>
                <c:pt idx="254" formatCode="General">
                  <c:v>2.5000000000000001E-3</c:v>
                </c:pt>
                <c:pt idx="255" formatCode="General">
                  <c:v>-2.5000000000000001E-3</c:v>
                </c:pt>
                <c:pt idx="256" formatCode="General">
                  <c:v>2.5000000000000001E-3</c:v>
                </c:pt>
                <c:pt idx="257" formatCode="General">
                  <c:v>7.6E-3</c:v>
                </c:pt>
                <c:pt idx="258" formatCode="General">
                  <c:v>5.1000000000000004E-3</c:v>
                </c:pt>
                <c:pt idx="259" formatCode="General">
                  <c:v>2.5000000000000001E-3</c:v>
                </c:pt>
                <c:pt idx="260" formatCode="General">
                  <c:v>2.5000000000000001E-3</c:v>
                </c:pt>
                <c:pt idx="261" formatCode="General">
                  <c:v>2.5000000000000001E-3</c:v>
                </c:pt>
                <c:pt idx="262" formatCode="General">
                  <c:v>7.6E-3</c:v>
                </c:pt>
                <c:pt idx="263" formatCode="General">
                  <c:v>1.2699999999999999E-2</c:v>
                </c:pt>
                <c:pt idx="264" formatCode="General">
                  <c:v>1.2699999999999999E-2</c:v>
                </c:pt>
                <c:pt idx="265" formatCode="General">
                  <c:v>1.2699999999999999E-2</c:v>
                </c:pt>
                <c:pt idx="266" formatCode="General">
                  <c:v>1.77E-2</c:v>
                </c:pt>
                <c:pt idx="267" formatCode="General">
                  <c:v>2.2800000000000001E-2</c:v>
                </c:pt>
                <c:pt idx="268" formatCode="General">
                  <c:v>1.77E-2</c:v>
                </c:pt>
                <c:pt idx="269" formatCode="General">
                  <c:v>2.0299999999999999E-2</c:v>
                </c:pt>
                <c:pt idx="270" formatCode="General">
                  <c:v>2.0299999999999999E-2</c:v>
                </c:pt>
                <c:pt idx="271" formatCode="General">
                  <c:v>1.2699999999999999E-2</c:v>
                </c:pt>
                <c:pt idx="272" formatCode="General">
                  <c:v>1.2699999999999999E-2</c:v>
                </c:pt>
                <c:pt idx="273" formatCode="General">
                  <c:v>2.2800000000000001E-2</c:v>
                </c:pt>
                <c:pt idx="274" formatCode="General">
                  <c:v>2.53E-2</c:v>
                </c:pt>
                <c:pt idx="275" formatCode="General">
                  <c:v>2.7900000000000001E-2</c:v>
                </c:pt>
                <c:pt idx="276" formatCode="General">
                  <c:v>3.04E-2</c:v>
                </c:pt>
                <c:pt idx="277" formatCode="General">
                  <c:v>3.04E-2</c:v>
                </c:pt>
                <c:pt idx="278" formatCode="General">
                  <c:v>3.5499999999999997E-2</c:v>
                </c:pt>
                <c:pt idx="279" formatCode="General">
                  <c:v>4.3099999999999999E-2</c:v>
                </c:pt>
                <c:pt idx="280" formatCode="General">
                  <c:v>4.3099999999999999E-2</c:v>
                </c:pt>
                <c:pt idx="281" formatCode="General">
                  <c:v>4.0599999999999997E-2</c:v>
                </c:pt>
                <c:pt idx="282" formatCode="General">
                  <c:v>4.0599999999999997E-2</c:v>
                </c:pt>
                <c:pt idx="283" formatCode="General">
                  <c:v>4.0599999999999997E-2</c:v>
                </c:pt>
                <c:pt idx="284" formatCode="General">
                  <c:v>4.0599999999999997E-2</c:v>
                </c:pt>
                <c:pt idx="285" formatCode="General">
                  <c:v>3.7999999999999999E-2</c:v>
                </c:pt>
                <c:pt idx="286" formatCode="General">
                  <c:v>3.7999999999999999E-2</c:v>
                </c:pt>
                <c:pt idx="287" formatCode="General">
                  <c:v>4.3099999999999999E-2</c:v>
                </c:pt>
                <c:pt idx="288" formatCode="General">
                  <c:v>4.5600000000000002E-2</c:v>
                </c:pt>
                <c:pt idx="289" formatCode="General">
                  <c:v>4.5600000000000002E-2</c:v>
                </c:pt>
                <c:pt idx="290" formatCode="General">
                  <c:v>4.3099999999999999E-2</c:v>
                </c:pt>
                <c:pt idx="291" formatCode="General">
                  <c:v>4.5600000000000002E-2</c:v>
                </c:pt>
                <c:pt idx="292" formatCode="General">
                  <c:v>4.0599999999999997E-2</c:v>
                </c:pt>
                <c:pt idx="293" formatCode="General">
                  <c:v>4.3099999999999999E-2</c:v>
                </c:pt>
                <c:pt idx="294" formatCode="General">
                  <c:v>3.7999999999999999E-2</c:v>
                </c:pt>
                <c:pt idx="295" formatCode="General">
                  <c:v>4.3099999999999999E-2</c:v>
                </c:pt>
                <c:pt idx="296" formatCode="General">
                  <c:v>3.5499999999999997E-2</c:v>
                </c:pt>
                <c:pt idx="297" formatCode="General">
                  <c:v>4.0599999999999997E-2</c:v>
                </c:pt>
                <c:pt idx="298" formatCode="General">
                  <c:v>4.3099999999999999E-2</c:v>
                </c:pt>
                <c:pt idx="299" formatCode="General">
                  <c:v>4.0599999999999997E-2</c:v>
                </c:pt>
                <c:pt idx="300" formatCode="General">
                  <c:v>4.3099999999999999E-2</c:v>
                </c:pt>
                <c:pt idx="301" formatCode="General">
                  <c:v>4.0599999999999997E-2</c:v>
                </c:pt>
                <c:pt idx="302" formatCode="General">
                  <c:v>4.0599999999999997E-2</c:v>
                </c:pt>
                <c:pt idx="303" formatCode="General">
                  <c:v>4.5600000000000002E-2</c:v>
                </c:pt>
                <c:pt idx="304" formatCode="General">
                  <c:v>4.3099999999999999E-2</c:v>
                </c:pt>
                <c:pt idx="305" formatCode="General">
                  <c:v>4.0599999999999997E-2</c:v>
                </c:pt>
                <c:pt idx="306" formatCode="General">
                  <c:v>4.0599999999999997E-2</c:v>
                </c:pt>
                <c:pt idx="307" formatCode="General">
                  <c:v>4.0599999999999997E-2</c:v>
                </c:pt>
                <c:pt idx="308" formatCode="General">
                  <c:v>4.5600000000000002E-2</c:v>
                </c:pt>
                <c:pt idx="309" formatCode="General">
                  <c:v>4.5600000000000002E-2</c:v>
                </c:pt>
                <c:pt idx="310" formatCode="General">
                  <c:v>4.3099999999999999E-2</c:v>
                </c:pt>
                <c:pt idx="311" formatCode="General">
                  <c:v>4.5600000000000002E-2</c:v>
                </c:pt>
                <c:pt idx="312" formatCode="General">
                  <c:v>4.3099999999999999E-2</c:v>
                </c:pt>
                <c:pt idx="313" formatCode="General">
                  <c:v>5.0700000000000002E-2</c:v>
                </c:pt>
                <c:pt idx="314" formatCode="General">
                  <c:v>4.3099999999999999E-2</c:v>
                </c:pt>
                <c:pt idx="315" formatCode="General">
                  <c:v>4.5600000000000002E-2</c:v>
                </c:pt>
                <c:pt idx="316" formatCode="General">
                  <c:v>6.08E-2</c:v>
                </c:pt>
                <c:pt idx="317" formatCode="General">
                  <c:v>6.08E-2</c:v>
                </c:pt>
                <c:pt idx="318" formatCode="General">
                  <c:v>5.3199999999999997E-2</c:v>
                </c:pt>
                <c:pt idx="319" formatCode="General">
                  <c:v>4.5600000000000002E-2</c:v>
                </c:pt>
                <c:pt idx="320" formatCode="General">
                  <c:v>4.3099999999999999E-2</c:v>
                </c:pt>
                <c:pt idx="321" formatCode="General">
                  <c:v>4.0599999999999997E-2</c:v>
                </c:pt>
                <c:pt idx="322" formatCode="General">
                  <c:v>3.7999999999999999E-2</c:v>
                </c:pt>
                <c:pt idx="323" formatCode="General">
                  <c:v>4.5600000000000002E-2</c:v>
                </c:pt>
                <c:pt idx="324" formatCode="General">
                  <c:v>4.3099999999999999E-2</c:v>
                </c:pt>
                <c:pt idx="325" formatCode="General">
                  <c:v>4.5600000000000002E-2</c:v>
                </c:pt>
                <c:pt idx="326" formatCode="General">
                  <c:v>4.0599999999999997E-2</c:v>
                </c:pt>
                <c:pt idx="327" formatCode="General">
                  <c:v>3.5499999999999997E-2</c:v>
                </c:pt>
                <c:pt idx="328" formatCode="General">
                  <c:v>3.5499999999999997E-2</c:v>
                </c:pt>
                <c:pt idx="329" formatCode="General">
                  <c:v>4.0599999999999997E-2</c:v>
                </c:pt>
                <c:pt idx="330" formatCode="General">
                  <c:v>3.3000000000000002E-2</c:v>
                </c:pt>
                <c:pt idx="331" formatCode="General">
                  <c:v>3.3000000000000002E-2</c:v>
                </c:pt>
                <c:pt idx="332" formatCode="General">
                  <c:v>3.3000000000000002E-2</c:v>
                </c:pt>
                <c:pt idx="333" formatCode="General">
                  <c:v>3.7999999999999999E-2</c:v>
                </c:pt>
                <c:pt idx="334" formatCode="General">
                  <c:v>3.5499999999999997E-2</c:v>
                </c:pt>
                <c:pt idx="335" formatCode="General">
                  <c:v>3.7999999999999999E-2</c:v>
                </c:pt>
                <c:pt idx="336" formatCode="General">
                  <c:v>3.3000000000000002E-2</c:v>
                </c:pt>
                <c:pt idx="337" formatCode="General">
                  <c:v>3.04E-2</c:v>
                </c:pt>
                <c:pt idx="338" formatCode="General">
                  <c:v>3.3000000000000002E-2</c:v>
                </c:pt>
                <c:pt idx="339" formatCode="General">
                  <c:v>2.7900000000000001E-2</c:v>
                </c:pt>
                <c:pt idx="340" formatCode="General">
                  <c:v>3.04E-2</c:v>
                </c:pt>
                <c:pt idx="341" formatCode="General">
                  <c:v>2.0299999999999999E-2</c:v>
                </c:pt>
                <c:pt idx="342" formatCode="General">
                  <c:v>2.0299999999999999E-2</c:v>
                </c:pt>
                <c:pt idx="343" formatCode="General">
                  <c:v>2.53E-2</c:v>
                </c:pt>
                <c:pt idx="344" formatCode="General">
                  <c:v>2.2800000000000001E-2</c:v>
                </c:pt>
                <c:pt idx="345" formatCode="General">
                  <c:v>2.53E-2</c:v>
                </c:pt>
                <c:pt idx="346" formatCode="General">
                  <c:v>2.2800000000000001E-2</c:v>
                </c:pt>
                <c:pt idx="347" formatCode="General">
                  <c:v>2.53E-2</c:v>
                </c:pt>
                <c:pt idx="348" formatCode="General">
                  <c:v>3.04E-2</c:v>
                </c:pt>
                <c:pt idx="349" formatCode="General">
                  <c:v>3.3000000000000002E-2</c:v>
                </c:pt>
                <c:pt idx="350" formatCode="General">
                  <c:v>3.04E-2</c:v>
                </c:pt>
                <c:pt idx="351" formatCode="General">
                  <c:v>2.53E-2</c:v>
                </c:pt>
                <c:pt idx="352" formatCode="General">
                  <c:v>3.5499999999999997E-2</c:v>
                </c:pt>
                <c:pt idx="353" formatCode="General">
                  <c:v>4.0599999999999997E-2</c:v>
                </c:pt>
                <c:pt idx="354" formatCode="General">
                  <c:v>4.3099999999999999E-2</c:v>
                </c:pt>
                <c:pt idx="355" formatCode="General">
                  <c:v>4.5600000000000002E-2</c:v>
                </c:pt>
                <c:pt idx="356" formatCode="General">
                  <c:v>4.5600000000000002E-2</c:v>
                </c:pt>
                <c:pt idx="357" formatCode="General">
                  <c:v>4.0599999999999997E-2</c:v>
                </c:pt>
                <c:pt idx="358" formatCode="General">
                  <c:v>4.0599999999999997E-2</c:v>
                </c:pt>
                <c:pt idx="359" formatCode="General">
                  <c:v>3.5499999999999997E-2</c:v>
                </c:pt>
                <c:pt idx="360" formatCode="General">
                  <c:v>4.3099999999999999E-2</c:v>
                </c:pt>
                <c:pt idx="361" formatCode="General">
                  <c:v>4.0599999999999997E-2</c:v>
                </c:pt>
                <c:pt idx="362" formatCode="General">
                  <c:v>4.0599999999999997E-2</c:v>
                </c:pt>
                <c:pt idx="363" formatCode="General">
                  <c:v>4.3099999999999999E-2</c:v>
                </c:pt>
                <c:pt idx="364" formatCode="General">
                  <c:v>4.5600000000000002E-2</c:v>
                </c:pt>
                <c:pt idx="365" formatCode="General">
                  <c:v>5.0700000000000002E-2</c:v>
                </c:pt>
                <c:pt idx="366" formatCode="General">
                  <c:v>4.82E-2</c:v>
                </c:pt>
                <c:pt idx="367" formatCode="General">
                  <c:v>4.82E-2</c:v>
                </c:pt>
                <c:pt idx="368" formatCode="General">
                  <c:v>4.82E-2</c:v>
                </c:pt>
                <c:pt idx="369" formatCode="General">
                  <c:v>4.5600000000000002E-2</c:v>
                </c:pt>
                <c:pt idx="370" formatCode="General">
                  <c:v>4.82E-2</c:v>
                </c:pt>
                <c:pt idx="371" formatCode="General">
                  <c:v>4.0599999999999997E-2</c:v>
                </c:pt>
                <c:pt idx="372" formatCode="General">
                  <c:v>4.0599999999999997E-2</c:v>
                </c:pt>
                <c:pt idx="373" formatCode="General">
                  <c:v>4.0599999999999997E-2</c:v>
                </c:pt>
                <c:pt idx="374" formatCode="General">
                  <c:v>3.3000000000000002E-2</c:v>
                </c:pt>
                <c:pt idx="375" formatCode="General">
                  <c:v>3.7999999999999999E-2</c:v>
                </c:pt>
                <c:pt idx="376" formatCode="General">
                  <c:v>3.5499999999999997E-2</c:v>
                </c:pt>
                <c:pt idx="377" formatCode="General">
                  <c:v>3.7999999999999999E-2</c:v>
                </c:pt>
                <c:pt idx="378" formatCode="General">
                  <c:v>4.3099999999999999E-2</c:v>
                </c:pt>
                <c:pt idx="379" formatCode="General">
                  <c:v>4.3099999999999999E-2</c:v>
                </c:pt>
                <c:pt idx="380" formatCode="General">
                  <c:v>4.0599999999999997E-2</c:v>
                </c:pt>
                <c:pt idx="381" formatCode="General">
                  <c:v>4.3099999999999999E-2</c:v>
                </c:pt>
                <c:pt idx="382" formatCode="General">
                  <c:v>3.7999999999999999E-2</c:v>
                </c:pt>
                <c:pt idx="383" formatCode="General">
                  <c:v>4.0599999999999997E-2</c:v>
                </c:pt>
                <c:pt idx="384" formatCode="General">
                  <c:v>4.82E-2</c:v>
                </c:pt>
                <c:pt idx="385" formatCode="General">
                  <c:v>4.0599999999999997E-2</c:v>
                </c:pt>
                <c:pt idx="386" formatCode="General">
                  <c:v>4.0599999999999997E-2</c:v>
                </c:pt>
                <c:pt idx="387" formatCode="General">
                  <c:v>4.0599999999999997E-2</c:v>
                </c:pt>
                <c:pt idx="388" formatCode="General">
                  <c:v>5.3199999999999997E-2</c:v>
                </c:pt>
                <c:pt idx="389" formatCode="General">
                  <c:v>5.3199999999999997E-2</c:v>
                </c:pt>
                <c:pt idx="390" formatCode="General">
                  <c:v>3.7999999999999999E-2</c:v>
                </c:pt>
                <c:pt idx="391" formatCode="General">
                  <c:v>3.7999999999999999E-2</c:v>
                </c:pt>
                <c:pt idx="392" formatCode="General">
                  <c:v>4.5600000000000002E-2</c:v>
                </c:pt>
                <c:pt idx="393" formatCode="General">
                  <c:v>4.0599999999999997E-2</c:v>
                </c:pt>
                <c:pt idx="394" formatCode="General">
                  <c:v>3.5499999999999997E-2</c:v>
                </c:pt>
                <c:pt idx="395" formatCode="General">
                  <c:v>4.3099999999999999E-2</c:v>
                </c:pt>
                <c:pt idx="396" formatCode="General">
                  <c:v>3.7999999999999999E-2</c:v>
                </c:pt>
                <c:pt idx="397" formatCode="General">
                  <c:v>5.5800000000000002E-2</c:v>
                </c:pt>
                <c:pt idx="398" formatCode="General">
                  <c:v>5.8299999999999998E-2</c:v>
                </c:pt>
                <c:pt idx="399" formatCode="General">
                  <c:v>4.82E-2</c:v>
                </c:pt>
                <c:pt idx="400" formatCode="General">
                  <c:v>4.82E-2</c:v>
                </c:pt>
                <c:pt idx="401" formatCode="General">
                  <c:v>4.5600000000000002E-2</c:v>
                </c:pt>
                <c:pt idx="402" formatCode="General">
                  <c:v>3.7999999999999999E-2</c:v>
                </c:pt>
                <c:pt idx="403" formatCode="General">
                  <c:v>3.7999999999999999E-2</c:v>
                </c:pt>
                <c:pt idx="404" formatCode="General">
                  <c:v>3.04E-2</c:v>
                </c:pt>
                <c:pt idx="405" formatCode="General">
                  <c:v>3.04E-2</c:v>
                </c:pt>
                <c:pt idx="406" formatCode="General">
                  <c:v>3.7999999999999999E-2</c:v>
                </c:pt>
                <c:pt idx="407" formatCode="General">
                  <c:v>5.0700000000000002E-2</c:v>
                </c:pt>
                <c:pt idx="408" formatCode="General">
                  <c:v>5.8299999999999998E-2</c:v>
                </c:pt>
                <c:pt idx="409" formatCode="General">
                  <c:v>5.5800000000000002E-2</c:v>
                </c:pt>
                <c:pt idx="410" formatCode="General">
                  <c:v>5.5800000000000002E-2</c:v>
                </c:pt>
                <c:pt idx="411" formatCode="General">
                  <c:v>4.0599999999999997E-2</c:v>
                </c:pt>
                <c:pt idx="412" formatCode="General">
                  <c:v>4.3099999999999999E-2</c:v>
                </c:pt>
                <c:pt idx="413" formatCode="General">
                  <c:v>3.7999999999999999E-2</c:v>
                </c:pt>
                <c:pt idx="414" formatCode="General">
                  <c:v>3.04E-2</c:v>
                </c:pt>
                <c:pt idx="415" formatCode="General">
                  <c:v>3.04E-2</c:v>
                </c:pt>
                <c:pt idx="416" formatCode="General">
                  <c:v>5.3199999999999997E-2</c:v>
                </c:pt>
                <c:pt idx="417" formatCode="General">
                  <c:v>7.3499999999999996E-2</c:v>
                </c:pt>
                <c:pt idx="418" formatCode="General">
                  <c:v>8.3699999999999997E-2</c:v>
                </c:pt>
                <c:pt idx="419" formatCode="General">
                  <c:v>9.1300000000000006E-2</c:v>
                </c:pt>
                <c:pt idx="420" formatCode="General">
                  <c:v>9.1300000000000006E-2</c:v>
                </c:pt>
                <c:pt idx="421" formatCode="General">
                  <c:v>8.6199999999999999E-2</c:v>
                </c:pt>
                <c:pt idx="422" formatCode="General">
                  <c:v>0.109</c:v>
                </c:pt>
                <c:pt idx="423" formatCode="General">
                  <c:v>0.11409999999999999</c:v>
                </c:pt>
                <c:pt idx="424" formatCode="General">
                  <c:v>0.11409999999999999</c:v>
                </c:pt>
                <c:pt idx="425" formatCode="General">
                  <c:v>0.1116</c:v>
                </c:pt>
                <c:pt idx="426" formatCode="General">
                  <c:v>0.1116</c:v>
                </c:pt>
                <c:pt idx="427" formatCode="General">
                  <c:v>0.1242</c:v>
                </c:pt>
                <c:pt idx="428" formatCode="General">
                  <c:v>0.1648</c:v>
                </c:pt>
                <c:pt idx="429" formatCode="General">
                  <c:v>0.1648</c:v>
                </c:pt>
                <c:pt idx="430" formatCode="General">
                  <c:v>0.15970000000000001</c:v>
                </c:pt>
                <c:pt idx="431" formatCode="General">
                  <c:v>0.1547</c:v>
                </c:pt>
                <c:pt idx="432" formatCode="General">
                  <c:v>0.17749999999999999</c:v>
                </c:pt>
                <c:pt idx="433" formatCode="General">
                  <c:v>0.18509999999999999</c:v>
                </c:pt>
                <c:pt idx="434" formatCode="General">
                  <c:v>0.19020000000000001</c:v>
                </c:pt>
                <c:pt idx="435" formatCode="General">
                  <c:v>0.17499999999999999</c:v>
                </c:pt>
                <c:pt idx="436" formatCode="General">
                  <c:v>0.18</c:v>
                </c:pt>
                <c:pt idx="437" formatCode="General">
                  <c:v>0.19020000000000001</c:v>
                </c:pt>
                <c:pt idx="438" formatCode="General">
                  <c:v>0.18509999999999999</c:v>
                </c:pt>
                <c:pt idx="439" formatCode="General">
                  <c:v>0.19020000000000001</c:v>
                </c:pt>
                <c:pt idx="440" formatCode="General">
                  <c:v>0.22320000000000001</c:v>
                </c:pt>
                <c:pt idx="441" formatCode="General">
                  <c:v>0.21049999999999999</c:v>
                </c:pt>
                <c:pt idx="442" formatCode="General">
                  <c:v>0.26119999999999999</c:v>
                </c:pt>
                <c:pt idx="443" formatCode="General">
                  <c:v>0.26889999999999997</c:v>
                </c:pt>
                <c:pt idx="444" formatCode="General">
                  <c:v>0.37040000000000001</c:v>
                </c:pt>
                <c:pt idx="445" formatCode="General">
                  <c:v>0.33989999999999998</c:v>
                </c:pt>
                <c:pt idx="446" formatCode="General">
                  <c:v>0.3679</c:v>
                </c:pt>
                <c:pt idx="447" formatCode="General">
                  <c:v>0.38059999999999999</c:v>
                </c:pt>
                <c:pt idx="448" formatCode="General">
                  <c:v>0.36530000000000001</c:v>
                </c:pt>
                <c:pt idx="449" formatCode="General">
                  <c:v>0.33739999999999998</c:v>
                </c:pt>
                <c:pt idx="450" formatCode="General">
                  <c:v>0.3196</c:v>
                </c:pt>
                <c:pt idx="451" formatCode="General">
                  <c:v>0.3196</c:v>
                </c:pt>
                <c:pt idx="452" formatCode="General">
                  <c:v>0.32719999999999999</c:v>
                </c:pt>
                <c:pt idx="453" formatCode="General">
                  <c:v>0.34499999999999997</c:v>
                </c:pt>
                <c:pt idx="454" formatCode="General">
                  <c:v>0.3019</c:v>
                </c:pt>
                <c:pt idx="455" formatCode="General">
                  <c:v>0.29170000000000001</c:v>
                </c:pt>
                <c:pt idx="456" formatCode="General">
                  <c:v>0.29170000000000001</c:v>
                </c:pt>
                <c:pt idx="457" formatCode="General">
                  <c:v>0.3019</c:v>
                </c:pt>
                <c:pt idx="458" formatCode="General">
                  <c:v>0.32469999999999999</c:v>
                </c:pt>
                <c:pt idx="459" formatCode="General">
                  <c:v>0.32469999999999999</c:v>
                </c:pt>
                <c:pt idx="460" formatCode="General">
                  <c:v>0.3095</c:v>
                </c:pt>
                <c:pt idx="461" formatCode="General">
                  <c:v>0.312</c:v>
                </c:pt>
                <c:pt idx="462" formatCode="General">
                  <c:v>0.33989999999999998</c:v>
                </c:pt>
                <c:pt idx="463" formatCode="General">
                  <c:v>0.35770000000000002</c:v>
                </c:pt>
                <c:pt idx="464" formatCode="General">
                  <c:v>0.35770000000000002</c:v>
                </c:pt>
                <c:pt idx="465" formatCode="General">
                  <c:v>0.35520000000000002</c:v>
                </c:pt>
                <c:pt idx="466" formatCode="General">
                  <c:v>0.3805</c:v>
                </c:pt>
                <c:pt idx="467" formatCode="General">
                  <c:v>0.43390000000000001</c:v>
                </c:pt>
                <c:pt idx="468" formatCode="General">
                  <c:v>0.3831</c:v>
                </c:pt>
                <c:pt idx="469" formatCode="General">
                  <c:v>0.3755</c:v>
                </c:pt>
                <c:pt idx="470" formatCode="General">
                  <c:v>0.36530000000000001</c:v>
                </c:pt>
                <c:pt idx="471" formatCode="General">
                  <c:v>0.42630000000000001</c:v>
                </c:pt>
                <c:pt idx="472" formatCode="General">
                  <c:v>0.46689999999999998</c:v>
                </c:pt>
                <c:pt idx="473" formatCode="General">
                  <c:v>0.44409999999999999</c:v>
                </c:pt>
                <c:pt idx="474" formatCode="General">
                  <c:v>0.47199999999999998</c:v>
                </c:pt>
                <c:pt idx="475" formatCode="General">
                  <c:v>0.52029999999999998</c:v>
                </c:pt>
                <c:pt idx="476" formatCode="General">
                  <c:v>0.52790000000000004</c:v>
                </c:pt>
                <c:pt idx="477" formatCode="General">
                  <c:v>0.51780000000000004</c:v>
                </c:pt>
                <c:pt idx="478" formatCode="General">
                  <c:v>0.51780000000000004</c:v>
                </c:pt>
                <c:pt idx="479" formatCode="General">
                  <c:v>0.48220000000000002</c:v>
                </c:pt>
                <c:pt idx="480" formatCode="General">
                  <c:v>0.5101</c:v>
                </c:pt>
                <c:pt idx="481" formatCode="General">
                  <c:v>0.54310000000000003</c:v>
                </c:pt>
                <c:pt idx="482" formatCode="General">
                  <c:v>0.61939999999999995</c:v>
                </c:pt>
                <c:pt idx="483" formatCode="General">
                  <c:v>0.66010000000000002</c:v>
                </c:pt>
                <c:pt idx="484" formatCode="General">
                  <c:v>0.67030000000000001</c:v>
                </c:pt>
                <c:pt idx="485" formatCode="General">
                  <c:v>0.6804</c:v>
                </c:pt>
                <c:pt idx="486" formatCode="General">
                  <c:v>0.69310000000000005</c:v>
                </c:pt>
                <c:pt idx="487" formatCode="General">
                  <c:v>0.70340000000000003</c:v>
                </c:pt>
                <c:pt idx="488" formatCode="General">
                  <c:v>0.73640000000000005</c:v>
                </c:pt>
                <c:pt idx="489" formatCode="General">
                  <c:v>0.74909999999999999</c:v>
                </c:pt>
                <c:pt idx="490" formatCode="General">
                  <c:v>0.74909999999999999</c:v>
                </c:pt>
                <c:pt idx="491" formatCode="General">
                  <c:v>0.75919999999999999</c:v>
                </c:pt>
                <c:pt idx="492" formatCode="General">
                  <c:v>0.78990000000000005</c:v>
                </c:pt>
                <c:pt idx="493" formatCode="General">
                  <c:v>0.80769999999999997</c:v>
                </c:pt>
                <c:pt idx="494" formatCode="General">
                  <c:v>0.7873</c:v>
                </c:pt>
                <c:pt idx="495" formatCode="General">
                  <c:v>0.76690000000000003</c:v>
                </c:pt>
                <c:pt idx="496" formatCode="General">
                  <c:v>0.7923</c:v>
                </c:pt>
                <c:pt idx="497" formatCode="General">
                  <c:v>0.77969999999999995</c:v>
                </c:pt>
                <c:pt idx="498" formatCode="General">
                  <c:v>0.81530000000000002</c:v>
                </c:pt>
                <c:pt idx="499" formatCode="General">
                  <c:v>0.80259999999999998</c:v>
                </c:pt>
                <c:pt idx="500" formatCode="General">
                  <c:v>0.82289999999999996</c:v>
                </c:pt>
                <c:pt idx="501" formatCode="General">
                  <c:v>0.76939999999999997</c:v>
                </c:pt>
                <c:pt idx="502" formatCode="General">
                  <c:v>0.89419999999999999</c:v>
                </c:pt>
                <c:pt idx="503" formatCode="General">
                  <c:v>0.85089999999999999</c:v>
                </c:pt>
                <c:pt idx="504" formatCode="General">
                  <c:v>0.81020000000000003</c:v>
                </c:pt>
                <c:pt idx="505" formatCode="General">
                  <c:v>0.81269999999999998</c:v>
                </c:pt>
                <c:pt idx="506" formatCode="General">
                  <c:v>0.79990000000000006</c:v>
                </c:pt>
                <c:pt idx="507" formatCode="General">
                  <c:v>0.87639999999999996</c:v>
                </c:pt>
                <c:pt idx="508" formatCode="General">
                  <c:v>0.88660000000000005</c:v>
                </c:pt>
                <c:pt idx="509" formatCode="General">
                  <c:v>0.92730000000000001</c:v>
                </c:pt>
                <c:pt idx="510" formatCode="General">
                  <c:v>0.9425</c:v>
                </c:pt>
                <c:pt idx="511" formatCode="General">
                  <c:v>0.98070000000000002</c:v>
                </c:pt>
                <c:pt idx="512" formatCode="General">
                  <c:v>1.0394000000000001</c:v>
                </c:pt>
                <c:pt idx="513" formatCode="General">
                  <c:v>0.99860000000000004</c:v>
                </c:pt>
                <c:pt idx="514" formatCode="General">
                  <c:v>0.98329999999999995</c:v>
                </c:pt>
                <c:pt idx="515" formatCode="General">
                  <c:v>1.0086999999999999</c:v>
                </c:pt>
                <c:pt idx="516" formatCode="General">
                  <c:v>0.98580000000000001</c:v>
                </c:pt>
                <c:pt idx="517" formatCode="General">
                  <c:v>1.0394000000000001</c:v>
                </c:pt>
                <c:pt idx="518" formatCode="General">
                  <c:v>1.0394000000000001</c:v>
                </c:pt>
                <c:pt idx="519" formatCode="General">
                  <c:v>1.0317000000000001</c:v>
                </c:pt>
                <c:pt idx="520" formatCode="General">
                  <c:v>1.0316000000000001</c:v>
                </c:pt>
                <c:pt idx="521" formatCode="General">
                  <c:v>1.0316000000000001</c:v>
                </c:pt>
                <c:pt idx="522" formatCode="General">
                  <c:v>1.0391999999999999</c:v>
                </c:pt>
                <c:pt idx="523" formatCode="General">
                  <c:v>1.1157999999999999</c:v>
                </c:pt>
                <c:pt idx="524" formatCode="General">
                  <c:v>1.1157999999999999</c:v>
                </c:pt>
                <c:pt idx="525" formatCode="General">
                  <c:v>1.131</c:v>
                </c:pt>
                <c:pt idx="526" formatCode="General">
                  <c:v>1.1819</c:v>
                </c:pt>
                <c:pt idx="527" formatCode="General">
                  <c:v>1.2459</c:v>
                </c:pt>
                <c:pt idx="528" formatCode="General">
                  <c:v>1.2357</c:v>
                </c:pt>
                <c:pt idx="529" formatCode="General">
                  <c:v>1.2535000000000001</c:v>
                </c:pt>
                <c:pt idx="530" formatCode="General">
                  <c:v>1.3018000000000001</c:v>
                </c:pt>
                <c:pt idx="531" formatCode="General">
                  <c:v>1.534</c:v>
                </c:pt>
                <c:pt idx="532" formatCode="General">
                  <c:v>1.7337</c:v>
                </c:pt>
                <c:pt idx="533" formatCode="General">
                  <c:v>1.5879000000000001</c:v>
                </c:pt>
                <c:pt idx="534" formatCode="General">
                  <c:v>1.4907999999999999</c:v>
                </c:pt>
                <c:pt idx="535" formatCode="General">
                  <c:v>1.5646</c:v>
                </c:pt>
                <c:pt idx="536" formatCode="General">
                  <c:v>1.5646</c:v>
                </c:pt>
                <c:pt idx="537" formatCode="General">
                  <c:v>1.5185999999999999</c:v>
                </c:pt>
                <c:pt idx="538" formatCode="General">
                  <c:v>1.5266</c:v>
                </c:pt>
                <c:pt idx="539" formatCode="General">
                  <c:v>1.57</c:v>
                </c:pt>
                <c:pt idx="540" formatCode="General">
                  <c:v>1.6311</c:v>
                </c:pt>
                <c:pt idx="541" formatCode="General">
                  <c:v>1.6412</c:v>
                </c:pt>
                <c:pt idx="542" formatCode="General">
                  <c:v>1.7030000000000001</c:v>
                </c:pt>
                <c:pt idx="543" formatCode="General">
                  <c:v>1.6748000000000001</c:v>
                </c:pt>
                <c:pt idx="544" formatCode="General">
                  <c:v>1.6262000000000001</c:v>
                </c:pt>
              </c:numCache>
            </c:numRef>
          </c:val>
          <c:smooth val="0"/>
          <c:extLst>
            <c:ext xmlns:c16="http://schemas.microsoft.com/office/drawing/2014/chart" uri="{C3380CC4-5D6E-409C-BE32-E72D297353CC}">
              <c16:uniqueId val="{00000000-C445-4BF4-9A71-12C3A7EB8C40}"/>
            </c:ext>
          </c:extLst>
        </c:ser>
        <c:ser>
          <c:idx val="1"/>
          <c:order val="1"/>
          <c:tx>
            <c:strRef>
              <c:f>Sheet1!$C$1</c:f>
              <c:strCache>
                <c:ptCount val="1"/>
                <c:pt idx="0">
                  <c:v>6-Month Agency Discount Note</c:v>
                </c:pt>
              </c:strCache>
            </c:strRef>
          </c:tx>
          <c:spPr>
            <a:ln w="25400">
              <a:solidFill>
                <a:srgbClr val="7A9A3D"/>
              </a:solidFill>
            </a:ln>
          </c:spPr>
          <c:marker>
            <c:symbol val="none"/>
          </c:marker>
          <c:cat>
            <c:numRef>
              <c:f>Sheet1!$A$632:$A$1176</c:f>
              <c:numCache>
                <c:formatCode>m/d/yyyy</c:formatCode>
                <c:ptCount val="545"/>
                <c:pt idx="0">
                  <c:v>43980</c:v>
                </c:pt>
                <c:pt idx="1">
                  <c:v>43983</c:v>
                </c:pt>
                <c:pt idx="2">
                  <c:v>43984</c:v>
                </c:pt>
                <c:pt idx="3">
                  <c:v>43985</c:v>
                </c:pt>
                <c:pt idx="4">
                  <c:v>43986</c:v>
                </c:pt>
                <c:pt idx="5">
                  <c:v>43987</c:v>
                </c:pt>
                <c:pt idx="6">
                  <c:v>43990</c:v>
                </c:pt>
                <c:pt idx="7">
                  <c:v>43991</c:v>
                </c:pt>
                <c:pt idx="8">
                  <c:v>43992</c:v>
                </c:pt>
                <c:pt idx="9">
                  <c:v>43993</c:v>
                </c:pt>
                <c:pt idx="10">
                  <c:v>43994</c:v>
                </c:pt>
                <c:pt idx="11">
                  <c:v>43997</c:v>
                </c:pt>
                <c:pt idx="12">
                  <c:v>43998</c:v>
                </c:pt>
                <c:pt idx="13">
                  <c:v>43999</c:v>
                </c:pt>
                <c:pt idx="14">
                  <c:v>44000</c:v>
                </c:pt>
                <c:pt idx="15">
                  <c:v>44001</c:v>
                </c:pt>
                <c:pt idx="16">
                  <c:v>44004</c:v>
                </c:pt>
                <c:pt idx="17">
                  <c:v>44005</c:v>
                </c:pt>
                <c:pt idx="18">
                  <c:v>44006</c:v>
                </c:pt>
                <c:pt idx="19">
                  <c:v>44007</c:v>
                </c:pt>
                <c:pt idx="20">
                  <c:v>44008</c:v>
                </c:pt>
                <c:pt idx="21">
                  <c:v>44011</c:v>
                </c:pt>
                <c:pt idx="22">
                  <c:v>44012</c:v>
                </c:pt>
                <c:pt idx="23">
                  <c:v>44013</c:v>
                </c:pt>
                <c:pt idx="24">
                  <c:v>44014</c:v>
                </c:pt>
                <c:pt idx="25">
                  <c:v>44015</c:v>
                </c:pt>
                <c:pt idx="26">
                  <c:v>44018</c:v>
                </c:pt>
                <c:pt idx="27">
                  <c:v>44019</c:v>
                </c:pt>
                <c:pt idx="28">
                  <c:v>44020</c:v>
                </c:pt>
                <c:pt idx="29">
                  <c:v>44021</c:v>
                </c:pt>
                <c:pt idx="30">
                  <c:v>44022</c:v>
                </c:pt>
                <c:pt idx="31">
                  <c:v>44025</c:v>
                </c:pt>
                <c:pt idx="32">
                  <c:v>44026</c:v>
                </c:pt>
                <c:pt idx="33">
                  <c:v>44027</c:v>
                </c:pt>
                <c:pt idx="34">
                  <c:v>44028</c:v>
                </c:pt>
                <c:pt idx="35">
                  <c:v>44029</c:v>
                </c:pt>
                <c:pt idx="36">
                  <c:v>44032</c:v>
                </c:pt>
                <c:pt idx="37">
                  <c:v>44033</c:v>
                </c:pt>
                <c:pt idx="38">
                  <c:v>44034</c:v>
                </c:pt>
                <c:pt idx="39">
                  <c:v>44035</c:v>
                </c:pt>
                <c:pt idx="40">
                  <c:v>44036</c:v>
                </c:pt>
                <c:pt idx="41">
                  <c:v>44039</c:v>
                </c:pt>
                <c:pt idx="42">
                  <c:v>44040</c:v>
                </c:pt>
                <c:pt idx="43">
                  <c:v>44041</c:v>
                </c:pt>
                <c:pt idx="44">
                  <c:v>44042</c:v>
                </c:pt>
                <c:pt idx="45">
                  <c:v>44043</c:v>
                </c:pt>
                <c:pt idx="46">
                  <c:v>44046</c:v>
                </c:pt>
                <c:pt idx="47">
                  <c:v>44047</c:v>
                </c:pt>
                <c:pt idx="48">
                  <c:v>44048</c:v>
                </c:pt>
                <c:pt idx="49">
                  <c:v>44049</c:v>
                </c:pt>
                <c:pt idx="50">
                  <c:v>44050</c:v>
                </c:pt>
                <c:pt idx="51">
                  <c:v>44053</c:v>
                </c:pt>
                <c:pt idx="52">
                  <c:v>44054</c:v>
                </c:pt>
                <c:pt idx="53">
                  <c:v>44055</c:v>
                </c:pt>
                <c:pt idx="54">
                  <c:v>44056</c:v>
                </c:pt>
                <c:pt idx="55">
                  <c:v>44057</c:v>
                </c:pt>
                <c:pt idx="56">
                  <c:v>44060</c:v>
                </c:pt>
                <c:pt idx="57">
                  <c:v>44061</c:v>
                </c:pt>
                <c:pt idx="58">
                  <c:v>44062</c:v>
                </c:pt>
                <c:pt idx="59">
                  <c:v>44063</c:v>
                </c:pt>
                <c:pt idx="60">
                  <c:v>44064</c:v>
                </c:pt>
                <c:pt idx="61">
                  <c:v>44067</c:v>
                </c:pt>
                <c:pt idx="62">
                  <c:v>44068</c:v>
                </c:pt>
                <c:pt idx="63">
                  <c:v>44069</c:v>
                </c:pt>
                <c:pt idx="64">
                  <c:v>44070</c:v>
                </c:pt>
                <c:pt idx="65">
                  <c:v>44071</c:v>
                </c:pt>
                <c:pt idx="66">
                  <c:v>44074</c:v>
                </c:pt>
                <c:pt idx="67">
                  <c:v>44075</c:v>
                </c:pt>
                <c:pt idx="68">
                  <c:v>44076</c:v>
                </c:pt>
                <c:pt idx="69">
                  <c:v>44077</c:v>
                </c:pt>
                <c:pt idx="70">
                  <c:v>44078</c:v>
                </c:pt>
                <c:pt idx="71">
                  <c:v>44081</c:v>
                </c:pt>
                <c:pt idx="72">
                  <c:v>44082</c:v>
                </c:pt>
                <c:pt idx="73">
                  <c:v>44083</c:v>
                </c:pt>
                <c:pt idx="74">
                  <c:v>44084</c:v>
                </c:pt>
                <c:pt idx="75">
                  <c:v>44085</c:v>
                </c:pt>
                <c:pt idx="76">
                  <c:v>44088</c:v>
                </c:pt>
                <c:pt idx="77">
                  <c:v>44089</c:v>
                </c:pt>
                <c:pt idx="78">
                  <c:v>44090</c:v>
                </c:pt>
                <c:pt idx="79">
                  <c:v>44091</c:v>
                </c:pt>
                <c:pt idx="80">
                  <c:v>44092</c:v>
                </c:pt>
                <c:pt idx="81">
                  <c:v>44095</c:v>
                </c:pt>
                <c:pt idx="82">
                  <c:v>44096</c:v>
                </c:pt>
                <c:pt idx="83">
                  <c:v>44097</c:v>
                </c:pt>
                <c:pt idx="84">
                  <c:v>44098</c:v>
                </c:pt>
                <c:pt idx="85">
                  <c:v>44099</c:v>
                </c:pt>
                <c:pt idx="86">
                  <c:v>44102</c:v>
                </c:pt>
                <c:pt idx="87">
                  <c:v>44103</c:v>
                </c:pt>
                <c:pt idx="88">
                  <c:v>44104</c:v>
                </c:pt>
                <c:pt idx="89">
                  <c:v>44105</c:v>
                </c:pt>
                <c:pt idx="90">
                  <c:v>44106</c:v>
                </c:pt>
                <c:pt idx="91">
                  <c:v>44109</c:v>
                </c:pt>
                <c:pt idx="92">
                  <c:v>44110</c:v>
                </c:pt>
                <c:pt idx="93">
                  <c:v>44111</c:v>
                </c:pt>
                <c:pt idx="94">
                  <c:v>44112</c:v>
                </c:pt>
                <c:pt idx="95">
                  <c:v>44113</c:v>
                </c:pt>
                <c:pt idx="96">
                  <c:v>44116</c:v>
                </c:pt>
                <c:pt idx="97">
                  <c:v>44117</c:v>
                </c:pt>
                <c:pt idx="98">
                  <c:v>44118</c:v>
                </c:pt>
                <c:pt idx="99">
                  <c:v>44119</c:v>
                </c:pt>
                <c:pt idx="100">
                  <c:v>44120</c:v>
                </c:pt>
                <c:pt idx="101">
                  <c:v>44123</c:v>
                </c:pt>
                <c:pt idx="102">
                  <c:v>44124</c:v>
                </c:pt>
                <c:pt idx="103">
                  <c:v>44125</c:v>
                </c:pt>
                <c:pt idx="104">
                  <c:v>44126</c:v>
                </c:pt>
                <c:pt idx="105">
                  <c:v>44127</c:v>
                </c:pt>
                <c:pt idx="106">
                  <c:v>44130</c:v>
                </c:pt>
                <c:pt idx="107">
                  <c:v>44131</c:v>
                </c:pt>
                <c:pt idx="108">
                  <c:v>44132</c:v>
                </c:pt>
                <c:pt idx="109">
                  <c:v>44133</c:v>
                </c:pt>
                <c:pt idx="110">
                  <c:v>44134</c:v>
                </c:pt>
                <c:pt idx="111">
                  <c:v>44137</c:v>
                </c:pt>
                <c:pt idx="112">
                  <c:v>44138</c:v>
                </c:pt>
                <c:pt idx="113">
                  <c:v>44139</c:v>
                </c:pt>
                <c:pt idx="114">
                  <c:v>44140</c:v>
                </c:pt>
                <c:pt idx="115">
                  <c:v>44141</c:v>
                </c:pt>
                <c:pt idx="116">
                  <c:v>44144</c:v>
                </c:pt>
                <c:pt idx="117">
                  <c:v>44145</c:v>
                </c:pt>
                <c:pt idx="118">
                  <c:v>44146</c:v>
                </c:pt>
                <c:pt idx="119">
                  <c:v>44147</c:v>
                </c:pt>
                <c:pt idx="120">
                  <c:v>44148</c:v>
                </c:pt>
                <c:pt idx="121">
                  <c:v>44151</c:v>
                </c:pt>
                <c:pt idx="122">
                  <c:v>44152</c:v>
                </c:pt>
                <c:pt idx="123">
                  <c:v>44153</c:v>
                </c:pt>
                <c:pt idx="124">
                  <c:v>44154</c:v>
                </c:pt>
                <c:pt idx="125">
                  <c:v>44155</c:v>
                </c:pt>
                <c:pt idx="126">
                  <c:v>44158</c:v>
                </c:pt>
                <c:pt idx="127">
                  <c:v>44159</c:v>
                </c:pt>
                <c:pt idx="128">
                  <c:v>44160</c:v>
                </c:pt>
                <c:pt idx="129">
                  <c:v>44161</c:v>
                </c:pt>
                <c:pt idx="130">
                  <c:v>44162</c:v>
                </c:pt>
                <c:pt idx="131">
                  <c:v>44165</c:v>
                </c:pt>
                <c:pt idx="132">
                  <c:v>44166</c:v>
                </c:pt>
                <c:pt idx="133">
                  <c:v>44167</c:v>
                </c:pt>
                <c:pt idx="134">
                  <c:v>44168</c:v>
                </c:pt>
                <c:pt idx="135">
                  <c:v>44169</c:v>
                </c:pt>
                <c:pt idx="136">
                  <c:v>44172</c:v>
                </c:pt>
                <c:pt idx="137">
                  <c:v>44173</c:v>
                </c:pt>
                <c:pt idx="138">
                  <c:v>44174</c:v>
                </c:pt>
                <c:pt idx="139">
                  <c:v>44175</c:v>
                </c:pt>
                <c:pt idx="140">
                  <c:v>44176</c:v>
                </c:pt>
                <c:pt idx="141">
                  <c:v>44179</c:v>
                </c:pt>
                <c:pt idx="142">
                  <c:v>44180</c:v>
                </c:pt>
                <c:pt idx="143">
                  <c:v>44181</c:v>
                </c:pt>
                <c:pt idx="144">
                  <c:v>44182</c:v>
                </c:pt>
                <c:pt idx="145">
                  <c:v>44183</c:v>
                </c:pt>
                <c:pt idx="146">
                  <c:v>44186</c:v>
                </c:pt>
                <c:pt idx="147">
                  <c:v>44187</c:v>
                </c:pt>
                <c:pt idx="148">
                  <c:v>44188</c:v>
                </c:pt>
                <c:pt idx="149">
                  <c:v>44189</c:v>
                </c:pt>
                <c:pt idx="150">
                  <c:v>44190</c:v>
                </c:pt>
                <c:pt idx="151">
                  <c:v>44193</c:v>
                </c:pt>
                <c:pt idx="152">
                  <c:v>44194</c:v>
                </c:pt>
                <c:pt idx="153">
                  <c:v>44195</c:v>
                </c:pt>
                <c:pt idx="154">
                  <c:v>44196</c:v>
                </c:pt>
                <c:pt idx="155">
                  <c:v>44197</c:v>
                </c:pt>
                <c:pt idx="156">
                  <c:v>44200</c:v>
                </c:pt>
                <c:pt idx="157">
                  <c:v>44201</c:v>
                </c:pt>
                <c:pt idx="158">
                  <c:v>44202</c:v>
                </c:pt>
                <c:pt idx="159">
                  <c:v>44203</c:v>
                </c:pt>
                <c:pt idx="160">
                  <c:v>44204</c:v>
                </c:pt>
                <c:pt idx="161">
                  <c:v>44207</c:v>
                </c:pt>
                <c:pt idx="162">
                  <c:v>44208</c:v>
                </c:pt>
                <c:pt idx="163">
                  <c:v>44209</c:v>
                </c:pt>
                <c:pt idx="164">
                  <c:v>44210</c:v>
                </c:pt>
                <c:pt idx="165">
                  <c:v>44211</c:v>
                </c:pt>
                <c:pt idx="166">
                  <c:v>44214</c:v>
                </c:pt>
                <c:pt idx="167">
                  <c:v>44215</c:v>
                </c:pt>
                <c:pt idx="168">
                  <c:v>44216</c:v>
                </c:pt>
                <c:pt idx="169">
                  <c:v>44217</c:v>
                </c:pt>
                <c:pt idx="170">
                  <c:v>44218</c:v>
                </c:pt>
                <c:pt idx="171">
                  <c:v>44221</c:v>
                </c:pt>
                <c:pt idx="172">
                  <c:v>44222</c:v>
                </c:pt>
                <c:pt idx="173">
                  <c:v>44223</c:v>
                </c:pt>
                <c:pt idx="174">
                  <c:v>44224</c:v>
                </c:pt>
                <c:pt idx="175">
                  <c:v>44225</c:v>
                </c:pt>
                <c:pt idx="176">
                  <c:v>44228</c:v>
                </c:pt>
                <c:pt idx="177">
                  <c:v>44229</c:v>
                </c:pt>
                <c:pt idx="178">
                  <c:v>44230</c:v>
                </c:pt>
                <c:pt idx="179">
                  <c:v>44231</c:v>
                </c:pt>
                <c:pt idx="180">
                  <c:v>44232</c:v>
                </c:pt>
                <c:pt idx="181">
                  <c:v>44235</c:v>
                </c:pt>
                <c:pt idx="182">
                  <c:v>44236</c:v>
                </c:pt>
                <c:pt idx="183">
                  <c:v>44237</c:v>
                </c:pt>
                <c:pt idx="184">
                  <c:v>44238</c:v>
                </c:pt>
                <c:pt idx="185">
                  <c:v>44239</c:v>
                </c:pt>
                <c:pt idx="186">
                  <c:v>44242</c:v>
                </c:pt>
                <c:pt idx="187">
                  <c:v>44243</c:v>
                </c:pt>
                <c:pt idx="188">
                  <c:v>44244</c:v>
                </c:pt>
                <c:pt idx="189">
                  <c:v>44245</c:v>
                </c:pt>
                <c:pt idx="190">
                  <c:v>44246</c:v>
                </c:pt>
                <c:pt idx="191">
                  <c:v>44249</c:v>
                </c:pt>
                <c:pt idx="192">
                  <c:v>44250</c:v>
                </c:pt>
                <c:pt idx="193">
                  <c:v>44251</c:v>
                </c:pt>
                <c:pt idx="194">
                  <c:v>44252</c:v>
                </c:pt>
                <c:pt idx="195">
                  <c:v>44253</c:v>
                </c:pt>
                <c:pt idx="196">
                  <c:v>44256</c:v>
                </c:pt>
                <c:pt idx="197">
                  <c:v>44257</c:v>
                </c:pt>
                <c:pt idx="198">
                  <c:v>44258</c:v>
                </c:pt>
                <c:pt idx="199">
                  <c:v>44259</c:v>
                </c:pt>
                <c:pt idx="200">
                  <c:v>44260</c:v>
                </c:pt>
                <c:pt idx="201">
                  <c:v>44263</c:v>
                </c:pt>
                <c:pt idx="202">
                  <c:v>44264</c:v>
                </c:pt>
                <c:pt idx="203">
                  <c:v>44265</c:v>
                </c:pt>
                <c:pt idx="204">
                  <c:v>44266</c:v>
                </c:pt>
                <c:pt idx="205">
                  <c:v>44267</c:v>
                </c:pt>
                <c:pt idx="206">
                  <c:v>44270</c:v>
                </c:pt>
                <c:pt idx="207">
                  <c:v>44271</c:v>
                </c:pt>
                <c:pt idx="208">
                  <c:v>44272</c:v>
                </c:pt>
                <c:pt idx="209">
                  <c:v>44273</c:v>
                </c:pt>
                <c:pt idx="210">
                  <c:v>44274</c:v>
                </c:pt>
                <c:pt idx="211">
                  <c:v>44277</c:v>
                </c:pt>
                <c:pt idx="212">
                  <c:v>44278</c:v>
                </c:pt>
                <c:pt idx="213">
                  <c:v>44279</c:v>
                </c:pt>
                <c:pt idx="214">
                  <c:v>44280</c:v>
                </c:pt>
                <c:pt idx="215">
                  <c:v>44281</c:v>
                </c:pt>
                <c:pt idx="216">
                  <c:v>44284</c:v>
                </c:pt>
                <c:pt idx="217">
                  <c:v>44285</c:v>
                </c:pt>
                <c:pt idx="218">
                  <c:v>44286</c:v>
                </c:pt>
                <c:pt idx="219">
                  <c:v>44287</c:v>
                </c:pt>
                <c:pt idx="220">
                  <c:v>44288</c:v>
                </c:pt>
                <c:pt idx="221">
                  <c:v>44291</c:v>
                </c:pt>
                <c:pt idx="222">
                  <c:v>44292</c:v>
                </c:pt>
                <c:pt idx="223">
                  <c:v>44293</c:v>
                </c:pt>
                <c:pt idx="224">
                  <c:v>44294</c:v>
                </c:pt>
                <c:pt idx="225">
                  <c:v>44295</c:v>
                </c:pt>
                <c:pt idx="226">
                  <c:v>44298</c:v>
                </c:pt>
                <c:pt idx="227">
                  <c:v>44299</c:v>
                </c:pt>
                <c:pt idx="228">
                  <c:v>44300</c:v>
                </c:pt>
                <c:pt idx="229">
                  <c:v>44301</c:v>
                </c:pt>
                <c:pt idx="230">
                  <c:v>44302</c:v>
                </c:pt>
                <c:pt idx="231">
                  <c:v>44305</c:v>
                </c:pt>
                <c:pt idx="232">
                  <c:v>44306</c:v>
                </c:pt>
                <c:pt idx="233">
                  <c:v>44307</c:v>
                </c:pt>
                <c:pt idx="234">
                  <c:v>44308</c:v>
                </c:pt>
                <c:pt idx="235">
                  <c:v>44309</c:v>
                </c:pt>
                <c:pt idx="236">
                  <c:v>44312</c:v>
                </c:pt>
                <c:pt idx="237">
                  <c:v>44313</c:v>
                </c:pt>
                <c:pt idx="238">
                  <c:v>44314</c:v>
                </c:pt>
                <c:pt idx="239">
                  <c:v>44315</c:v>
                </c:pt>
                <c:pt idx="240">
                  <c:v>44316</c:v>
                </c:pt>
                <c:pt idx="241">
                  <c:v>44319</c:v>
                </c:pt>
                <c:pt idx="242">
                  <c:v>44320</c:v>
                </c:pt>
                <c:pt idx="243">
                  <c:v>44321</c:v>
                </c:pt>
                <c:pt idx="244">
                  <c:v>44322</c:v>
                </c:pt>
                <c:pt idx="245">
                  <c:v>44323</c:v>
                </c:pt>
                <c:pt idx="246">
                  <c:v>44326</c:v>
                </c:pt>
                <c:pt idx="247">
                  <c:v>44327</c:v>
                </c:pt>
                <c:pt idx="248">
                  <c:v>44328</c:v>
                </c:pt>
                <c:pt idx="249">
                  <c:v>44329</c:v>
                </c:pt>
                <c:pt idx="250">
                  <c:v>44330</c:v>
                </c:pt>
                <c:pt idx="251">
                  <c:v>44333</c:v>
                </c:pt>
                <c:pt idx="252">
                  <c:v>44334</c:v>
                </c:pt>
                <c:pt idx="253">
                  <c:v>44335</c:v>
                </c:pt>
                <c:pt idx="254">
                  <c:v>44336</c:v>
                </c:pt>
                <c:pt idx="255">
                  <c:v>44337</c:v>
                </c:pt>
                <c:pt idx="256">
                  <c:v>44340</c:v>
                </c:pt>
                <c:pt idx="257">
                  <c:v>44341</c:v>
                </c:pt>
                <c:pt idx="258">
                  <c:v>44342</c:v>
                </c:pt>
                <c:pt idx="259">
                  <c:v>44343</c:v>
                </c:pt>
                <c:pt idx="260">
                  <c:v>44344</c:v>
                </c:pt>
                <c:pt idx="261">
                  <c:v>44347</c:v>
                </c:pt>
                <c:pt idx="262">
                  <c:v>44348</c:v>
                </c:pt>
                <c:pt idx="263">
                  <c:v>44349</c:v>
                </c:pt>
                <c:pt idx="264">
                  <c:v>44350</c:v>
                </c:pt>
                <c:pt idx="265">
                  <c:v>44351</c:v>
                </c:pt>
                <c:pt idx="266">
                  <c:v>44354</c:v>
                </c:pt>
                <c:pt idx="267">
                  <c:v>44355</c:v>
                </c:pt>
                <c:pt idx="268">
                  <c:v>44356</c:v>
                </c:pt>
                <c:pt idx="269">
                  <c:v>44357</c:v>
                </c:pt>
                <c:pt idx="270">
                  <c:v>44358</c:v>
                </c:pt>
                <c:pt idx="271">
                  <c:v>44361</c:v>
                </c:pt>
                <c:pt idx="272">
                  <c:v>44362</c:v>
                </c:pt>
                <c:pt idx="273">
                  <c:v>44363</c:v>
                </c:pt>
                <c:pt idx="274">
                  <c:v>44364</c:v>
                </c:pt>
                <c:pt idx="275">
                  <c:v>44365</c:v>
                </c:pt>
                <c:pt idx="276">
                  <c:v>44368</c:v>
                </c:pt>
                <c:pt idx="277">
                  <c:v>44369</c:v>
                </c:pt>
                <c:pt idx="278">
                  <c:v>44370</c:v>
                </c:pt>
                <c:pt idx="279">
                  <c:v>44371</c:v>
                </c:pt>
                <c:pt idx="280">
                  <c:v>44372</c:v>
                </c:pt>
                <c:pt idx="281">
                  <c:v>44375</c:v>
                </c:pt>
                <c:pt idx="282">
                  <c:v>44376</c:v>
                </c:pt>
                <c:pt idx="283">
                  <c:v>44377</c:v>
                </c:pt>
                <c:pt idx="284">
                  <c:v>44378</c:v>
                </c:pt>
                <c:pt idx="285">
                  <c:v>44379</c:v>
                </c:pt>
                <c:pt idx="286">
                  <c:v>44382</c:v>
                </c:pt>
                <c:pt idx="287">
                  <c:v>44383</c:v>
                </c:pt>
                <c:pt idx="288">
                  <c:v>44384</c:v>
                </c:pt>
                <c:pt idx="289">
                  <c:v>44385</c:v>
                </c:pt>
                <c:pt idx="290">
                  <c:v>44386</c:v>
                </c:pt>
                <c:pt idx="291">
                  <c:v>44389</c:v>
                </c:pt>
                <c:pt idx="292">
                  <c:v>44390</c:v>
                </c:pt>
                <c:pt idx="293">
                  <c:v>44391</c:v>
                </c:pt>
                <c:pt idx="294">
                  <c:v>44392</c:v>
                </c:pt>
                <c:pt idx="295">
                  <c:v>44393</c:v>
                </c:pt>
                <c:pt idx="296">
                  <c:v>44396</c:v>
                </c:pt>
                <c:pt idx="297">
                  <c:v>44397</c:v>
                </c:pt>
                <c:pt idx="298">
                  <c:v>44398</c:v>
                </c:pt>
                <c:pt idx="299">
                  <c:v>44399</c:v>
                </c:pt>
                <c:pt idx="300">
                  <c:v>44400</c:v>
                </c:pt>
                <c:pt idx="301">
                  <c:v>44403</c:v>
                </c:pt>
                <c:pt idx="302">
                  <c:v>44404</c:v>
                </c:pt>
                <c:pt idx="303">
                  <c:v>44405</c:v>
                </c:pt>
                <c:pt idx="304">
                  <c:v>44406</c:v>
                </c:pt>
                <c:pt idx="305">
                  <c:v>44407</c:v>
                </c:pt>
                <c:pt idx="306">
                  <c:v>44410</c:v>
                </c:pt>
                <c:pt idx="307">
                  <c:v>44411</c:v>
                </c:pt>
                <c:pt idx="308">
                  <c:v>44412</c:v>
                </c:pt>
                <c:pt idx="309">
                  <c:v>44413</c:v>
                </c:pt>
                <c:pt idx="310">
                  <c:v>44414</c:v>
                </c:pt>
                <c:pt idx="311">
                  <c:v>44417</c:v>
                </c:pt>
                <c:pt idx="312">
                  <c:v>44418</c:v>
                </c:pt>
                <c:pt idx="313">
                  <c:v>44419</c:v>
                </c:pt>
                <c:pt idx="314">
                  <c:v>44420</c:v>
                </c:pt>
                <c:pt idx="315">
                  <c:v>44421</c:v>
                </c:pt>
                <c:pt idx="316">
                  <c:v>44424</c:v>
                </c:pt>
                <c:pt idx="317">
                  <c:v>44425</c:v>
                </c:pt>
                <c:pt idx="318">
                  <c:v>44426</c:v>
                </c:pt>
                <c:pt idx="319">
                  <c:v>44427</c:v>
                </c:pt>
                <c:pt idx="320">
                  <c:v>44428</c:v>
                </c:pt>
                <c:pt idx="321">
                  <c:v>44431</c:v>
                </c:pt>
                <c:pt idx="322">
                  <c:v>44432</c:v>
                </c:pt>
                <c:pt idx="323">
                  <c:v>44433</c:v>
                </c:pt>
                <c:pt idx="324">
                  <c:v>44434</c:v>
                </c:pt>
                <c:pt idx="325">
                  <c:v>44435</c:v>
                </c:pt>
                <c:pt idx="326">
                  <c:v>44438</c:v>
                </c:pt>
                <c:pt idx="327">
                  <c:v>44439</c:v>
                </c:pt>
                <c:pt idx="328">
                  <c:v>44440</c:v>
                </c:pt>
                <c:pt idx="329">
                  <c:v>44441</c:v>
                </c:pt>
                <c:pt idx="330">
                  <c:v>44442</c:v>
                </c:pt>
                <c:pt idx="331">
                  <c:v>44445</c:v>
                </c:pt>
                <c:pt idx="332">
                  <c:v>44446</c:v>
                </c:pt>
                <c:pt idx="333">
                  <c:v>44447</c:v>
                </c:pt>
                <c:pt idx="334">
                  <c:v>44448</c:v>
                </c:pt>
                <c:pt idx="335">
                  <c:v>44449</c:v>
                </c:pt>
                <c:pt idx="336">
                  <c:v>44452</c:v>
                </c:pt>
                <c:pt idx="337">
                  <c:v>44453</c:v>
                </c:pt>
                <c:pt idx="338">
                  <c:v>44454</c:v>
                </c:pt>
                <c:pt idx="339">
                  <c:v>44455</c:v>
                </c:pt>
                <c:pt idx="340">
                  <c:v>44456</c:v>
                </c:pt>
                <c:pt idx="341">
                  <c:v>44459</c:v>
                </c:pt>
                <c:pt idx="342">
                  <c:v>44460</c:v>
                </c:pt>
                <c:pt idx="343">
                  <c:v>44461</c:v>
                </c:pt>
                <c:pt idx="344">
                  <c:v>44462</c:v>
                </c:pt>
                <c:pt idx="345">
                  <c:v>44463</c:v>
                </c:pt>
                <c:pt idx="346">
                  <c:v>44466</c:v>
                </c:pt>
                <c:pt idx="347">
                  <c:v>44467</c:v>
                </c:pt>
                <c:pt idx="348">
                  <c:v>44468</c:v>
                </c:pt>
                <c:pt idx="349">
                  <c:v>44469</c:v>
                </c:pt>
                <c:pt idx="350">
                  <c:v>44470</c:v>
                </c:pt>
                <c:pt idx="351">
                  <c:v>44473</c:v>
                </c:pt>
                <c:pt idx="352">
                  <c:v>44474</c:v>
                </c:pt>
                <c:pt idx="353">
                  <c:v>44475</c:v>
                </c:pt>
                <c:pt idx="354">
                  <c:v>44476</c:v>
                </c:pt>
                <c:pt idx="355">
                  <c:v>44477</c:v>
                </c:pt>
                <c:pt idx="356">
                  <c:v>44480</c:v>
                </c:pt>
                <c:pt idx="357">
                  <c:v>44481</c:v>
                </c:pt>
                <c:pt idx="358">
                  <c:v>44482</c:v>
                </c:pt>
                <c:pt idx="359">
                  <c:v>44483</c:v>
                </c:pt>
                <c:pt idx="360">
                  <c:v>44484</c:v>
                </c:pt>
                <c:pt idx="361">
                  <c:v>44487</c:v>
                </c:pt>
                <c:pt idx="362">
                  <c:v>44488</c:v>
                </c:pt>
                <c:pt idx="363">
                  <c:v>44489</c:v>
                </c:pt>
                <c:pt idx="364">
                  <c:v>44490</c:v>
                </c:pt>
                <c:pt idx="365">
                  <c:v>44491</c:v>
                </c:pt>
                <c:pt idx="366">
                  <c:v>44494</c:v>
                </c:pt>
                <c:pt idx="367">
                  <c:v>44495</c:v>
                </c:pt>
                <c:pt idx="368">
                  <c:v>44496</c:v>
                </c:pt>
                <c:pt idx="369">
                  <c:v>44497</c:v>
                </c:pt>
                <c:pt idx="370">
                  <c:v>44498</c:v>
                </c:pt>
                <c:pt idx="371">
                  <c:v>44501</c:v>
                </c:pt>
                <c:pt idx="372">
                  <c:v>44502</c:v>
                </c:pt>
                <c:pt idx="373">
                  <c:v>44503</c:v>
                </c:pt>
                <c:pt idx="374">
                  <c:v>44504</c:v>
                </c:pt>
                <c:pt idx="375">
                  <c:v>44505</c:v>
                </c:pt>
                <c:pt idx="376">
                  <c:v>44508</c:v>
                </c:pt>
                <c:pt idx="377">
                  <c:v>44509</c:v>
                </c:pt>
                <c:pt idx="378">
                  <c:v>44510</c:v>
                </c:pt>
                <c:pt idx="379">
                  <c:v>44511</c:v>
                </c:pt>
                <c:pt idx="380">
                  <c:v>44512</c:v>
                </c:pt>
                <c:pt idx="381">
                  <c:v>44515</c:v>
                </c:pt>
                <c:pt idx="382">
                  <c:v>44516</c:v>
                </c:pt>
                <c:pt idx="383">
                  <c:v>44517</c:v>
                </c:pt>
                <c:pt idx="384">
                  <c:v>44518</c:v>
                </c:pt>
                <c:pt idx="385">
                  <c:v>44519</c:v>
                </c:pt>
                <c:pt idx="386">
                  <c:v>44522</c:v>
                </c:pt>
                <c:pt idx="387">
                  <c:v>44523</c:v>
                </c:pt>
                <c:pt idx="388">
                  <c:v>44524</c:v>
                </c:pt>
                <c:pt idx="389">
                  <c:v>44525</c:v>
                </c:pt>
                <c:pt idx="390">
                  <c:v>44526</c:v>
                </c:pt>
                <c:pt idx="391">
                  <c:v>44529</c:v>
                </c:pt>
                <c:pt idx="392">
                  <c:v>44530</c:v>
                </c:pt>
                <c:pt idx="393">
                  <c:v>44531</c:v>
                </c:pt>
                <c:pt idx="394">
                  <c:v>44532</c:v>
                </c:pt>
                <c:pt idx="395">
                  <c:v>44533</c:v>
                </c:pt>
                <c:pt idx="396">
                  <c:v>44536</c:v>
                </c:pt>
                <c:pt idx="397">
                  <c:v>44537</c:v>
                </c:pt>
                <c:pt idx="398">
                  <c:v>44538</c:v>
                </c:pt>
                <c:pt idx="399">
                  <c:v>44539</c:v>
                </c:pt>
                <c:pt idx="400">
                  <c:v>44540</c:v>
                </c:pt>
                <c:pt idx="401">
                  <c:v>44543</c:v>
                </c:pt>
                <c:pt idx="402">
                  <c:v>44544</c:v>
                </c:pt>
                <c:pt idx="403">
                  <c:v>44545</c:v>
                </c:pt>
                <c:pt idx="404">
                  <c:v>44546</c:v>
                </c:pt>
                <c:pt idx="405">
                  <c:v>44547</c:v>
                </c:pt>
                <c:pt idx="406">
                  <c:v>44550</c:v>
                </c:pt>
                <c:pt idx="407">
                  <c:v>44551</c:v>
                </c:pt>
                <c:pt idx="408">
                  <c:v>44552</c:v>
                </c:pt>
                <c:pt idx="409">
                  <c:v>44553</c:v>
                </c:pt>
                <c:pt idx="410">
                  <c:v>44554</c:v>
                </c:pt>
                <c:pt idx="411">
                  <c:v>44557</c:v>
                </c:pt>
                <c:pt idx="412">
                  <c:v>44558</c:v>
                </c:pt>
                <c:pt idx="413">
                  <c:v>44559</c:v>
                </c:pt>
                <c:pt idx="414">
                  <c:v>44560</c:v>
                </c:pt>
                <c:pt idx="415">
                  <c:v>44561</c:v>
                </c:pt>
                <c:pt idx="416">
                  <c:v>44564</c:v>
                </c:pt>
                <c:pt idx="417">
                  <c:v>44565</c:v>
                </c:pt>
                <c:pt idx="418">
                  <c:v>44566</c:v>
                </c:pt>
                <c:pt idx="419">
                  <c:v>44567</c:v>
                </c:pt>
                <c:pt idx="420">
                  <c:v>44568</c:v>
                </c:pt>
                <c:pt idx="421">
                  <c:v>44571</c:v>
                </c:pt>
                <c:pt idx="422">
                  <c:v>44572</c:v>
                </c:pt>
                <c:pt idx="423">
                  <c:v>44573</c:v>
                </c:pt>
                <c:pt idx="424">
                  <c:v>44574</c:v>
                </c:pt>
                <c:pt idx="425">
                  <c:v>44575</c:v>
                </c:pt>
                <c:pt idx="426">
                  <c:v>44578</c:v>
                </c:pt>
                <c:pt idx="427">
                  <c:v>44579</c:v>
                </c:pt>
                <c:pt idx="428">
                  <c:v>44580</c:v>
                </c:pt>
                <c:pt idx="429">
                  <c:v>44581</c:v>
                </c:pt>
                <c:pt idx="430">
                  <c:v>44582</c:v>
                </c:pt>
                <c:pt idx="431">
                  <c:v>44585</c:v>
                </c:pt>
                <c:pt idx="432">
                  <c:v>44586</c:v>
                </c:pt>
                <c:pt idx="433">
                  <c:v>44587</c:v>
                </c:pt>
                <c:pt idx="434">
                  <c:v>44588</c:v>
                </c:pt>
                <c:pt idx="435">
                  <c:v>44589</c:v>
                </c:pt>
                <c:pt idx="436">
                  <c:v>44592</c:v>
                </c:pt>
                <c:pt idx="437">
                  <c:v>44593</c:v>
                </c:pt>
                <c:pt idx="438">
                  <c:v>44594</c:v>
                </c:pt>
                <c:pt idx="439">
                  <c:v>44595</c:v>
                </c:pt>
                <c:pt idx="440">
                  <c:v>44596</c:v>
                </c:pt>
                <c:pt idx="441">
                  <c:v>44599</c:v>
                </c:pt>
                <c:pt idx="442">
                  <c:v>44600</c:v>
                </c:pt>
                <c:pt idx="443">
                  <c:v>44601</c:v>
                </c:pt>
                <c:pt idx="444">
                  <c:v>44602</c:v>
                </c:pt>
                <c:pt idx="445">
                  <c:v>44603</c:v>
                </c:pt>
                <c:pt idx="446">
                  <c:v>44606</c:v>
                </c:pt>
                <c:pt idx="447">
                  <c:v>44607</c:v>
                </c:pt>
                <c:pt idx="448">
                  <c:v>44608</c:v>
                </c:pt>
                <c:pt idx="449">
                  <c:v>44609</c:v>
                </c:pt>
                <c:pt idx="450">
                  <c:v>44610</c:v>
                </c:pt>
                <c:pt idx="451">
                  <c:v>44613</c:v>
                </c:pt>
                <c:pt idx="452">
                  <c:v>44614</c:v>
                </c:pt>
                <c:pt idx="453">
                  <c:v>44615</c:v>
                </c:pt>
                <c:pt idx="454">
                  <c:v>44616</c:v>
                </c:pt>
                <c:pt idx="455">
                  <c:v>44617</c:v>
                </c:pt>
                <c:pt idx="456">
                  <c:v>44620</c:v>
                </c:pt>
                <c:pt idx="457">
                  <c:v>44621</c:v>
                </c:pt>
                <c:pt idx="458">
                  <c:v>44622</c:v>
                </c:pt>
                <c:pt idx="459">
                  <c:v>44623</c:v>
                </c:pt>
                <c:pt idx="460">
                  <c:v>44624</c:v>
                </c:pt>
                <c:pt idx="461">
                  <c:v>44627</c:v>
                </c:pt>
                <c:pt idx="462">
                  <c:v>44628</c:v>
                </c:pt>
                <c:pt idx="463">
                  <c:v>44629</c:v>
                </c:pt>
                <c:pt idx="464">
                  <c:v>44630</c:v>
                </c:pt>
                <c:pt idx="465">
                  <c:v>44631</c:v>
                </c:pt>
                <c:pt idx="466">
                  <c:v>44634</c:v>
                </c:pt>
                <c:pt idx="467">
                  <c:v>44635</c:v>
                </c:pt>
                <c:pt idx="468">
                  <c:v>44636</c:v>
                </c:pt>
                <c:pt idx="469">
                  <c:v>44637</c:v>
                </c:pt>
                <c:pt idx="470">
                  <c:v>44638</c:v>
                </c:pt>
                <c:pt idx="471">
                  <c:v>44641</c:v>
                </c:pt>
                <c:pt idx="472">
                  <c:v>44642</c:v>
                </c:pt>
                <c:pt idx="473">
                  <c:v>44643</c:v>
                </c:pt>
                <c:pt idx="474">
                  <c:v>44644</c:v>
                </c:pt>
                <c:pt idx="475">
                  <c:v>44645</c:v>
                </c:pt>
                <c:pt idx="476">
                  <c:v>44648</c:v>
                </c:pt>
                <c:pt idx="477">
                  <c:v>44649</c:v>
                </c:pt>
                <c:pt idx="478">
                  <c:v>44650</c:v>
                </c:pt>
                <c:pt idx="479">
                  <c:v>44651</c:v>
                </c:pt>
                <c:pt idx="480">
                  <c:v>44652</c:v>
                </c:pt>
                <c:pt idx="481">
                  <c:v>44655</c:v>
                </c:pt>
                <c:pt idx="482">
                  <c:v>44656</c:v>
                </c:pt>
                <c:pt idx="483">
                  <c:v>44657</c:v>
                </c:pt>
                <c:pt idx="484">
                  <c:v>44658</c:v>
                </c:pt>
                <c:pt idx="485">
                  <c:v>44659</c:v>
                </c:pt>
                <c:pt idx="486">
                  <c:v>44662</c:v>
                </c:pt>
                <c:pt idx="487">
                  <c:v>44663</c:v>
                </c:pt>
                <c:pt idx="488">
                  <c:v>44664</c:v>
                </c:pt>
                <c:pt idx="489">
                  <c:v>44665</c:v>
                </c:pt>
                <c:pt idx="490">
                  <c:v>44666</c:v>
                </c:pt>
                <c:pt idx="491">
                  <c:v>44669</c:v>
                </c:pt>
                <c:pt idx="492">
                  <c:v>44670</c:v>
                </c:pt>
                <c:pt idx="493">
                  <c:v>44671</c:v>
                </c:pt>
                <c:pt idx="494">
                  <c:v>44672</c:v>
                </c:pt>
                <c:pt idx="495">
                  <c:v>44673</c:v>
                </c:pt>
                <c:pt idx="496">
                  <c:v>44676</c:v>
                </c:pt>
                <c:pt idx="497">
                  <c:v>44677</c:v>
                </c:pt>
                <c:pt idx="498">
                  <c:v>44678</c:v>
                </c:pt>
                <c:pt idx="499">
                  <c:v>44679</c:v>
                </c:pt>
                <c:pt idx="500">
                  <c:v>44680</c:v>
                </c:pt>
                <c:pt idx="501">
                  <c:v>44683</c:v>
                </c:pt>
                <c:pt idx="502">
                  <c:v>44684</c:v>
                </c:pt>
                <c:pt idx="503">
                  <c:v>44685</c:v>
                </c:pt>
                <c:pt idx="504">
                  <c:v>44686</c:v>
                </c:pt>
                <c:pt idx="505">
                  <c:v>44687</c:v>
                </c:pt>
                <c:pt idx="506">
                  <c:v>44690</c:v>
                </c:pt>
                <c:pt idx="507">
                  <c:v>44691</c:v>
                </c:pt>
                <c:pt idx="508">
                  <c:v>44692</c:v>
                </c:pt>
                <c:pt idx="509">
                  <c:v>44693</c:v>
                </c:pt>
                <c:pt idx="510">
                  <c:v>44694</c:v>
                </c:pt>
                <c:pt idx="511">
                  <c:v>44697</c:v>
                </c:pt>
                <c:pt idx="512">
                  <c:v>44698</c:v>
                </c:pt>
                <c:pt idx="513">
                  <c:v>44699</c:v>
                </c:pt>
                <c:pt idx="514">
                  <c:v>44700</c:v>
                </c:pt>
                <c:pt idx="515">
                  <c:v>44701</c:v>
                </c:pt>
                <c:pt idx="516">
                  <c:v>44704</c:v>
                </c:pt>
                <c:pt idx="517">
                  <c:v>44705</c:v>
                </c:pt>
                <c:pt idx="518">
                  <c:v>44706</c:v>
                </c:pt>
                <c:pt idx="519">
                  <c:v>44707</c:v>
                </c:pt>
                <c:pt idx="520">
                  <c:v>44708</c:v>
                </c:pt>
                <c:pt idx="521">
                  <c:v>44711</c:v>
                </c:pt>
                <c:pt idx="522">
                  <c:v>44712</c:v>
                </c:pt>
                <c:pt idx="523">
                  <c:v>44713</c:v>
                </c:pt>
                <c:pt idx="524">
                  <c:v>44714</c:v>
                </c:pt>
                <c:pt idx="525">
                  <c:v>44715</c:v>
                </c:pt>
                <c:pt idx="526">
                  <c:v>44718</c:v>
                </c:pt>
                <c:pt idx="527">
                  <c:v>44719</c:v>
                </c:pt>
                <c:pt idx="528">
                  <c:v>44720</c:v>
                </c:pt>
                <c:pt idx="529">
                  <c:v>44721</c:v>
                </c:pt>
                <c:pt idx="530">
                  <c:v>44722</c:v>
                </c:pt>
                <c:pt idx="531">
                  <c:v>44725</c:v>
                </c:pt>
                <c:pt idx="532">
                  <c:v>44726</c:v>
                </c:pt>
                <c:pt idx="533">
                  <c:v>44727</c:v>
                </c:pt>
                <c:pt idx="534">
                  <c:v>44728</c:v>
                </c:pt>
                <c:pt idx="535">
                  <c:v>44729</c:v>
                </c:pt>
                <c:pt idx="536">
                  <c:v>44732</c:v>
                </c:pt>
                <c:pt idx="537">
                  <c:v>44733</c:v>
                </c:pt>
                <c:pt idx="538">
                  <c:v>44734</c:v>
                </c:pt>
                <c:pt idx="539">
                  <c:v>44735</c:v>
                </c:pt>
                <c:pt idx="540">
                  <c:v>44736</c:v>
                </c:pt>
                <c:pt idx="541">
                  <c:v>44739</c:v>
                </c:pt>
                <c:pt idx="542">
                  <c:v>44740</c:v>
                </c:pt>
                <c:pt idx="543">
                  <c:v>44741</c:v>
                </c:pt>
                <c:pt idx="544">
                  <c:v>44742</c:v>
                </c:pt>
              </c:numCache>
            </c:numRef>
          </c:cat>
          <c:val>
            <c:numRef>
              <c:f>Sheet1!$C$632:$C$1176</c:f>
              <c:numCache>
                <c:formatCode>General</c:formatCode>
                <c:ptCount val="545"/>
                <c:pt idx="0">
                  <c:v>0.1522</c:v>
                </c:pt>
                <c:pt idx="1">
                  <c:v>0.1547</c:v>
                </c:pt>
                <c:pt idx="2">
                  <c:v>0.1552</c:v>
                </c:pt>
                <c:pt idx="3">
                  <c:v>0.16789999999999999</c:v>
                </c:pt>
                <c:pt idx="4">
                  <c:v>0.17299999999999999</c:v>
                </c:pt>
                <c:pt idx="5">
                  <c:v>0.17810000000000001</c:v>
                </c:pt>
                <c:pt idx="6">
                  <c:v>0.1832</c:v>
                </c:pt>
                <c:pt idx="7">
                  <c:v>0.1827</c:v>
                </c:pt>
                <c:pt idx="8">
                  <c:v>0.17249999999999999</c:v>
                </c:pt>
                <c:pt idx="9">
                  <c:v>0.18010000000000001</c:v>
                </c:pt>
                <c:pt idx="10">
                  <c:v>0.17760000000000001</c:v>
                </c:pt>
                <c:pt idx="11">
                  <c:v>0.17760000000000001</c:v>
                </c:pt>
                <c:pt idx="12">
                  <c:v>0.1852</c:v>
                </c:pt>
                <c:pt idx="13">
                  <c:v>0.16739999999999999</c:v>
                </c:pt>
                <c:pt idx="14">
                  <c:v>0.16739999999999999</c:v>
                </c:pt>
                <c:pt idx="15">
                  <c:v>0.16489999999999999</c:v>
                </c:pt>
                <c:pt idx="16">
                  <c:v>0.1623</c:v>
                </c:pt>
                <c:pt idx="17">
                  <c:v>0.16739999999999999</c:v>
                </c:pt>
                <c:pt idx="18">
                  <c:v>0.1598</c:v>
                </c:pt>
                <c:pt idx="19">
                  <c:v>0.16239999999999999</c:v>
                </c:pt>
                <c:pt idx="20">
                  <c:v>0.1573</c:v>
                </c:pt>
                <c:pt idx="21">
                  <c:v>0.1547</c:v>
                </c:pt>
                <c:pt idx="22">
                  <c:v>0.12970000000000001</c:v>
                </c:pt>
                <c:pt idx="23">
                  <c:v>0.15010000000000001</c:v>
                </c:pt>
                <c:pt idx="24">
                  <c:v>0.15010000000000001</c:v>
                </c:pt>
                <c:pt idx="25">
                  <c:v>0.15010000000000001</c:v>
                </c:pt>
                <c:pt idx="26">
                  <c:v>0.15770000000000001</c:v>
                </c:pt>
                <c:pt idx="27">
                  <c:v>0.1573</c:v>
                </c:pt>
                <c:pt idx="28">
                  <c:v>0.1497</c:v>
                </c:pt>
                <c:pt idx="29">
                  <c:v>0.14710000000000001</c:v>
                </c:pt>
                <c:pt idx="30">
                  <c:v>0.14460000000000001</c:v>
                </c:pt>
                <c:pt idx="31">
                  <c:v>0.13950000000000001</c:v>
                </c:pt>
                <c:pt idx="32">
                  <c:v>0.14199999999999999</c:v>
                </c:pt>
                <c:pt idx="33">
                  <c:v>0.13189999999999999</c:v>
                </c:pt>
                <c:pt idx="34">
                  <c:v>0.13189999999999999</c:v>
                </c:pt>
                <c:pt idx="35">
                  <c:v>0.12429999999999999</c:v>
                </c:pt>
                <c:pt idx="36">
                  <c:v>0.1192</c:v>
                </c:pt>
                <c:pt idx="37">
                  <c:v>0.1268</c:v>
                </c:pt>
                <c:pt idx="38">
                  <c:v>0.12429999999999999</c:v>
                </c:pt>
                <c:pt idx="39">
                  <c:v>0.1268</c:v>
                </c:pt>
                <c:pt idx="40">
                  <c:v>0.12429999999999999</c:v>
                </c:pt>
                <c:pt idx="41">
                  <c:v>0.1268</c:v>
                </c:pt>
                <c:pt idx="42">
                  <c:v>0.1119</c:v>
                </c:pt>
                <c:pt idx="43">
                  <c:v>9.9199999999999997E-2</c:v>
                </c:pt>
                <c:pt idx="44">
                  <c:v>9.1499999999999998E-2</c:v>
                </c:pt>
                <c:pt idx="45">
                  <c:v>8.8999999999999996E-2</c:v>
                </c:pt>
                <c:pt idx="46">
                  <c:v>9.6600000000000005E-2</c:v>
                </c:pt>
                <c:pt idx="47">
                  <c:v>0.1014</c:v>
                </c:pt>
                <c:pt idx="48">
                  <c:v>0.11409999999999999</c:v>
                </c:pt>
                <c:pt idx="49">
                  <c:v>0.1065</c:v>
                </c:pt>
                <c:pt idx="50">
                  <c:v>0.104</c:v>
                </c:pt>
                <c:pt idx="51">
                  <c:v>0.1091</c:v>
                </c:pt>
                <c:pt idx="52">
                  <c:v>0.1167</c:v>
                </c:pt>
                <c:pt idx="53">
                  <c:v>0.1116</c:v>
                </c:pt>
                <c:pt idx="54">
                  <c:v>0.1091</c:v>
                </c:pt>
                <c:pt idx="55">
                  <c:v>0.11409999999999999</c:v>
                </c:pt>
                <c:pt idx="56">
                  <c:v>0.104</c:v>
                </c:pt>
                <c:pt idx="57">
                  <c:v>0.11409999999999999</c:v>
                </c:pt>
                <c:pt idx="58">
                  <c:v>0.11409999999999999</c:v>
                </c:pt>
                <c:pt idx="59">
                  <c:v>0.1116</c:v>
                </c:pt>
                <c:pt idx="60">
                  <c:v>0.1091</c:v>
                </c:pt>
                <c:pt idx="61">
                  <c:v>0.1091</c:v>
                </c:pt>
                <c:pt idx="62">
                  <c:v>0.1094</c:v>
                </c:pt>
                <c:pt idx="63">
                  <c:v>0.10680000000000001</c:v>
                </c:pt>
                <c:pt idx="64">
                  <c:v>0.10680000000000001</c:v>
                </c:pt>
                <c:pt idx="65">
                  <c:v>0.1017</c:v>
                </c:pt>
                <c:pt idx="66">
                  <c:v>0.10680000000000001</c:v>
                </c:pt>
                <c:pt idx="67">
                  <c:v>0.1116</c:v>
                </c:pt>
                <c:pt idx="68">
                  <c:v>0.1091</c:v>
                </c:pt>
                <c:pt idx="69">
                  <c:v>0.1116</c:v>
                </c:pt>
                <c:pt idx="70">
                  <c:v>0.11409999999999999</c:v>
                </c:pt>
                <c:pt idx="71">
                  <c:v>0.11409999999999999</c:v>
                </c:pt>
                <c:pt idx="72">
                  <c:v>0.1192</c:v>
                </c:pt>
                <c:pt idx="73">
                  <c:v>0.1217</c:v>
                </c:pt>
                <c:pt idx="74">
                  <c:v>0.1167</c:v>
                </c:pt>
                <c:pt idx="75">
                  <c:v>0.1167</c:v>
                </c:pt>
                <c:pt idx="76">
                  <c:v>0.11409999999999999</c:v>
                </c:pt>
                <c:pt idx="77">
                  <c:v>0.1116</c:v>
                </c:pt>
                <c:pt idx="78">
                  <c:v>0.1116</c:v>
                </c:pt>
                <c:pt idx="79">
                  <c:v>0.1091</c:v>
                </c:pt>
                <c:pt idx="80">
                  <c:v>0.1065</c:v>
                </c:pt>
                <c:pt idx="81">
                  <c:v>0.1014</c:v>
                </c:pt>
                <c:pt idx="82">
                  <c:v>8.6199999999999999E-2</c:v>
                </c:pt>
                <c:pt idx="83">
                  <c:v>9.8900000000000002E-2</c:v>
                </c:pt>
                <c:pt idx="84">
                  <c:v>9.8900000000000002E-2</c:v>
                </c:pt>
                <c:pt idx="85">
                  <c:v>9.8900000000000002E-2</c:v>
                </c:pt>
                <c:pt idx="86">
                  <c:v>9.64E-2</c:v>
                </c:pt>
                <c:pt idx="87">
                  <c:v>0.1014</c:v>
                </c:pt>
                <c:pt idx="88">
                  <c:v>0.1014</c:v>
                </c:pt>
                <c:pt idx="89">
                  <c:v>0.1014</c:v>
                </c:pt>
                <c:pt idx="90">
                  <c:v>9.8900000000000002E-2</c:v>
                </c:pt>
                <c:pt idx="91">
                  <c:v>0.1014</c:v>
                </c:pt>
                <c:pt idx="92">
                  <c:v>0.1065</c:v>
                </c:pt>
                <c:pt idx="93">
                  <c:v>0.104</c:v>
                </c:pt>
                <c:pt idx="94">
                  <c:v>0.1065</c:v>
                </c:pt>
                <c:pt idx="95">
                  <c:v>0.11409999999999999</c:v>
                </c:pt>
                <c:pt idx="96">
                  <c:v>0.11409999999999999</c:v>
                </c:pt>
                <c:pt idx="97">
                  <c:v>0.1091</c:v>
                </c:pt>
                <c:pt idx="98">
                  <c:v>0.1116</c:v>
                </c:pt>
                <c:pt idx="99">
                  <c:v>0.1116</c:v>
                </c:pt>
                <c:pt idx="100">
                  <c:v>0.1116</c:v>
                </c:pt>
                <c:pt idx="101">
                  <c:v>0.1091</c:v>
                </c:pt>
                <c:pt idx="102">
                  <c:v>0.1065</c:v>
                </c:pt>
                <c:pt idx="103">
                  <c:v>0.1091</c:v>
                </c:pt>
                <c:pt idx="104">
                  <c:v>0.1091</c:v>
                </c:pt>
                <c:pt idx="105">
                  <c:v>0.1065</c:v>
                </c:pt>
                <c:pt idx="106">
                  <c:v>0.104</c:v>
                </c:pt>
                <c:pt idx="107">
                  <c:v>0.1014</c:v>
                </c:pt>
                <c:pt idx="108">
                  <c:v>0.1014</c:v>
                </c:pt>
                <c:pt idx="109">
                  <c:v>9.8900000000000002E-2</c:v>
                </c:pt>
                <c:pt idx="110">
                  <c:v>9.64E-2</c:v>
                </c:pt>
                <c:pt idx="111">
                  <c:v>9.3799999999999994E-2</c:v>
                </c:pt>
                <c:pt idx="112">
                  <c:v>0.104</c:v>
                </c:pt>
                <c:pt idx="113">
                  <c:v>9.3799999999999994E-2</c:v>
                </c:pt>
                <c:pt idx="114">
                  <c:v>9.1300000000000006E-2</c:v>
                </c:pt>
                <c:pt idx="115">
                  <c:v>9.1300000000000006E-2</c:v>
                </c:pt>
                <c:pt idx="116">
                  <c:v>9.1300000000000006E-2</c:v>
                </c:pt>
                <c:pt idx="117">
                  <c:v>9.64E-2</c:v>
                </c:pt>
                <c:pt idx="118">
                  <c:v>9.64E-2</c:v>
                </c:pt>
                <c:pt idx="119">
                  <c:v>9.64E-2</c:v>
                </c:pt>
                <c:pt idx="120">
                  <c:v>9.1300000000000006E-2</c:v>
                </c:pt>
                <c:pt idx="121">
                  <c:v>9.1300000000000006E-2</c:v>
                </c:pt>
                <c:pt idx="122">
                  <c:v>8.8800000000000004E-2</c:v>
                </c:pt>
                <c:pt idx="123">
                  <c:v>8.6199999999999999E-2</c:v>
                </c:pt>
                <c:pt idx="124">
                  <c:v>8.3699999999999997E-2</c:v>
                </c:pt>
                <c:pt idx="125">
                  <c:v>8.1100000000000005E-2</c:v>
                </c:pt>
                <c:pt idx="126">
                  <c:v>7.8600000000000003E-2</c:v>
                </c:pt>
                <c:pt idx="127">
                  <c:v>8.6199999999999999E-2</c:v>
                </c:pt>
                <c:pt idx="128">
                  <c:v>8.1100000000000005E-2</c:v>
                </c:pt>
                <c:pt idx="129">
                  <c:v>8.1100000000000005E-2</c:v>
                </c:pt>
                <c:pt idx="130">
                  <c:v>7.8600000000000003E-2</c:v>
                </c:pt>
                <c:pt idx="131">
                  <c:v>9.1300000000000006E-2</c:v>
                </c:pt>
                <c:pt idx="132">
                  <c:v>8.8800000000000004E-2</c:v>
                </c:pt>
                <c:pt idx="133">
                  <c:v>8.6199999999999999E-2</c:v>
                </c:pt>
                <c:pt idx="134">
                  <c:v>8.1100000000000005E-2</c:v>
                </c:pt>
                <c:pt idx="135">
                  <c:v>9.1300000000000006E-2</c:v>
                </c:pt>
                <c:pt idx="136">
                  <c:v>8.6199999999999999E-2</c:v>
                </c:pt>
                <c:pt idx="137">
                  <c:v>8.6199999999999999E-2</c:v>
                </c:pt>
                <c:pt idx="138">
                  <c:v>8.1100000000000005E-2</c:v>
                </c:pt>
                <c:pt idx="139">
                  <c:v>7.6100000000000001E-2</c:v>
                </c:pt>
                <c:pt idx="140">
                  <c:v>7.6100000000000001E-2</c:v>
                </c:pt>
                <c:pt idx="141">
                  <c:v>7.6100000000000001E-2</c:v>
                </c:pt>
                <c:pt idx="142">
                  <c:v>7.0999999999999994E-2</c:v>
                </c:pt>
                <c:pt idx="143">
                  <c:v>8.3699999999999997E-2</c:v>
                </c:pt>
                <c:pt idx="144">
                  <c:v>8.6199999999999999E-2</c:v>
                </c:pt>
                <c:pt idx="145">
                  <c:v>8.3699999999999997E-2</c:v>
                </c:pt>
                <c:pt idx="146">
                  <c:v>8.8800000000000004E-2</c:v>
                </c:pt>
                <c:pt idx="147">
                  <c:v>8.1100000000000005E-2</c:v>
                </c:pt>
                <c:pt idx="148">
                  <c:v>8.6199999999999999E-2</c:v>
                </c:pt>
                <c:pt idx="149">
                  <c:v>9.1300000000000006E-2</c:v>
                </c:pt>
                <c:pt idx="150">
                  <c:v>9.1300000000000006E-2</c:v>
                </c:pt>
                <c:pt idx="151">
                  <c:v>9.3799999999999994E-2</c:v>
                </c:pt>
                <c:pt idx="152">
                  <c:v>8.6199999999999999E-2</c:v>
                </c:pt>
                <c:pt idx="153">
                  <c:v>7.3499999999999996E-2</c:v>
                </c:pt>
                <c:pt idx="154">
                  <c:v>8.1100000000000005E-2</c:v>
                </c:pt>
                <c:pt idx="155">
                  <c:v>8.1100000000000005E-2</c:v>
                </c:pt>
                <c:pt idx="156">
                  <c:v>7.6100000000000001E-2</c:v>
                </c:pt>
                <c:pt idx="157">
                  <c:v>7.6100000000000001E-2</c:v>
                </c:pt>
                <c:pt idx="158">
                  <c:v>8.3699999999999997E-2</c:v>
                </c:pt>
                <c:pt idx="159">
                  <c:v>7.8600000000000003E-2</c:v>
                </c:pt>
                <c:pt idx="160">
                  <c:v>8.1100000000000005E-2</c:v>
                </c:pt>
                <c:pt idx="161">
                  <c:v>8.1100000000000005E-2</c:v>
                </c:pt>
                <c:pt idx="162">
                  <c:v>8.3699999999999997E-2</c:v>
                </c:pt>
                <c:pt idx="163">
                  <c:v>8.1100000000000005E-2</c:v>
                </c:pt>
                <c:pt idx="164">
                  <c:v>8.6199999999999999E-2</c:v>
                </c:pt>
                <c:pt idx="165">
                  <c:v>8.1100000000000005E-2</c:v>
                </c:pt>
                <c:pt idx="166">
                  <c:v>8.1100000000000005E-2</c:v>
                </c:pt>
                <c:pt idx="167">
                  <c:v>8.3699999999999997E-2</c:v>
                </c:pt>
                <c:pt idx="168">
                  <c:v>8.6199999999999999E-2</c:v>
                </c:pt>
                <c:pt idx="169">
                  <c:v>8.6199999999999999E-2</c:v>
                </c:pt>
                <c:pt idx="170">
                  <c:v>8.1100000000000005E-2</c:v>
                </c:pt>
                <c:pt idx="171">
                  <c:v>8.3699999999999997E-2</c:v>
                </c:pt>
                <c:pt idx="172">
                  <c:v>7.3499999999999996E-2</c:v>
                </c:pt>
                <c:pt idx="173">
                  <c:v>7.3499999999999996E-2</c:v>
                </c:pt>
                <c:pt idx="174">
                  <c:v>7.3499999999999996E-2</c:v>
                </c:pt>
                <c:pt idx="175">
                  <c:v>6.59E-2</c:v>
                </c:pt>
                <c:pt idx="176">
                  <c:v>6.59E-2</c:v>
                </c:pt>
                <c:pt idx="177">
                  <c:v>6.59E-2</c:v>
                </c:pt>
                <c:pt idx="178">
                  <c:v>5.0700000000000002E-2</c:v>
                </c:pt>
                <c:pt idx="179">
                  <c:v>4.0599999999999997E-2</c:v>
                </c:pt>
                <c:pt idx="180">
                  <c:v>4.3099999999999999E-2</c:v>
                </c:pt>
                <c:pt idx="181">
                  <c:v>4.3099999999999999E-2</c:v>
                </c:pt>
                <c:pt idx="182">
                  <c:v>4.0599999999999997E-2</c:v>
                </c:pt>
                <c:pt idx="183">
                  <c:v>5.0700000000000002E-2</c:v>
                </c:pt>
                <c:pt idx="184">
                  <c:v>5.0700000000000002E-2</c:v>
                </c:pt>
                <c:pt idx="185">
                  <c:v>5.0700000000000002E-2</c:v>
                </c:pt>
                <c:pt idx="186">
                  <c:v>5.0700000000000002E-2</c:v>
                </c:pt>
                <c:pt idx="187">
                  <c:v>4.82E-2</c:v>
                </c:pt>
                <c:pt idx="188">
                  <c:v>5.0700000000000002E-2</c:v>
                </c:pt>
                <c:pt idx="189">
                  <c:v>3.5499999999999997E-2</c:v>
                </c:pt>
                <c:pt idx="190">
                  <c:v>3.04E-2</c:v>
                </c:pt>
                <c:pt idx="191">
                  <c:v>4.0599999999999997E-2</c:v>
                </c:pt>
                <c:pt idx="192">
                  <c:v>4.82E-2</c:v>
                </c:pt>
                <c:pt idx="193">
                  <c:v>4.5600000000000002E-2</c:v>
                </c:pt>
                <c:pt idx="194">
                  <c:v>5.5800000000000002E-2</c:v>
                </c:pt>
                <c:pt idx="195">
                  <c:v>4.5600000000000002E-2</c:v>
                </c:pt>
                <c:pt idx="196">
                  <c:v>5.0700000000000002E-2</c:v>
                </c:pt>
                <c:pt idx="197">
                  <c:v>5.3199999999999997E-2</c:v>
                </c:pt>
                <c:pt idx="198">
                  <c:v>5.5800000000000002E-2</c:v>
                </c:pt>
                <c:pt idx="199">
                  <c:v>5.0700000000000002E-2</c:v>
                </c:pt>
                <c:pt idx="200">
                  <c:v>4.82E-2</c:v>
                </c:pt>
                <c:pt idx="201">
                  <c:v>4.82E-2</c:v>
                </c:pt>
                <c:pt idx="202">
                  <c:v>3.5499999999999997E-2</c:v>
                </c:pt>
                <c:pt idx="203">
                  <c:v>4.3099999999999999E-2</c:v>
                </c:pt>
                <c:pt idx="204">
                  <c:v>4.5600000000000002E-2</c:v>
                </c:pt>
                <c:pt idx="205">
                  <c:v>3.3000000000000002E-2</c:v>
                </c:pt>
                <c:pt idx="206">
                  <c:v>4.0599999999999997E-2</c:v>
                </c:pt>
                <c:pt idx="207">
                  <c:v>4.5600000000000002E-2</c:v>
                </c:pt>
                <c:pt idx="208">
                  <c:v>4.3099999999999999E-2</c:v>
                </c:pt>
                <c:pt idx="209">
                  <c:v>2.5399999999999999E-2</c:v>
                </c:pt>
                <c:pt idx="210">
                  <c:v>2.0299999999999999E-2</c:v>
                </c:pt>
                <c:pt idx="211">
                  <c:v>2.7900000000000001E-2</c:v>
                </c:pt>
                <c:pt idx="212">
                  <c:v>3.5499999999999997E-2</c:v>
                </c:pt>
                <c:pt idx="213">
                  <c:v>3.3000000000000002E-2</c:v>
                </c:pt>
                <c:pt idx="214">
                  <c:v>3.3000000000000002E-2</c:v>
                </c:pt>
                <c:pt idx="215">
                  <c:v>3.3000000000000002E-2</c:v>
                </c:pt>
                <c:pt idx="216">
                  <c:v>2.2800000000000001E-2</c:v>
                </c:pt>
                <c:pt idx="217">
                  <c:v>3.04E-2</c:v>
                </c:pt>
                <c:pt idx="218">
                  <c:v>3.04E-2</c:v>
                </c:pt>
                <c:pt idx="219">
                  <c:v>3.3000000000000002E-2</c:v>
                </c:pt>
                <c:pt idx="220">
                  <c:v>2.7900000000000001E-2</c:v>
                </c:pt>
                <c:pt idx="221">
                  <c:v>2.7900000000000001E-2</c:v>
                </c:pt>
                <c:pt idx="222">
                  <c:v>2.5399999999999999E-2</c:v>
                </c:pt>
                <c:pt idx="223">
                  <c:v>2.0299999999999999E-2</c:v>
                </c:pt>
                <c:pt idx="224">
                  <c:v>2.5399999999999999E-2</c:v>
                </c:pt>
                <c:pt idx="225">
                  <c:v>3.04E-2</c:v>
                </c:pt>
                <c:pt idx="226">
                  <c:v>3.04E-2</c:v>
                </c:pt>
                <c:pt idx="227">
                  <c:v>3.5499999999999997E-2</c:v>
                </c:pt>
                <c:pt idx="228">
                  <c:v>3.5499999999999997E-2</c:v>
                </c:pt>
                <c:pt idx="229">
                  <c:v>3.04E-2</c:v>
                </c:pt>
                <c:pt idx="230">
                  <c:v>3.5499999999999997E-2</c:v>
                </c:pt>
                <c:pt idx="231">
                  <c:v>3.5499999999999997E-2</c:v>
                </c:pt>
                <c:pt idx="232">
                  <c:v>3.3000000000000002E-2</c:v>
                </c:pt>
                <c:pt idx="233">
                  <c:v>3.04E-2</c:v>
                </c:pt>
                <c:pt idx="234">
                  <c:v>2.7900000000000001E-2</c:v>
                </c:pt>
                <c:pt idx="235">
                  <c:v>2.5399999999999999E-2</c:v>
                </c:pt>
                <c:pt idx="236">
                  <c:v>2.5399999999999999E-2</c:v>
                </c:pt>
                <c:pt idx="237">
                  <c:v>3.04E-2</c:v>
                </c:pt>
                <c:pt idx="238">
                  <c:v>2.2800000000000001E-2</c:v>
                </c:pt>
                <c:pt idx="239">
                  <c:v>2.5399999999999999E-2</c:v>
                </c:pt>
                <c:pt idx="240">
                  <c:v>2.2800000000000001E-2</c:v>
                </c:pt>
                <c:pt idx="241">
                  <c:v>3.04E-2</c:v>
                </c:pt>
                <c:pt idx="242">
                  <c:v>3.3000000000000002E-2</c:v>
                </c:pt>
                <c:pt idx="243">
                  <c:v>3.3000000000000002E-2</c:v>
                </c:pt>
                <c:pt idx="244">
                  <c:v>3.3000000000000002E-2</c:v>
                </c:pt>
                <c:pt idx="245">
                  <c:v>2.7900000000000001E-2</c:v>
                </c:pt>
                <c:pt idx="246">
                  <c:v>2.7900000000000001E-2</c:v>
                </c:pt>
                <c:pt idx="247">
                  <c:v>3.04E-2</c:v>
                </c:pt>
                <c:pt idx="248">
                  <c:v>2.7900000000000001E-2</c:v>
                </c:pt>
                <c:pt idx="249">
                  <c:v>2.5399999999999999E-2</c:v>
                </c:pt>
                <c:pt idx="250">
                  <c:v>2.5399999999999999E-2</c:v>
                </c:pt>
                <c:pt idx="251">
                  <c:v>2.5399999999999999E-2</c:v>
                </c:pt>
                <c:pt idx="252">
                  <c:v>2.5399999999999999E-2</c:v>
                </c:pt>
                <c:pt idx="253">
                  <c:v>2.0299999999999999E-2</c:v>
                </c:pt>
                <c:pt idx="254">
                  <c:v>1.52E-2</c:v>
                </c:pt>
                <c:pt idx="255">
                  <c:v>7.6E-3</c:v>
                </c:pt>
                <c:pt idx="256">
                  <c:v>1.52E-2</c:v>
                </c:pt>
                <c:pt idx="257">
                  <c:v>2.7900000000000001E-2</c:v>
                </c:pt>
                <c:pt idx="258">
                  <c:v>2.5399999999999999E-2</c:v>
                </c:pt>
                <c:pt idx="259">
                  <c:v>2.5399999999999999E-2</c:v>
                </c:pt>
                <c:pt idx="260">
                  <c:v>2.0299999999999999E-2</c:v>
                </c:pt>
                <c:pt idx="261">
                  <c:v>2.0299999999999999E-2</c:v>
                </c:pt>
                <c:pt idx="262">
                  <c:v>3.04E-2</c:v>
                </c:pt>
                <c:pt idx="263">
                  <c:v>3.04E-2</c:v>
                </c:pt>
                <c:pt idx="264">
                  <c:v>3.04E-2</c:v>
                </c:pt>
                <c:pt idx="265">
                  <c:v>2.7900000000000001E-2</c:v>
                </c:pt>
                <c:pt idx="266">
                  <c:v>3.3000000000000002E-2</c:v>
                </c:pt>
                <c:pt idx="267">
                  <c:v>3.5499999999999997E-2</c:v>
                </c:pt>
                <c:pt idx="268">
                  <c:v>3.3000000000000002E-2</c:v>
                </c:pt>
                <c:pt idx="269">
                  <c:v>3.3000000000000002E-2</c:v>
                </c:pt>
                <c:pt idx="270">
                  <c:v>3.5499999999999997E-2</c:v>
                </c:pt>
                <c:pt idx="271">
                  <c:v>2.7900000000000001E-2</c:v>
                </c:pt>
                <c:pt idx="272">
                  <c:v>3.5499999999999997E-2</c:v>
                </c:pt>
                <c:pt idx="273">
                  <c:v>4.3099999999999999E-2</c:v>
                </c:pt>
                <c:pt idx="274">
                  <c:v>4.0599999999999997E-2</c:v>
                </c:pt>
                <c:pt idx="275">
                  <c:v>4.82E-2</c:v>
                </c:pt>
                <c:pt idx="276">
                  <c:v>4.0599999999999997E-2</c:v>
                </c:pt>
                <c:pt idx="277">
                  <c:v>4.5600000000000002E-2</c:v>
                </c:pt>
                <c:pt idx="278">
                  <c:v>4.5600000000000002E-2</c:v>
                </c:pt>
                <c:pt idx="279">
                  <c:v>4.82E-2</c:v>
                </c:pt>
                <c:pt idx="280">
                  <c:v>5.0700000000000002E-2</c:v>
                </c:pt>
                <c:pt idx="281">
                  <c:v>4.5600000000000002E-2</c:v>
                </c:pt>
                <c:pt idx="282">
                  <c:v>4.5600000000000002E-2</c:v>
                </c:pt>
                <c:pt idx="283">
                  <c:v>4.5600000000000002E-2</c:v>
                </c:pt>
                <c:pt idx="284">
                  <c:v>4.3099999999999999E-2</c:v>
                </c:pt>
                <c:pt idx="285">
                  <c:v>4.0599999999999997E-2</c:v>
                </c:pt>
                <c:pt idx="286">
                  <c:v>4.0599999999999997E-2</c:v>
                </c:pt>
                <c:pt idx="287">
                  <c:v>4.5600000000000002E-2</c:v>
                </c:pt>
                <c:pt idx="288">
                  <c:v>5.0700000000000002E-2</c:v>
                </c:pt>
                <c:pt idx="289">
                  <c:v>4.82E-2</c:v>
                </c:pt>
                <c:pt idx="290">
                  <c:v>4.82E-2</c:v>
                </c:pt>
                <c:pt idx="291">
                  <c:v>4.5600000000000002E-2</c:v>
                </c:pt>
                <c:pt idx="292">
                  <c:v>5.0700000000000002E-2</c:v>
                </c:pt>
                <c:pt idx="293">
                  <c:v>4.5600000000000002E-2</c:v>
                </c:pt>
                <c:pt idx="294">
                  <c:v>4.5600000000000002E-2</c:v>
                </c:pt>
                <c:pt idx="295">
                  <c:v>4.5600000000000002E-2</c:v>
                </c:pt>
                <c:pt idx="296">
                  <c:v>4.0599999999999997E-2</c:v>
                </c:pt>
                <c:pt idx="297">
                  <c:v>4.5600000000000002E-2</c:v>
                </c:pt>
                <c:pt idx="298">
                  <c:v>4.5600000000000002E-2</c:v>
                </c:pt>
                <c:pt idx="299">
                  <c:v>4.5600000000000002E-2</c:v>
                </c:pt>
                <c:pt idx="300">
                  <c:v>4.5600000000000002E-2</c:v>
                </c:pt>
                <c:pt idx="301">
                  <c:v>4.5600000000000002E-2</c:v>
                </c:pt>
                <c:pt idx="302">
                  <c:v>4.5600000000000002E-2</c:v>
                </c:pt>
                <c:pt idx="303">
                  <c:v>4.5600000000000002E-2</c:v>
                </c:pt>
                <c:pt idx="304">
                  <c:v>4.5600000000000002E-2</c:v>
                </c:pt>
                <c:pt idx="305">
                  <c:v>4.5600000000000002E-2</c:v>
                </c:pt>
                <c:pt idx="306">
                  <c:v>4.5600000000000002E-2</c:v>
                </c:pt>
                <c:pt idx="307">
                  <c:v>4.5600000000000002E-2</c:v>
                </c:pt>
                <c:pt idx="308">
                  <c:v>4.5600000000000002E-2</c:v>
                </c:pt>
                <c:pt idx="309">
                  <c:v>4.5600000000000002E-2</c:v>
                </c:pt>
                <c:pt idx="310">
                  <c:v>4.3099999999999999E-2</c:v>
                </c:pt>
                <c:pt idx="311">
                  <c:v>4.0599999999999997E-2</c:v>
                </c:pt>
                <c:pt idx="312">
                  <c:v>4.82E-2</c:v>
                </c:pt>
                <c:pt idx="313">
                  <c:v>4.5600000000000002E-2</c:v>
                </c:pt>
                <c:pt idx="314">
                  <c:v>4.0599999999999997E-2</c:v>
                </c:pt>
                <c:pt idx="315">
                  <c:v>4.0599999999999997E-2</c:v>
                </c:pt>
                <c:pt idx="316">
                  <c:v>4.3099999999999999E-2</c:v>
                </c:pt>
                <c:pt idx="317">
                  <c:v>4.5600000000000002E-2</c:v>
                </c:pt>
                <c:pt idx="318">
                  <c:v>4.5600000000000002E-2</c:v>
                </c:pt>
                <c:pt idx="319">
                  <c:v>3.7999999999999999E-2</c:v>
                </c:pt>
                <c:pt idx="320">
                  <c:v>4.3099999999999999E-2</c:v>
                </c:pt>
                <c:pt idx="321">
                  <c:v>4.3099999999999999E-2</c:v>
                </c:pt>
                <c:pt idx="322">
                  <c:v>4.5600000000000002E-2</c:v>
                </c:pt>
                <c:pt idx="323">
                  <c:v>4.5600000000000002E-2</c:v>
                </c:pt>
                <c:pt idx="324">
                  <c:v>4.5600000000000002E-2</c:v>
                </c:pt>
                <c:pt idx="325">
                  <c:v>4.5600000000000002E-2</c:v>
                </c:pt>
                <c:pt idx="326">
                  <c:v>4.5600000000000002E-2</c:v>
                </c:pt>
                <c:pt idx="327">
                  <c:v>5.0700000000000002E-2</c:v>
                </c:pt>
                <c:pt idx="328">
                  <c:v>4.3099999999999999E-2</c:v>
                </c:pt>
                <c:pt idx="329">
                  <c:v>4.5600000000000002E-2</c:v>
                </c:pt>
                <c:pt idx="330">
                  <c:v>4.3099999999999999E-2</c:v>
                </c:pt>
                <c:pt idx="331">
                  <c:v>4.3099999999999999E-2</c:v>
                </c:pt>
                <c:pt idx="332">
                  <c:v>3.5499999999999997E-2</c:v>
                </c:pt>
                <c:pt idx="333">
                  <c:v>4.5600000000000002E-2</c:v>
                </c:pt>
                <c:pt idx="334">
                  <c:v>4.5600000000000002E-2</c:v>
                </c:pt>
                <c:pt idx="335">
                  <c:v>4.5600000000000002E-2</c:v>
                </c:pt>
                <c:pt idx="336">
                  <c:v>3.5499999999999997E-2</c:v>
                </c:pt>
                <c:pt idx="337">
                  <c:v>4.5600000000000002E-2</c:v>
                </c:pt>
                <c:pt idx="338">
                  <c:v>4.0599999999999997E-2</c:v>
                </c:pt>
                <c:pt idx="339">
                  <c:v>4.0599999999999997E-2</c:v>
                </c:pt>
                <c:pt idx="340">
                  <c:v>4.0599999999999997E-2</c:v>
                </c:pt>
                <c:pt idx="341">
                  <c:v>3.7999999999999999E-2</c:v>
                </c:pt>
                <c:pt idx="342">
                  <c:v>3.04E-2</c:v>
                </c:pt>
                <c:pt idx="343">
                  <c:v>3.7999999999999999E-2</c:v>
                </c:pt>
                <c:pt idx="344">
                  <c:v>4.0599999999999997E-2</c:v>
                </c:pt>
                <c:pt idx="345">
                  <c:v>4.0599999999999997E-2</c:v>
                </c:pt>
                <c:pt idx="346">
                  <c:v>4.5600000000000002E-2</c:v>
                </c:pt>
                <c:pt idx="347">
                  <c:v>4.82E-2</c:v>
                </c:pt>
                <c:pt idx="348">
                  <c:v>4.5600000000000002E-2</c:v>
                </c:pt>
                <c:pt idx="349">
                  <c:v>4.5600000000000002E-2</c:v>
                </c:pt>
                <c:pt idx="350">
                  <c:v>4.3099999999999999E-2</c:v>
                </c:pt>
                <c:pt idx="351">
                  <c:v>4.5600000000000002E-2</c:v>
                </c:pt>
                <c:pt idx="352">
                  <c:v>5.0700000000000002E-2</c:v>
                </c:pt>
                <c:pt idx="353">
                  <c:v>4.82E-2</c:v>
                </c:pt>
                <c:pt idx="354">
                  <c:v>5.0700000000000002E-2</c:v>
                </c:pt>
                <c:pt idx="355">
                  <c:v>5.5800000000000002E-2</c:v>
                </c:pt>
                <c:pt idx="356">
                  <c:v>5.5800000000000002E-2</c:v>
                </c:pt>
                <c:pt idx="357">
                  <c:v>4.5600000000000002E-2</c:v>
                </c:pt>
                <c:pt idx="358">
                  <c:v>5.0700000000000002E-2</c:v>
                </c:pt>
                <c:pt idx="359">
                  <c:v>5.3199999999999997E-2</c:v>
                </c:pt>
                <c:pt idx="360">
                  <c:v>5.0700000000000002E-2</c:v>
                </c:pt>
                <c:pt idx="361">
                  <c:v>5.0700000000000002E-2</c:v>
                </c:pt>
                <c:pt idx="362">
                  <c:v>4.3099999999999999E-2</c:v>
                </c:pt>
                <c:pt idx="363">
                  <c:v>5.0700000000000002E-2</c:v>
                </c:pt>
                <c:pt idx="364">
                  <c:v>5.5800000000000002E-2</c:v>
                </c:pt>
                <c:pt idx="365">
                  <c:v>6.0900000000000003E-2</c:v>
                </c:pt>
                <c:pt idx="366">
                  <c:v>5.3199999999999997E-2</c:v>
                </c:pt>
                <c:pt idx="367">
                  <c:v>5.3199999999999997E-2</c:v>
                </c:pt>
                <c:pt idx="368">
                  <c:v>5.5800000000000002E-2</c:v>
                </c:pt>
                <c:pt idx="369">
                  <c:v>5.5800000000000002E-2</c:v>
                </c:pt>
                <c:pt idx="370">
                  <c:v>5.5800000000000002E-2</c:v>
                </c:pt>
                <c:pt idx="371">
                  <c:v>5.8299999999999998E-2</c:v>
                </c:pt>
                <c:pt idx="372">
                  <c:v>6.59E-2</c:v>
                </c:pt>
                <c:pt idx="373">
                  <c:v>6.59E-2</c:v>
                </c:pt>
                <c:pt idx="374">
                  <c:v>6.3399999999999998E-2</c:v>
                </c:pt>
                <c:pt idx="375">
                  <c:v>6.0900000000000003E-2</c:v>
                </c:pt>
                <c:pt idx="376">
                  <c:v>5.8299999999999998E-2</c:v>
                </c:pt>
                <c:pt idx="377">
                  <c:v>5.5800000000000002E-2</c:v>
                </c:pt>
                <c:pt idx="378">
                  <c:v>5.8299999999999998E-2</c:v>
                </c:pt>
                <c:pt idx="379">
                  <c:v>5.8299999999999998E-2</c:v>
                </c:pt>
                <c:pt idx="380">
                  <c:v>6.0900000000000003E-2</c:v>
                </c:pt>
                <c:pt idx="381">
                  <c:v>5.8299999999999998E-2</c:v>
                </c:pt>
                <c:pt idx="382">
                  <c:v>5.5800000000000002E-2</c:v>
                </c:pt>
                <c:pt idx="383">
                  <c:v>5.5800000000000002E-2</c:v>
                </c:pt>
                <c:pt idx="384">
                  <c:v>6.0900000000000003E-2</c:v>
                </c:pt>
                <c:pt idx="385">
                  <c:v>5.5800000000000002E-2</c:v>
                </c:pt>
                <c:pt idx="386">
                  <c:v>5.8299999999999998E-2</c:v>
                </c:pt>
                <c:pt idx="387">
                  <c:v>6.8500000000000005E-2</c:v>
                </c:pt>
                <c:pt idx="388">
                  <c:v>8.8800000000000004E-2</c:v>
                </c:pt>
                <c:pt idx="389">
                  <c:v>8.8800000000000004E-2</c:v>
                </c:pt>
                <c:pt idx="390">
                  <c:v>7.6100000000000001E-2</c:v>
                </c:pt>
                <c:pt idx="391">
                  <c:v>8.3699999999999997E-2</c:v>
                </c:pt>
                <c:pt idx="392">
                  <c:v>9.3799999999999994E-2</c:v>
                </c:pt>
                <c:pt idx="393">
                  <c:v>8.8800000000000004E-2</c:v>
                </c:pt>
                <c:pt idx="394">
                  <c:v>8.6199999999999999E-2</c:v>
                </c:pt>
                <c:pt idx="395">
                  <c:v>8.6199999999999999E-2</c:v>
                </c:pt>
                <c:pt idx="396">
                  <c:v>9.64E-2</c:v>
                </c:pt>
                <c:pt idx="397">
                  <c:v>0.14460000000000001</c:v>
                </c:pt>
                <c:pt idx="398">
                  <c:v>0.1192</c:v>
                </c:pt>
                <c:pt idx="399">
                  <c:v>0.1192</c:v>
                </c:pt>
                <c:pt idx="400">
                  <c:v>0.1116</c:v>
                </c:pt>
                <c:pt idx="401">
                  <c:v>0.11409999999999999</c:v>
                </c:pt>
                <c:pt idx="402">
                  <c:v>0.1167</c:v>
                </c:pt>
                <c:pt idx="403">
                  <c:v>0.1167</c:v>
                </c:pt>
                <c:pt idx="404">
                  <c:v>0.11409999999999999</c:v>
                </c:pt>
                <c:pt idx="405">
                  <c:v>0.1192</c:v>
                </c:pt>
                <c:pt idx="406">
                  <c:v>0.12939999999999999</c:v>
                </c:pt>
                <c:pt idx="407">
                  <c:v>0.1522</c:v>
                </c:pt>
                <c:pt idx="408">
                  <c:v>0.1573</c:v>
                </c:pt>
                <c:pt idx="409">
                  <c:v>0.1573</c:v>
                </c:pt>
                <c:pt idx="410">
                  <c:v>0.1573</c:v>
                </c:pt>
                <c:pt idx="411">
                  <c:v>0.17</c:v>
                </c:pt>
                <c:pt idx="412">
                  <c:v>0.1928</c:v>
                </c:pt>
                <c:pt idx="413">
                  <c:v>0.18770000000000001</c:v>
                </c:pt>
                <c:pt idx="414">
                  <c:v>0.17249999999999999</c:v>
                </c:pt>
                <c:pt idx="415">
                  <c:v>0.17760000000000001</c:v>
                </c:pt>
                <c:pt idx="416">
                  <c:v>0.1928</c:v>
                </c:pt>
                <c:pt idx="417">
                  <c:v>0.21060000000000001</c:v>
                </c:pt>
                <c:pt idx="418">
                  <c:v>0.2233</c:v>
                </c:pt>
                <c:pt idx="419">
                  <c:v>0.22839999999999999</c:v>
                </c:pt>
                <c:pt idx="420">
                  <c:v>0.23089999999999999</c:v>
                </c:pt>
                <c:pt idx="421">
                  <c:v>0.25119999999999998</c:v>
                </c:pt>
                <c:pt idx="422">
                  <c:v>0.26650000000000001</c:v>
                </c:pt>
                <c:pt idx="423">
                  <c:v>0.27160000000000001</c:v>
                </c:pt>
                <c:pt idx="424">
                  <c:v>0.27160000000000001</c:v>
                </c:pt>
                <c:pt idx="425">
                  <c:v>0.28170000000000001</c:v>
                </c:pt>
                <c:pt idx="426">
                  <c:v>0.28170000000000001</c:v>
                </c:pt>
                <c:pt idx="427">
                  <c:v>0.3453</c:v>
                </c:pt>
                <c:pt idx="428">
                  <c:v>0.35799999999999998</c:v>
                </c:pt>
                <c:pt idx="429">
                  <c:v>0.3453</c:v>
                </c:pt>
                <c:pt idx="430">
                  <c:v>0.3478</c:v>
                </c:pt>
                <c:pt idx="431">
                  <c:v>0.34279999999999999</c:v>
                </c:pt>
                <c:pt idx="432">
                  <c:v>0.37840000000000001</c:v>
                </c:pt>
                <c:pt idx="433">
                  <c:v>0.39369999999999999</c:v>
                </c:pt>
                <c:pt idx="434">
                  <c:v>0.42420000000000002</c:v>
                </c:pt>
                <c:pt idx="435">
                  <c:v>0.40639999999999998</c:v>
                </c:pt>
                <c:pt idx="436">
                  <c:v>0.45469999999999999</c:v>
                </c:pt>
                <c:pt idx="437">
                  <c:v>0.47510000000000002</c:v>
                </c:pt>
                <c:pt idx="438">
                  <c:v>0.4471</c:v>
                </c:pt>
                <c:pt idx="439">
                  <c:v>0.47</c:v>
                </c:pt>
                <c:pt idx="440">
                  <c:v>0.54390000000000005</c:v>
                </c:pt>
                <c:pt idx="441">
                  <c:v>0.53879999999999995</c:v>
                </c:pt>
                <c:pt idx="442">
                  <c:v>0.56940000000000002</c:v>
                </c:pt>
                <c:pt idx="443">
                  <c:v>0.57699999999999996</c:v>
                </c:pt>
                <c:pt idx="444">
                  <c:v>0.75309999999999999</c:v>
                </c:pt>
                <c:pt idx="445">
                  <c:v>0.67900000000000005</c:v>
                </c:pt>
                <c:pt idx="446">
                  <c:v>0.7147</c:v>
                </c:pt>
                <c:pt idx="447">
                  <c:v>0.7097</c:v>
                </c:pt>
                <c:pt idx="448">
                  <c:v>0.65349999999999997</c:v>
                </c:pt>
                <c:pt idx="449">
                  <c:v>0.62290000000000001</c:v>
                </c:pt>
                <c:pt idx="450">
                  <c:v>0.61270000000000002</c:v>
                </c:pt>
                <c:pt idx="451">
                  <c:v>0.61270000000000002</c:v>
                </c:pt>
                <c:pt idx="452">
                  <c:v>0.66620000000000001</c:v>
                </c:pt>
                <c:pt idx="453">
                  <c:v>0.7046</c:v>
                </c:pt>
                <c:pt idx="454">
                  <c:v>0.64080000000000004</c:v>
                </c:pt>
                <c:pt idx="455">
                  <c:v>0.68159999999999998</c:v>
                </c:pt>
                <c:pt idx="456">
                  <c:v>0.62029999999999996</c:v>
                </c:pt>
                <c:pt idx="457">
                  <c:v>0.5847</c:v>
                </c:pt>
                <c:pt idx="458">
                  <c:v>0.64080000000000004</c:v>
                </c:pt>
                <c:pt idx="459">
                  <c:v>0.628</c:v>
                </c:pt>
                <c:pt idx="460">
                  <c:v>0.628</c:v>
                </c:pt>
                <c:pt idx="461">
                  <c:v>0.66879999999999995</c:v>
                </c:pt>
                <c:pt idx="462">
                  <c:v>0.68669999999999998</c:v>
                </c:pt>
                <c:pt idx="463">
                  <c:v>0.7046</c:v>
                </c:pt>
                <c:pt idx="464">
                  <c:v>0.7097</c:v>
                </c:pt>
                <c:pt idx="465">
                  <c:v>0.7198</c:v>
                </c:pt>
                <c:pt idx="466">
                  <c:v>0.78369999999999995</c:v>
                </c:pt>
                <c:pt idx="467">
                  <c:v>0.83479999999999999</c:v>
                </c:pt>
                <c:pt idx="468">
                  <c:v>0.79910000000000003</c:v>
                </c:pt>
                <c:pt idx="469">
                  <c:v>0.77100000000000002</c:v>
                </c:pt>
                <c:pt idx="470">
                  <c:v>0.77859999999999996</c:v>
                </c:pt>
                <c:pt idx="471">
                  <c:v>0.86029999999999995</c:v>
                </c:pt>
                <c:pt idx="472">
                  <c:v>0.94230000000000003</c:v>
                </c:pt>
                <c:pt idx="473">
                  <c:v>0.90129999999999999</c:v>
                </c:pt>
                <c:pt idx="474">
                  <c:v>0.9294</c:v>
                </c:pt>
                <c:pt idx="475">
                  <c:v>0.97289999999999999</c:v>
                </c:pt>
                <c:pt idx="476">
                  <c:v>0.97789999999999999</c:v>
                </c:pt>
                <c:pt idx="477">
                  <c:v>1.0344</c:v>
                </c:pt>
                <c:pt idx="478">
                  <c:v>0.99860000000000004</c:v>
                </c:pt>
                <c:pt idx="479">
                  <c:v>1.0087999999999999</c:v>
                </c:pt>
                <c:pt idx="480">
                  <c:v>1.0470999999999999</c:v>
                </c:pt>
                <c:pt idx="481">
                  <c:v>1.0522</c:v>
                </c:pt>
                <c:pt idx="482">
                  <c:v>1.0857000000000001</c:v>
                </c:pt>
                <c:pt idx="483">
                  <c:v>1.1164000000000001</c:v>
                </c:pt>
                <c:pt idx="484">
                  <c:v>1.1137999999999999</c:v>
                </c:pt>
                <c:pt idx="485">
                  <c:v>1.1393</c:v>
                </c:pt>
                <c:pt idx="486">
                  <c:v>1.1342000000000001</c:v>
                </c:pt>
                <c:pt idx="487">
                  <c:v>1.1651</c:v>
                </c:pt>
                <c:pt idx="488">
                  <c:v>1.1523000000000001</c:v>
                </c:pt>
                <c:pt idx="489">
                  <c:v>1.2034</c:v>
                </c:pt>
                <c:pt idx="490">
                  <c:v>1.2034</c:v>
                </c:pt>
                <c:pt idx="491">
                  <c:v>1.2161999999999999</c:v>
                </c:pt>
                <c:pt idx="492">
                  <c:v>1.2703</c:v>
                </c:pt>
                <c:pt idx="493">
                  <c:v>1.26</c:v>
                </c:pt>
                <c:pt idx="494">
                  <c:v>1.2727999999999999</c:v>
                </c:pt>
                <c:pt idx="495">
                  <c:v>1.2906</c:v>
                </c:pt>
                <c:pt idx="496">
                  <c:v>1.2855000000000001</c:v>
                </c:pt>
                <c:pt idx="497">
                  <c:v>1.3575999999999999</c:v>
                </c:pt>
                <c:pt idx="498">
                  <c:v>1.355</c:v>
                </c:pt>
                <c:pt idx="499">
                  <c:v>1.3575999999999999</c:v>
                </c:pt>
                <c:pt idx="500">
                  <c:v>1.3958999999999999</c:v>
                </c:pt>
                <c:pt idx="501">
                  <c:v>1.3907</c:v>
                </c:pt>
                <c:pt idx="502">
                  <c:v>1.4065000000000001</c:v>
                </c:pt>
                <c:pt idx="503">
                  <c:v>1.3627</c:v>
                </c:pt>
                <c:pt idx="504">
                  <c:v>1.3036000000000001</c:v>
                </c:pt>
                <c:pt idx="505">
                  <c:v>1.3111999999999999</c:v>
                </c:pt>
                <c:pt idx="506">
                  <c:v>1.3033999999999999</c:v>
                </c:pt>
                <c:pt idx="507">
                  <c:v>1.3987000000000001</c:v>
                </c:pt>
                <c:pt idx="508">
                  <c:v>1.3858999999999999</c:v>
                </c:pt>
                <c:pt idx="509">
                  <c:v>1.4115</c:v>
                </c:pt>
                <c:pt idx="510">
                  <c:v>1.4165000000000001</c:v>
                </c:pt>
                <c:pt idx="511">
                  <c:v>1.4523999999999999</c:v>
                </c:pt>
                <c:pt idx="512">
                  <c:v>1.5041</c:v>
                </c:pt>
                <c:pt idx="513">
                  <c:v>1.5093000000000001</c:v>
                </c:pt>
                <c:pt idx="514">
                  <c:v>1.4681</c:v>
                </c:pt>
                <c:pt idx="515">
                  <c:v>1.4628000000000001</c:v>
                </c:pt>
                <c:pt idx="516">
                  <c:v>1.4833000000000001</c:v>
                </c:pt>
                <c:pt idx="517">
                  <c:v>1.4759</c:v>
                </c:pt>
                <c:pt idx="518">
                  <c:v>1.4656</c:v>
                </c:pt>
                <c:pt idx="519">
                  <c:v>1.4681</c:v>
                </c:pt>
                <c:pt idx="520">
                  <c:v>1.4910000000000001</c:v>
                </c:pt>
                <c:pt idx="521">
                  <c:v>1.4910000000000001</c:v>
                </c:pt>
                <c:pt idx="522">
                  <c:v>1.5552999999999999</c:v>
                </c:pt>
                <c:pt idx="523">
                  <c:v>1.6071</c:v>
                </c:pt>
                <c:pt idx="524">
                  <c:v>1.6045</c:v>
                </c:pt>
                <c:pt idx="525">
                  <c:v>1.6223000000000001</c:v>
                </c:pt>
                <c:pt idx="526">
                  <c:v>1.6789000000000001</c:v>
                </c:pt>
                <c:pt idx="527">
                  <c:v>1.7334000000000001</c:v>
                </c:pt>
                <c:pt idx="528">
                  <c:v>1.754</c:v>
                </c:pt>
                <c:pt idx="529">
                  <c:v>1.7875000000000001</c:v>
                </c:pt>
                <c:pt idx="530">
                  <c:v>1.9188000000000001</c:v>
                </c:pt>
                <c:pt idx="531">
                  <c:v>2.2342</c:v>
                </c:pt>
                <c:pt idx="532">
                  <c:v>2.3515999999999999</c:v>
                </c:pt>
                <c:pt idx="533">
                  <c:v>2.1882999999999999</c:v>
                </c:pt>
                <c:pt idx="534">
                  <c:v>2.1597</c:v>
                </c:pt>
                <c:pt idx="535">
                  <c:v>2.198</c:v>
                </c:pt>
                <c:pt idx="536">
                  <c:v>2.198</c:v>
                </c:pt>
                <c:pt idx="537">
                  <c:v>2.3454999999999999</c:v>
                </c:pt>
                <c:pt idx="538">
                  <c:v>2.3620000000000001</c:v>
                </c:pt>
                <c:pt idx="539">
                  <c:v>2.3721999999999999</c:v>
                </c:pt>
                <c:pt idx="540">
                  <c:v>2.4392</c:v>
                </c:pt>
                <c:pt idx="541">
                  <c:v>2.4935</c:v>
                </c:pt>
                <c:pt idx="542">
                  <c:v>2.4346999999999999</c:v>
                </c:pt>
                <c:pt idx="543">
                  <c:v>2.484</c:v>
                </c:pt>
                <c:pt idx="544">
                  <c:v>2.4579</c:v>
                </c:pt>
              </c:numCache>
            </c:numRef>
          </c:val>
          <c:smooth val="0"/>
          <c:extLst>
            <c:ext xmlns:c16="http://schemas.microsoft.com/office/drawing/2014/chart" uri="{C3380CC4-5D6E-409C-BE32-E72D297353CC}">
              <c16:uniqueId val="{00000001-C445-4BF4-9A71-12C3A7EB8C40}"/>
            </c:ext>
          </c:extLst>
        </c:ser>
        <c:ser>
          <c:idx val="3"/>
          <c:order val="2"/>
          <c:tx>
            <c:strRef>
              <c:f>Sheet1!$E$1</c:f>
              <c:strCache>
                <c:ptCount val="1"/>
                <c:pt idx="0">
                  <c:v>Overnight Treasury Repo</c:v>
                </c:pt>
              </c:strCache>
            </c:strRef>
          </c:tx>
          <c:spPr>
            <a:ln w="25400">
              <a:solidFill>
                <a:srgbClr val="004F6B"/>
              </a:solidFill>
            </a:ln>
          </c:spPr>
          <c:marker>
            <c:symbol val="none"/>
          </c:marker>
          <c:cat>
            <c:numRef>
              <c:f>Sheet1!$A$632:$A$1176</c:f>
              <c:numCache>
                <c:formatCode>m/d/yyyy</c:formatCode>
                <c:ptCount val="545"/>
                <c:pt idx="0">
                  <c:v>43980</c:v>
                </c:pt>
                <c:pt idx="1">
                  <c:v>43983</c:v>
                </c:pt>
                <c:pt idx="2">
                  <c:v>43984</c:v>
                </c:pt>
                <c:pt idx="3">
                  <c:v>43985</c:v>
                </c:pt>
                <c:pt idx="4">
                  <c:v>43986</c:v>
                </c:pt>
                <c:pt idx="5">
                  <c:v>43987</c:v>
                </c:pt>
                <c:pt idx="6">
                  <c:v>43990</c:v>
                </c:pt>
                <c:pt idx="7">
                  <c:v>43991</c:v>
                </c:pt>
                <c:pt idx="8">
                  <c:v>43992</c:v>
                </c:pt>
                <c:pt idx="9">
                  <c:v>43993</c:v>
                </c:pt>
                <c:pt idx="10">
                  <c:v>43994</c:v>
                </c:pt>
                <c:pt idx="11">
                  <c:v>43997</c:v>
                </c:pt>
                <c:pt idx="12">
                  <c:v>43998</c:v>
                </c:pt>
                <c:pt idx="13">
                  <c:v>43999</c:v>
                </c:pt>
                <c:pt idx="14">
                  <c:v>44000</c:v>
                </c:pt>
                <c:pt idx="15">
                  <c:v>44001</c:v>
                </c:pt>
                <c:pt idx="16">
                  <c:v>44004</c:v>
                </c:pt>
                <c:pt idx="17">
                  <c:v>44005</c:v>
                </c:pt>
                <c:pt idx="18">
                  <c:v>44006</c:v>
                </c:pt>
                <c:pt idx="19">
                  <c:v>44007</c:v>
                </c:pt>
                <c:pt idx="20">
                  <c:v>44008</c:v>
                </c:pt>
                <c:pt idx="21">
                  <c:v>44011</c:v>
                </c:pt>
                <c:pt idx="22">
                  <c:v>44012</c:v>
                </c:pt>
                <c:pt idx="23">
                  <c:v>44013</c:v>
                </c:pt>
                <c:pt idx="24">
                  <c:v>44014</c:v>
                </c:pt>
                <c:pt idx="25">
                  <c:v>44015</c:v>
                </c:pt>
                <c:pt idx="26">
                  <c:v>44018</c:v>
                </c:pt>
                <c:pt idx="27">
                  <c:v>44019</c:v>
                </c:pt>
                <c:pt idx="28">
                  <c:v>44020</c:v>
                </c:pt>
                <c:pt idx="29">
                  <c:v>44021</c:v>
                </c:pt>
                <c:pt idx="30">
                  <c:v>44022</c:v>
                </c:pt>
                <c:pt idx="31">
                  <c:v>44025</c:v>
                </c:pt>
                <c:pt idx="32">
                  <c:v>44026</c:v>
                </c:pt>
                <c:pt idx="33">
                  <c:v>44027</c:v>
                </c:pt>
                <c:pt idx="34">
                  <c:v>44028</c:v>
                </c:pt>
                <c:pt idx="35">
                  <c:v>44029</c:v>
                </c:pt>
                <c:pt idx="36">
                  <c:v>44032</c:v>
                </c:pt>
                <c:pt idx="37">
                  <c:v>44033</c:v>
                </c:pt>
                <c:pt idx="38">
                  <c:v>44034</c:v>
                </c:pt>
                <c:pt idx="39">
                  <c:v>44035</c:v>
                </c:pt>
                <c:pt idx="40">
                  <c:v>44036</c:v>
                </c:pt>
                <c:pt idx="41">
                  <c:v>44039</c:v>
                </c:pt>
                <c:pt idx="42">
                  <c:v>44040</c:v>
                </c:pt>
                <c:pt idx="43">
                  <c:v>44041</c:v>
                </c:pt>
                <c:pt idx="44">
                  <c:v>44042</c:v>
                </c:pt>
                <c:pt idx="45">
                  <c:v>44043</c:v>
                </c:pt>
                <c:pt idx="46">
                  <c:v>44046</c:v>
                </c:pt>
                <c:pt idx="47">
                  <c:v>44047</c:v>
                </c:pt>
                <c:pt idx="48">
                  <c:v>44048</c:v>
                </c:pt>
                <c:pt idx="49">
                  <c:v>44049</c:v>
                </c:pt>
                <c:pt idx="50">
                  <c:v>44050</c:v>
                </c:pt>
                <c:pt idx="51">
                  <c:v>44053</c:v>
                </c:pt>
                <c:pt idx="52">
                  <c:v>44054</c:v>
                </c:pt>
                <c:pt idx="53">
                  <c:v>44055</c:v>
                </c:pt>
                <c:pt idx="54">
                  <c:v>44056</c:v>
                </c:pt>
                <c:pt idx="55">
                  <c:v>44057</c:v>
                </c:pt>
                <c:pt idx="56">
                  <c:v>44060</c:v>
                </c:pt>
                <c:pt idx="57">
                  <c:v>44061</c:v>
                </c:pt>
                <c:pt idx="58">
                  <c:v>44062</c:v>
                </c:pt>
                <c:pt idx="59">
                  <c:v>44063</c:v>
                </c:pt>
                <c:pt idx="60">
                  <c:v>44064</c:v>
                </c:pt>
                <c:pt idx="61">
                  <c:v>44067</c:v>
                </c:pt>
                <c:pt idx="62">
                  <c:v>44068</c:v>
                </c:pt>
                <c:pt idx="63">
                  <c:v>44069</c:v>
                </c:pt>
                <c:pt idx="64">
                  <c:v>44070</c:v>
                </c:pt>
                <c:pt idx="65">
                  <c:v>44071</c:v>
                </c:pt>
                <c:pt idx="66">
                  <c:v>44074</c:v>
                </c:pt>
                <c:pt idx="67">
                  <c:v>44075</c:v>
                </c:pt>
                <c:pt idx="68">
                  <c:v>44076</c:v>
                </c:pt>
                <c:pt idx="69">
                  <c:v>44077</c:v>
                </c:pt>
                <c:pt idx="70">
                  <c:v>44078</c:v>
                </c:pt>
                <c:pt idx="71">
                  <c:v>44081</c:v>
                </c:pt>
                <c:pt idx="72">
                  <c:v>44082</c:v>
                </c:pt>
                <c:pt idx="73">
                  <c:v>44083</c:v>
                </c:pt>
                <c:pt idx="74">
                  <c:v>44084</c:v>
                </c:pt>
                <c:pt idx="75">
                  <c:v>44085</c:v>
                </c:pt>
                <c:pt idx="76">
                  <c:v>44088</c:v>
                </c:pt>
                <c:pt idx="77">
                  <c:v>44089</c:v>
                </c:pt>
                <c:pt idx="78">
                  <c:v>44090</c:v>
                </c:pt>
                <c:pt idx="79">
                  <c:v>44091</c:v>
                </c:pt>
                <c:pt idx="80">
                  <c:v>44092</c:v>
                </c:pt>
                <c:pt idx="81">
                  <c:v>44095</c:v>
                </c:pt>
                <c:pt idx="82">
                  <c:v>44096</c:v>
                </c:pt>
                <c:pt idx="83">
                  <c:v>44097</c:v>
                </c:pt>
                <c:pt idx="84">
                  <c:v>44098</c:v>
                </c:pt>
                <c:pt idx="85">
                  <c:v>44099</c:v>
                </c:pt>
                <c:pt idx="86">
                  <c:v>44102</c:v>
                </c:pt>
                <c:pt idx="87">
                  <c:v>44103</c:v>
                </c:pt>
                <c:pt idx="88">
                  <c:v>44104</c:v>
                </c:pt>
                <c:pt idx="89">
                  <c:v>44105</c:v>
                </c:pt>
                <c:pt idx="90">
                  <c:v>44106</c:v>
                </c:pt>
                <c:pt idx="91">
                  <c:v>44109</c:v>
                </c:pt>
                <c:pt idx="92">
                  <c:v>44110</c:v>
                </c:pt>
                <c:pt idx="93">
                  <c:v>44111</c:v>
                </c:pt>
                <c:pt idx="94">
                  <c:v>44112</c:v>
                </c:pt>
                <c:pt idx="95">
                  <c:v>44113</c:v>
                </c:pt>
                <c:pt idx="96">
                  <c:v>44116</c:v>
                </c:pt>
                <c:pt idx="97">
                  <c:v>44117</c:v>
                </c:pt>
                <c:pt idx="98">
                  <c:v>44118</c:v>
                </c:pt>
                <c:pt idx="99">
                  <c:v>44119</c:v>
                </c:pt>
                <c:pt idx="100">
                  <c:v>44120</c:v>
                </c:pt>
                <c:pt idx="101">
                  <c:v>44123</c:v>
                </c:pt>
                <c:pt idx="102">
                  <c:v>44124</c:v>
                </c:pt>
                <c:pt idx="103">
                  <c:v>44125</c:v>
                </c:pt>
                <c:pt idx="104">
                  <c:v>44126</c:v>
                </c:pt>
                <c:pt idx="105">
                  <c:v>44127</c:v>
                </c:pt>
                <c:pt idx="106">
                  <c:v>44130</c:v>
                </c:pt>
                <c:pt idx="107">
                  <c:v>44131</c:v>
                </c:pt>
                <c:pt idx="108">
                  <c:v>44132</c:v>
                </c:pt>
                <c:pt idx="109">
                  <c:v>44133</c:v>
                </c:pt>
                <c:pt idx="110">
                  <c:v>44134</c:v>
                </c:pt>
                <c:pt idx="111">
                  <c:v>44137</c:v>
                </c:pt>
                <c:pt idx="112">
                  <c:v>44138</c:v>
                </c:pt>
                <c:pt idx="113">
                  <c:v>44139</c:v>
                </c:pt>
                <c:pt idx="114">
                  <c:v>44140</c:v>
                </c:pt>
                <c:pt idx="115">
                  <c:v>44141</c:v>
                </c:pt>
                <c:pt idx="116">
                  <c:v>44144</c:v>
                </c:pt>
                <c:pt idx="117">
                  <c:v>44145</c:v>
                </c:pt>
                <c:pt idx="118">
                  <c:v>44146</c:v>
                </c:pt>
                <c:pt idx="119">
                  <c:v>44147</c:v>
                </c:pt>
                <c:pt idx="120">
                  <c:v>44148</c:v>
                </c:pt>
                <c:pt idx="121">
                  <c:v>44151</c:v>
                </c:pt>
                <c:pt idx="122">
                  <c:v>44152</c:v>
                </c:pt>
                <c:pt idx="123">
                  <c:v>44153</c:v>
                </c:pt>
                <c:pt idx="124">
                  <c:v>44154</c:v>
                </c:pt>
                <c:pt idx="125">
                  <c:v>44155</c:v>
                </c:pt>
                <c:pt idx="126">
                  <c:v>44158</c:v>
                </c:pt>
                <c:pt idx="127">
                  <c:v>44159</c:v>
                </c:pt>
                <c:pt idx="128">
                  <c:v>44160</c:v>
                </c:pt>
                <c:pt idx="129">
                  <c:v>44161</c:v>
                </c:pt>
                <c:pt idx="130">
                  <c:v>44162</c:v>
                </c:pt>
                <c:pt idx="131">
                  <c:v>44165</c:v>
                </c:pt>
                <c:pt idx="132">
                  <c:v>44166</c:v>
                </c:pt>
                <c:pt idx="133">
                  <c:v>44167</c:v>
                </c:pt>
                <c:pt idx="134">
                  <c:v>44168</c:v>
                </c:pt>
                <c:pt idx="135">
                  <c:v>44169</c:v>
                </c:pt>
                <c:pt idx="136">
                  <c:v>44172</c:v>
                </c:pt>
                <c:pt idx="137">
                  <c:v>44173</c:v>
                </c:pt>
                <c:pt idx="138">
                  <c:v>44174</c:v>
                </c:pt>
                <c:pt idx="139">
                  <c:v>44175</c:v>
                </c:pt>
                <c:pt idx="140">
                  <c:v>44176</c:v>
                </c:pt>
                <c:pt idx="141">
                  <c:v>44179</c:v>
                </c:pt>
                <c:pt idx="142">
                  <c:v>44180</c:v>
                </c:pt>
                <c:pt idx="143">
                  <c:v>44181</c:v>
                </c:pt>
                <c:pt idx="144">
                  <c:v>44182</c:v>
                </c:pt>
                <c:pt idx="145">
                  <c:v>44183</c:v>
                </c:pt>
                <c:pt idx="146">
                  <c:v>44186</c:v>
                </c:pt>
                <c:pt idx="147">
                  <c:v>44187</c:v>
                </c:pt>
                <c:pt idx="148">
                  <c:v>44188</c:v>
                </c:pt>
                <c:pt idx="149">
                  <c:v>44189</c:v>
                </c:pt>
                <c:pt idx="150">
                  <c:v>44190</c:v>
                </c:pt>
                <c:pt idx="151">
                  <c:v>44193</c:v>
                </c:pt>
                <c:pt idx="152">
                  <c:v>44194</c:v>
                </c:pt>
                <c:pt idx="153">
                  <c:v>44195</c:v>
                </c:pt>
                <c:pt idx="154">
                  <c:v>44196</c:v>
                </c:pt>
                <c:pt idx="155">
                  <c:v>44197</c:v>
                </c:pt>
                <c:pt idx="156">
                  <c:v>44200</c:v>
                </c:pt>
                <c:pt idx="157">
                  <c:v>44201</c:v>
                </c:pt>
                <c:pt idx="158">
                  <c:v>44202</c:v>
                </c:pt>
                <c:pt idx="159">
                  <c:v>44203</c:v>
                </c:pt>
                <c:pt idx="160">
                  <c:v>44204</c:v>
                </c:pt>
                <c:pt idx="161">
                  <c:v>44207</c:v>
                </c:pt>
                <c:pt idx="162">
                  <c:v>44208</c:v>
                </c:pt>
                <c:pt idx="163">
                  <c:v>44209</c:v>
                </c:pt>
                <c:pt idx="164">
                  <c:v>44210</c:v>
                </c:pt>
                <c:pt idx="165">
                  <c:v>44211</c:v>
                </c:pt>
                <c:pt idx="166">
                  <c:v>44214</c:v>
                </c:pt>
                <c:pt idx="167">
                  <c:v>44215</c:v>
                </c:pt>
                <c:pt idx="168">
                  <c:v>44216</c:v>
                </c:pt>
                <c:pt idx="169">
                  <c:v>44217</c:v>
                </c:pt>
                <c:pt idx="170">
                  <c:v>44218</c:v>
                </c:pt>
                <c:pt idx="171">
                  <c:v>44221</c:v>
                </c:pt>
                <c:pt idx="172">
                  <c:v>44222</c:v>
                </c:pt>
                <c:pt idx="173">
                  <c:v>44223</c:v>
                </c:pt>
                <c:pt idx="174">
                  <c:v>44224</c:v>
                </c:pt>
                <c:pt idx="175">
                  <c:v>44225</c:v>
                </c:pt>
                <c:pt idx="176">
                  <c:v>44228</c:v>
                </c:pt>
                <c:pt idx="177">
                  <c:v>44229</c:v>
                </c:pt>
                <c:pt idx="178">
                  <c:v>44230</c:v>
                </c:pt>
                <c:pt idx="179">
                  <c:v>44231</c:v>
                </c:pt>
                <c:pt idx="180">
                  <c:v>44232</c:v>
                </c:pt>
                <c:pt idx="181">
                  <c:v>44235</c:v>
                </c:pt>
                <c:pt idx="182">
                  <c:v>44236</c:v>
                </c:pt>
                <c:pt idx="183">
                  <c:v>44237</c:v>
                </c:pt>
                <c:pt idx="184">
                  <c:v>44238</c:v>
                </c:pt>
                <c:pt idx="185">
                  <c:v>44239</c:v>
                </c:pt>
                <c:pt idx="186">
                  <c:v>44242</c:v>
                </c:pt>
                <c:pt idx="187">
                  <c:v>44243</c:v>
                </c:pt>
                <c:pt idx="188">
                  <c:v>44244</c:v>
                </c:pt>
                <c:pt idx="189">
                  <c:v>44245</c:v>
                </c:pt>
                <c:pt idx="190">
                  <c:v>44246</c:v>
                </c:pt>
                <c:pt idx="191">
                  <c:v>44249</c:v>
                </c:pt>
                <c:pt idx="192">
                  <c:v>44250</c:v>
                </c:pt>
                <c:pt idx="193">
                  <c:v>44251</c:v>
                </c:pt>
                <c:pt idx="194">
                  <c:v>44252</c:v>
                </c:pt>
                <c:pt idx="195">
                  <c:v>44253</c:v>
                </c:pt>
                <c:pt idx="196">
                  <c:v>44256</c:v>
                </c:pt>
                <c:pt idx="197">
                  <c:v>44257</c:v>
                </c:pt>
                <c:pt idx="198">
                  <c:v>44258</c:v>
                </c:pt>
                <c:pt idx="199">
                  <c:v>44259</c:v>
                </c:pt>
                <c:pt idx="200">
                  <c:v>44260</c:v>
                </c:pt>
                <c:pt idx="201">
                  <c:v>44263</c:v>
                </c:pt>
                <c:pt idx="202">
                  <c:v>44264</c:v>
                </c:pt>
                <c:pt idx="203">
                  <c:v>44265</c:v>
                </c:pt>
                <c:pt idx="204">
                  <c:v>44266</c:v>
                </c:pt>
                <c:pt idx="205">
                  <c:v>44267</c:v>
                </c:pt>
                <c:pt idx="206">
                  <c:v>44270</c:v>
                </c:pt>
                <c:pt idx="207">
                  <c:v>44271</c:v>
                </c:pt>
                <c:pt idx="208">
                  <c:v>44272</c:v>
                </c:pt>
                <c:pt idx="209">
                  <c:v>44273</c:v>
                </c:pt>
                <c:pt idx="210">
                  <c:v>44274</c:v>
                </c:pt>
                <c:pt idx="211">
                  <c:v>44277</c:v>
                </c:pt>
                <c:pt idx="212">
                  <c:v>44278</c:v>
                </c:pt>
                <c:pt idx="213">
                  <c:v>44279</c:v>
                </c:pt>
                <c:pt idx="214">
                  <c:v>44280</c:v>
                </c:pt>
                <c:pt idx="215">
                  <c:v>44281</c:v>
                </c:pt>
                <c:pt idx="216">
                  <c:v>44284</c:v>
                </c:pt>
                <c:pt idx="217">
                  <c:v>44285</c:v>
                </c:pt>
                <c:pt idx="218">
                  <c:v>44286</c:v>
                </c:pt>
                <c:pt idx="219">
                  <c:v>44287</c:v>
                </c:pt>
                <c:pt idx="220">
                  <c:v>44288</c:v>
                </c:pt>
                <c:pt idx="221">
                  <c:v>44291</c:v>
                </c:pt>
                <c:pt idx="222">
                  <c:v>44292</c:v>
                </c:pt>
                <c:pt idx="223">
                  <c:v>44293</c:v>
                </c:pt>
                <c:pt idx="224">
                  <c:v>44294</c:v>
                </c:pt>
                <c:pt idx="225">
                  <c:v>44295</c:v>
                </c:pt>
                <c:pt idx="226">
                  <c:v>44298</c:v>
                </c:pt>
                <c:pt idx="227">
                  <c:v>44299</c:v>
                </c:pt>
                <c:pt idx="228">
                  <c:v>44300</c:v>
                </c:pt>
                <c:pt idx="229">
                  <c:v>44301</c:v>
                </c:pt>
                <c:pt idx="230">
                  <c:v>44302</c:v>
                </c:pt>
                <c:pt idx="231">
                  <c:v>44305</c:v>
                </c:pt>
                <c:pt idx="232">
                  <c:v>44306</c:v>
                </c:pt>
                <c:pt idx="233">
                  <c:v>44307</c:v>
                </c:pt>
                <c:pt idx="234">
                  <c:v>44308</c:v>
                </c:pt>
                <c:pt idx="235">
                  <c:v>44309</c:v>
                </c:pt>
                <c:pt idx="236">
                  <c:v>44312</c:v>
                </c:pt>
                <c:pt idx="237">
                  <c:v>44313</c:v>
                </c:pt>
                <c:pt idx="238">
                  <c:v>44314</c:v>
                </c:pt>
                <c:pt idx="239">
                  <c:v>44315</c:v>
                </c:pt>
                <c:pt idx="240">
                  <c:v>44316</c:v>
                </c:pt>
                <c:pt idx="241">
                  <c:v>44319</c:v>
                </c:pt>
                <c:pt idx="242">
                  <c:v>44320</c:v>
                </c:pt>
                <c:pt idx="243">
                  <c:v>44321</c:v>
                </c:pt>
                <c:pt idx="244">
                  <c:v>44322</c:v>
                </c:pt>
                <c:pt idx="245">
                  <c:v>44323</c:v>
                </c:pt>
                <c:pt idx="246">
                  <c:v>44326</c:v>
                </c:pt>
                <c:pt idx="247">
                  <c:v>44327</c:v>
                </c:pt>
                <c:pt idx="248">
                  <c:v>44328</c:v>
                </c:pt>
                <c:pt idx="249">
                  <c:v>44329</c:v>
                </c:pt>
                <c:pt idx="250">
                  <c:v>44330</c:v>
                </c:pt>
                <c:pt idx="251">
                  <c:v>44333</c:v>
                </c:pt>
                <c:pt idx="252">
                  <c:v>44334</c:v>
                </c:pt>
                <c:pt idx="253">
                  <c:v>44335</c:v>
                </c:pt>
                <c:pt idx="254">
                  <c:v>44336</c:v>
                </c:pt>
                <c:pt idx="255">
                  <c:v>44337</c:v>
                </c:pt>
                <c:pt idx="256">
                  <c:v>44340</c:v>
                </c:pt>
                <c:pt idx="257">
                  <c:v>44341</c:v>
                </c:pt>
                <c:pt idx="258">
                  <c:v>44342</c:v>
                </c:pt>
                <c:pt idx="259">
                  <c:v>44343</c:v>
                </c:pt>
                <c:pt idx="260">
                  <c:v>44344</c:v>
                </c:pt>
                <c:pt idx="261">
                  <c:v>44347</c:v>
                </c:pt>
                <c:pt idx="262">
                  <c:v>44348</c:v>
                </c:pt>
                <c:pt idx="263">
                  <c:v>44349</c:v>
                </c:pt>
                <c:pt idx="264">
                  <c:v>44350</c:v>
                </c:pt>
                <c:pt idx="265">
                  <c:v>44351</c:v>
                </c:pt>
                <c:pt idx="266">
                  <c:v>44354</c:v>
                </c:pt>
                <c:pt idx="267">
                  <c:v>44355</c:v>
                </c:pt>
                <c:pt idx="268">
                  <c:v>44356</c:v>
                </c:pt>
                <c:pt idx="269">
                  <c:v>44357</c:v>
                </c:pt>
                <c:pt idx="270">
                  <c:v>44358</c:v>
                </c:pt>
                <c:pt idx="271">
                  <c:v>44361</c:v>
                </c:pt>
                <c:pt idx="272">
                  <c:v>44362</c:v>
                </c:pt>
                <c:pt idx="273">
                  <c:v>44363</c:v>
                </c:pt>
                <c:pt idx="274">
                  <c:v>44364</c:v>
                </c:pt>
                <c:pt idx="275">
                  <c:v>44365</c:v>
                </c:pt>
                <c:pt idx="276">
                  <c:v>44368</c:v>
                </c:pt>
                <c:pt idx="277">
                  <c:v>44369</c:v>
                </c:pt>
                <c:pt idx="278">
                  <c:v>44370</c:v>
                </c:pt>
                <c:pt idx="279">
                  <c:v>44371</c:v>
                </c:pt>
                <c:pt idx="280">
                  <c:v>44372</c:v>
                </c:pt>
                <c:pt idx="281">
                  <c:v>44375</c:v>
                </c:pt>
                <c:pt idx="282">
                  <c:v>44376</c:v>
                </c:pt>
                <c:pt idx="283">
                  <c:v>44377</c:v>
                </c:pt>
                <c:pt idx="284">
                  <c:v>44378</c:v>
                </c:pt>
                <c:pt idx="285">
                  <c:v>44379</c:v>
                </c:pt>
                <c:pt idx="286">
                  <c:v>44382</c:v>
                </c:pt>
                <c:pt idx="287">
                  <c:v>44383</c:v>
                </c:pt>
                <c:pt idx="288">
                  <c:v>44384</c:v>
                </c:pt>
                <c:pt idx="289">
                  <c:v>44385</c:v>
                </c:pt>
                <c:pt idx="290">
                  <c:v>44386</c:v>
                </c:pt>
                <c:pt idx="291">
                  <c:v>44389</c:v>
                </c:pt>
                <c:pt idx="292">
                  <c:v>44390</c:v>
                </c:pt>
                <c:pt idx="293">
                  <c:v>44391</c:v>
                </c:pt>
                <c:pt idx="294">
                  <c:v>44392</c:v>
                </c:pt>
                <c:pt idx="295">
                  <c:v>44393</c:v>
                </c:pt>
                <c:pt idx="296">
                  <c:v>44396</c:v>
                </c:pt>
                <c:pt idx="297">
                  <c:v>44397</c:v>
                </c:pt>
                <c:pt idx="298">
                  <c:v>44398</c:v>
                </c:pt>
                <c:pt idx="299">
                  <c:v>44399</c:v>
                </c:pt>
                <c:pt idx="300">
                  <c:v>44400</c:v>
                </c:pt>
                <c:pt idx="301">
                  <c:v>44403</c:v>
                </c:pt>
                <c:pt idx="302">
                  <c:v>44404</c:v>
                </c:pt>
                <c:pt idx="303">
                  <c:v>44405</c:v>
                </c:pt>
                <c:pt idx="304">
                  <c:v>44406</c:v>
                </c:pt>
                <c:pt idx="305">
                  <c:v>44407</c:v>
                </c:pt>
                <c:pt idx="306">
                  <c:v>44410</c:v>
                </c:pt>
                <c:pt idx="307">
                  <c:v>44411</c:v>
                </c:pt>
                <c:pt idx="308">
                  <c:v>44412</c:v>
                </c:pt>
                <c:pt idx="309">
                  <c:v>44413</c:v>
                </c:pt>
                <c:pt idx="310">
                  <c:v>44414</c:v>
                </c:pt>
                <c:pt idx="311">
                  <c:v>44417</c:v>
                </c:pt>
                <c:pt idx="312">
                  <c:v>44418</c:v>
                </c:pt>
                <c:pt idx="313">
                  <c:v>44419</c:v>
                </c:pt>
                <c:pt idx="314">
                  <c:v>44420</c:v>
                </c:pt>
                <c:pt idx="315">
                  <c:v>44421</c:v>
                </c:pt>
                <c:pt idx="316">
                  <c:v>44424</c:v>
                </c:pt>
                <c:pt idx="317">
                  <c:v>44425</c:v>
                </c:pt>
                <c:pt idx="318">
                  <c:v>44426</c:v>
                </c:pt>
                <c:pt idx="319">
                  <c:v>44427</c:v>
                </c:pt>
                <c:pt idx="320">
                  <c:v>44428</c:v>
                </c:pt>
                <c:pt idx="321">
                  <c:v>44431</c:v>
                </c:pt>
                <c:pt idx="322">
                  <c:v>44432</c:v>
                </c:pt>
                <c:pt idx="323">
                  <c:v>44433</c:v>
                </c:pt>
                <c:pt idx="324">
                  <c:v>44434</c:v>
                </c:pt>
                <c:pt idx="325">
                  <c:v>44435</c:v>
                </c:pt>
                <c:pt idx="326">
                  <c:v>44438</c:v>
                </c:pt>
                <c:pt idx="327">
                  <c:v>44439</c:v>
                </c:pt>
                <c:pt idx="328">
                  <c:v>44440</c:v>
                </c:pt>
                <c:pt idx="329">
                  <c:v>44441</c:v>
                </c:pt>
                <c:pt idx="330">
                  <c:v>44442</c:v>
                </c:pt>
                <c:pt idx="331">
                  <c:v>44445</c:v>
                </c:pt>
                <c:pt idx="332">
                  <c:v>44446</c:v>
                </c:pt>
                <c:pt idx="333">
                  <c:v>44447</c:v>
                </c:pt>
                <c:pt idx="334">
                  <c:v>44448</c:v>
                </c:pt>
                <c:pt idx="335">
                  <c:v>44449</c:v>
                </c:pt>
                <c:pt idx="336">
                  <c:v>44452</c:v>
                </c:pt>
                <c:pt idx="337">
                  <c:v>44453</c:v>
                </c:pt>
                <c:pt idx="338">
                  <c:v>44454</c:v>
                </c:pt>
                <c:pt idx="339">
                  <c:v>44455</c:v>
                </c:pt>
                <c:pt idx="340">
                  <c:v>44456</c:v>
                </c:pt>
                <c:pt idx="341">
                  <c:v>44459</c:v>
                </c:pt>
                <c:pt idx="342">
                  <c:v>44460</c:v>
                </c:pt>
                <c:pt idx="343">
                  <c:v>44461</c:v>
                </c:pt>
                <c:pt idx="344">
                  <c:v>44462</c:v>
                </c:pt>
                <c:pt idx="345">
                  <c:v>44463</c:v>
                </c:pt>
                <c:pt idx="346">
                  <c:v>44466</c:v>
                </c:pt>
                <c:pt idx="347">
                  <c:v>44467</c:v>
                </c:pt>
                <c:pt idx="348">
                  <c:v>44468</c:v>
                </c:pt>
                <c:pt idx="349">
                  <c:v>44469</c:v>
                </c:pt>
                <c:pt idx="350">
                  <c:v>44470</c:v>
                </c:pt>
                <c:pt idx="351">
                  <c:v>44473</c:v>
                </c:pt>
                <c:pt idx="352">
                  <c:v>44474</c:v>
                </c:pt>
                <c:pt idx="353">
                  <c:v>44475</c:v>
                </c:pt>
                <c:pt idx="354">
                  <c:v>44476</c:v>
                </c:pt>
                <c:pt idx="355">
                  <c:v>44477</c:v>
                </c:pt>
                <c:pt idx="356">
                  <c:v>44480</c:v>
                </c:pt>
                <c:pt idx="357">
                  <c:v>44481</c:v>
                </c:pt>
                <c:pt idx="358">
                  <c:v>44482</c:v>
                </c:pt>
                <c:pt idx="359">
                  <c:v>44483</c:v>
                </c:pt>
                <c:pt idx="360">
                  <c:v>44484</c:v>
                </c:pt>
                <c:pt idx="361">
                  <c:v>44487</c:v>
                </c:pt>
                <c:pt idx="362">
                  <c:v>44488</c:v>
                </c:pt>
                <c:pt idx="363">
                  <c:v>44489</c:v>
                </c:pt>
                <c:pt idx="364">
                  <c:v>44490</c:v>
                </c:pt>
                <c:pt idx="365">
                  <c:v>44491</c:v>
                </c:pt>
                <c:pt idx="366">
                  <c:v>44494</c:v>
                </c:pt>
                <c:pt idx="367">
                  <c:v>44495</c:v>
                </c:pt>
                <c:pt idx="368">
                  <c:v>44496</c:v>
                </c:pt>
                <c:pt idx="369">
                  <c:v>44497</c:v>
                </c:pt>
                <c:pt idx="370">
                  <c:v>44498</c:v>
                </c:pt>
                <c:pt idx="371">
                  <c:v>44501</c:v>
                </c:pt>
                <c:pt idx="372">
                  <c:v>44502</c:v>
                </c:pt>
                <c:pt idx="373">
                  <c:v>44503</c:v>
                </c:pt>
                <c:pt idx="374">
                  <c:v>44504</c:v>
                </c:pt>
                <c:pt idx="375">
                  <c:v>44505</c:v>
                </c:pt>
                <c:pt idx="376">
                  <c:v>44508</c:v>
                </c:pt>
                <c:pt idx="377">
                  <c:v>44509</c:v>
                </c:pt>
                <c:pt idx="378">
                  <c:v>44510</c:v>
                </c:pt>
                <c:pt idx="379">
                  <c:v>44511</c:v>
                </c:pt>
                <c:pt idx="380">
                  <c:v>44512</c:v>
                </c:pt>
                <c:pt idx="381">
                  <c:v>44515</c:v>
                </c:pt>
                <c:pt idx="382">
                  <c:v>44516</c:v>
                </c:pt>
                <c:pt idx="383">
                  <c:v>44517</c:v>
                </c:pt>
                <c:pt idx="384">
                  <c:v>44518</c:v>
                </c:pt>
                <c:pt idx="385">
                  <c:v>44519</c:v>
                </c:pt>
                <c:pt idx="386">
                  <c:v>44522</c:v>
                </c:pt>
                <c:pt idx="387">
                  <c:v>44523</c:v>
                </c:pt>
                <c:pt idx="388">
                  <c:v>44524</c:v>
                </c:pt>
                <c:pt idx="389">
                  <c:v>44525</c:v>
                </c:pt>
                <c:pt idx="390">
                  <c:v>44526</c:v>
                </c:pt>
                <c:pt idx="391">
                  <c:v>44529</c:v>
                </c:pt>
                <c:pt idx="392">
                  <c:v>44530</c:v>
                </c:pt>
                <c:pt idx="393">
                  <c:v>44531</c:v>
                </c:pt>
                <c:pt idx="394">
                  <c:v>44532</c:v>
                </c:pt>
                <c:pt idx="395">
                  <c:v>44533</c:v>
                </c:pt>
                <c:pt idx="396">
                  <c:v>44536</c:v>
                </c:pt>
                <c:pt idx="397">
                  <c:v>44537</c:v>
                </c:pt>
                <c:pt idx="398">
                  <c:v>44538</c:v>
                </c:pt>
                <c:pt idx="399">
                  <c:v>44539</c:v>
                </c:pt>
                <c:pt idx="400">
                  <c:v>44540</c:v>
                </c:pt>
                <c:pt idx="401">
                  <c:v>44543</c:v>
                </c:pt>
                <c:pt idx="402">
                  <c:v>44544</c:v>
                </c:pt>
                <c:pt idx="403">
                  <c:v>44545</c:v>
                </c:pt>
                <c:pt idx="404">
                  <c:v>44546</c:v>
                </c:pt>
                <c:pt idx="405">
                  <c:v>44547</c:v>
                </c:pt>
                <c:pt idx="406">
                  <c:v>44550</c:v>
                </c:pt>
                <c:pt idx="407">
                  <c:v>44551</c:v>
                </c:pt>
                <c:pt idx="408">
                  <c:v>44552</c:v>
                </c:pt>
                <c:pt idx="409">
                  <c:v>44553</c:v>
                </c:pt>
                <c:pt idx="410">
                  <c:v>44554</c:v>
                </c:pt>
                <c:pt idx="411">
                  <c:v>44557</c:v>
                </c:pt>
                <c:pt idx="412">
                  <c:v>44558</c:v>
                </c:pt>
                <c:pt idx="413">
                  <c:v>44559</c:v>
                </c:pt>
                <c:pt idx="414">
                  <c:v>44560</c:v>
                </c:pt>
                <c:pt idx="415">
                  <c:v>44561</c:v>
                </c:pt>
                <c:pt idx="416">
                  <c:v>44564</c:v>
                </c:pt>
                <c:pt idx="417">
                  <c:v>44565</c:v>
                </c:pt>
                <c:pt idx="418">
                  <c:v>44566</c:v>
                </c:pt>
                <c:pt idx="419">
                  <c:v>44567</c:v>
                </c:pt>
                <c:pt idx="420">
                  <c:v>44568</c:v>
                </c:pt>
                <c:pt idx="421">
                  <c:v>44571</c:v>
                </c:pt>
                <c:pt idx="422">
                  <c:v>44572</c:v>
                </c:pt>
                <c:pt idx="423">
                  <c:v>44573</c:v>
                </c:pt>
                <c:pt idx="424">
                  <c:v>44574</c:v>
                </c:pt>
                <c:pt idx="425">
                  <c:v>44575</c:v>
                </c:pt>
                <c:pt idx="426">
                  <c:v>44578</c:v>
                </c:pt>
                <c:pt idx="427">
                  <c:v>44579</c:v>
                </c:pt>
                <c:pt idx="428">
                  <c:v>44580</c:v>
                </c:pt>
                <c:pt idx="429">
                  <c:v>44581</c:v>
                </c:pt>
                <c:pt idx="430">
                  <c:v>44582</c:v>
                </c:pt>
                <c:pt idx="431">
                  <c:v>44585</c:v>
                </c:pt>
                <c:pt idx="432">
                  <c:v>44586</c:v>
                </c:pt>
                <c:pt idx="433">
                  <c:v>44587</c:v>
                </c:pt>
                <c:pt idx="434">
                  <c:v>44588</c:v>
                </c:pt>
                <c:pt idx="435">
                  <c:v>44589</c:v>
                </c:pt>
                <c:pt idx="436">
                  <c:v>44592</c:v>
                </c:pt>
                <c:pt idx="437">
                  <c:v>44593</c:v>
                </c:pt>
                <c:pt idx="438">
                  <c:v>44594</c:v>
                </c:pt>
                <c:pt idx="439">
                  <c:v>44595</c:v>
                </c:pt>
                <c:pt idx="440">
                  <c:v>44596</c:v>
                </c:pt>
                <c:pt idx="441">
                  <c:v>44599</c:v>
                </c:pt>
                <c:pt idx="442">
                  <c:v>44600</c:v>
                </c:pt>
                <c:pt idx="443">
                  <c:v>44601</c:v>
                </c:pt>
                <c:pt idx="444">
                  <c:v>44602</c:v>
                </c:pt>
                <c:pt idx="445">
                  <c:v>44603</c:v>
                </c:pt>
                <c:pt idx="446">
                  <c:v>44606</c:v>
                </c:pt>
                <c:pt idx="447">
                  <c:v>44607</c:v>
                </c:pt>
                <c:pt idx="448">
                  <c:v>44608</c:v>
                </c:pt>
                <c:pt idx="449">
                  <c:v>44609</c:v>
                </c:pt>
                <c:pt idx="450">
                  <c:v>44610</c:v>
                </c:pt>
                <c:pt idx="451">
                  <c:v>44613</c:v>
                </c:pt>
                <c:pt idx="452">
                  <c:v>44614</c:v>
                </c:pt>
                <c:pt idx="453">
                  <c:v>44615</c:v>
                </c:pt>
                <c:pt idx="454">
                  <c:v>44616</c:v>
                </c:pt>
                <c:pt idx="455">
                  <c:v>44617</c:v>
                </c:pt>
                <c:pt idx="456">
                  <c:v>44620</c:v>
                </c:pt>
                <c:pt idx="457">
                  <c:v>44621</c:v>
                </c:pt>
                <c:pt idx="458">
                  <c:v>44622</c:v>
                </c:pt>
                <c:pt idx="459">
                  <c:v>44623</c:v>
                </c:pt>
                <c:pt idx="460">
                  <c:v>44624</c:v>
                </c:pt>
                <c:pt idx="461">
                  <c:v>44627</c:v>
                </c:pt>
                <c:pt idx="462">
                  <c:v>44628</c:v>
                </c:pt>
                <c:pt idx="463">
                  <c:v>44629</c:v>
                </c:pt>
                <c:pt idx="464">
                  <c:v>44630</c:v>
                </c:pt>
                <c:pt idx="465">
                  <c:v>44631</c:v>
                </c:pt>
                <c:pt idx="466">
                  <c:v>44634</c:v>
                </c:pt>
                <c:pt idx="467">
                  <c:v>44635</c:v>
                </c:pt>
                <c:pt idx="468">
                  <c:v>44636</c:v>
                </c:pt>
                <c:pt idx="469">
                  <c:v>44637</c:v>
                </c:pt>
                <c:pt idx="470">
                  <c:v>44638</c:v>
                </c:pt>
                <c:pt idx="471">
                  <c:v>44641</c:v>
                </c:pt>
                <c:pt idx="472">
                  <c:v>44642</c:v>
                </c:pt>
                <c:pt idx="473">
                  <c:v>44643</c:v>
                </c:pt>
                <c:pt idx="474">
                  <c:v>44644</c:v>
                </c:pt>
                <c:pt idx="475">
                  <c:v>44645</c:v>
                </c:pt>
                <c:pt idx="476">
                  <c:v>44648</c:v>
                </c:pt>
                <c:pt idx="477">
                  <c:v>44649</c:v>
                </c:pt>
                <c:pt idx="478">
                  <c:v>44650</c:v>
                </c:pt>
                <c:pt idx="479">
                  <c:v>44651</c:v>
                </c:pt>
                <c:pt idx="480">
                  <c:v>44652</c:v>
                </c:pt>
                <c:pt idx="481">
                  <c:v>44655</c:v>
                </c:pt>
                <c:pt idx="482">
                  <c:v>44656</c:v>
                </c:pt>
                <c:pt idx="483">
                  <c:v>44657</c:v>
                </c:pt>
                <c:pt idx="484">
                  <c:v>44658</c:v>
                </c:pt>
                <c:pt idx="485">
                  <c:v>44659</c:v>
                </c:pt>
                <c:pt idx="486">
                  <c:v>44662</c:v>
                </c:pt>
                <c:pt idx="487">
                  <c:v>44663</c:v>
                </c:pt>
                <c:pt idx="488">
                  <c:v>44664</c:v>
                </c:pt>
                <c:pt idx="489">
                  <c:v>44665</c:v>
                </c:pt>
                <c:pt idx="490">
                  <c:v>44666</c:v>
                </c:pt>
                <c:pt idx="491">
                  <c:v>44669</c:v>
                </c:pt>
                <c:pt idx="492">
                  <c:v>44670</c:v>
                </c:pt>
                <c:pt idx="493">
                  <c:v>44671</c:v>
                </c:pt>
                <c:pt idx="494">
                  <c:v>44672</c:v>
                </c:pt>
                <c:pt idx="495">
                  <c:v>44673</c:v>
                </c:pt>
                <c:pt idx="496">
                  <c:v>44676</c:v>
                </c:pt>
                <c:pt idx="497">
                  <c:v>44677</c:v>
                </c:pt>
                <c:pt idx="498">
                  <c:v>44678</c:v>
                </c:pt>
                <c:pt idx="499">
                  <c:v>44679</c:v>
                </c:pt>
                <c:pt idx="500">
                  <c:v>44680</c:v>
                </c:pt>
                <c:pt idx="501">
                  <c:v>44683</c:v>
                </c:pt>
                <c:pt idx="502">
                  <c:v>44684</c:v>
                </c:pt>
                <c:pt idx="503">
                  <c:v>44685</c:v>
                </c:pt>
                <c:pt idx="504">
                  <c:v>44686</c:v>
                </c:pt>
                <c:pt idx="505">
                  <c:v>44687</c:v>
                </c:pt>
                <c:pt idx="506">
                  <c:v>44690</c:v>
                </c:pt>
                <c:pt idx="507">
                  <c:v>44691</c:v>
                </c:pt>
                <c:pt idx="508">
                  <c:v>44692</c:v>
                </c:pt>
                <c:pt idx="509">
                  <c:v>44693</c:v>
                </c:pt>
                <c:pt idx="510">
                  <c:v>44694</c:v>
                </c:pt>
                <c:pt idx="511">
                  <c:v>44697</c:v>
                </c:pt>
                <c:pt idx="512">
                  <c:v>44698</c:v>
                </c:pt>
                <c:pt idx="513">
                  <c:v>44699</c:v>
                </c:pt>
                <c:pt idx="514">
                  <c:v>44700</c:v>
                </c:pt>
                <c:pt idx="515">
                  <c:v>44701</c:v>
                </c:pt>
                <c:pt idx="516">
                  <c:v>44704</c:v>
                </c:pt>
                <c:pt idx="517">
                  <c:v>44705</c:v>
                </c:pt>
                <c:pt idx="518">
                  <c:v>44706</c:v>
                </c:pt>
                <c:pt idx="519">
                  <c:v>44707</c:v>
                </c:pt>
                <c:pt idx="520">
                  <c:v>44708</c:v>
                </c:pt>
                <c:pt idx="521">
                  <c:v>44711</c:v>
                </c:pt>
                <c:pt idx="522">
                  <c:v>44712</c:v>
                </c:pt>
                <c:pt idx="523">
                  <c:v>44713</c:v>
                </c:pt>
                <c:pt idx="524">
                  <c:v>44714</c:v>
                </c:pt>
                <c:pt idx="525">
                  <c:v>44715</c:v>
                </c:pt>
                <c:pt idx="526">
                  <c:v>44718</c:v>
                </c:pt>
                <c:pt idx="527">
                  <c:v>44719</c:v>
                </c:pt>
                <c:pt idx="528">
                  <c:v>44720</c:v>
                </c:pt>
                <c:pt idx="529">
                  <c:v>44721</c:v>
                </c:pt>
                <c:pt idx="530">
                  <c:v>44722</c:v>
                </c:pt>
                <c:pt idx="531">
                  <c:v>44725</c:v>
                </c:pt>
                <c:pt idx="532">
                  <c:v>44726</c:v>
                </c:pt>
                <c:pt idx="533">
                  <c:v>44727</c:v>
                </c:pt>
                <c:pt idx="534">
                  <c:v>44728</c:v>
                </c:pt>
                <c:pt idx="535">
                  <c:v>44729</c:v>
                </c:pt>
                <c:pt idx="536">
                  <c:v>44732</c:v>
                </c:pt>
                <c:pt idx="537">
                  <c:v>44733</c:v>
                </c:pt>
                <c:pt idx="538">
                  <c:v>44734</c:v>
                </c:pt>
                <c:pt idx="539">
                  <c:v>44735</c:v>
                </c:pt>
                <c:pt idx="540">
                  <c:v>44736</c:v>
                </c:pt>
                <c:pt idx="541">
                  <c:v>44739</c:v>
                </c:pt>
                <c:pt idx="542">
                  <c:v>44740</c:v>
                </c:pt>
                <c:pt idx="543">
                  <c:v>44741</c:v>
                </c:pt>
                <c:pt idx="544">
                  <c:v>44742</c:v>
                </c:pt>
              </c:numCache>
            </c:numRef>
          </c:cat>
          <c:val>
            <c:numRef>
              <c:f>Sheet1!$E$632:$E$1176</c:f>
              <c:numCache>
                <c:formatCode>General</c:formatCode>
                <c:ptCount val="545"/>
                <c:pt idx="0">
                  <c:v>5.2057399999999997E-2</c:v>
                </c:pt>
                <c:pt idx="1">
                  <c:v>5.5223200000000007E-2</c:v>
                </c:pt>
                <c:pt idx="2">
                  <c:v>5.7224199999999989E-2</c:v>
                </c:pt>
                <c:pt idx="3">
                  <c:v>5.9226800000000003E-2</c:v>
                </c:pt>
                <c:pt idx="4">
                  <c:v>6.1284399999999996E-2</c:v>
                </c:pt>
                <c:pt idx="5">
                  <c:v>6.5337599999999996E-2</c:v>
                </c:pt>
                <c:pt idx="6">
                  <c:v>6.8215400000000009E-2</c:v>
                </c:pt>
                <c:pt idx="7">
                  <c:v>7.0231799999999997E-2</c:v>
                </c:pt>
                <c:pt idx="8">
                  <c:v>7.2235199999999999E-2</c:v>
                </c:pt>
                <c:pt idx="9">
                  <c:v>7.2534399999999999E-2</c:v>
                </c:pt>
                <c:pt idx="10">
                  <c:v>7.3046600000000003E-2</c:v>
                </c:pt>
                <c:pt idx="11">
                  <c:v>7.5002800000000008E-2</c:v>
                </c:pt>
                <c:pt idx="12">
                  <c:v>7.5488799999999995E-2</c:v>
                </c:pt>
                <c:pt idx="13">
                  <c:v>7.7754199999999996E-2</c:v>
                </c:pt>
                <c:pt idx="14">
                  <c:v>7.9405799999999999E-2</c:v>
                </c:pt>
                <c:pt idx="15">
                  <c:v>7.8858999999999999E-2</c:v>
                </c:pt>
                <c:pt idx="16">
                  <c:v>7.68678E-2</c:v>
                </c:pt>
                <c:pt idx="17">
                  <c:v>7.2382000000000016E-2</c:v>
                </c:pt>
                <c:pt idx="18">
                  <c:v>7.0388599999999996E-2</c:v>
                </c:pt>
                <c:pt idx="19">
                  <c:v>7.0638800000000002E-2</c:v>
                </c:pt>
                <c:pt idx="20">
                  <c:v>7.2628200000000004E-2</c:v>
                </c:pt>
                <c:pt idx="21">
                  <c:v>7.3288800000000001E-2</c:v>
                </c:pt>
                <c:pt idx="22">
                  <c:v>7.7392199999999994E-2</c:v>
                </c:pt>
                <c:pt idx="23">
                  <c:v>7.9103199999999999E-2</c:v>
                </c:pt>
                <c:pt idx="24">
                  <c:v>8.0852800000000016E-2</c:v>
                </c:pt>
                <c:pt idx="25">
                  <c:v>#N/A</c:v>
                </c:pt>
                <c:pt idx="26">
                  <c:v>8.4841799999999995E-2</c:v>
                </c:pt>
                <c:pt idx="27">
                  <c:v>9.0155400000000011E-2</c:v>
                </c:pt>
                <c:pt idx="28">
                  <c:v>9.2791600000000002E-2</c:v>
                </c:pt>
                <c:pt idx="29">
                  <c:v>9.4785999999999995E-2</c:v>
                </c:pt>
                <c:pt idx="30">
                  <c:v>9.4776799999999994E-2</c:v>
                </c:pt>
                <c:pt idx="31">
                  <c:v>9.2780399999999999E-2</c:v>
                </c:pt>
                <c:pt idx="32">
                  <c:v>9.281940000000001E-2</c:v>
                </c:pt>
                <c:pt idx="33">
                  <c:v>9.8051799999999995E-2</c:v>
                </c:pt>
                <c:pt idx="34">
                  <c:v>0.10030460000000001</c:v>
                </c:pt>
                <c:pt idx="35">
                  <c:v>0.1029708</c:v>
                </c:pt>
                <c:pt idx="36">
                  <c:v>0.1049672</c:v>
                </c:pt>
                <c:pt idx="37">
                  <c:v>0.10492680000000001</c:v>
                </c:pt>
                <c:pt idx="38">
                  <c:v>9.912180000000001E-2</c:v>
                </c:pt>
                <c:pt idx="39">
                  <c:v>9.6866599999999997E-2</c:v>
                </c:pt>
                <c:pt idx="40">
                  <c:v>9.5480199999999987E-2</c:v>
                </c:pt>
                <c:pt idx="41">
                  <c:v>9.5480199999999987E-2</c:v>
                </c:pt>
                <c:pt idx="42">
                  <c:v>9.474479999999999E-2</c:v>
                </c:pt>
                <c:pt idx="43">
                  <c:v>9.3298999999999993E-2</c:v>
                </c:pt>
                <c:pt idx="44">
                  <c:v>9.2135800000000004E-2</c:v>
                </c:pt>
                <c:pt idx="45">
                  <c:v>9.0854000000000018E-2</c:v>
                </c:pt>
                <c:pt idx="46">
                  <c:v>8.8775599999999996E-2</c:v>
                </c:pt>
                <c:pt idx="47">
                  <c:v>8.7511000000000005E-2</c:v>
                </c:pt>
                <c:pt idx="48">
                  <c:v>8.8758399999999987E-2</c:v>
                </c:pt>
                <c:pt idx="49">
                  <c:v>8.8873599999999983E-2</c:v>
                </c:pt>
                <c:pt idx="50">
                  <c:v>8.7617399999999984E-2</c:v>
                </c:pt>
                <c:pt idx="51">
                  <c:v>8.6660199999999993E-2</c:v>
                </c:pt>
                <c:pt idx="52">
                  <c:v>8.6660200000000007E-2</c:v>
                </c:pt>
                <c:pt idx="53">
                  <c:v>8.6664599999999994E-2</c:v>
                </c:pt>
                <c:pt idx="54">
                  <c:v>8.7712600000000002E-2</c:v>
                </c:pt>
                <c:pt idx="55">
                  <c:v>8.8968799999999987E-2</c:v>
                </c:pt>
                <c:pt idx="56">
                  <c:v>9.0004399999999984E-2</c:v>
                </c:pt>
                <c:pt idx="57">
                  <c:v>8.8529599999999986E-2</c:v>
                </c:pt>
                <c:pt idx="58">
                  <c:v>8.6525199999999997E-2</c:v>
                </c:pt>
                <c:pt idx="59">
                  <c:v>8.09618E-2</c:v>
                </c:pt>
                <c:pt idx="60">
                  <c:v>7.6961799999999997E-2</c:v>
                </c:pt>
                <c:pt idx="61">
                  <c:v>7.0961799999999992E-2</c:v>
                </c:pt>
                <c:pt idx="62">
                  <c:v>6.84366E-2</c:v>
                </c:pt>
                <c:pt idx="63">
                  <c:v>6.4436599999999997E-2</c:v>
                </c:pt>
                <c:pt idx="64">
                  <c:v>6.4000000000000001E-2</c:v>
                </c:pt>
                <c:pt idx="65">
                  <c:v>6.2E-2</c:v>
                </c:pt>
                <c:pt idx="66">
                  <c:v>6.6000000000000003E-2</c:v>
                </c:pt>
                <c:pt idx="67">
                  <c:v>6.6000000000000003E-2</c:v>
                </c:pt>
                <c:pt idx="68">
                  <c:v>7.0000000000000007E-2</c:v>
                </c:pt>
                <c:pt idx="69">
                  <c:v>7.400000000000001E-2</c:v>
                </c:pt>
                <c:pt idx="70">
                  <c:v>7.8000000000000014E-2</c:v>
                </c:pt>
                <c:pt idx="71">
                  <c:v>#N/A</c:v>
                </c:pt>
                <c:pt idx="72">
                  <c:v>7.8000000000000014E-2</c:v>
                </c:pt>
                <c:pt idx="73">
                  <c:v>0.08</c:v>
                </c:pt>
                <c:pt idx="74">
                  <c:v>0.08</c:v>
                </c:pt>
                <c:pt idx="75">
                  <c:v>8.0432400000000001E-2</c:v>
                </c:pt>
                <c:pt idx="76">
                  <c:v>8.0432400000000001E-2</c:v>
                </c:pt>
                <c:pt idx="77">
                  <c:v>8.2432400000000003E-2</c:v>
                </c:pt>
                <c:pt idx="78">
                  <c:v>8.2432399999999989E-2</c:v>
                </c:pt>
                <c:pt idx="79">
                  <c:v>8.2432400000000003E-2</c:v>
                </c:pt>
                <c:pt idx="80">
                  <c:v>8.2000000000000003E-2</c:v>
                </c:pt>
                <c:pt idx="81">
                  <c:v>8.004E-2</c:v>
                </c:pt>
                <c:pt idx="82">
                  <c:v>7.4039999999999995E-2</c:v>
                </c:pt>
                <c:pt idx="83">
                  <c:v>6.8040000000000003E-2</c:v>
                </c:pt>
                <c:pt idx="84">
                  <c:v>6.4165E-2</c:v>
                </c:pt>
                <c:pt idx="85">
                  <c:v>6.4165E-2</c:v>
                </c:pt>
                <c:pt idx="86">
                  <c:v>6.6061599999999998E-2</c:v>
                </c:pt>
                <c:pt idx="87">
                  <c:v>6.6061599999999998E-2</c:v>
                </c:pt>
                <c:pt idx="88">
                  <c:v>7.0061600000000002E-2</c:v>
                </c:pt>
                <c:pt idx="89">
                  <c:v>6.9936600000000002E-2</c:v>
                </c:pt>
                <c:pt idx="90">
                  <c:v>6.9971800000000001E-2</c:v>
                </c:pt>
                <c:pt idx="91">
                  <c:v>7.0035199999999992E-2</c:v>
                </c:pt>
                <c:pt idx="92">
                  <c:v>7.4035199999999995E-2</c:v>
                </c:pt>
                <c:pt idx="93">
                  <c:v>7.6049000000000005E-2</c:v>
                </c:pt>
                <c:pt idx="94">
                  <c:v>7.8049000000000007E-2</c:v>
                </c:pt>
                <c:pt idx="95">
                  <c:v>7.6095200000000002E-2</c:v>
                </c:pt>
                <c:pt idx="96">
                  <c:v>#N/A</c:v>
                </c:pt>
                <c:pt idx="97">
                  <c:v>7.6095200000000002E-2</c:v>
                </c:pt>
                <c:pt idx="98">
                  <c:v>7.6095200000000002E-2</c:v>
                </c:pt>
                <c:pt idx="99">
                  <c:v>7.8081400000000009E-2</c:v>
                </c:pt>
                <c:pt idx="100">
                  <c:v>8.0101200000000011E-2</c:v>
                </c:pt>
                <c:pt idx="101">
                  <c:v>8.2019800000000004E-2</c:v>
                </c:pt>
                <c:pt idx="102">
                  <c:v>8.2019800000000004E-2</c:v>
                </c:pt>
                <c:pt idx="103">
                  <c:v>7.80198E-2</c:v>
                </c:pt>
                <c:pt idx="104">
                  <c:v>7.2019799999999995E-2</c:v>
                </c:pt>
                <c:pt idx="105">
                  <c:v>7.0000000000000007E-2</c:v>
                </c:pt>
                <c:pt idx="106">
                  <c:v>7.0000000000000007E-2</c:v>
                </c:pt>
                <c:pt idx="107">
                  <c:v>7.0000000000000007E-2</c:v>
                </c:pt>
                <c:pt idx="108">
                  <c:v>7.3390800000000006E-2</c:v>
                </c:pt>
                <c:pt idx="109">
                  <c:v>7.5390800000000008E-2</c:v>
                </c:pt>
                <c:pt idx="110">
                  <c:v>7.739080000000001E-2</c:v>
                </c:pt>
                <c:pt idx="111">
                  <c:v>7.9455999999999999E-2</c:v>
                </c:pt>
                <c:pt idx="112">
                  <c:v>7.9730400000000007E-2</c:v>
                </c:pt>
                <c:pt idx="113">
                  <c:v>8.2339599999999999E-2</c:v>
                </c:pt>
                <c:pt idx="114">
                  <c:v>8.6339599999999989E-2</c:v>
                </c:pt>
                <c:pt idx="115">
                  <c:v>8.833959999999999E-2</c:v>
                </c:pt>
                <c:pt idx="116">
                  <c:v>8.7860800000000003E-2</c:v>
                </c:pt>
                <c:pt idx="117">
                  <c:v>8.7586400000000009E-2</c:v>
                </c:pt>
                <c:pt idx="118">
                  <c:v>#N/A</c:v>
                </c:pt>
                <c:pt idx="119">
                  <c:v>8.5586400000000007E-2</c:v>
                </c:pt>
                <c:pt idx="120">
                  <c:v>8.3586400000000005E-2</c:v>
                </c:pt>
                <c:pt idx="121">
                  <c:v>8.3586399999999991E-2</c:v>
                </c:pt>
                <c:pt idx="122">
                  <c:v>8.199999999999999E-2</c:v>
                </c:pt>
                <c:pt idx="123">
                  <c:v>7.8292400000000012E-2</c:v>
                </c:pt>
                <c:pt idx="124">
                  <c:v>7.2798600000000005E-2</c:v>
                </c:pt>
                <c:pt idx="125">
                  <c:v>6.67986E-2</c:v>
                </c:pt>
                <c:pt idx="126">
                  <c:v>5.8798599999999999E-2</c:v>
                </c:pt>
                <c:pt idx="127">
                  <c:v>5.4798599999999996E-2</c:v>
                </c:pt>
                <c:pt idx="128">
                  <c:v>5.6506200000000006E-2</c:v>
                </c:pt>
                <c:pt idx="129">
                  <c:v>#N/A</c:v>
                </c:pt>
                <c:pt idx="130">
                  <c:v>6.2E-2</c:v>
                </c:pt>
                <c:pt idx="131">
                  <c:v>6.9999999999999993E-2</c:v>
                </c:pt>
                <c:pt idx="132">
                  <c:v>7.400000000000001E-2</c:v>
                </c:pt>
                <c:pt idx="133">
                  <c:v>7.6000000000000012E-2</c:v>
                </c:pt>
                <c:pt idx="134">
                  <c:v>7.5999999999999998E-2</c:v>
                </c:pt>
                <c:pt idx="135">
                  <c:v>7.6000000000000012E-2</c:v>
                </c:pt>
                <c:pt idx="136">
                  <c:v>7.400000000000001E-2</c:v>
                </c:pt>
                <c:pt idx="137">
                  <c:v>7.400000000000001E-2</c:v>
                </c:pt>
                <c:pt idx="138">
                  <c:v>7.400000000000001E-2</c:v>
                </c:pt>
                <c:pt idx="139">
                  <c:v>7.400000000000001E-2</c:v>
                </c:pt>
                <c:pt idx="140">
                  <c:v>7.2000000000000008E-2</c:v>
                </c:pt>
                <c:pt idx="141">
                  <c:v>7.0000000000000007E-2</c:v>
                </c:pt>
                <c:pt idx="142">
                  <c:v>7.2000000000000008E-2</c:v>
                </c:pt>
                <c:pt idx="143">
                  <c:v>7.400000000000001E-2</c:v>
                </c:pt>
                <c:pt idx="144">
                  <c:v>7.8E-2</c:v>
                </c:pt>
                <c:pt idx="145">
                  <c:v>8.2000000000000003E-2</c:v>
                </c:pt>
                <c:pt idx="146">
                  <c:v>8.3999999999999991E-2</c:v>
                </c:pt>
                <c:pt idx="147">
                  <c:v>8.2000000000000003E-2</c:v>
                </c:pt>
                <c:pt idx="148">
                  <c:v>7.8E-2</c:v>
                </c:pt>
                <c:pt idx="149">
                  <c:v>7.3999999999999996E-2</c:v>
                </c:pt>
                <c:pt idx="150">
                  <c:v>#N/A</c:v>
                </c:pt>
                <c:pt idx="151">
                  <c:v>7.3999999999999996E-2</c:v>
                </c:pt>
                <c:pt idx="152">
                  <c:v>7.5999999999999998E-2</c:v>
                </c:pt>
                <c:pt idx="153">
                  <c:v>0.08</c:v>
                </c:pt>
                <c:pt idx="154">
                  <c:v>8.199999999999999E-2</c:v>
                </c:pt>
                <c:pt idx="155">
                  <c:v>#N/A</c:v>
                </c:pt>
                <c:pt idx="156">
                  <c:v>8.2245800000000008E-2</c:v>
                </c:pt>
                <c:pt idx="157">
                  <c:v>8.3060800000000004E-2</c:v>
                </c:pt>
                <c:pt idx="158">
                  <c:v>8.3060800000000004E-2</c:v>
                </c:pt>
                <c:pt idx="159">
                  <c:v>8.3060800000000004E-2</c:v>
                </c:pt>
                <c:pt idx="160">
                  <c:v>8.5060799999999992E-2</c:v>
                </c:pt>
                <c:pt idx="161">
                  <c:v>8.4815000000000002E-2</c:v>
                </c:pt>
                <c:pt idx="162">
                  <c:v>0.08</c:v>
                </c:pt>
                <c:pt idx="163">
                  <c:v>7.3999999999999996E-2</c:v>
                </c:pt>
                <c:pt idx="164">
                  <c:v>6.8000000000000005E-2</c:v>
                </c:pt>
                <c:pt idx="165">
                  <c:v>6.6000000000000003E-2</c:v>
                </c:pt>
                <c:pt idx="166">
                  <c:v>#N/A</c:v>
                </c:pt>
                <c:pt idx="167">
                  <c:v>6.4000000000000001E-2</c:v>
                </c:pt>
                <c:pt idx="168">
                  <c:v>0.06</c:v>
                </c:pt>
                <c:pt idx="169">
                  <c:v>5.4000000000000006E-2</c:v>
                </c:pt>
                <c:pt idx="170">
                  <c:v>5.2000000000000005E-2</c:v>
                </c:pt>
                <c:pt idx="171">
                  <c:v>0.05</c:v>
                </c:pt>
                <c:pt idx="172">
                  <c:v>4.4773600000000004E-2</c:v>
                </c:pt>
                <c:pt idx="173">
                  <c:v>4.0773600000000007E-2</c:v>
                </c:pt>
                <c:pt idx="174">
                  <c:v>4.2773600000000002E-2</c:v>
                </c:pt>
                <c:pt idx="175">
                  <c:v>4.2773600000000002E-2</c:v>
                </c:pt>
                <c:pt idx="176">
                  <c:v>4.2773600000000002E-2</c:v>
                </c:pt>
                <c:pt idx="177">
                  <c:v>0.05</c:v>
                </c:pt>
                <c:pt idx="178">
                  <c:v>5.800000000000001E-2</c:v>
                </c:pt>
                <c:pt idx="179">
                  <c:v>5.9482400000000005E-2</c:v>
                </c:pt>
                <c:pt idx="180">
                  <c:v>5.3482400000000006E-2</c:v>
                </c:pt>
                <c:pt idx="181">
                  <c:v>4.5482399999999999E-2</c:v>
                </c:pt>
                <c:pt idx="182">
                  <c:v>3.96426E-2</c:v>
                </c:pt>
                <c:pt idx="183">
                  <c:v>3.7642599999999998E-2</c:v>
                </c:pt>
                <c:pt idx="184">
                  <c:v>3.8160199999999998E-2</c:v>
                </c:pt>
                <c:pt idx="185">
                  <c:v>4.2160199999999995E-2</c:v>
                </c:pt>
                <c:pt idx="186">
                  <c:v>#N/A</c:v>
                </c:pt>
                <c:pt idx="187">
                  <c:v>5.0160200000000009E-2</c:v>
                </c:pt>
                <c:pt idx="188">
                  <c:v>5.2523E-2</c:v>
                </c:pt>
                <c:pt idx="189">
                  <c:v>4.8522999999999997E-2</c:v>
                </c:pt>
                <c:pt idx="190">
                  <c:v>4.2522999999999998E-2</c:v>
                </c:pt>
                <c:pt idx="191">
                  <c:v>3.8522999999999995E-2</c:v>
                </c:pt>
                <c:pt idx="192">
                  <c:v>2.8523000000000003E-2</c:v>
                </c:pt>
                <c:pt idx="193">
                  <c:v>1.9999999999999997E-2</c:v>
                </c:pt>
                <c:pt idx="194">
                  <c:v>1.6E-2</c:v>
                </c:pt>
                <c:pt idx="195">
                  <c:v>1.3999999999999999E-2</c:v>
                </c:pt>
                <c:pt idx="196">
                  <c:v>1.4000000000000002E-2</c:v>
                </c:pt>
                <c:pt idx="197">
                  <c:v>1.83784E-2</c:v>
                </c:pt>
                <c:pt idx="198">
                  <c:v>2.4378400000000001E-2</c:v>
                </c:pt>
                <c:pt idx="199">
                  <c:v>2.23784E-2</c:v>
                </c:pt>
                <c:pt idx="200">
                  <c:v>2.23784E-2</c:v>
                </c:pt>
                <c:pt idx="201">
                  <c:v>2.0378399999999998E-2</c:v>
                </c:pt>
                <c:pt idx="202">
                  <c:v>1.6E-2</c:v>
                </c:pt>
                <c:pt idx="203">
                  <c:v>0.01</c:v>
                </c:pt>
                <c:pt idx="204">
                  <c:v>0.01</c:v>
                </c:pt>
                <c:pt idx="205">
                  <c:v>0.01</c:v>
                </c:pt>
                <c:pt idx="206">
                  <c:v>0.01</c:v>
                </c:pt>
                <c:pt idx="207">
                  <c:v>0.01</c:v>
                </c:pt>
                <c:pt idx="208">
                  <c:v>0.01</c:v>
                </c:pt>
                <c:pt idx="209">
                  <c:v>0.01</c:v>
                </c:pt>
                <c:pt idx="210">
                  <c:v>0.01</c:v>
                </c:pt>
                <c:pt idx="211">
                  <c:v>0.01</c:v>
                </c:pt>
                <c:pt idx="212">
                  <c:v>0.01</c:v>
                </c:pt>
                <c:pt idx="213">
                  <c:v>0.01</c:v>
                </c:pt>
                <c:pt idx="214">
                  <c:v>1.0045399999999999E-2</c:v>
                </c:pt>
                <c:pt idx="215">
                  <c:v>1.0045399999999999E-2</c:v>
                </c:pt>
                <c:pt idx="216">
                  <c:v>1.0045399999999999E-2</c:v>
                </c:pt>
                <c:pt idx="217">
                  <c:v>1.0045400000000001E-2</c:v>
                </c:pt>
                <c:pt idx="218">
                  <c:v>#N/A</c:v>
                </c:pt>
                <c:pt idx="219">
                  <c:v>1.0045400000000001E-2</c:v>
                </c:pt>
                <c:pt idx="220">
                  <c:v>#N/A</c:v>
                </c:pt>
                <c:pt idx="221">
                  <c:v>0.01</c:v>
                </c:pt>
                <c:pt idx="222">
                  <c:v>0.01</c:v>
                </c:pt>
                <c:pt idx="223">
                  <c:v>0.01</c:v>
                </c:pt>
                <c:pt idx="224">
                  <c:v>0.01</c:v>
                </c:pt>
                <c:pt idx="225">
                  <c:v>0.01</c:v>
                </c:pt>
                <c:pt idx="226">
                  <c:v>0.01</c:v>
                </c:pt>
                <c:pt idx="227">
                  <c:v>0.01</c:v>
                </c:pt>
                <c:pt idx="228">
                  <c:v>0.01</c:v>
                </c:pt>
                <c:pt idx="229">
                  <c:v>0.01</c:v>
                </c:pt>
                <c:pt idx="230">
                  <c:v>0.01</c:v>
                </c:pt>
                <c:pt idx="231">
                  <c:v>0.01</c:v>
                </c:pt>
                <c:pt idx="232">
                  <c:v>0.01</c:v>
                </c:pt>
                <c:pt idx="233">
                  <c:v>0.01</c:v>
                </c:pt>
                <c:pt idx="234">
                  <c:v>0.01</c:v>
                </c:pt>
                <c:pt idx="235">
                  <c:v>0.01</c:v>
                </c:pt>
                <c:pt idx="236">
                  <c:v>0.01</c:v>
                </c:pt>
                <c:pt idx="237">
                  <c:v>0.01</c:v>
                </c:pt>
                <c:pt idx="238">
                  <c:v>0.01</c:v>
                </c:pt>
                <c:pt idx="239">
                  <c:v>9.9138000000000004E-3</c:v>
                </c:pt>
                <c:pt idx="240">
                  <c:v>9.5782000000000003E-3</c:v>
                </c:pt>
                <c:pt idx="241">
                  <c:v>9.5781999999999985E-3</c:v>
                </c:pt>
                <c:pt idx="242">
                  <c:v>9.5782000000000003E-3</c:v>
                </c:pt>
                <c:pt idx="243">
                  <c:v>9.5782000000000003E-3</c:v>
                </c:pt>
                <c:pt idx="244">
                  <c:v>9.6460000000000001E-3</c:v>
                </c:pt>
                <c:pt idx="245">
                  <c:v>9.9627999999999991E-3</c:v>
                </c:pt>
                <c:pt idx="246">
                  <c:v>9.9420000000000012E-3</c:v>
                </c:pt>
                <c:pt idx="247">
                  <c:v>9.9272000000000006E-3</c:v>
                </c:pt>
                <c:pt idx="248">
                  <c:v>9.9120000000000007E-3</c:v>
                </c:pt>
                <c:pt idx="249">
                  <c:v>9.6761999999999994E-3</c:v>
                </c:pt>
                <c:pt idx="250">
                  <c:v>9.3445999999999998E-3</c:v>
                </c:pt>
                <c:pt idx="251">
                  <c:v>8.9200000000000008E-3</c:v>
                </c:pt>
                <c:pt idx="252">
                  <c:v>8.4787999999999999E-3</c:v>
                </c:pt>
                <c:pt idx="253">
                  <c:v>8.0335999999999984E-3</c:v>
                </c:pt>
                <c:pt idx="254">
                  <c:v>7.7927999999999999E-3</c:v>
                </c:pt>
                <c:pt idx="255">
                  <c:v>7.5989999999999999E-3</c:v>
                </c:pt>
                <c:pt idx="256">
                  <c:v>7.4854000000000006E-3</c:v>
                </c:pt>
                <c:pt idx="257">
                  <c:v>7.3834E-3</c:v>
                </c:pt>
                <c:pt idx="258">
                  <c:v>7.2966000000000003E-3</c:v>
                </c:pt>
                <c:pt idx="259">
                  <c:v>7.1946000000000006E-3</c:v>
                </c:pt>
                <c:pt idx="260">
                  <c:v>7.1424000000000001E-3</c:v>
                </c:pt>
                <c:pt idx="261">
                  <c:v>7.1424000000000001E-3</c:v>
                </c:pt>
                <c:pt idx="262">
                  <c:v>7.1700000000000002E-3</c:v>
                </c:pt>
                <c:pt idx="263">
                  <c:v>7.2515999999999995E-3</c:v>
                </c:pt>
                <c:pt idx="264">
                  <c:v>7.2309999999999996E-3</c:v>
                </c:pt>
                <c:pt idx="265">
                  <c:v>7.2445999999999995E-3</c:v>
                </c:pt>
                <c:pt idx="266">
                  <c:v>7.3127999999999995E-3</c:v>
                </c:pt>
                <c:pt idx="267">
                  <c:v>7.2478000000000004E-3</c:v>
                </c:pt>
                <c:pt idx="268">
                  <c:v>7.1478000000000002E-3</c:v>
                </c:pt>
                <c:pt idx="269">
                  <c:v>7.1695999999999999E-3</c:v>
                </c:pt>
                <c:pt idx="270">
                  <c:v>7.1899999999999993E-3</c:v>
                </c:pt>
                <c:pt idx="271">
                  <c:v>7.1220000000000007E-3</c:v>
                </c:pt>
                <c:pt idx="272">
                  <c:v>7.1544000000000009E-3</c:v>
                </c:pt>
                <c:pt idx="273">
                  <c:v>7.1241999999999998E-3</c:v>
                </c:pt>
                <c:pt idx="274">
                  <c:v>1.6522599999999998E-2</c:v>
                </c:pt>
                <c:pt idx="275">
                  <c:v>2.5937200000000001E-2</c:v>
                </c:pt>
                <c:pt idx="276">
                  <c:v>3.5323599999999997E-2</c:v>
                </c:pt>
                <c:pt idx="277">
                  <c:v>4.4287599999999996E-2</c:v>
                </c:pt>
                <c:pt idx="278">
                  <c:v>5.32942E-2</c:v>
                </c:pt>
                <c:pt idx="279">
                  <c:v>5.2841799999999994E-2</c:v>
                </c:pt>
                <c:pt idx="280">
                  <c:v>5.2390199999999998E-2</c:v>
                </c:pt>
                <c:pt idx="281">
                  <c:v>5.2000000000000005E-2</c:v>
                </c:pt>
                <c:pt idx="282">
                  <c:v>5.2000000000000005E-2</c:v>
                </c:pt>
                <c:pt idx="283">
                  <c:v>5.1799999999999999E-2</c:v>
                </c:pt>
                <c:pt idx="284">
                  <c:v>5.16E-2</c:v>
                </c:pt>
                <c:pt idx="285">
                  <c:v>5.1400000000000001E-2</c:v>
                </c:pt>
                <c:pt idx="286">
                  <c:v>5.1400000000000001E-2</c:v>
                </c:pt>
                <c:pt idx="287">
                  <c:v>5.1400000000000001E-2</c:v>
                </c:pt>
                <c:pt idx="288">
                  <c:v>5.1400000000000001E-2</c:v>
                </c:pt>
                <c:pt idx="289">
                  <c:v>5.16E-2</c:v>
                </c:pt>
                <c:pt idx="290">
                  <c:v>5.1799999999999999E-2</c:v>
                </c:pt>
                <c:pt idx="291">
                  <c:v>5.2000000000000005E-2</c:v>
                </c:pt>
                <c:pt idx="292">
                  <c:v>5.2000000000000005E-2</c:v>
                </c:pt>
                <c:pt idx="293">
                  <c:v>5.2000000000000005E-2</c:v>
                </c:pt>
                <c:pt idx="294">
                  <c:v>5.2000000000000005E-2</c:v>
                </c:pt>
                <c:pt idx="295">
                  <c:v>5.2000000000000005E-2</c:v>
                </c:pt>
                <c:pt idx="296">
                  <c:v>5.2000000000000005E-2</c:v>
                </c:pt>
                <c:pt idx="297">
                  <c:v>5.2000000000000005E-2</c:v>
                </c:pt>
                <c:pt idx="298">
                  <c:v>5.2000000000000005E-2</c:v>
                </c:pt>
                <c:pt idx="299">
                  <c:v>5.2000000000000005E-2</c:v>
                </c:pt>
                <c:pt idx="300">
                  <c:v>5.2000000000000005E-2</c:v>
                </c:pt>
                <c:pt idx="301">
                  <c:v>5.2000000000000005E-2</c:v>
                </c:pt>
                <c:pt idx="302">
                  <c:v>5.2000000000000005E-2</c:v>
                </c:pt>
                <c:pt idx="303">
                  <c:v>5.2000000000000005E-2</c:v>
                </c:pt>
                <c:pt idx="304">
                  <c:v>5.2000000000000005E-2</c:v>
                </c:pt>
                <c:pt idx="305">
                  <c:v>5.1799999999999999E-2</c:v>
                </c:pt>
                <c:pt idx="306">
                  <c:v>5.16E-2</c:v>
                </c:pt>
                <c:pt idx="307">
                  <c:v>5.1400000000000001E-2</c:v>
                </c:pt>
                <c:pt idx="308">
                  <c:v>5.1200000000000002E-2</c:v>
                </c:pt>
                <c:pt idx="309">
                  <c:v>5.1000000000000004E-2</c:v>
                </c:pt>
                <c:pt idx="310">
                  <c:v>5.1000000000000004E-2</c:v>
                </c:pt>
                <c:pt idx="311">
                  <c:v>5.1000000000000004E-2</c:v>
                </c:pt>
                <c:pt idx="312">
                  <c:v>5.1000000000000004E-2</c:v>
                </c:pt>
                <c:pt idx="313">
                  <c:v>5.1000000000000004E-2</c:v>
                </c:pt>
                <c:pt idx="314">
                  <c:v>5.1000000000000004E-2</c:v>
                </c:pt>
                <c:pt idx="315">
                  <c:v>5.1000000000000004E-2</c:v>
                </c:pt>
                <c:pt idx="316">
                  <c:v>5.1000000000000004E-2</c:v>
                </c:pt>
                <c:pt idx="317">
                  <c:v>5.1000000000000004E-2</c:v>
                </c:pt>
                <c:pt idx="318">
                  <c:v>5.1000000000000004E-2</c:v>
                </c:pt>
                <c:pt idx="319">
                  <c:v>5.1000000000000004E-2</c:v>
                </c:pt>
                <c:pt idx="320">
                  <c:v>5.1000000000000004E-2</c:v>
                </c:pt>
                <c:pt idx="321">
                  <c:v>5.1000000000000004E-2</c:v>
                </c:pt>
                <c:pt idx="322">
                  <c:v>5.1000000000000004E-2</c:v>
                </c:pt>
                <c:pt idx="323">
                  <c:v>5.1000000000000004E-2</c:v>
                </c:pt>
                <c:pt idx="324">
                  <c:v>5.1000000000000004E-2</c:v>
                </c:pt>
                <c:pt idx="325">
                  <c:v>5.1000000000000004E-2</c:v>
                </c:pt>
                <c:pt idx="326">
                  <c:v>5.1000000000000004E-2</c:v>
                </c:pt>
                <c:pt idx="327">
                  <c:v>5.1000000000000004E-2</c:v>
                </c:pt>
                <c:pt idx="328">
                  <c:v>5.1000000000000004E-2</c:v>
                </c:pt>
                <c:pt idx="329">
                  <c:v>5.1000000000000004E-2</c:v>
                </c:pt>
                <c:pt idx="330">
                  <c:v>5.1000000000000004E-2</c:v>
                </c:pt>
                <c:pt idx="331">
                  <c:v>#N/A</c:v>
                </c:pt>
                <c:pt idx="332">
                  <c:v>5.1000000000000004E-2</c:v>
                </c:pt>
                <c:pt idx="333">
                  <c:v>5.1000000000000004E-2</c:v>
                </c:pt>
                <c:pt idx="334">
                  <c:v>5.1000000000000004E-2</c:v>
                </c:pt>
                <c:pt idx="335">
                  <c:v>5.1000000000000004E-2</c:v>
                </c:pt>
                <c:pt idx="336">
                  <c:v>5.1000000000000004E-2</c:v>
                </c:pt>
                <c:pt idx="337">
                  <c:v>5.1000000000000004E-2</c:v>
                </c:pt>
                <c:pt idx="338">
                  <c:v>5.1000000000000004E-2</c:v>
                </c:pt>
                <c:pt idx="339">
                  <c:v>5.1000000000000004E-2</c:v>
                </c:pt>
                <c:pt idx="340">
                  <c:v>5.1000000000000004E-2</c:v>
                </c:pt>
                <c:pt idx="341">
                  <c:v>5.1000000000000004E-2</c:v>
                </c:pt>
                <c:pt idx="342">
                  <c:v>5.1000000000000004E-2</c:v>
                </c:pt>
                <c:pt idx="343">
                  <c:v>5.1000000000000004E-2</c:v>
                </c:pt>
                <c:pt idx="344">
                  <c:v>5.1000000000000004E-2</c:v>
                </c:pt>
                <c:pt idx="345">
                  <c:v>5.1000000000000004E-2</c:v>
                </c:pt>
                <c:pt idx="346">
                  <c:v>5.1000000000000004E-2</c:v>
                </c:pt>
                <c:pt idx="347">
                  <c:v>5.1000000000000004E-2</c:v>
                </c:pt>
                <c:pt idx="348">
                  <c:v>5.1200000000000002E-2</c:v>
                </c:pt>
                <c:pt idx="349">
                  <c:v>5.1200000000000002E-2</c:v>
                </c:pt>
                <c:pt idx="350">
                  <c:v>5.1200000000000002E-2</c:v>
                </c:pt>
                <c:pt idx="351">
                  <c:v>5.1200000000000002E-2</c:v>
                </c:pt>
                <c:pt idx="352">
                  <c:v>5.1200000000000002E-2</c:v>
                </c:pt>
                <c:pt idx="353">
                  <c:v>5.1000000000000004E-2</c:v>
                </c:pt>
                <c:pt idx="354">
                  <c:v>5.1000000000000004E-2</c:v>
                </c:pt>
                <c:pt idx="355">
                  <c:v>5.1000000000000004E-2</c:v>
                </c:pt>
                <c:pt idx="356">
                  <c:v>#N/A</c:v>
                </c:pt>
                <c:pt idx="357">
                  <c:v>5.1000000000000004E-2</c:v>
                </c:pt>
                <c:pt idx="358">
                  <c:v>5.1000000000000004E-2</c:v>
                </c:pt>
                <c:pt idx="359">
                  <c:v>5.1000000000000004E-2</c:v>
                </c:pt>
                <c:pt idx="360">
                  <c:v>5.1200000000000002E-2</c:v>
                </c:pt>
                <c:pt idx="361">
                  <c:v>5.1200000000000002E-2</c:v>
                </c:pt>
                <c:pt idx="362">
                  <c:v>5.1400000000000001E-2</c:v>
                </c:pt>
                <c:pt idx="363">
                  <c:v>5.16E-2</c:v>
                </c:pt>
                <c:pt idx="364">
                  <c:v>5.1799999999999999E-2</c:v>
                </c:pt>
                <c:pt idx="365">
                  <c:v>5.1799999999999999E-2</c:v>
                </c:pt>
                <c:pt idx="366">
                  <c:v>5.2000000000000005E-2</c:v>
                </c:pt>
                <c:pt idx="367">
                  <c:v>5.1799999999999999E-2</c:v>
                </c:pt>
                <c:pt idx="368">
                  <c:v>5.1799999999999999E-2</c:v>
                </c:pt>
                <c:pt idx="369">
                  <c:v>5.1799999999999999E-2</c:v>
                </c:pt>
                <c:pt idx="370">
                  <c:v>5.16E-2</c:v>
                </c:pt>
                <c:pt idx="371">
                  <c:v>5.1400000000000001E-2</c:v>
                </c:pt>
                <c:pt idx="372">
                  <c:v>5.1400000000000001E-2</c:v>
                </c:pt>
                <c:pt idx="373">
                  <c:v>5.1200000000000002E-2</c:v>
                </c:pt>
                <c:pt idx="374">
                  <c:v>5.1000000000000004E-2</c:v>
                </c:pt>
                <c:pt idx="375">
                  <c:v>5.1000000000000004E-2</c:v>
                </c:pt>
                <c:pt idx="376">
                  <c:v>5.1000000000000004E-2</c:v>
                </c:pt>
                <c:pt idx="377">
                  <c:v>5.1000000000000004E-2</c:v>
                </c:pt>
                <c:pt idx="378">
                  <c:v>5.1000000000000004E-2</c:v>
                </c:pt>
                <c:pt idx="379">
                  <c:v>#N/A</c:v>
                </c:pt>
                <c:pt idx="380">
                  <c:v>5.1000000000000004E-2</c:v>
                </c:pt>
                <c:pt idx="381">
                  <c:v>5.1000000000000004E-2</c:v>
                </c:pt>
                <c:pt idx="382">
                  <c:v>5.1000000000000004E-2</c:v>
                </c:pt>
                <c:pt idx="383">
                  <c:v>5.1000000000000004E-2</c:v>
                </c:pt>
                <c:pt idx="384">
                  <c:v>5.1000000000000004E-2</c:v>
                </c:pt>
                <c:pt idx="385">
                  <c:v>5.1000000000000004E-2</c:v>
                </c:pt>
                <c:pt idx="386">
                  <c:v>5.1000000000000004E-2</c:v>
                </c:pt>
                <c:pt idx="387">
                  <c:v>5.1000000000000004E-2</c:v>
                </c:pt>
                <c:pt idx="388">
                  <c:v>5.1000000000000004E-2</c:v>
                </c:pt>
                <c:pt idx="389">
                  <c:v>#N/A</c:v>
                </c:pt>
                <c:pt idx="390">
                  <c:v>5.1000000000000004E-2</c:v>
                </c:pt>
                <c:pt idx="391">
                  <c:v>5.1000000000000004E-2</c:v>
                </c:pt>
                <c:pt idx="392">
                  <c:v>5.1000000000000004E-2</c:v>
                </c:pt>
                <c:pt idx="393">
                  <c:v>5.1000000000000004E-2</c:v>
                </c:pt>
                <c:pt idx="394">
                  <c:v>5.1000000000000004E-2</c:v>
                </c:pt>
                <c:pt idx="395">
                  <c:v>5.1000000000000004E-2</c:v>
                </c:pt>
                <c:pt idx="396">
                  <c:v>5.1000000000000004E-2</c:v>
                </c:pt>
                <c:pt idx="397">
                  <c:v>5.1000000000000004E-2</c:v>
                </c:pt>
                <c:pt idx="398">
                  <c:v>5.1000000000000004E-2</c:v>
                </c:pt>
                <c:pt idx="399">
                  <c:v>5.1000000000000004E-2</c:v>
                </c:pt>
                <c:pt idx="400">
                  <c:v>5.1000000000000004E-2</c:v>
                </c:pt>
                <c:pt idx="401">
                  <c:v>5.1000000000000004E-2</c:v>
                </c:pt>
                <c:pt idx="402">
                  <c:v>5.1000000000000004E-2</c:v>
                </c:pt>
                <c:pt idx="403">
                  <c:v>5.1000000000000004E-2</c:v>
                </c:pt>
                <c:pt idx="404">
                  <c:v>5.1000000000000004E-2</c:v>
                </c:pt>
                <c:pt idx="405">
                  <c:v>5.1000000000000004E-2</c:v>
                </c:pt>
                <c:pt idx="406">
                  <c:v>5.1000000000000004E-2</c:v>
                </c:pt>
                <c:pt idx="407">
                  <c:v>5.1000000000000004E-2</c:v>
                </c:pt>
                <c:pt idx="408">
                  <c:v>5.1000000000000004E-2</c:v>
                </c:pt>
                <c:pt idx="409">
                  <c:v>5.1000000000000004E-2</c:v>
                </c:pt>
                <c:pt idx="410">
                  <c:v>#N/A</c:v>
                </c:pt>
                <c:pt idx="411">
                  <c:v>5.1000000000000004E-2</c:v>
                </c:pt>
                <c:pt idx="412">
                  <c:v>5.1000000000000004E-2</c:v>
                </c:pt>
                <c:pt idx="413">
                  <c:v>5.1000000000000004E-2</c:v>
                </c:pt>
                <c:pt idx="414">
                  <c:v>5.1000000000000004E-2</c:v>
                </c:pt>
                <c:pt idx="415">
                  <c:v>5.1000000000000004E-2</c:v>
                </c:pt>
                <c:pt idx="416">
                  <c:v>5.1000000000000004E-2</c:v>
                </c:pt>
                <c:pt idx="417">
                  <c:v>5.1000000000000004E-2</c:v>
                </c:pt>
                <c:pt idx="418">
                  <c:v>5.1000000000000004E-2</c:v>
                </c:pt>
                <c:pt idx="419">
                  <c:v>5.1000000000000004E-2</c:v>
                </c:pt>
                <c:pt idx="420">
                  <c:v>5.1000000000000004E-2</c:v>
                </c:pt>
                <c:pt idx="421">
                  <c:v>5.1000000000000004E-2</c:v>
                </c:pt>
                <c:pt idx="422">
                  <c:v>5.1000000000000004E-2</c:v>
                </c:pt>
                <c:pt idx="423">
                  <c:v>5.1058199999999998E-2</c:v>
                </c:pt>
                <c:pt idx="424">
                  <c:v>5.1114199999999999E-2</c:v>
                </c:pt>
                <c:pt idx="425">
                  <c:v>5.1126800000000007E-2</c:v>
                </c:pt>
                <c:pt idx="426">
                  <c:v>#N/A</c:v>
                </c:pt>
                <c:pt idx="427">
                  <c:v>5.11514E-2</c:v>
                </c:pt>
                <c:pt idx="428">
                  <c:v>5.1182399999999996E-2</c:v>
                </c:pt>
                <c:pt idx="429">
                  <c:v>5.1166599999999993E-2</c:v>
                </c:pt>
                <c:pt idx="430">
                  <c:v>5.1145200000000002E-2</c:v>
                </c:pt>
                <c:pt idx="431">
                  <c:v>5.1194200000000002E-2</c:v>
                </c:pt>
                <c:pt idx="432">
                  <c:v>5.1239E-2</c:v>
                </c:pt>
                <c:pt idx="433">
                  <c:v>5.1357200000000006E-2</c:v>
                </c:pt>
                <c:pt idx="434">
                  <c:v>5.1350799999999995E-2</c:v>
                </c:pt>
                <c:pt idx="435">
                  <c:v>5.1331000000000002E-2</c:v>
                </c:pt>
                <c:pt idx="436">
                  <c:v>5.1279200000000004E-2</c:v>
                </c:pt>
                <c:pt idx="437">
                  <c:v>5.1219399999999991E-2</c:v>
                </c:pt>
                <c:pt idx="438">
                  <c:v>5.106900000000001E-2</c:v>
                </c:pt>
                <c:pt idx="439">
                  <c:v>5.1045600000000003E-2</c:v>
                </c:pt>
                <c:pt idx="440">
                  <c:v>5.1044599999999996E-2</c:v>
                </c:pt>
                <c:pt idx="441">
                  <c:v>5.1072600000000003E-2</c:v>
                </c:pt>
                <c:pt idx="442">
                  <c:v>5.1069599999999993E-2</c:v>
                </c:pt>
                <c:pt idx="443">
                  <c:v>5.1100999999999994E-2</c:v>
                </c:pt>
                <c:pt idx="444">
                  <c:v>5.1100800000000002E-2</c:v>
                </c:pt>
                <c:pt idx="445">
                  <c:v>5.1089200000000001E-2</c:v>
                </c:pt>
                <c:pt idx="446">
                  <c:v>5.1064599999999995E-2</c:v>
                </c:pt>
                <c:pt idx="447">
                  <c:v>5.1097800000000006E-2</c:v>
                </c:pt>
                <c:pt idx="448">
                  <c:v>5.1120800000000001E-2</c:v>
                </c:pt>
                <c:pt idx="449">
                  <c:v>5.1115599999999997E-2</c:v>
                </c:pt>
                <c:pt idx="450">
                  <c:v>#N/A</c:v>
                </c:pt>
                <c:pt idx="451">
                  <c:v>#N/A</c:v>
                </c:pt>
                <c:pt idx="452">
                  <c:v>5.1147200000000004E-2</c:v>
                </c:pt>
                <c:pt idx="453">
                  <c:v>5.1202999999999999E-2</c:v>
                </c:pt>
                <c:pt idx="454">
                  <c:v>5.1210200000000004E-2</c:v>
                </c:pt>
                <c:pt idx="455">
                  <c:v>5.1187000000000003E-2</c:v>
                </c:pt>
                <c:pt idx="456">
                  <c:v>5.1297999999999996E-2</c:v>
                </c:pt>
                <c:pt idx="457">
                  <c:v>5.1305400000000001E-2</c:v>
                </c:pt>
                <c:pt idx="458">
                  <c:v>5.1272799999999993E-2</c:v>
                </c:pt>
                <c:pt idx="459">
                  <c:v>5.1228200000000002E-2</c:v>
                </c:pt>
                <c:pt idx="460">
                  <c:v>5.1187999999999997E-2</c:v>
                </c:pt>
                <c:pt idx="461">
                  <c:v>5.1149399999999998E-2</c:v>
                </c:pt>
                <c:pt idx="462">
                  <c:v>5.1166000000000003E-2</c:v>
                </c:pt>
                <c:pt idx="463">
                  <c:v>5.1180000000000003E-2</c:v>
                </c:pt>
                <c:pt idx="464">
                  <c:v>5.1188999999999998E-2</c:v>
                </c:pt>
                <c:pt idx="465">
                  <c:v>5.1236799999999992E-2</c:v>
                </c:pt>
                <c:pt idx="466">
                  <c:v>5.1206999999999989E-2</c:v>
                </c:pt>
                <c:pt idx="467">
                  <c:v>5.1030800000000001E-2</c:v>
                </c:pt>
                <c:pt idx="468">
                  <c:v>5.0857600000000003E-2</c:v>
                </c:pt>
                <c:pt idx="469">
                  <c:v>0.10085920000000001</c:v>
                </c:pt>
                <c:pt idx="470">
                  <c:v>0.1508688</c:v>
                </c:pt>
                <c:pt idx="471">
                  <c:v>0.20072040000000002</c:v>
                </c:pt>
                <c:pt idx="472">
                  <c:v>0.25076220000000005</c:v>
                </c:pt>
                <c:pt idx="473">
                  <c:v>0.30107560000000005</c:v>
                </c:pt>
                <c:pt idx="474">
                  <c:v>0.30110300000000001</c:v>
                </c:pt>
                <c:pt idx="475">
                  <c:v>0.3010988</c:v>
                </c:pt>
                <c:pt idx="476">
                  <c:v>0.30124899999999999</c:v>
                </c:pt>
                <c:pt idx="477">
                  <c:v>0.3014578</c:v>
                </c:pt>
                <c:pt idx="478">
                  <c:v>0.3013962</c:v>
                </c:pt>
                <c:pt idx="479">
                  <c:v>0.30139299999999997</c:v>
                </c:pt>
                <c:pt idx="480">
                  <c:v>0.3014384</c:v>
                </c:pt>
                <c:pt idx="481">
                  <c:v>0.3015178</c:v>
                </c:pt>
                <c:pt idx="482">
                  <c:v>0.30151500000000003</c:v>
                </c:pt>
                <c:pt idx="483">
                  <c:v>0.30144219999999999</c:v>
                </c:pt>
                <c:pt idx="484">
                  <c:v>0.30151659999999997</c:v>
                </c:pt>
                <c:pt idx="485">
                  <c:v>0.30158980000000002</c:v>
                </c:pt>
                <c:pt idx="486">
                  <c:v>0.30153419999999997</c:v>
                </c:pt>
                <c:pt idx="487">
                  <c:v>0.30137819999999998</c:v>
                </c:pt>
                <c:pt idx="488">
                  <c:v>0.30131279999999999</c:v>
                </c:pt>
                <c:pt idx="489">
                  <c:v>0.30123460000000002</c:v>
                </c:pt>
                <c:pt idx="490">
                  <c:v>#N/A</c:v>
                </c:pt>
                <c:pt idx="491">
                  <c:v>0.30102459999999998</c:v>
                </c:pt>
                <c:pt idx="492">
                  <c:v>0.30091780000000001</c:v>
                </c:pt>
                <c:pt idx="493">
                  <c:v>0.30102659999999998</c:v>
                </c:pt>
                <c:pt idx="494">
                  <c:v>0.30101499999999998</c:v>
                </c:pt>
                <c:pt idx="495">
                  <c:v>0.30107600000000001</c:v>
                </c:pt>
                <c:pt idx="496">
                  <c:v>0.30113820000000002</c:v>
                </c:pt>
                <c:pt idx="497">
                  <c:v>0.30118220000000001</c:v>
                </c:pt>
                <c:pt idx="498">
                  <c:v>0.30109520000000006</c:v>
                </c:pt>
                <c:pt idx="499">
                  <c:v>0.30108220000000002</c:v>
                </c:pt>
                <c:pt idx="500">
                  <c:v>0.30107860000000003</c:v>
                </c:pt>
                <c:pt idx="501">
                  <c:v>0.3009984</c:v>
                </c:pt>
                <c:pt idx="502">
                  <c:v>0.30089399999999999</c:v>
                </c:pt>
                <c:pt idx="503">
                  <c:v>0.30083759999999998</c:v>
                </c:pt>
                <c:pt idx="504">
                  <c:v>0.40084800000000004</c:v>
                </c:pt>
                <c:pt idx="505">
                  <c:v>0.50068619999999997</c:v>
                </c:pt>
                <c:pt idx="506">
                  <c:v>0.60069459999999997</c:v>
                </c:pt>
                <c:pt idx="507">
                  <c:v>0.70088240000000002</c:v>
                </c:pt>
                <c:pt idx="508">
                  <c:v>0.80094320000000008</c:v>
                </c:pt>
                <c:pt idx="509">
                  <c:v>0.80110720000000002</c:v>
                </c:pt>
                <c:pt idx="510">
                  <c:v>0.80122260000000001</c:v>
                </c:pt>
                <c:pt idx="511">
                  <c:v>0.8013108000000001</c:v>
                </c:pt>
                <c:pt idx="512">
                  <c:v>#N/A</c:v>
                </c:pt>
                <c:pt idx="513">
                  <c:v>0.80126319999999995</c:v>
                </c:pt>
                <c:pt idx="514">
                  <c:v>0.80144020000000005</c:v>
                </c:pt>
                <c:pt idx="515">
                  <c:v>0.80130720000000011</c:v>
                </c:pt>
                <c:pt idx="516">
                  <c:v>0.80148200000000003</c:v>
                </c:pt>
                <c:pt idx="517">
                  <c:v>0.80146119999999998</c:v>
                </c:pt>
                <c:pt idx="518">
                  <c:v>0.80156680000000002</c:v>
                </c:pt>
                <c:pt idx="519">
                  <c:v>0.80151179999999989</c:v>
                </c:pt>
                <c:pt idx="520">
                  <c:v>0.80157760000000011</c:v>
                </c:pt>
                <c:pt idx="521">
                  <c:v>#N/A</c:v>
                </c:pt>
                <c:pt idx="522">
                  <c:v>0.80146379999999995</c:v>
                </c:pt>
                <c:pt idx="523">
                  <c:v>0.80160140000000002</c:v>
                </c:pt>
                <c:pt idx="524">
                  <c:v>0.80154959999999986</c:v>
                </c:pt>
                <c:pt idx="525">
                  <c:v>0.80147999999999997</c:v>
                </c:pt>
                <c:pt idx="526">
                  <c:v>0.80149640000000011</c:v>
                </c:pt>
                <c:pt idx="527">
                  <c:v>0.80148940000000002</c:v>
                </c:pt>
                <c:pt idx="528">
                  <c:v>0.80139740000000015</c:v>
                </c:pt>
                <c:pt idx="529">
                  <c:v>0.79772300000000007</c:v>
                </c:pt>
                <c:pt idx="530">
                  <c:v>0.79244660000000011</c:v>
                </c:pt>
                <c:pt idx="531">
                  <c:v>0.7870910000000001</c:v>
                </c:pt>
                <c:pt idx="532">
                  <c:v>0.76407139999999996</c:v>
                </c:pt>
                <c:pt idx="533">
                  <c:v>0.74545339999999993</c:v>
                </c:pt>
                <c:pt idx="534">
                  <c:v>0.88719439999999994</c:v>
                </c:pt>
                <c:pt idx="535">
                  <c:v>1.0307705999999999</c:v>
                </c:pt>
                <c:pt idx="536">
                  <c:v>#N/A</c:v>
                </c:pt>
                <c:pt idx="537">
                  <c:v>1.1712526000000001</c:v>
                </c:pt>
                <c:pt idx="538">
                  <c:v>1.3341810000000001</c:v>
                </c:pt>
                <c:pt idx="539">
                  <c:v>1.4933304000000001</c:v>
                </c:pt>
                <c:pt idx="540">
                  <c:v>1.4963820000000001</c:v>
                </c:pt>
                <c:pt idx="541">
                  <c:v>1.4979726</c:v>
                </c:pt>
                <c:pt idx="542">
                  <c:v>1.5081605999999999</c:v>
                </c:pt>
                <c:pt idx="543">
                  <c:v>1.5116510000000001</c:v>
                </c:pt>
                <c:pt idx="544">
                  <c:v>1.5146046</c:v>
                </c:pt>
              </c:numCache>
            </c:numRef>
          </c:val>
          <c:smooth val="0"/>
          <c:extLst>
            <c:ext xmlns:c16="http://schemas.microsoft.com/office/drawing/2014/chart" uri="{C3380CC4-5D6E-409C-BE32-E72D297353CC}">
              <c16:uniqueId val="{00000002-C445-4BF4-9A71-12C3A7EB8C40}"/>
            </c:ext>
          </c:extLst>
        </c:ser>
        <c:dLbls>
          <c:showLegendKey val="0"/>
          <c:showVal val="0"/>
          <c:showCatName val="0"/>
          <c:showSerName val="0"/>
          <c:showPercent val="0"/>
          <c:showBubbleSize val="0"/>
        </c:dLbls>
        <c:smooth val="0"/>
        <c:axId val="61875712"/>
        <c:axId val="61877248"/>
      </c:lineChart>
      <c:dateAx>
        <c:axId val="61875712"/>
        <c:scaling>
          <c:orientation val="minMax"/>
          <c:max val="44742"/>
          <c:min val="44012"/>
        </c:scaling>
        <c:delete val="0"/>
        <c:axPos val="b"/>
        <c:numFmt formatCode="[$-409]mmm\-yy;@" sourceLinked="0"/>
        <c:majorTickMark val="out"/>
        <c:minorTickMark val="none"/>
        <c:tickLblPos val="low"/>
        <c:spPr>
          <a:ln w="3175">
            <a:solidFill>
              <a:srgbClr val="000000"/>
            </a:solidFill>
          </a:ln>
        </c:spPr>
        <c:txPr>
          <a:bodyPr rot="-5400000" vert="horz"/>
          <a:lstStyle/>
          <a:p>
            <a:pPr>
              <a:defRPr sz="800">
                <a:latin typeface="Arial" panose="020B0604020202020204" pitchFamily="34" charset="0"/>
                <a:cs typeface="Arial" panose="020B0604020202020204" pitchFamily="34" charset="0"/>
              </a:defRPr>
            </a:pPr>
            <a:endParaRPr lang="en-US"/>
          </a:p>
        </c:txPr>
        <c:crossAx val="61877248"/>
        <c:crosses val="autoZero"/>
        <c:auto val="1"/>
        <c:lblOffset val="100"/>
        <c:baseTimeUnit val="days"/>
        <c:majorUnit val="1"/>
        <c:majorTimeUnit val="months"/>
      </c:dateAx>
      <c:valAx>
        <c:axId val="61877248"/>
        <c:scaling>
          <c:orientation val="minMax"/>
          <c:max val="2.9"/>
          <c:min val="-0.1"/>
        </c:scaling>
        <c:delete val="0"/>
        <c:axPos val="l"/>
        <c:numFmt formatCode="0.00" sourceLinked="0"/>
        <c:majorTickMark val="out"/>
        <c:minorTickMark val="none"/>
        <c:tickLblPos val="nextTo"/>
        <c:spPr>
          <a:ln w="3175">
            <a:solidFill>
              <a:srgbClr val="000000"/>
            </a:solidFill>
          </a:ln>
        </c:spPr>
        <c:txPr>
          <a:bodyPr/>
          <a:lstStyle/>
          <a:p>
            <a:pPr>
              <a:defRPr sz="800">
                <a:latin typeface="Arial" panose="020B0604020202020204" pitchFamily="34" charset="0"/>
                <a:cs typeface="Arial" panose="020B0604020202020204" pitchFamily="34" charset="0"/>
              </a:defRPr>
            </a:pPr>
            <a:endParaRPr lang="en-US"/>
          </a:p>
        </c:txPr>
        <c:crossAx val="61875712"/>
        <c:crosses val="autoZero"/>
        <c:crossBetween val="midCat"/>
      </c:valAx>
    </c:plotArea>
    <c:plotVisOnly val="1"/>
    <c:dispBlanksAs val="gap"/>
    <c:showDLblsOverMax val="0"/>
  </c:chart>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2338" name="Rectangle 2"/>
          <p:cNvSpPr>
            <a:spLocks noGrp="1" noChangeArrowheads="1"/>
          </p:cNvSpPr>
          <p:nvPr>
            <p:ph type="hdr" sz="quarter"/>
          </p:nvPr>
        </p:nvSpPr>
        <p:spPr bwMode="auto">
          <a:xfrm>
            <a:off x="1" y="1"/>
            <a:ext cx="3078048" cy="468803"/>
          </a:xfrm>
          <a:prstGeom prst="rect">
            <a:avLst/>
          </a:prstGeom>
          <a:noFill/>
          <a:ln w="9525">
            <a:noFill/>
            <a:miter lim="800000"/>
            <a:headEnd/>
            <a:tailEnd/>
          </a:ln>
        </p:spPr>
        <p:txBody>
          <a:bodyPr vert="horz" wrap="square" lIns="89084" tIns="44543" rIns="89084" bIns="44543" numCol="1" anchor="t" anchorCtr="0" compatLnSpc="1">
            <a:prstTxWarp prst="textNoShape">
              <a:avLst/>
            </a:prstTxWarp>
          </a:bodyPr>
          <a:lstStyle>
            <a:lvl1pPr algn="l" eaLnBrk="1" hangingPunct="1">
              <a:defRPr>
                <a:latin typeface="Arial" charset="0"/>
                <a:ea typeface="ＭＳ Ｐゴシック" pitchFamily="1" charset="-128"/>
                <a:cs typeface="+mn-cs"/>
              </a:defRPr>
            </a:lvl1pPr>
          </a:lstStyle>
          <a:p>
            <a:pPr>
              <a:defRPr/>
            </a:pPr>
            <a:endParaRPr lang="en-US"/>
          </a:p>
        </p:txBody>
      </p:sp>
      <p:sp>
        <p:nvSpPr>
          <p:cNvPr id="142339" name="Rectangle 3"/>
          <p:cNvSpPr>
            <a:spLocks noGrp="1" noChangeArrowheads="1"/>
          </p:cNvSpPr>
          <p:nvPr>
            <p:ph type="dt" sz="quarter" idx="1"/>
          </p:nvPr>
        </p:nvSpPr>
        <p:spPr bwMode="auto">
          <a:xfrm>
            <a:off x="4022888" y="1"/>
            <a:ext cx="3078048" cy="468803"/>
          </a:xfrm>
          <a:prstGeom prst="rect">
            <a:avLst/>
          </a:prstGeom>
          <a:noFill/>
          <a:ln w="9525">
            <a:noFill/>
            <a:miter lim="800000"/>
            <a:headEnd/>
            <a:tailEnd/>
          </a:ln>
        </p:spPr>
        <p:txBody>
          <a:bodyPr vert="horz" wrap="square" lIns="89084" tIns="44543" rIns="89084" bIns="44543" numCol="1" anchor="t" anchorCtr="0" compatLnSpc="1">
            <a:prstTxWarp prst="textNoShape">
              <a:avLst/>
            </a:prstTxWarp>
          </a:bodyPr>
          <a:lstStyle>
            <a:lvl1pPr algn="r" eaLnBrk="1" hangingPunct="1">
              <a:defRPr>
                <a:latin typeface="Arial" charset="0"/>
                <a:ea typeface="ＭＳ Ｐゴシック" pitchFamily="1" charset="-128"/>
                <a:cs typeface="+mn-cs"/>
              </a:defRPr>
            </a:lvl1pPr>
          </a:lstStyle>
          <a:p>
            <a:pPr>
              <a:defRPr/>
            </a:pPr>
            <a:endParaRPr lang="en-US"/>
          </a:p>
        </p:txBody>
      </p:sp>
      <p:sp>
        <p:nvSpPr>
          <p:cNvPr id="142340" name="Rectangle 4"/>
          <p:cNvSpPr>
            <a:spLocks noGrp="1" noChangeArrowheads="1"/>
          </p:cNvSpPr>
          <p:nvPr>
            <p:ph type="ftr" sz="quarter" idx="2"/>
          </p:nvPr>
        </p:nvSpPr>
        <p:spPr bwMode="auto">
          <a:xfrm>
            <a:off x="1" y="8918122"/>
            <a:ext cx="3078048" cy="468803"/>
          </a:xfrm>
          <a:prstGeom prst="rect">
            <a:avLst/>
          </a:prstGeom>
          <a:noFill/>
          <a:ln w="9525">
            <a:noFill/>
            <a:miter lim="800000"/>
            <a:headEnd/>
            <a:tailEnd/>
          </a:ln>
        </p:spPr>
        <p:txBody>
          <a:bodyPr vert="horz" wrap="square" lIns="89084" tIns="44543" rIns="89084" bIns="44543" numCol="1" anchor="b" anchorCtr="0" compatLnSpc="1">
            <a:prstTxWarp prst="textNoShape">
              <a:avLst/>
            </a:prstTxWarp>
          </a:bodyPr>
          <a:lstStyle>
            <a:lvl1pPr algn="l" eaLnBrk="1" hangingPunct="1">
              <a:defRPr>
                <a:latin typeface="Arial" charset="0"/>
                <a:ea typeface="ＭＳ Ｐゴシック" pitchFamily="1" charset="-128"/>
                <a:cs typeface="+mn-cs"/>
              </a:defRPr>
            </a:lvl1pPr>
          </a:lstStyle>
          <a:p>
            <a:pPr>
              <a:defRPr/>
            </a:pPr>
            <a:endParaRPr lang="en-US"/>
          </a:p>
        </p:txBody>
      </p:sp>
      <p:sp>
        <p:nvSpPr>
          <p:cNvPr id="142341" name="Rectangle 5"/>
          <p:cNvSpPr>
            <a:spLocks noGrp="1" noChangeArrowheads="1"/>
          </p:cNvSpPr>
          <p:nvPr>
            <p:ph type="sldNum" sz="quarter" idx="3"/>
          </p:nvPr>
        </p:nvSpPr>
        <p:spPr bwMode="auto">
          <a:xfrm>
            <a:off x="4022888" y="8918122"/>
            <a:ext cx="3078048" cy="468803"/>
          </a:xfrm>
          <a:prstGeom prst="rect">
            <a:avLst/>
          </a:prstGeom>
          <a:noFill/>
          <a:ln w="9525">
            <a:noFill/>
            <a:miter lim="800000"/>
            <a:headEnd/>
            <a:tailEnd/>
          </a:ln>
        </p:spPr>
        <p:txBody>
          <a:bodyPr vert="horz" wrap="square" lIns="89084" tIns="44543" rIns="89084" bIns="44543" numCol="1" anchor="b" anchorCtr="0" compatLnSpc="1">
            <a:prstTxWarp prst="textNoShape">
              <a:avLst/>
            </a:prstTxWarp>
          </a:bodyPr>
          <a:lstStyle>
            <a:lvl1pPr algn="r" eaLnBrk="1" hangingPunct="1">
              <a:defRPr>
                <a:latin typeface="Arial" charset="0"/>
                <a:ea typeface="ＭＳ Ｐゴシック" pitchFamily="1" charset="-128"/>
                <a:cs typeface="+mn-cs"/>
              </a:defRPr>
            </a:lvl1pPr>
          </a:lstStyle>
          <a:p>
            <a:pPr>
              <a:defRPr/>
            </a:pPr>
            <a:fld id="{FCE8AFCD-0F02-46B4-AB12-05EFAED838FF}" type="slidenum">
              <a:rPr lang="en-US"/>
              <a:pPr>
                <a:defRPr/>
              </a:pPr>
              <a:t>‹#›</a:t>
            </a:fld>
            <a:endParaRPr lang="en-US"/>
          </a:p>
        </p:txBody>
      </p:sp>
    </p:spTree>
    <p:extLst>
      <p:ext uri="{BB962C8B-B14F-4D97-AF65-F5344CB8AC3E}">
        <p14:creationId xmlns:p14="http://schemas.microsoft.com/office/powerpoint/2010/main" val="489486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434" name="Rectangle 2"/>
          <p:cNvSpPr>
            <a:spLocks noGrp="1" noChangeArrowheads="1"/>
          </p:cNvSpPr>
          <p:nvPr>
            <p:ph type="hdr" sz="quarter"/>
          </p:nvPr>
        </p:nvSpPr>
        <p:spPr bwMode="auto">
          <a:xfrm>
            <a:off x="1" y="1"/>
            <a:ext cx="3078048" cy="468803"/>
          </a:xfrm>
          <a:prstGeom prst="rect">
            <a:avLst/>
          </a:prstGeom>
          <a:noFill/>
          <a:ln w="9525">
            <a:noFill/>
            <a:miter lim="800000"/>
            <a:headEnd/>
            <a:tailEnd/>
          </a:ln>
        </p:spPr>
        <p:txBody>
          <a:bodyPr vert="horz" wrap="square" lIns="94167" tIns="47084" rIns="94167" bIns="47084" numCol="1" anchor="t" anchorCtr="0" compatLnSpc="1">
            <a:prstTxWarp prst="textNoShape">
              <a:avLst/>
            </a:prstTxWarp>
          </a:bodyPr>
          <a:lstStyle>
            <a:lvl1pPr algn="l" defTabSz="942381" eaLnBrk="1" hangingPunct="1">
              <a:defRPr>
                <a:latin typeface="Arial" charset="0"/>
                <a:ea typeface="ＭＳ Ｐゴシック" pitchFamily="1" charset="-128"/>
                <a:cs typeface="+mn-cs"/>
              </a:defRPr>
            </a:lvl1pPr>
          </a:lstStyle>
          <a:p>
            <a:pPr>
              <a:defRPr/>
            </a:pPr>
            <a:endParaRPr lang="en-US"/>
          </a:p>
        </p:txBody>
      </p:sp>
      <p:sp>
        <p:nvSpPr>
          <p:cNvPr id="18435" name="Rectangle 3"/>
          <p:cNvSpPr>
            <a:spLocks noGrp="1" noChangeArrowheads="1"/>
          </p:cNvSpPr>
          <p:nvPr>
            <p:ph type="dt" idx="1"/>
          </p:nvPr>
        </p:nvSpPr>
        <p:spPr bwMode="auto">
          <a:xfrm>
            <a:off x="4022888" y="1"/>
            <a:ext cx="3078048" cy="468803"/>
          </a:xfrm>
          <a:prstGeom prst="rect">
            <a:avLst/>
          </a:prstGeom>
          <a:noFill/>
          <a:ln w="9525">
            <a:noFill/>
            <a:miter lim="800000"/>
            <a:headEnd/>
            <a:tailEnd/>
          </a:ln>
        </p:spPr>
        <p:txBody>
          <a:bodyPr vert="horz" wrap="square" lIns="94167" tIns="47084" rIns="94167" bIns="47084" numCol="1" anchor="t" anchorCtr="0" compatLnSpc="1">
            <a:prstTxWarp prst="textNoShape">
              <a:avLst/>
            </a:prstTxWarp>
          </a:bodyPr>
          <a:lstStyle>
            <a:lvl1pPr algn="r" defTabSz="942381" eaLnBrk="1" hangingPunct="1">
              <a:defRPr>
                <a:latin typeface="Arial" charset="0"/>
                <a:ea typeface="ＭＳ Ｐゴシック" pitchFamily="1" charset="-128"/>
                <a:cs typeface="+mn-cs"/>
              </a:defRPr>
            </a:lvl1pPr>
          </a:lstStyle>
          <a:p>
            <a:pPr>
              <a:defRPr/>
            </a:pPr>
            <a:endParaRPr lang="en-US"/>
          </a:p>
        </p:txBody>
      </p:sp>
      <p:sp>
        <p:nvSpPr>
          <p:cNvPr id="52228" name="Rectangle 4"/>
          <p:cNvSpPr>
            <a:spLocks noGrp="1" noRot="1" noChangeAspect="1" noChangeArrowheads="1" noTextEdit="1"/>
          </p:cNvSpPr>
          <p:nvPr>
            <p:ph type="sldImg" idx="2"/>
          </p:nvPr>
        </p:nvSpPr>
        <p:spPr bwMode="auto">
          <a:xfrm>
            <a:off x="1203325" y="704850"/>
            <a:ext cx="4695825" cy="3521075"/>
          </a:xfrm>
          <a:prstGeom prst="rect">
            <a:avLst/>
          </a:prstGeom>
          <a:noFill/>
          <a:ln w="9525">
            <a:solidFill>
              <a:srgbClr val="000000"/>
            </a:solidFill>
            <a:miter lim="800000"/>
            <a:headEnd/>
            <a:tailEnd/>
          </a:ln>
        </p:spPr>
      </p:sp>
      <p:sp>
        <p:nvSpPr>
          <p:cNvPr id="18437" name="Rectangle 5"/>
          <p:cNvSpPr>
            <a:spLocks noGrp="1" noChangeArrowheads="1"/>
          </p:cNvSpPr>
          <p:nvPr>
            <p:ph type="body" sz="quarter" idx="3"/>
          </p:nvPr>
        </p:nvSpPr>
        <p:spPr bwMode="auto">
          <a:xfrm>
            <a:off x="710558" y="4459837"/>
            <a:ext cx="5681364" cy="4223882"/>
          </a:xfrm>
          <a:prstGeom prst="rect">
            <a:avLst/>
          </a:prstGeom>
          <a:noFill/>
          <a:ln w="9525">
            <a:noFill/>
            <a:miter lim="800000"/>
            <a:headEnd/>
            <a:tailEnd/>
          </a:ln>
        </p:spPr>
        <p:txBody>
          <a:bodyPr vert="horz" wrap="square" lIns="94167" tIns="47084" rIns="94167" bIns="47084"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438" name="Rectangle 6"/>
          <p:cNvSpPr>
            <a:spLocks noGrp="1" noChangeArrowheads="1"/>
          </p:cNvSpPr>
          <p:nvPr>
            <p:ph type="ftr" sz="quarter" idx="4"/>
          </p:nvPr>
        </p:nvSpPr>
        <p:spPr bwMode="auto">
          <a:xfrm>
            <a:off x="1" y="8918122"/>
            <a:ext cx="3078048" cy="468803"/>
          </a:xfrm>
          <a:prstGeom prst="rect">
            <a:avLst/>
          </a:prstGeom>
          <a:noFill/>
          <a:ln w="9525">
            <a:noFill/>
            <a:miter lim="800000"/>
            <a:headEnd/>
            <a:tailEnd/>
          </a:ln>
        </p:spPr>
        <p:txBody>
          <a:bodyPr vert="horz" wrap="square" lIns="94167" tIns="47084" rIns="94167" bIns="47084" numCol="1" anchor="b" anchorCtr="0" compatLnSpc="1">
            <a:prstTxWarp prst="textNoShape">
              <a:avLst/>
            </a:prstTxWarp>
          </a:bodyPr>
          <a:lstStyle>
            <a:lvl1pPr algn="l" defTabSz="942381" eaLnBrk="1" hangingPunct="1">
              <a:defRPr>
                <a:latin typeface="Arial" charset="0"/>
                <a:ea typeface="ＭＳ Ｐゴシック" pitchFamily="1" charset="-128"/>
                <a:cs typeface="+mn-cs"/>
              </a:defRPr>
            </a:lvl1pPr>
          </a:lstStyle>
          <a:p>
            <a:pPr>
              <a:defRPr/>
            </a:pPr>
            <a:endParaRPr lang="en-US"/>
          </a:p>
        </p:txBody>
      </p:sp>
      <p:sp>
        <p:nvSpPr>
          <p:cNvPr id="18439" name="Rectangle 7"/>
          <p:cNvSpPr>
            <a:spLocks noGrp="1" noChangeArrowheads="1"/>
          </p:cNvSpPr>
          <p:nvPr>
            <p:ph type="sldNum" sz="quarter" idx="5"/>
          </p:nvPr>
        </p:nvSpPr>
        <p:spPr bwMode="auto">
          <a:xfrm>
            <a:off x="4022888" y="8918122"/>
            <a:ext cx="3078048" cy="468803"/>
          </a:xfrm>
          <a:prstGeom prst="rect">
            <a:avLst/>
          </a:prstGeom>
          <a:noFill/>
          <a:ln w="9525">
            <a:noFill/>
            <a:miter lim="800000"/>
            <a:headEnd/>
            <a:tailEnd/>
          </a:ln>
        </p:spPr>
        <p:txBody>
          <a:bodyPr vert="horz" wrap="square" lIns="94167" tIns="47084" rIns="94167" bIns="47084" numCol="1" anchor="b" anchorCtr="0" compatLnSpc="1">
            <a:prstTxWarp prst="textNoShape">
              <a:avLst/>
            </a:prstTxWarp>
          </a:bodyPr>
          <a:lstStyle>
            <a:lvl1pPr algn="r" defTabSz="942381" eaLnBrk="1" hangingPunct="1">
              <a:defRPr>
                <a:latin typeface="Arial" charset="0"/>
                <a:ea typeface="ＭＳ Ｐゴシック" pitchFamily="1" charset="-128"/>
                <a:cs typeface="+mn-cs"/>
              </a:defRPr>
            </a:lvl1pPr>
          </a:lstStyle>
          <a:p>
            <a:pPr>
              <a:defRPr/>
            </a:pPr>
            <a:fld id="{8203C9FA-C4BE-486E-85AA-ABBD1B25667F}" type="slidenum">
              <a:rPr lang="en-US"/>
              <a:pPr>
                <a:defRPr/>
              </a:pPr>
              <a:t>‹#›</a:t>
            </a:fld>
            <a:endParaRPr lang="en-US"/>
          </a:p>
        </p:txBody>
      </p:sp>
    </p:spTree>
    <p:extLst>
      <p:ext uri="{BB962C8B-B14F-4D97-AF65-F5344CB8AC3E}">
        <p14:creationId xmlns:p14="http://schemas.microsoft.com/office/powerpoint/2010/main" val="166554259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203C9FA-C4BE-486E-85AA-ABBD1B25667F}" type="slidenum">
              <a:rPr lang="en-US" smtClean="0">
                <a:solidFill>
                  <a:prstClr val="black"/>
                </a:solidFill>
              </a:rPr>
              <a:pPr>
                <a:defRPr/>
              </a:pPr>
              <a:t>1</a:t>
            </a:fld>
            <a:endParaRPr lang="en-US">
              <a:solidFill>
                <a:prstClr val="black"/>
              </a:solidFill>
            </a:endParaRPr>
          </a:p>
        </p:txBody>
      </p:sp>
    </p:spTree>
    <p:extLst>
      <p:ext uri="{BB962C8B-B14F-4D97-AF65-F5344CB8AC3E}">
        <p14:creationId xmlns:p14="http://schemas.microsoft.com/office/powerpoint/2010/main" val="31568182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8203C9FA-C4BE-486E-85AA-ABBD1B25667F}" type="slidenum">
              <a:rPr lang="en-US">
                <a:solidFill>
                  <a:srgbClr val="000000"/>
                </a:solidFill>
              </a:rPr>
              <a:pPr>
                <a:defRPr/>
              </a:pPr>
              <a:t>12</a:t>
            </a:fld>
            <a:endParaRPr lang="en-US">
              <a:solidFill>
                <a:srgbClr val="000000"/>
              </a:solidFill>
            </a:endParaRPr>
          </a:p>
        </p:txBody>
      </p:sp>
    </p:spTree>
    <p:extLst>
      <p:ext uri="{BB962C8B-B14F-4D97-AF65-F5344CB8AC3E}">
        <p14:creationId xmlns:p14="http://schemas.microsoft.com/office/powerpoint/2010/main" val="25448136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203C9FA-C4BE-486E-85AA-ABBD1B25667F}" type="slidenum">
              <a:rPr lang="en-US">
                <a:solidFill>
                  <a:srgbClr val="000000"/>
                </a:solidFill>
              </a:rPr>
              <a:pPr>
                <a:defRPr/>
              </a:pPr>
              <a:t>13</a:t>
            </a:fld>
            <a:endParaRPr lang="en-US">
              <a:solidFill>
                <a:srgbClr val="000000"/>
              </a:solidFill>
            </a:endParaRPr>
          </a:p>
        </p:txBody>
      </p:sp>
    </p:spTree>
    <p:extLst>
      <p:ext uri="{BB962C8B-B14F-4D97-AF65-F5344CB8AC3E}">
        <p14:creationId xmlns:p14="http://schemas.microsoft.com/office/powerpoint/2010/main" val="40669357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203C9FA-C4BE-486E-85AA-ABBD1B25667F}" type="slidenum">
              <a:rPr lang="en-US" smtClean="0">
                <a:solidFill>
                  <a:prstClr val="black"/>
                </a:solidFill>
              </a:rPr>
              <a:pPr>
                <a:defRPr/>
              </a:pPr>
              <a:t>16</a:t>
            </a:fld>
            <a:endParaRPr lang="en-US">
              <a:solidFill>
                <a:prstClr val="black"/>
              </a:solidFill>
            </a:endParaRPr>
          </a:p>
        </p:txBody>
      </p:sp>
    </p:spTree>
    <p:extLst>
      <p:ext uri="{BB962C8B-B14F-4D97-AF65-F5344CB8AC3E}">
        <p14:creationId xmlns:p14="http://schemas.microsoft.com/office/powerpoint/2010/main" val="25501711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Rectangle 7"/>
          <p:cNvSpPr>
            <a:spLocks noGrp="1" noChangeArrowheads="1"/>
          </p:cNvSpPr>
          <p:nvPr>
            <p:ph type="sldNum" sz="quarter" idx="5"/>
          </p:nvPr>
        </p:nvSpPr>
        <p:spPr>
          <a:noFill/>
        </p:spPr>
        <p:txBody>
          <a:bodyPr/>
          <a:lstStyle/>
          <a:p>
            <a:pPr defTabSz="942282">
              <a:defRPr/>
            </a:pPr>
            <a:fld id="{BA51D9EC-CC48-44E9-B405-EA8E66A35FE6}" type="slidenum">
              <a:rPr lang="en-US">
                <a:solidFill>
                  <a:prstClr val="black"/>
                </a:solidFill>
              </a:rPr>
              <a:pPr defTabSz="942282">
                <a:defRPr/>
              </a:pPr>
              <a:t>17</a:t>
            </a:fld>
            <a:endParaRPr lang="en-US" dirty="0">
              <a:solidFill>
                <a:prstClr val="black"/>
              </a:solidFill>
            </a:endParaRPr>
          </a:p>
        </p:txBody>
      </p:sp>
      <p:sp>
        <p:nvSpPr>
          <p:cNvPr id="120835" name="Rectangle 2"/>
          <p:cNvSpPr>
            <a:spLocks noGrp="1" noRot="1" noChangeAspect="1" noChangeArrowheads="1" noTextEdit="1"/>
          </p:cNvSpPr>
          <p:nvPr>
            <p:ph type="sldImg"/>
          </p:nvPr>
        </p:nvSpPr>
        <p:spPr>
          <a:xfrm>
            <a:off x="1047750" y="284163"/>
            <a:ext cx="4694238" cy="3521075"/>
          </a:xfrm>
          <a:ln/>
        </p:spPr>
      </p:sp>
      <p:sp>
        <p:nvSpPr>
          <p:cNvPr id="2" name="Notes Placeholder 1"/>
          <p:cNvSpPr>
            <a:spLocks noGrp="1"/>
          </p:cNvSpPr>
          <p:nvPr>
            <p:ph type="body" idx="1"/>
          </p:nvPr>
        </p:nvSpPr>
        <p:spPr/>
        <p:txBody>
          <a:bodyPr/>
          <a:lstStyle/>
          <a:p>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2525FE2C-2DA1-48B8-9EDE-FBF11D8D1C6E}" type="slidenum">
              <a:rPr lang="en-US">
                <a:solidFill>
                  <a:prstClr val="black"/>
                </a:solidFill>
              </a:rPr>
              <a:pPr>
                <a:defRPr/>
              </a:pPr>
              <a:t>18</a:t>
            </a:fld>
            <a:endParaRPr lang="en-US" dirty="0">
              <a:solidFill>
                <a:prstClr val="black"/>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203C9FA-C4BE-486E-85AA-ABBD1B25667F}" type="slidenum">
              <a:rPr lang="en-US" smtClean="0"/>
              <a:pPr>
                <a:defRPr/>
              </a:pPr>
              <a:t>19</a:t>
            </a:fld>
            <a:endParaRPr lang="en-US"/>
          </a:p>
        </p:txBody>
      </p:sp>
    </p:spTree>
    <p:extLst>
      <p:ext uri="{BB962C8B-B14F-4D97-AF65-F5344CB8AC3E}">
        <p14:creationId xmlns:p14="http://schemas.microsoft.com/office/powerpoint/2010/main" val="19924078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203C9FA-C4BE-486E-85AA-ABBD1B25667F}" type="slidenum">
              <a:rPr lang="en-US">
                <a:solidFill>
                  <a:prstClr val="black"/>
                </a:solidFill>
              </a:rPr>
              <a:pPr>
                <a:defRPr/>
              </a:pPr>
              <a:t>2</a:t>
            </a:fld>
            <a:endParaRPr lang="en-US">
              <a:solidFill>
                <a:prstClr val="black"/>
              </a:solidFill>
            </a:endParaRPr>
          </a:p>
        </p:txBody>
      </p:sp>
    </p:spTree>
    <p:extLst>
      <p:ext uri="{BB962C8B-B14F-4D97-AF65-F5344CB8AC3E}">
        <p14:creationId xmlns:p14="http://schemas.microsoft.com/office/powerpoint/2010/main" val="17645184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203C9FA-C4BE-486E-85AA-ABBD1B25667F}" type="slidenum">
              <a:rPr lang="en-US" smtClean="0">
                <a:solidFill>
                  <a:prstClr val="black"/>
                </a:solidFill>
              </a:rPr>
              <a:pPr>
                <a:defRPr/>
              </a:pPr>
              <a:t>3</a:t>
            </a:fld>
            <a:endParaRPr lang="en-US">
              <a:solidFill>
                <a:prstClr val="black"/>
              </a:solidFill>
            </a:endParaRPr>
          </a:p>
        </p:txBody>
      </p:sp>
    </p:spTree>
    <p:extLst>
      <p:ext uri="{BB962C8B-B14F-4D97-AF65-F5344CB8AC3E}">
        <p14:creationId xmlns:p14="http://schemas.microsoft.com/office/powerpoint/2010/main" val="19924078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defTabSz="942405">
              <a:defRPr/>
            </a:pPr>
            <a:fld id="{47424499-EA09-4083-AEF9-2B53B74630EE}" type="slidenum">
              <a:rPr lang="en-US">
                <a:solidFill>
                  <a:prstClr val="black"/>
                </a:solidFill>
              </a:rPr>
              <a:pPr defTabSz="942405">
                <a:defRPr/>
              </a:pPr>
              <a:t>4</a:t>
            </a:fld>
            <a:endParaRPr lang="en-US">
              <a:solidFill>
                <a:prstClr val="black"/>
              </a:solidFill>
            </a:endParaRPr>
          </a:p>
        </p:txBody>
      </p:sp>
      <p:sp>
        <p:nvSpPr>
          <p:cNvPr id="3" name="Notes Placeholder 2"/>
          <p:cNvSpPr>
            <a:spLocks noGrp="1"/>
          </p:cNvSpPr>
          <p:nvPr>
            <p:ph type="body" sz="quarter" idx="11"/>
          </p:nvPr>
        </p:nvSpPr>
        <p:spPr/>
        <p:txBody>
          <a:bodyPr/>
          <a:lstStyle/>
          <a:p>
            <a:r>
              <a:rPr lang="en-US" b="1" dirty="0">
                <a:solidFill>
                  <a:srgbClr val="768692"/>
                </a:solidFill>
              </a:rPr>
              <a:t>Most major economies experienced maturing trends in their business cycles due to high commodity prices, general inflation pressures, and tightening monetary and financial conditions. The U.S. is in the late-cycle expansion phase with moderate recession risk, while Europe faces rising near-term recession risks. China shows incipient signs of emerging from its growth recession amid increased policy stimulus.</a:t>
            </a:r>
            <a:endParaRPr lang="en-US" dirty="0"/>
          </a:p>
          <a:p>
            <a:endParaRPr lang="en-US" dirty="0"/>
          </a:p>
        </p:txBody>
      </p:sp>
    </p:spTree>
    <p:extLst>
      <p:ext uri="{BB962C8B-B14F-4D97-AF65-F5344CB8AC3E}">
        <p14:creationId xmlns:p14="http://schemas.microsoft.com/office/powerpoint/2010/main" val="15904161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768692"/>
                </a:solidFill>
              </a:rPr>
              <a:t>Labor markets remain extremely tight, with the 3.6% unemployment rate near multi-decade lows. Consumers report jobs are very plentiful, but this and other indicators of employment strength may have already peaked—a typical late-cycle pattern. Nominal wage growth is the highest in decades, but high inflation has rendered real-wage growth negative and is weighing heavily on consumer confidence and real income expectations. </a:t>
            </a:r>
            <a:endParaRPr lang="en-US" dirty="0"/>
          </a:p>
        </p:txBody>
      </p:sp>
      <p:sp>
        <p:nvSpPr>
          <p:cNvPr id="4" name="Slide Number Placeholder 3"/>
          <p:cNvSpPr>
            <a:spLocks noGrp="1"/>
          </p:cNvSpPr>
          <p:nvPr>
            <p:ph type="sldNum" sz="quarter" idx="5"/>
          </p:nvPr>
        </p:nvSpPr>
        <p:spPr/>
        <p:txBody>
          <a:bodyPr/>
          <a:lstStyle/>
          <a:p>
            <a:pPr>
              <a:defRPr/>
            </a:pPr>
            <a:fld id="{8203C9FA-C4BE-486E-85AA-ABBD1B25667F}" type="slidenum">
              <a:rPr lang="en-US" smtClean="0"/>
              <a:pPr>
                <a:defRPr/>
              </a:pPr>
              <a:t>5</a:t>
            </a:fld>
            <a:endParaRPr lang="en-US"/>
          </a:p>
        </p:txBody>
      </p:sp>
    </p:spTree>
    <p:extLst>
      <p:ext uri="{BB962C8B-B14F-4D97-AF65-F5344CB8AC3E}">
        <p14:creationId xmlns:p14="http://schemas.microsoft.com/office/powerpoint/2010/main" val="42329523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768692"/>
                </a:solidFill>
              </a:rPr>
              <a:t>The most extreme supply-related pressures are easing, particularly for manufacturing supply chains. Some sectors where price changes tend to be more persistent—such as housing and food—remain elevated but may be peaking as well. With recent inflation driven almost evenly between persistent and non-persistent categories, inflation should moderate but may have a difficult time returning to a low level any time soon. </a:t>
            </a:r>
            <a:endParaRPr lang="en-US" dirty="0"/>
          </a:p>
        </p:txBody>
      </p:sp>
      <p:sp>
        <p:nvSpPr>
          <p:cNvPr id="4" name="Slide Number Placeholder 3"/>
          <p:cNvSpPr>
            <a:spLocks noGrp="1"/>
          </p:cNvSpPr>
          <p:nvPr>
            <p:ph type="sldNum" sz="quarter" idx="10"/>
          </p:nvPr>
        </p:nvSpPr>
        <p:spPr/>
        <p:txBody>
          <a:bodyPr/>
          <a:lstStyle/>
          <a:p>
            <a:pPr defTabSz="942405">
              <a:defRPr/>
            </a:pPr>
            <a:fld id="{47424499-EA09-4083-AEF9-2B53B74630EE}" type="slidenum">
              <a:rPr lang="en-US">
                <a:solidFill>
                  <a:srgbClr val="000000"/>
                </a:solidFill>
              </a:rPr>
              <a:pPr defTabSz="942405">
                <a:defRPr/>
              </a:pPr>
              <a:t>6</a:t>
            </a:fld>
            <a:endParaRPr lang="en-US">
              <a:solidFill>
                <a:srgbClr val="000000"/>
              </a:solidFill>
            </a:endParaRPr>
          </a:p>
        </p:txBody>
      </p:sp>
    </p:spTree>
    <p:extLst>
      <p:ext uri="{BB962C8B-B14F-4D97-AF65-F5344CB8AC3E}">
        <p14:creationId xmlns:p14="http://schemas.microsoft.com/office/powerpoint/2010/main" val="37274437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768692"/>
                </a:solidFill>
              </a:rPr>
              <a:t>The Federal Reserve raised its policy rate 125 basis points during Q2 and signaled there is more tightening ahead to combat high inflation. Through the lens of our CRIC policy framework, the Fed is in the “complacent” stage where it is willing to withstand higher market volatility and believes the economy can handle tighter financial conditions. Our CRIC measure of financial conditions rose to near multiyear highs. </a:t>
            </a:r>
            <a:endParaRPr lang="en-US" dirty="0"/>
          </a:p>
        </p:txBody>
      </p:sp>
      <p:sp>
        <p:nvSpPr>
          <p:cNvPr id="4" name="Slide Number Placeholder 3"/>
          <p:cNvSpPr>
            <a:spLocks noGrp="1"/>
          </p:cNvSpPr>
          <p:nvPr>
            <p:ph type="sldNum" sz="quarter" idx="5"/>
          </p:nvPr>
        </p:nvSpPr>
        <p:spPr/>
        <p:txBody>
          <a:bodyPr/>
          <a:lstStyle/>
          <a:p>
            <a:pPr defTabSz="942405">
              <a:defRPr/>
            </a:pPr>
            <a:fld id="{8203C9FA-C4BE-486E-85AA-ABBD1B25667F}" type="slidenum">
              <a:rPr lang="en-US">
                <a:solidFill>
                  <a:srgbClr val="000000"/>
                </a:solidFill>
              </a:rPr>
              <a:pPr defTabSz="942405">
                <a:defRPr/>
              </a:pPr>
              <a:t>7</a:t>
            </a:fld>
            <a:endParaRPr lang="en-US">
              <a:solidFill>
                <a:srgbClr val="000000"/>
              </a:solidFill>
            </a:endParaRPr>
          </a:p>
        </p:txBody>
      </p:sp>
    </p:spTree>
    <p:extLst>
      <p:ext uri="{BB962C8B-B14F-4D97-AF65-F5344CB8AC3E}">
        <p14:creationId xmlns:p14="http://schemas.microsoft.com/office/powerpoint/2010/main" val="22143279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768692"/>
                </a:solidFill>
              </a:rPr>
              <a:t>After pumping trillions of dollars of liquidity into financial markets the past two years, global central banks have pivoted toward monetary tightening. So far, 24 central banks have raised interest rates to combat inflation. The ECB is tapering its quantitative easing program, while the Fed started to reduce the size of its balance sheet in June. Weakening liquidity growth may contribute to elevated market volatility.</a:t>
            </a:r>
            <a:endParaRPr lang="en-US" dirty="0"/>
          </a:p>
        </p:txBody>
      </p:sp>
      <p:sp>
        <p:nvSpPr>
          <p:cNvPr id="4" name="Slide Number Placeholder 3"/>
          <p:cNvSpPr>
            <a:spLocks noGrp="1"/>
          </p:cNvSpPr>
          <p:nvPr>
            <p:ph type="sldNum" sz="quarter" idx="10"/>
          </p:nvPr>
        </p:nvSpPr>
        <p:spPr/>
        <p:txBody>
          <a:bodyPr/>
          <a:lstStyle/>
          <a:p>
            <a:pPr defTabSz="979912">
              <a:defRPr/>
            </a:pPr>
            <a:fld id="{47424499-EA09-4083-AEF9-2B53B74630EE}" type="slidenum">
              <a:rPr lang="en-US">
                <a:solidFill>
                  <a:prstClr val="black"/>
                </a:solidFill>
              </a:rPr>
              <a:pPr defTabSz="979912">
                <a:defRPr/>
              </a:pPr>
              <a:t>8</a:t>
            </a:fld>
            <a:endParaRPr lang="en-US">
              <a:solidFill>
                <a:prstClr val="black"/>
              </a:solidFill>
            </a:endParaRPr>
          </a:p>
        </p:txBody>
      </p:sp>
    </p:spTree>
    <p:extLst>
      <p:ext uri="{BB962C8B-B14F-4D97-AF65-F5344CB8AC3E}">
        <p14:creationId xmlns:p14="http://schemas.microsoft.com/office/powerpoint/2010/main" val="42530555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3325" y="704850"/>
            <a:ext cx="4695825" cy="35210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956B978-5561-43A9-995A-DAC25F8E4654}" type="slidenum">
              <a:rPr lang="en-US" smtClean="0"/>
              <a:t>11</a:t>
            </a:fld>
            <a:endParaRPr lang="en-US" dirty="0"/>
          </a:p>
        </p:txBody>
      </p:sp>
    </p:spTree>
    <p:extLst>
      <p:ext uri="{BB962C8B-B14F-4D97-AF65-F5344CB8AC3E}">
        <p14:creationId xmlns:p14="http://schemas.microsoft.com/office/powerpoint/2010/main" val="14997164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emf"/></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emf"/></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emf"/></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emf"/></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emf"/></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3.emf"/></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3.emf"/></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3.emf"/></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3.emf"/></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3.emf"/></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3.emf"/></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21.emf"/><Relationship Id="rId5" Type="http://schemas.openxmlformats.org/officeDocument/2006/relationships/oleObject" Target="../embeddings/oleObject1.bin"/><Relationship Id="rId4" Type="http://schemas.openxmlformats.org/officeDocument/2006/relationships/image" Target="../media/image22.jpeg"/></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png"/><Relationship Id="rId1" Type="http://schemas.openxmlformats.org/officeDocument/2006/relationships/slideMaster" Target="../slideMasters/slideMaster3.xml"/><Relationship Id="rId5" Type="http://schemas.microsoft.com/office/2007/relationships/hdphoto" Target="../media/hdphoto1.wdp"/><Relationship Id="rId4" Type="http://schemas.openxmlformats.org/officeDocument/2006/relationships/image" Target="../media/image12.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0.png"/><Relationship Id="rId1" Type="http://schemas.openxmlformats.org/officeDocument/2006/relationships/slideMaster" Target="../slideMasters/slideMaster3.xml"/><Relationship Id="rId5" Type="http://schemas.openxmlformats.org/officeDocument/2006/relationships/image" Target="../media/image11.emf"/><Relationship Id="rId4" Type="http://schemas.microsoft.com/office/2007/relationships/hdphoto" Target="../media/hdphoto1.wdp"/></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11.emf"/></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11.emf"/></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3.e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FIAM_External_Print_Cover_IA">
    <p:spTree>
      <p:nvGrpSpPr>
        <p:cNvPr id="1" name=""/>
        <p:cNvGrpSpPr/>
        <p:nvPr/>
      </p:nvGrpSpPr>
      <p:grpSpPr>
        <a:xfrm>
          <a:off x="0" y="0"/>
          <a:ext cx="0" cy="0"/>
          <a:chOff x="0" y="0"/>
          <a:chExt cx="0" cy="0"/>
        </a:xfrm>
      </p:grpSpPr>
      <p:pic>
        <p:nvPicPr>
          <p:cNvPr id="45" name="Picture 4" descr="C:\Users\a216024\Desktop\stuff\_PPT_107\PowerPoint_Templates_Samples\_10x7.5_Templates\NEW_FIAM\Covers_secondary_slides\2-7_Covers\LightGray_grayscale.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12688" b="17606"/>
          <a:stretch/>
        </p:blipFill>
        <p:spPr bwMode="auto">
          <a:xfrm>
            <a:off x="0" y="0"/>
            <a:ext cx="9144000" cy="3646714"/>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5" descr="C:\Users\a216024\Desktop\stuff\_PPT_107\PowerPoint_Templates_Samples\_10x7.5_Templates\NEW_FIAM\Covers_secondary_slides\2-7_Covers\ColorBar.png"/>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0" y="3481388"/>
            <a:ext cx="9144000" cy="219075"/>
          </a:xfrm>
          <a:prstGeom prst="rect">
            <a:avLst/>
          </a:prstGeom>
          <a:noFill/>
          <a:extLst>
            <a:ext uri="{909E8E84-426E-40DD-AFC4-6F175D3DCCD1}">
              <a14:hiddenFill xmlns:a14="http://schemas.microsoft.com/office/drawing/2010/main">
                <a:solidFill>
                  <a:srgbClr val="FFFFFF"/>
                </a:solidFill>
              </a14:hiddenFill>
            </a:ext>
          </a:extLst>
        </p:spPr>
      </p:pic>
      <p:grpSp>
        <p:nvGrpSpPr>
          <p:cNvPr id="80" name="Group 79"/>
          <p:cNvGrpSpPr/>
          <p:nvPr userDrawn="1"/>
        </p:nvGrpSpPr>
        <p:grpSpPr>
          <a:xfrm>
            <a:off x="6970734" y="6128901"/>
            <a:ext cx="1839928" cy="396052"/>
            <a:chOff x="6923088" y="4475163"/>
            <a:chExt cx="1873251" cy="403225"/>
          </a:xfrm>
        </p:grpSpPr>
        <p:sp>
          <p:nvSpPr>
            <p:cNvPr id="81" name="AutoShape 4"/>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 name="Freeform 6"/>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 name="Freeform 7"/>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 name="Freeform 83"/>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 name="Freeform 84"/>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 name="Freeform 85"/>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 name="Freeform 86"/>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8" name="Freeform 87"/>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 name="Freeform 88"/>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 name="Freeform 89"/>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 name="Freeform 90"/>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 name="Freeform 91"/>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 name="Freeform 92"/>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 name="Freeform 93"/>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 name="Freeform 94"/>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 name="Freeform 95"/>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 name="Freeform 96"/>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 name="Freeform 97"/>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 name="Freeform 98"/>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 name="Freeform 99"/>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 name="Freeform 100"/>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 name="Freeform 101"/>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 name="Freeform 102"/>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4" name="Freeform 103"/>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5" name="Freeform 104"/>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6" name="Freeform 105"/>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44" name="Text Placeholder 43"/>
          <p:cNvSpPr>
            <a:spLocks noGrp="1"/>
          </p:cNvSpPr>
          <p:nvPr>
            <p:ph type="body" sz="quarter" idx="10"/>
          </p:nvPr>
        </p:nvSpPr>
        <p:spPr>
          <a:xfrm>
            <a:off x="715495" y="3833787"/>
            <a:ext cx="2455544" cy="332365"/>
          </a:xfrm>
        </p:spPr>
        <p:txBody>
          <a:bodyPr/>
          <a:lstStyle>
            <a:lvl1pPr>
              <a:defRPr lang="en-US" sz="1000" b="0" kern="1200" smtClean="0">
                <a:solidFill>
                  <a:srgbClr val="000000"/>
                </a:solidFill>
                <a:latin typeface="Arial"/>
                <a:ea typeface="ＭＳ Ｐゴシック"/>
                <a:cs typeface="ＭＳ Ｐゴシック"/>
              </a:defRPr>
            </a:lvl1pPr>
          </a:lstStyle>
          <a:p>
            <a:pPr lvl="0"/>
            <a:r>
              <a:rPr lang="en-US"/>
              <a:t>Click to edit Master text styles</a:t>
            </a:r>
          </a:p>
        </p:txBody>
      </p:sp>
      <p:sp>
        <p:nvSpPr>
          <p:cNvPr id="53" name="Content Placeholder 52"/>
          <p:cNvSpPr>
            <a:spLocks noGrp="1"/>
          </p:cNvSpPr>
          <p:nvPr>
            <p:ph sz="quarter" idx="12"/>
          </p:nvPr>
        </p:nvSpPr>
        <p:spPr>
          <a:xfrm>
            <a:off x="6280150" y="3842381"/>
            <a:ext cx="2487613" cy="165226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47" name="Rectangle 176"/>
          <p:cNvSpPr>
            <a:spLocks noGrp="1" noChangeArrowheads="1"/>
          </p:cNvSpPr>
          <p:nvPr>
            <p:ph type="ftr" sz="quarter" idx="13"/>
          </p:nvPr>
        </p:nvSpPr>
        <p:spPr>
          <a:xfrm>
            <a:off x="272775" y="5877558"/>
            <a:ext cx="6014623" cy="260350"/>
          </a:xfrm>
        </p:spPr>
        <p:txBody>
          <a:bodyPr anchor="b" anchorCtr="0"/>
          <a:lstStyle>
            <a:lvl1pPr algn="l">
              <a:defRPr sz="800" b="0" smtClean="0">
                <a:solidFill>
                  <a:srgbClr val="000000"/>
                </a:solidFill>
              </a:defRPr>
            </a:lvl1pPr>
          </a:lstStyle>
          <a:p>
            <a:pPr>
              <a:defRPr/>
            </a:pPr>
            <a:r>
              <a:rPr lang="en-US" b="1"/>
              <a:t>For institutional use only</a:t>
            </a:r>
            <a:endParaRPr lang="en-US" b="1" dirty="0"/>
          </a:p>
        </p:txBody>
      </p:sp>
      <p:sp>
        <p:nvSpPr>
          <p:cNvPr id="72" name="Rectangle 6"/>
          <p:cNvSpPr>
            <a:spLocks noGrp="1" noChangeArrowheads="1"/>
          </p:cNvSpPr>
          <p:nvPr>
            <p:ph type="subTitle" idx="1"/>
          </p:nvPr>
        </p:nvSpPr>
        <p:spPr>
          <a:xfrm>
            <a:off x="685251" y="2091765"/>
            <a:ext cx="7805762" cy="563076"/>
          </a:xfrm>
        </p:spPr>
        <p:txBody>
          <a:bodyPr lIns="100584" rIns="100584"/>
          <a:lstStyle>
            <a:lvl1pPr marL="0" indent="0">
              <a:spcBef>
                <a:spcPts val="0"/>
              </a:spcBef>
              <a:defRPr sz="2000" b="0">
                <a:solidFill>
                  <a:srgbClr val="7A9B3D"/>
                </a:solidFill>
              </a:defRPr>
            </a:lvl1pPr>
          </a:lstStyle>
          <a:p>
            <a:r>
              <a:rPr lang="en-US"/>
              <a:t>Click to edit Master subtitle style</a:t>
            </a:r>
            <a:endParaRPr lang="en-US" dirty="0"/>
          </a:p>
        </p:txBody>
      </p:sp>
      <p:sp>
        <p:nvSpPr>
          <p:cNvPr id="74" name="Text Placeholder 43"/>
          <p:cNvSpPr>
            <a:spLocks noGrp="1"/>
          </p:cNvSpPr>
          <p:nvPr>
            <p:ph type="body" sz="quarter" idx="14" hasCustomPrompt="1"/>
          </p:nvPr>
        </p:nvSpPr>
        <p:spPr>
          <a:xfrm>
            <a:off x="685251" y="2581276"/>
            <a:ext cx="7805762" cy="266850"/>
          </a:xfrm>
        </p:spPr>
        <p:txBody>
          <a:bodyPr lIns="100584" rIns="100584"/>
          <a:lstStyle>
            <a:lvl1pPr>
              <a:spcBef>
                <a:spcPts val="0"/>
              </a:spcBef>
              <a:defRPr lang="en-US" sz="1200" b="0" kern="1200" dirty="0" smtClean="0">
                <a:solidFill>
                  <a:srgbClr val="333F48"/>
                </a:solidFill>
                <a:latin typeface="Arial"/>
                <a:ea typeface="ＭＳ Ｐゴシック" pitchFamily="34" charset="-128"/>
                <a:cs typeface="+mn-cs"/>
              </a:defRPr>
            </a:lvl1pPr>
          </a:lstStyle>
          <a:p>
            <a:pPr lvl="0"/>
            <a:r>
              <a:rPr lang="en-US" dirty="0"/>
              <a:t>Date</a:t>
            </a:r>
          </a:p>
        </p:txBody>
      </p:sp>
      <p:sp>
        <p:nvSpPr>
          <p:cNvPr id="39" name="Rectangle 9"/>
          <p:cNvSpPr>
            <a:spLocks noGrp="1" noChangeArrowheads="1"/>
          </p:cNvSpPr>
          <p:nvPr>
            <p:ph type="title" hasCustomPrompt="1"/>
          </p:nvPr>
        </p:nvSpPr>
        <p:spPr bwMode="auto">
          <a:xfrm>
            <a:off x="685252" y="1581072"/>
            <a:ext cx="7820573" cy="5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b" anchorCtr="0" compatLnSpc="1">
            <a:prstTxWarp prst="textNoShape">
              <a:avLst/>
            </a:prstTxWarp>
          </a:bodyPr>
          <a:lstStyle>
            <a:lvl1pPr>
              <a:defRPr sz="3000">
                <a:solidFill>
                  <a:schemeClr val="bg2"/>
                </a:solidFill>
              </a:defRPr>
            </a:lvl1pPr>
          </a:lstStyle>
          <a:p>
            <a:pPr lvl="0"/>
            <a:r>
              <a:rPr lang="en-US" altLang="en-US" dirty="0"/>
              <a:t>Click To Edit Master Title Style</a:t>
            </a:r>
          </a:p>
        </p:txBody>
      </p:sp>
      <p:grpSp>
        <p:nvGrpSpPr>
          <p:cNvPr id="46" name="Group 45"/>
          <p:cNvGrpSpPr/>
          <p:nvPr userDrawn="1"/>
        </p:nvGrpSpPr>
        <p:grpSpPr>
          <a:xfrm>
            <a:off x="371883" y="6359447"/>
            <a:ext cx="3947551" cy="100654"/>
            <a:chOff x="362358" y="6368972"/>
            <a:chExt cx="3947551" cy="100654"/>
          </a:xfrm>
        </p:grpSpPr>
        <p:pic>
          <p:nvPicPr>
            <p:cNvPr id="48" name="Picture 5"/>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r="1439" b="-2834"/>
            <a:stretch/>
          </p:blipFill>
          <p:spPr bwMode="auto">
            <a:xfrm>
              <a:off x="362358" y="6368972"/>
              <a:ext cx="3848307" cy="100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56" name="Group 55"/>
            <p:cNvGrpSpPr/>
            <p:nvPr userDrawn="1"/>
          </p:nvGrpSpPr>
          <p:grpSpPr>
            <a:xfrm>
              <a:off x="4213072" y="6373095"/>
              <a:ext cx="96837" cy="53976"/>
              <a:chOff x="4217988" y="6370637"/>
              <a:chExt cx="96837" cy="53976"/>
            </a:xfrm>
          </p:grpSpPr>
          <p:sp>
            <p:nvSpPr>
              <p:cNvPr id="57" name="AutoShape 4"/>
              <p:cNvSpPr>
                <a:spLocks noChangeAspect="1" noChangeArrowheads="1" noTextEdit="1"/>
              </p:cNvSpPr>
              <p:nvPr userDrawn="1"/>
            </p:nvSpPr>
            <p:spPr bwMode="auto">
              <a:xfrm>
                <a:off x="4217988" y="6372225"/>
                <a:ext cx="96837"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6"/>
              <p:cNvSpPr>
                <a:spLocks/>
              </p:cNvSpPr>
              <p:nvPr userDrawn="1"/>
            </p:nvSpPr>
            <p:spPr bwMode="auto">
              <a:xfrm>
                <a:off x="4217988" y="6370637"/>
                <a:ext cx="30162" cy="52388"/>
              </a:xfrm>
              <a:custGeom>
                <a:avLst/>
                <a:gdLst>
                  <a:gd name="T0" fmla="*/ 14 w 14"/>
                  <a:gd name="T1" fmla="*/ 5 h 24"/>
                  <a:gd name="T2" fmla="*/ 7 w 14"/>
                  <a:gd name="T3" fmla="*/ 2 h 24"/>
                  <a:gd name="T4" fmla="*/ 3 w 14"/>
                  <a:gd name="T5" fmla="*/ 7 h 24"/>
                  <a:gd name="T6" fmla="*/ 8 w 14"/>
                  <a:gd name="T7" fmla="*/ 11 h 24"/>
                  <a:gd name="T8" fmla="*/ 14 w 14"/>
                  <a:gd name="T9" fmla="*/ 17 h 24"/>
                  <a:gd name="T10" fmla="*/ 7 w 14"/>
                  <a:gd name="T11" fmla="*/ 24 h 24"/>
                  <a:gd name="T12" fmla="*/ 0 w 14"/>
                  <a:gd name="T13" fmla="*/ 22 h 24"/>
                  <a:gd name="T14" fmla="*/ 0 w 14"/>
                  <a:gd name="T15" fmla="*/ 19 h 24"/>
                  <a:gd name="T16" fmla="*/ 7 w 14"/>
                  <a:gd name="T17" fmla="*/ 22 h 24"/>
                  <a:gd name="T18" fmla="*/ 11 w 14"/>
                  <a:gd name="T19" fmla="*/ 18 h 24"/>
                  <a:gd name="T20" fmla="*/ 6 w 14"/>
                  <a:gd name="T21" fmla="*/ 13 h 24"/>
                  <a:gd name="T22" fmla="*/ 0 w 14"/>
                  <a:gd name="T23" fmla="*/ 7 h 24"/>
                  <a:gd name="T24" fmla="*/ 8 w 14"/>
                  <a:gd name="T25" fmla="*/ 0 h 24"/>
                  <a:gd name="T26" fmla="*/ 14 w 14"/>
                  <a:gd name="T27" fmla="*/ 2 h 24"/>
                  <a:gd name="T28" fmla="*/ 14 w 14"/>
                  <a:gd name="T29"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4">
                    <a:moveTo>
                      <a:pt x="14" y="5"/>
                    </a:moveTo>
                    <a:cubicBezTo>
                      <a:pt x="12" y="4"/>
                      <a:pt x="10" y="2"/>
                      <a:pt x="7" y="2"/>
                    </a:cubicBezTo>
                    <a:cubicBezTo>
                      <a:pt x="5" y="2"/>
                      <a:pt x="3" y="4"/>
                      <a:pt x="3" y="7"/>
                    </a:cubicBezTo>
                    <a:cubicBezTo>
                      <a:pt x="3" y="9"/>
                      <a:pt x="5" y="10"/>
                      <a:pt x="8" y="11"/>
                    </a:cubicBezTo>
                    <a:cubicBezTo>
                      <a:pt x="12" y="12"/>
                      <a:pt x="14" y="14"/>
                      <a:pt x="14" y="17"/>
                    </a:cubicBezTo>
                    <a:cubicBezTo>
                      <a:pt x="14" y="22"/>
                      <a:pt x="11" y="24"/>
                      <a:pt x="7" y="24"/>
                    </a:cubicBezTo>
                    <a:cubicBezTo>
                      <a:pt x="4" y="24"/>
                      <a:pt x="2" y="23"/>
                      <a:pt x="0" y="22"/>
                    </a:cubicBezTo>
                    <a:cubicBezTo>
                      <a:pt x="0" y="19"/>
                      <a:pt x="0" y="19"/>
                      <a:pt x="0" y="19"/>
                    </a:cubicBezTo>
                    <a:cubicBezTo>
                      <a:pt x="2" y="21"/>
                      <a:pt x="5" y="22"/>
                      <a:pt x="7" y="22"/>
                    </a:cubicBezTo>
                    <a:cubicBezTo>
                      <a:pt x="10" y="22"/>
                      <a:pt x="11" y="20"/>
                      <a:pt x="11" y="18"/>
                    </a:cubicBezTo>
                    <a:cubicBezTo>
                      <a:pt x="11" y="15"/>
                      <a:pt x="9" y="14"/>
                      <a:pt x="6" y="13"/>
                    </a:cubicBezTo>
                    <a:cubicBezTo>
                      <a:pt x="2" y="12"/>
                      <a:pt x="0" y="10"/>
                      <a:pt x="0" y="7"/>
                    </a:cubicBezTo>
                    <a:cubicBezTo>
                      <a:pt x="0" y="3"/>
                      <a:pt x="3" y="0"/>
                      <a:pt x="8" y="0"/>
                    </a:cubicBezTo>
                    <a:cubicBezTo>
                      <a:pt x="10" y="0"/>
                      <a:pt x="12" y="1"/>
                      <a:pt x="14" y="2"/>
                    </a:cubicBezTo>
                    <a:lnTo>
                      <a:pt x="14"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7"/>
              <p:cNvSpPr>
                <a:spLocks/>
              </p:cNvSpPr>
              <p:nvPr userDrawn="1"/>
            </p:nvSpPr>
            <p:spPr bwMode="auto">
              <a:xfrm>
                <a:off x="4262438" y="6372225"/>
                <a:ext cx="52387" cy="47625"/>
              </a:xfrm>
              <a:custGeom>
                <a:avLst/>
                <a:gdLst>
                  <a:gd name="T0" fmla="*/ 5 w 33"/>
                  <a:gd name="T1" fmla="*/ 4 h 30"/>
                  <a:gd name="T2" fmla="*/ 5 w 33"/>
                  <a:gd name="T3" fmla="*/ 30 h 30"/>
                  <a:gd name="T4" fmla="*/ 0 w 33"/>
                  <a:gd name="T5" fmla="*/ 30 h 30"/>
                  <a:gd name="T6" fmla="*/ 0 w 33"/>
                  <a:gd name="T7" fmla="*/ 0 h 30"/>
                  <a:gd name="T8" fmla="*/ 6 w 33"/>
                  <a:gd name="T9" fmla="*/ 0 h 30"/>
                  <a:gd name="T10" fmla="*/ 17 w 33"/>
                  <a:gd name="T11" fmla="*/ 25 h 30"/>
                  <a:gd name="T12" fmla="*/ 17 w 33"/>
                  <a:gd name="T13" fmla="*/ 25 h 30"/>
                  <a:gd name="T14" fmla="*/ 26 w 33"/>
                  <a:gd name="T15" fmla="*/ 0 h 30"/>
                  <a:gd name="T16" fmla="*/ 33 w 33"/>
                  <a:gd name="T17" fmla="*/ 0 h 30"/>
                  <a:gd name="T18" fmla="*/ 33 w 33"/>
                  <a:gd name="T19" fmla="*/ 30 h 30"/>
                  <a:gd name="T20" fmla="*/ 29 w 33"/>
                  <a:gd name="T21" fmla="*/ 30 h 30"/>
                  <a:gd name="T22" fmla="*/ 29 w 33"/>
                  <a:gd name="T23" fmla="*/ 4 h 30"/>
                  <a:gd name="T24" fmla="*/ 29 w 33"/>
                  <a:gd name="T25" fmla="*/ 4 h 30"/>
                  <a:gd name="T26" fmla="*/ 18 w 33"/>
                  <a:gd name="T27" fmla="*/ 30 h 30"/>
                  <a:gd name="T28" fmla="*/ 15 w 33"/>
                  <a:gd name="T29" fmla="*/ 30 h 30"/>
                  <a:gd name="T30" fmla="*/ 5 w 33"/>
                  <a:gd name="T31" fmla="*/ 4 h 30"/>
                  <a:gd name="T32" fmla="*/ 5 w 33"/>
                  <a:gd name="T33"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 h="30">
                    <a:moveTo>
                      <a:pt x="5" y="4"/>
                    </a:moveTo>
                    <a:lnTo>
                      <a:pt x="5" y="30"/>
                    </a:lnTo>
                    <a:lnTo>
                      <a:pt x="0" y="30"/>
                    </a:lnTo>
                    <a:lnTo>
                      <a:pt x="0" y="0"/>
                    </a:lnTo>
                    <a:lnTo>
                      <a:pt x="6" y="0"/>
                    </a:lnTo>
                    <a:lnTo>
                      <a:pt x="17" y="25"/>
                    </a:lnTo>
                    <a:lnTo>
                      <a:pt x="17" y="25"/>
                    </a:lnTo>
                    <a:lnTo>
                      <a:pt x="26" y="0"/>
                    </a:lnTo>
                    <a:lnTo>
                      <a:pt x="33" y="0"/>
                    </a:lnTo>
                    <a:lnTo>
                      <a:pt x="33" y="30"/>
                    </a:lnTo>
                    <a:lnTo>
                      <a:pt x="29" y="30"/>
                    </a:lnTo>
                    <a:lnTo>
                      <a:pt x="29" y="4"/>
                    </a:lnTo>
                    <a:lnTo>
                      <a:pt x="29" y="4"/>
                    </a:lnTo>
                    <a:lnTo>
                      <a:pt x="18" y="30"/>
                    </a:lnTo>
                    <a:lnTo>
                      <a:pt x="15" y="30"/>
                    </a:lnTo>
                    <a:lnTo>
                      <a:pt x="5" y="4"/>
                    </a:lnTo>
                    <a:lnTo>
                      <a:pt x="5"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sp>
        <p:nvSpPr>
          <p:cNvPr id="50" name="Picture Placeholder 47"/>
          <p:cNvSpPr>
            <a:spLocks noGrp="1"/>
          </p:cNvSpPr>
          <p:nvPr>
            <p:ph type="pic" sz="quarter" idx="11" hasCustomPrompt="1"/>
          </p:nvPr>
        </p:nvSpPr>
        <p:spPr>
          <a:xfrm>
            <a:off x="804672" y="4105656"/>
            <a:ext cx="2424112" cy="609600"/>
          </a:xfrm>
          <a:noFill/>
        </p:spPr>
        <p:txBody>
          <a:bodyPr anchor="ctr"/>
          <a:lstStyle>
            <a:lvl1pPr>
              <a:defRPr sz="1000" b="0"/>
            </a:lvl1pPr>
          </a:lstStyle>
          <a:p>
            <a:pPr lvl="0"/>
            <a:r>
              <a:rPr lang="en-US" noProof="0" dirty="0"/>
              <a:t>Click icon to add logo</a:t>
            </a:r>
          </a:p>
        </p:txBody>
      </p:sp>
    </p:spTree>
    <p:extLst>
      <p:ext uri="{BB962C8B-B14F-4D97-AF65-F5344CB8AC3E}">
        <p14:creationId xmlns:p14="http://schemas.microsoft.com/office/powerpoint/2010/main" val="21507004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Important Information">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lvl1pPr>
              <a:defRPr>
                <a:solidFill>
                  <a:srgbClr val="333F48"/>
                </a:solidFill>
              </a:defRPr>
            </a:lvl1pPr>
          </a:lstStyle>
          <a:p>
            <a:r>
              <a:rPr lang="en-US"/>
              <a:t>Click to edit Master title style</a:t>
            </a:r>
            <a:endParaRPr lang="en-US" dirty="0"/>
          </a:p>
        </p:txBody>
      </p:sp>
      <p:sp>
        <p:nvSpPr>
          <p:cNvPr id="3" name="Content Placeholder 2"/>
          <p:cNvSpPr>
            <a:spLocks noGrp="1"/>
          </p:cNvSpPr>
          <p:nvPr>
            <p:ph idx="1"/>
          </p:nvPr>
        </p:nvSpPr>
        <p:spPr>
          <a:xfrm>
            <a:off x="317115" y="1076325"/>
            <a:ext cx="8188710" cy="4808538"/>
          </a:xfrm>
          <a:noFill/>
          <a:ln w="9525">
            <a:noFill/>
            <a:miter lim="800000"/>
            <a:headEnd/>
            <a:tailEnd/>
          </a:ln>
          <a:effectLst/>
        </p:spPr>
        <p:txBody>
          <a:bodyPr lIns="91440"/>
          <a:lstStyle>
            <a:lvl1pPr marL="0" indent="0" algn="l" rtl="0" eaLnBrk="1" fontAlgn="base" hangingPunct="1">
              <a:spcAft>
                <a:spcPct val="0"/>
              </a:spcAft>
              <a:buSzPct val="40000"/>
              <a:defRPr lang="en-US" sz="1000" b="0" dirty="0" smtClean="0">
                <a:solidFill>
                  <a:srgbClr val="000000"/>
                </a:solidFill>
                <a:latin typeface="+mn-lt"/>
                <a:ea typeface="+mn-ea"/>
                <a:cs typeface="+mn-cs"/>
              </a:defRPr>
            </a:lvl1pPr>
            <a:lvl2pPr marL="0" indent="0" algn="l" rtl="0" eaLnBrk="1" fontAlgn="base" hangingPunct="1">
              <a:spcBef>
                <a:spcPts val="600"/>
              </a:spcBef>
              <a:spcAft>
                <a:spcPct val="0"/>
              </a:spcAft>
              <a:buSzPct val="40000"/>
              <a:buNone/>
              <a:defRPr lang="en-US" sz="1000" b="1" dirty="0">
                <a:solidFill>
                  <a:srgbClr val="000000"/>
                </a:solidFill>
                <a:latin typeface="+mn-lt"/>
                <a:ea typeface="+mn-ea"/>
                <a:cs typeface="+mn-cs"/>
              </a:defRPr>
            </a:lvl2pPr>
          </a:lstStyle>
          <a:p>
            <a:pPr lvl="0"/>
            <a:r>
              <a:rPr lang="en-US"/>
              <a:t>Click to edit Master text styles</a:t>
            </a:r>
          </a:p>
          <a:p>
            <a:pPr lvl="1"/>
            <a:r>
              <a:rPr lang="en-US"/>
              <a:t>Second level</a:t>
            </a:r>
          </a:p>
        </p:txBody>
      </p:sp>
      <p:sp>
        <p:nvSpPr>
          <p:cNvPr id="9"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10"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a:t>201607-20094</a:t>
            </a:r>
            <a:endParaRPr lang="en-US" dirty="0"/>
          </a:p>
        </p:txBody>
      </p:sp>
      <p:grpSp>
        <p:nvGrpSpPr>
          <p:cNvPr id="11" name="Group 10"/>
          <p:cNvGrpSpPr/>
          <p:nvPr userDrawn="1"/>
        </p:nvGrpSpPr>
        <p:grpSpPr>
          <a:xfrm>
            <a:off x="7364320" y="6412511"/>
            <a:ext cx="1371600" cy="283464"/>
            <a:chOff x="4291013" y="3178175"/>
            <a:chExt cx="3197225" cy="688975"/>
          </a:xfrm>
        </p:grpSpPr>
        <p:sp>
          <p:nvSpPr>
            <p:cNvPr id="12"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7"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330561794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73742" cy="838200"/>
          </a:xfrm>
        </p:spPr>
        <p:txBody>
          <a:bodyPr/>
          <a:lstStyle/>
          <a:p>
            <a:r>
              <a:rPr lang="en-US"/>
              <a:t>Click to edit Master title style</a:t>
            </a:r>
            <a:endParaRPr lang="en-US" dirty="0"/>
          </a:p>
        </p:txBody>
      </p:sp>
      <p:sp>
        <p:nvSpPr>
          <p:cNvPr id="3" name="Content Placeholder 2"/>
          <p:cNvSpPr>
            <a:spLocks noGrp="1"/>
          </p:cNvSpPr>
          <p:nvPr>
            <p:ph sz="half" idx="1"/>
          </p:nvPr>
        </p:nvSpPr>
        <p:spPr>
          <a:xfrm>
            <a:off x="317115" y="1339850"/>
            <a:ext cx="3878262" cy="4878388"/>
          </a:xfrm>
        </p:spPr>
        <p:txBody>
          <a:bodyPr lIns="91440"/>
          <a:lstStyle>
            <a:lvl1pPr>
              <a:spcBef>
                <a:spcPts val="600"/>
              </a:spcBef>
              <a:defRPr sz="1400">
                <a:solidFill>
                  <a:srgbClr val="7A9B3D"/>
                </a:solidFill>
              </a:defRPr>
            </a:lvl1pPr>
            <a:lvl2pPr marL="114300" indent="-114300">
              <a:spcBef>
                <a:spcPts val="600"/>
              </a:spcBef>
              <a:buClr>
                <a:srgbClr val="7A9B3D"/>
              </a:buClr>
              <a:defRPr sz="1200">
                <a:solidFill>
                  <a:srgbClr val="000000"/>
                </a:solidFill>
              </a:defRPr>
            </a:lvl2pPr>
            <a:lvl3pPr marL="228600" indent="-114300">
              <a:spcBef>
                <a:spcPts val="600"/>
              </a:spcBef>
              <a:buClr>
                <a:srgbClr val="768692"/>
              </a:buClr>
              <a:defRPr sz="1100">
                <a:solidFill>
                  <a:srgbClr val="000000"/>
                </a:solidFill>
              </a:defRPr>
            </a:lvl3pPr>
            <a:lvl4pPr marL="342900" indent="-114300">
              <a:spcBef>
                <a:spcPts val="600"/>
              </a:spcBef>
              <a:buClr>
                <a:srgbClr val="000000"/>
              </a:buClr>
              <a:defRPr sz="1050">
                <a:solidFill>
                  <a:srgbClr val="000000"/>
                </a:solidFill>
              </a:defRPr>
            </a:lvl4pPr>
            <a:lvl5pPr>
              <a:defRPr sz="105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2"/>
          <p:cNvSpPr>
            <a:spLocks noGrp="1"/>
          </p:cNvSpPr>
          <p:nvPr>
            <p:ph sz="half" idx="13"/>
          </p:nvPr>
        </p:nvSpPr>
        <p:spPr>
          <a:xfrm>
            <a:off x="4611450" y="1339850"/>
            <a:ext cx="3878262" cy="4878388"/>
          </a:xfrm>
        </p:spPr>
        <p:txBody>
          <a:bodyPr lIns="91440"/>
          <a:lstStyle>
            <a:lvl1pPr>
              <a:spcBef>
                <a:spcPts val="600"/>
              </a:spcBef>
              <a:defRPr sz="1400">
                <a:solidFill>
                  <a:srgbClr val="7A9B3D"/>
                </a:solidFill>
              </a:defRPr>
            </a:lvl1pPr>
            <a:lvl2pPr marL="114300" indent="-114300">
              <a:spcBef>
                <a:spcPts val="600"/>
              </a:spcBef>
              <a:buClr>
                <a:srgbClr val="7A9B3D"/>
              </a:buClr>
              <a:defRPr sz="1200">
                <a:solidFill>
                  <a:srgbClr val="000000"/>
                </a:solidFill>
              </a:defRPr>
            </a:lvl2pPr>
            <a:lvl3pPr marL="228600" indent="-114300">
              <a:spcBef>
                <a:spcPts val="600"/>
              </a:spcBef>
              <a:buClr>
                <a:srgbClr val="768692"/>
              </a:buClr>
              <a:defRPr sz="1100">
                <a:solidFill>
                  <a:srgbClr val="000000"/>
                </a:solidFill>
              </a:defRPr>
            </a:lvl3pPr>
            <a:lvl4pPr marL="342900" indent="-114300">
              <a:spcBef>
                <a:spcPts val="600"/>
              </a:spcBef>
              <a:buClr>
                <a:srgbClr val="000000"/>
              </a:buClr>
              <a:defRPr sz="1050">
                <a:solidFill>
                  <a:srgbClr val="000000"/>
                </a:solidFill>
              </a:defRPr>
            </a:lvl4pPr>
            <a:lvl5pPr>
              <a:defRPr sz="105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Footer Placeholder 4"/>
          <p:cNvSpPr>
            <a:spLocks noGrp="1"/>
          </p:cNvSpPr>
          <p:nvPr>
            <p:ph type="ftr" sz="quarter" idx="15"/>
          </p:nvPr>
        </p:nvSpPr>
        <p:spPr>
          <a:xfrm>
            <a:off x="320040" y="6483290"/>
            <a:ext cx="3933825" cy="172486"/>
          </a:xfrm>
          <a:prstGeom prst="rect">
            <a:avLst/>
          </a:prstGeom>
        </p:spPr>
        <p:txBody>
          <a:bodyPr/>
          <a:lstStyle>
            <a:lvl1pPr algn="r">
              <a:defRPr smtClean="0">
                <a:solidFill>
                  <a:srgbClr val="000000"/>
                </a:solidFill>
              </a:defRPr>
            </a:lvl1pPr>
          </a:lstStyle>
          <a:p>
            <a:pPr algn="l">
              <a:defRPr/>
            </a:pPr>
            <a:r>
              <a:rPr lang="en-US" sz="1800" dirty="0"/>
              <a:t>For institutional use only.</a:t>
            </a:r>
          </a:p>
        </p:txBody>
      </p:sp>
      <p:sp>
        <p:nvSpPr>
          <p:cNvPr id="12"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endParaRPr lang="en-US" dirty="0"/>
          </a:p>
        </p:txBody>
      </p:sp>
      <p:grpSp>
        <p:nvGrpSpPr>
          <p:cNvPr id="13" name="Group 12"/>
          <p:cNvGrpSpPr/>
          <p:nvPr userDrawn="1"/>
        </p:nvGrpSpPr>
        <p:grpSpPr>
          <a:xfrm>
            <a:off x="7364320" y="6412511"/>
            <a:ext cx="1371600" cy="283464"/>
            <a:chOff x="4291013" y="3178175"/>
            <a:chExt cx="3197225" cy="688975"/>
          </a:xfrm>
        </p:grpSpPr>
        <p:sp>
          <p:nvSpPr>
            <p:cNvPr id="14"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5"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6"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7"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8"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9"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0"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1"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2"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3"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4"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5"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6"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7"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8"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9"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0"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1"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2"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3"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4"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5"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6"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7"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8"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grpSp>
      <p:sp>
        <p:nvSpPr>
          <p:cNvPr id="39"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291387357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6868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hasCustomPrompt="1"/>
          </p:nvPr>
        </p:nvSpPr>
        <p:spPr>
          <a:xfrm>
            <a:off x="317115" y="1004757"/>
            <a:ext cx="4040188" cy="639762"/>
          </a:xfrm>
        </p:spPr>
        <p:txBody>
          <a:bodyPr lIns="91440" anchor="b"/>
          <a:lstStyle>
            <a:lvl1pPr marL="0" indent="0">
              <a:buNone/>
              <a:defRPr sz="14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5" name="Text Placeholder 4"/>
          <p:cNvSpPr>
            <a:spLocks noGrp="1"/>
          </p:cNvSpPr>
          <p:nvPr>
            <p:ph type="body" sz="quarter" idx="3" hasCustomPrompt="1"/>
          </p:nvPr>
        </p:nvSpPr>
        <p:spPr>
          <a:xfrm>
            <a:off x="4449057" y="1004757"/>
            <a:ext cx="4041775" cy="639762"/>
          </a:xfrm>
        </p:spPr>
        <p:txBody>
          <a:bodyPr lIns="91440" anchor="b"/>
          <a:lstStyle>
            <a:lvl1pPr marL="0" indent="0">
              <a:buNone/>
              <a:defRPr sz="14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0" name="Content Placeholder 2"/>
          <p:cNvSpPr>
            <a:spLocks noGrp="1"/>
          </p:cNvSpPr>
          <p:nvPr>
            <p:ph sz="half" idx="13"/>
          </p:nvPr>
        </p:nvSpPr>
        <p:spPr>
          <a:xfrm>
            <a:off x="317115" y="1664594"/>
            <a:ext cx="4041648" cy="4553643"/>
          </a:xfrm>
        </p:spPr>
        <p:txBody>
          <a:bodyPr lIns="91440"/>
          <a:lstStyle>
            <a:lvl1pPr>
              <a:spcBef>
                <a:spcPts val="600"/>
              </a:spcBef>
              <a:defRPr sz="1400">
                <a:solidFill>
                  <a:srgbClr val="7A9B3D"/>
                </a:solidFill>
              </a:defRPr>
            </a:lvl1pPr>
            <a:lvl2pPr marL="114300" indent="-114300">
              <a:spcBef>
                <a:spcPts val="600"/>
              </a:spcBef>
              <a:buClr>
                <a:srgbClr val="7A9B3D"/>
              </a:buClr>
              <a:defRPr sz="1200">
                <a:solidFill>
                  <a:srgbClr val="000000"/>
                </a:solidFill>
              </a:defRPr>
            </a:lvl2pPr>
            <a:lvl3pPr marL="228600" indent="-114300">
              <a:spcBef>
                <a:spcPts val="600"/>
              </a:spcBef>
              <a:defRPr sz="1100">
                <a:solidFill>
                  <a:srgbClr val="000000"/>
                </a:solidFill>
              </a:defRPr>
            </a:lvl3pPr>
            <a:lvl4pPr marL="342900" indent="-114300">
              <a:spcBef>
                <a:spcPts val="600"/>
              </a:spcBef>
              <a:buClr>
                <a:srgbClr val="000000"/>
              </a:buClr>
              <a:defRPr sz="1050">
                <a:solidFill>
                  <a:srgbClr val="000000"/>
                </a:solidFill>
              </a:defRPr>
            </a:lvl4pPr>
            <a:lvl5pPr>
              <a:defRPr sz="105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2"/>
          <p:cNvSpPr>
            <a:spLocks noGrp="1"/>
          </p:cNvSpPr>
          <p:nvPr>
            <p:ph sz="half" idx="14"/>
          </p:nvPr>
        </p:nvSpPr>
        <p:spPr>
          <a:xfrm>
            <a:off x="4449057" y="1665794"/>
            <a:ext cx="4041648" cy="4552443"/>
          </a:xfrm>
        </p:spPr>
        <p:txBody>
          <a:bodyPr lIns="91440"/>
          <a:lstStyle>
            <a:lvl1pPr>
              <a:spcBef>
                <a:spcPts val="600"/>
              </a:spcBef>
              <a:defRPr sz="1400">
                <a:solidFill>
                  <a:srgbClr val="7A9B3D"/>
                </a:solidFill>
              </a:defRPr>
            </a:lvl1pPr>
            <a:lvl2pPr marL="114300" indent="-114300">
              <a:spcBef>
                <a:spcPts val="600"/>
              </a:spcBef>
              <a:buClr>
                <a:srgbClr val="7A9B3D"/>
              </a:buClr>
              <a:defRPr sz="1200">
                <a:solidFill>
                  <a:srgbClr val="000000"/>
                </a:solidFill>
              </a:defRPr>
            </a:lvl2pPr>
            <a:lvl3pPr marL="228600" indent="-114300">
              <a:spcBef>
                <a:spcPts val="600"/>
              </a:spcBef>
              <a:defRPr sz="1100">
                <a:solidFill>
                  <a:srgbClr val="000000"/>
                </a:solidFill>
              </a:defRPr>
            </a:lvl3pPr>
            <a:lvl4pPr marL="342900" indent="-114300">
              <a:spcBef>
                <a:spcPts val="600"/>
              </a:spcBef>
              <a:buClr>
                <a:srgbClr val="000000"/>
              </a:buClr>
              <a:defRPr sz="1050">
                <a:solidFill>
                  <a:srgbClr val="000000"/>
                </a:solidFill>
              </a:defRPr>
            </a:lvl4pPr>
            <a:lvl5pPr>
              <a:defRPr sz="105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Footer Placeholder 4"/>
          <p:cNvSpPr>
            <a:spLocks noGrp="1"/>
          </p:cNvSpPr>
          <p:nvPr>
            <p:ph type="ftr" sz="quarter" idx="16"/>
          </p:nvPr>
        </p:nvSpPr>
        <p:spPr>
          <a:xfrm>
            <a:off x="320040" y="6483290"/>
            <a:ext cx="3933825" cy="172486"/>
          </a:xfrm>
          <a:prstGeom prst="rect">
            <a:avLst/>
          </a:prstGeom>
        </p:spPr>
        <p:txBody>
          <a:bodyPr/>
          <a:lstStyle>
            <a:lvl1pPr algn="r">
              <a:defRPr smtClean="0">
                <a:solidFill>
                  <a:srgbClr val="000000"/>
                </a:solidFill>
              </a:defRPr>
            </a:lvl1pPr>
          </a:lstStyle>
          <a:p>
            <a:pPr algn="l">
              <a:defRPr/>
            </a:pPr>
            <a:r>
              <a:rPr lang="en-US" sz="1800" dirty="0"/>
              <a:t>For institutional use only.</a:t>
            </a:r>
          </a:p>
        </p:txBody>
      </p:sp>
      <p:sp>
        <p:nvSpPr>
          <p:cNvPr id="15" name="Rectangle 155"/>
          <p:cNvSpPr>
            <a:spLocks noGrp="1" noChangeArrowheads="1"/>
          </p:cNvSpPr>
          <p:nvPr>
            <p:ph type="dt" sz="half" idx="17"/>
          </p:nvPr>
        </p:nvSpPr>
        <p:spPr>
          <a:xfrm>
            <a:off x="320040" y="6655654"/>
            <a:ext cx="1983958" cy="120649"/>
          </a:xfrm>
        </p:spPr>
        <p:txBody>
          <a:bodyPr/>
          <a:lstStyle>
            <a:lvl1pPr algn="l">
              <a:defRPr sz="700" smtClean="0">
                <a:solidFill>
                  <a:srgbClr val="000000"/>
                </a:solidFill>
              </a:defRPr>
            </a:lvl1pPr>
          </a:lstStyle>
          <a:p>
            <a:pPr>
              <a:defRPr/>
            </a:pPr>
            <a:endParaRPr lang="en-US" dirty="0"/>
          </a:p>
        </p:txBody>
      </p:sp>
      <p:grpSp>
        <p:nvGrpSpPr>
          <p:cNvPr id="16" name="Group 15"/>
          <p:cNvGrpSpPr/>
          <p:nvPr userDrawn="1"/>
        </p:nvGrpSpPr>
        <p:grpSpPr>
          <a:xfrm>
            <a:off x="7364320" y="6412511"/>
            <a:ext cx="1371600" cy="283464"/>
            <a:chOff x="4291013" y="3178175"/>
            <a:chExt cx="3197225" cy="688975"/>
          </a:xfrm>
        </p:grpSpPr>
        <p:sp>
          <p:nvSpPr>
            <p:cNvPr id="17"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8"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9"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0"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1"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2"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3"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4"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5"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6"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7"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8"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9"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0"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1"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2"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3"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4"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5"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6"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7"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8"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9"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40"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41"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grpSp>
      <p:sp>
        <p:nvSpPr>
          <p:cNvPr id="42" name="Slide Number Placeholder 3"/>
          <p:cNvSpPr>
            <a:spLocks noGrp="1"/>
          </p:cNvSpPr>
          <p:nvPr>
            <p:ph type="sldNum" sz="quarter" idx="18"/>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6432862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8" name="Footer Placeholder 4"/>
          <p:cNvSpPr>
            <a:spLocks noGrp="1"/>
          </p:cNvSpPr>
          <p:nvPr>
            <p:ph type="ftr" sz="quarter" idx="15"/>
          </p:nvPr>
        </p:nvSpPr>
        <p:spPr>
          <a:xfrm>
            <a:off x="320040" y="6483290"/>
            <a:ext cx="3933825" cy="172486"/>
          </a:xfrm>
          <a:prstGeom prst="rect">
            <a:avLst/>
          </a:prstGeom>
        </p:spPr>
        <p:txBody>
          <a:bodyPr/>
          <a:lstStyle>
            <a:lvl1pPr algn="r">
              <a:defRPr smtClean="0">
                <a:solidFill>
                  <a:srgbClr val="000000"/>
                </a:solidFill>
              </a:defRPr>
            </a:lvl1pPr>
          </a:lstStyle>
          <a:p>
            <a:pPr algn="l">
              <a:defRPr/>
            </a:pPr>
            <a:r>
              <a:rPr lang="en-US" sz="1800" dirty="0"/>
              <a:t>For institutional use only.</a:t>
            </a:r>
          </a:p>
        </p:txBody>
      </p:sp>
      <p:sp>
        <p:nvSpPr>
          <p:cNvPr id="9"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endParaRPr lang="en-US" dirty="0"/>
          </a:p>
        </p:txBody>
      </p:sp>
      <p:grpSp>
        <p:nvGrpSpPr>
          <p:cNvPr id="10" name="Group 9"/>
          <p:cNvGrpSpPr/>
          <p:nvPr userDrawn="1"/>
        </p:nvGrpSpPr>
        <p:grpSpPr>
          <a:xfrm>
            <a:off x="7364320" y="6412511"/>
            <a:ext cx="1371600" cy="283464"/>
            <a:chOff x="4291013" y="3178175"/>
            <a:chExt cx="3197225" cy="688975"/>
          </a:xfrm>
        </p:grpSpPr>
        <p:sp>
          <p:nvSpPr>
            <p:cNvPr id="11"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2"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3"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4"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5"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6"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7"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8"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9"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0"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1"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2"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3"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4"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5"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6"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7"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8"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9"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0"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1"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2"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3"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4"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5"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grpSp>
      <p:sp>
        <p:nvSpPr>
          <p:cNvPr id="36"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56933109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3_FIAM_External_Print_Cover">
    <p:spTree>
      <p:nvGrpSpPr>
        <p:cNvPr id="1" name=""/>
        <p:cNvGrpSpPr/>
        <p:nvPr/>
      </p:nvGrpSpPr>
      <p:grpSpPr>
        <a:xfrm>
          <a:off x="0" y="0"/>
          <a:ext cx="0" cy="0"/>
          <a:chOff x="0" y="0"/>
          <a:chExt cx="0" cy="0"/>
        </a:xfrm>
      </p:grpSpPr>
      <p:pic>
        <p:nvPicPr>
          <p:cNvPr id="45" name="Picture 4" descr="C:\Users\a216024\Desktop\stuff\_PPT_107\PowerPoint_Templates_Samples\_10x7.5_Templates\NEW_FIAM\Covers_secondary_slides\2-7_Covers\LightGray_grayscale.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12688" b="17606"/>
          <a:stretch/>
        </p:blipFill>
        <p:spPr bwMode="auto">
          <a:xfrm>
            <a:off x="0" y="0"/>
            <a:ext cx="9144000" cy="3646714"/>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5" descr="C:\Users\a216024\Desktop\stuff\_PPT_107\PowerPoint_Templates_Samples\_10x7.5_Templates\NEW_FIAM\Covers_secondary_slides\2-7_Covers\ColorBar.png"/>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l="1379" r="1716"/>
          <a:stretch/>
        </p:blipFill>
        <p:spPr bwMode="auto">
          <a:xfrm>
            <a:off x="0" y="3481388"/>
            <a:ext cx="9144000" cy="219075"/>
          </a:xfrm>
          <a:prstGeom prst="rect">
            <a:avLst/>
          </a:prstGeom>
          <a:noFill/>
          <a:extLst>
            <a:ext uri="{909E8E84-426E-40DD-AFC4-6F175D3DCCD1}">
              <a14:hiddenFill xmlns:a14="http://schemas.microsoft.com/office/drawing/2010/main">
                <a:solidFill>
                  <a:srgbClr val="FFFFFF"/>
                </a:solidFill>
              </a14:hiddenFill>
            </a:ext>
          </a:extLst>
        </p:spPr>
      </p:pic>
      <p:grpSp>
        <p:nvGrpSpPr>
          <p:cNvPr id="80" name="Group 79"/>
          <p:cNvGrpSpPr/>
          <p:nvPr userDrawn="1"/>
        </p:nvGrpSpPr>
        <p:grpSpPr>
          <a:xfrm>
            <a:off x="6970734" y="6128901"/>
            <a:ext cx="1839928" cy="396052"/>
            <a:chOff x="6923088" y="4475163"/>
            <a:chExt cx="1873251" cy="403225"/>
          </a:xfrm>
        </p:grpSpPr>
        <p:sp>
          <p:nvSpPr>
            <p:cNvPr id="81" name="AutoShape 4"/>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82" name="Freeform 6"/>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83" name="Freeform 7"/>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84" name="Freeform 83"/>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85" name="Freeform 84"/>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86" name="Freeform 85"/>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87" name="Freeform 86"/>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88" name="Freeform 87"/>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89" name="Freeform 88"/>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0" name="Freeform 89"/>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1" name="Freeform 90"/>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2" name="Freeform 91"/>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3" name="Freeform 92"/>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4" name="Freeform 93"/>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5" name="Freeform 94"/>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6" name="Freeform 95"/>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7" name="Freeform 96"/>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8" name="Freeform 97"/>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9" name="Freeform 98"/>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00" name="Freeform 99"/>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01" name="Freeform 100"/>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02" name="Freeform 101"/>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03" name="Freeform 102"/>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04" name="Freeform 103"/>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05" name="Freeform 104"/>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06" name="Freeform 105"/>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grpSp>
      <p:sp>
        <p:nvSpPr>
          <p:cNvPr id="44" name="Text Placeholder 43"/>
          <p:cNvSpPr>
            <a:spLocks noGrp="1"/>
          </p:cNvSpPr>
          <p:nvPr>
            <p:ph type="body" sz="quarter" idx="10"/>
          </p:nvPr>
        </p:nvSpPr>
        <p:spPr>
          <a:xfrm>
            <a:off x="715495" y="3833787"/>
            <a:ext cx="2455544" cy="332365"/>
          </a:xfrm>
        </p:spPr>
        <p:txBody>
          <a:bodyPr/>
          <a:lstStyle>
            <a:lvl1pPr>
              <a:defRPr lang="en-US" sz="1000" b="0" kern="1200" smtClean="0">
                <a:solidFill>
                  <a:srgbClr val="000000"/>
                </a:solidFill>
                <a:latin typeface="Arial"/>
                <a:ea typeface="ＭＳ Ｐゴシック"/>
                <a:cs typeface="ＭＳ Ｐゴシック"/>
              </a:defRPr>
            </a:lvl1pPr>
          </a:lstStyle>
          <a:p>
            <a:pPr lvl="0"/>
            <a:r>
              <a:rPr lang="en-US"/>
              <a:t>Click to edit Master text styles</a:t>
            </a:r>
          </a:p>
        </p:txBody>
      </p:sp>
      <p:sp>
        <p:nvSpPr>
          <p:cNvPr id="53" name="Content Placeholder 52"/>
          <p:cNvSpPr>
            <a:spLocks noGrp="1"/>
          </p:cNvSpPr>
          <p:nvPr>
            <p:ph sz="quarter" idx="12"/>
          </p:nvPr>
        </p:nvSpPr>
        <p:spPr>
          <a:xfrm>
            <a:off x="6280150" y="3842381"/>
            <a:ext cx="2487613" cy="165226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47" name="Rectangle 176"/>
          <p:cNvSpPr>
            <a:spLocks noGrp="1" noChangeArrowheads="1"/>
          </p:cNvSpPr>
          <p:nvPr>
            <p:ph type="ftr" sz="quarter" idx="13"/>
          </p:nvPr>
        </p:nvSpPr>
        <p:spPr>
          <a:xfrm>
            <a:off x="281401" y="5877558"/>
            <a:ext cx="6014623" cy="260350"/>
          </a:xfrm>
        </p:spPr>
        <p:txBody>
          <a:bodyPr anchor="b" anchorCtr="0"/>
          <a:lstStyle>
            <a:lvl1pPr algn="l">
              <a:defRPr sz="800" b="0" smtClean="0">
                <a:solidFill>
                  <a:srgbClr val="000000"/>
                </a:solidFill>
              </a:defRPr>
            </a:lvl1pPr>
          </a:lstStyle>
          <a:p>
            <a:pPr>
              <a:defRPr/>
            </a:pPr>
            <a:r>
              <a:rPr lang="en-US" b="1" dirty="0"/>
              <a:t>For institutional use only.</a:t>
            </a:r>
          </a:p>
        </p:txBody>
      </p:sp>
      <p:sp>
        <p:nvSpPr>
          <p:cNvPr id="72" name="Rectangle 6"/>
          <p:cNvSpPr>
            <a:spLocks noGrp="1" noChangeArrowheads="1"/>
          </p:cNvSpPr>
          <p:nvPr>
            <p:ph type="subTitle" idx="1"/>
          </p:nvPr>
        </p:nvSpPr>
        <p:spPr>
          <a:xfrm>
            <a:off x="685251" y="2091765"/>
            <a:ext cx="7805762" cy="563076"/>
          </a:xfrm>
        </p:spPr>
        <p:txBody>
          <a:bodyPr lIns="100584" rIns="100584"/>
          <a:lstStyle>
            <a:lvl1pPr marL="0" indent="0">
              <a:spcBef>
                <a:spcPts val="0"/>
              </a:spcBef>
              <a:defRPr sz="2000" b="0">
                <a:solidFill>
                  <a:srgbClr val="7A9B3D"/>
                </a:solidFill>
              </a:defRPr>
            </a:lvl1pPr>
          </a:lstStyle>
          <a:p>
            <a:r>
              <a:rPr lang="en-US"/>
              <a:t>Click to edit Master subtitle style</a:t>
            </a:r>
            <a:endParaRPr lang="en-US" dirty="0"/>
          </a:p>
        </p:txBody>
      </p:sp>
      <p:sp>
        <p:nvSpPr>
          <p:cNvPr id="74" name="Text Placeholder 43"/>
          <p:cNvSpPr>
            <a:spLocks noGrp="1"/>
          </p:cNvSpPr>
          <p:nvPr>
            <p:ph type="body" sz="quarter" idx="14" hasCustomPrompt="1"/>
          </p:nvPr>
        </p:nvSpPr>
        <p:spPr>
          <a:xfrm>
            <a:off x="685251" y="2581276"/>
            <a:ext cx="7805762" cy="266850"/>
          </a:xfrm>
        </p:spPr>
        <p:txBody>
          <a:bodyPr lIns="100584" rIns="100584"/>
          <a:lstStyle>
            <a:lvl1pPr>
              <a:spcBef>
                <a:spcPts val="0"/>
              </a:spcBef>
              <a:defRPr lang="en-US" sz="1200" b="0" kern="1200" dirty="0" smtClean="0">
                <a:solidFill>
                  <a:srgbClr val="333F48"/>
                </a:solidFill>
                <a:latin typeface="Arial"/>
                <a:ea typeface="ＭＳ Ｐゴシック" pitchFamily="34" charset="-128"/>
                <a:cs typeface="+mn-cs"/>
              </a:defRPr>
            </a:lvl1pPr>
          </a:lstStyle>
          <a:p>
            <a:pPr lvl="0"/>
            <a:r>
              <a:rPr lang="en-US" dirty="0"/>
              <a:t>Date</a:t>
            </a:r>
          </a:p>
        </p:txBody>
      </p:sp>
      <p:sp>
        <p:nvSpPr>
          <p:cNvPr id="39" name="Rectangle 9"/>
          <p:cNvSpPr>
            <a:spLocks noGrp="1" noChangeArrowheads="1"/>
          </p:cNvSpPr>
          <p:nvPr>
            <p:ph type="title" hasCustomPrompt="1"/>
          </p:nvPr>
        </p:nvSpPr>
        <p:spPr bwMode="auto">
          <a:xfrm>
            <a:off x="685252" y="1581072"/>
            <a:ext cx="7820573" cy="5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b" anchorCtr="0" compatLnSpc="1">
            <a:prstTxWarp prst="textNoShape">
              <a:avLst/>
            </a:prstTxWarp>
          </a:bodyPr>
          <a:lstStyle>
            <a:lvl1pPr>
              <a:defRPr sz="3000">
                <a:solidFill>
                  <a:schemeClr val="bg2"/>
                </a:solidFill>
              </a:defRPr>
            </a:lvl1pPr>
          </a:lstStyle>
          <a:p>
            <a:pPr lvl="0"/>
            <a:r>
              <a:rPr lang="en-US" altLang="en-US" dirty="0"/>
              <a:t>Click To Edit Master Title Style</a:t>
            </a:r>
          </a:p>
        </p:txBody>
      </p:sp>
      <p:grpSp>
        <p:nvGrpSpPr>
          <p:cNvPr id="43" name="Group 42"/>
          <p:cNvGrpSpPr/>
          <p:nvPr userDrawn="1"/>
        </p:nvGrpSpPr>
        <p:grpSpPr>
          <a:xfrm>
            <a:off x="371883" y="6327145"/>
            <a:ext cx="4006611" cy="174407"/>
            <a:chOff x="371883" y="6327145"/>
            <a:chExt cx="4006611" cy="174407"/>
          </a:xfrm>
        </p:grpSpPr>
        <p:grpSp>
          <p:nvGrpSpPr>
            <p:cNvPr id="49" name="Group 48"/>
            <p:cNvGrpSpPr/>
            <p:nvPr userDrawn="1"/>
          </p:nvGrpSpPr>
          <p:grpSpPr>
            <a:xfrm>
              <a:off x="371883" y="6359447"/>
              <a:ext cx="3947551" cy="100654"/>
              <a:chOff x="362358" y="6368972"/>
              <a:chExt cx="3947551" cy="100654"/>
            </a:xfrm>
          </p:grpSpPr>
          <p:pic>
            <p:nvPicPr>
              <p:cNvPr id="51" name="Picture 5"/>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r="1439" b="-2834"/>
              <a:stretch/>
            </p:blipFill>
            <p:spPr bwMode="auto">
              <a:xfrm>
                <a:off x="362358" y="6368972"/>
                <a:ext cx="3848307" cy="100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2" name="AutoShape 4"/>
              <p:cNvSpPr>
                <a:spLocks noChangeAspect="1" noChangeArrowheads="1" noTextEdit="1"/>
              </p:cNvSpPr>
              <p:nvPr userDrawn="1"/>
            </p:nvSpPr>
            <p:spPr bwMode="auto">
              <a:xfrm>
                <a:off x="4213072" y="6374683"/>
                <a:ext cx="96837"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grpSp>
        <p:sp>
          <p:nvSpPr>
            <p:cNvPr id="50" name="TextBox 49"/>
            <p:cNvSpPr txBox="1"/>
            <p:nvPr userDrawn="1"/>
          </p:nvSpPr>
          <p:spPr>
            <a:xfrm>
              <a:off x="4144134" y="6327145"/>
              <a:ext cx="234360" cy="174407"/>
            </a:xfrm>
            <a:prstGeom prst="rect">
              <a:avLst/>
            </a:prstGeom>
            <a:noFill/>
          </p:spPr>
          <p:txBody>
            <a:bodyPr wrap="none" rtlCol="0">
              <a:spAutoFit/>
            </a:bodyPr>
            <a:lstStyle/>
            <a:p>
              <a:r>
                <a:rPr lang="en-US" sz="800" b="1" baseline="30000" dirty="0">
                  <a:solidFill>
                    <a:srgbClr val="000000"/>
                  </a:solidFill>
                  <a:latin typeface="Arial"/>
                  <a:cs typeface="+mn-cs"/>
                </a:rPr>
                <a:t>®</a:t>
              </a:r>
            </a:p>
          </p:txBody>
        </p:sp>
      </p:grpSp>
    </p:spTree>
    <p:extLst>
      <p:ext uri="{BB962C8B-B14F-4D97-AF65-F5344CB8AC3E}">
        <p14:creationId xmlns:p14="http://schemas.microsoft.com/office/powerpoint/2010/main" val="346665801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grpSp>
        <p:nvGrpSpPr>
          <p:cNvPr id="4" name="Group 6"/>
          <p:cNvGrpSpPr>
            <a:grpSpLocks/>
          </p:cNvGrpSpPr>
          <p:nvPr/>
        </p:nvGrpSpPr>
        <p:grpSpPr bwMode="auto">
          <a:xfrm>
            <a:off x="7364413" y="6411913"/>
            <a:ext cx="1371600" cy="284162"/>
            <a:chOff x="4291013" y="3178175"/>
            <a:chExt cx="3197225" cy="688975"/>
          </a:xfrm>
        </p:grpSpPr>
        <p:sp>
          <p:nvSpPr>
            <p:cNvPr id="5" name="Freeform 6"/>
            <p:cNvSpPr>
              <a:spLocks/>
            </p:cNvSpPr>
            <p:nvPr/>
          </p:nvSpPr>
          <p:spPr bwMode="auto">
            <a:xfrm>
              <a:off x="4300538" y="3190875"/>
              <a:ext cx="644525" cy="644525"/>
            </a:xfrm>
            <a:custGeom>
              <a:avLst/>
              <a:gdLst>
                <a:gd name="T0" fmla="*/ 323850 w 406"/>
                <a:gd name="T1" fmla="*/ 644525 h 406"/>
                <a:gd name="T2" fmla="*/ 387350 w 406"/>
                <a:gd name="T3" fmla="*/ 638175 h 406"/>
                <a:gd name="T4" fmla="*/ 447675 w 406"/>
                <a:gd name="T5" fmla="*/ 619125 h 406"/>
                <a:gd name="T6" fmla="*/ 501650 w 406"/>
                <a:gd name="T7" fmla="*/ 590550 h 406"/>
                <a:gd name="T8" fmla="*/ 549275 w 406"/>
                <a:gd name="T9" fmla="*/ 549275 h 406"/>
                <a:gd name="T10" fmla="*/ 590550 w 406"/>
                <a:gd name="T11" fmla="*/ 501650 h 406"/>
                <a:gd name="T12" fmla="*/ 619125 w 406"/>
                <a:gd name="T13" fmla="*/ 447675 h 406"/>
                <a:gd name="T14" fmla="*/ 638175 w 406"/>
                <a:gd name="T15" fmla="*/ 387350 h 406"/>
                <a:gd name="T16" fmla="*/ 644525 w 406"/>
                <a:gd name="T17" fmla="*/ 323850 h 406"/>
                <a:gd name="T18" fmla="*/ 641350 w 406"/>
                <a:gd name="T19" fmla="*/ 288925 h 406"/>
                <a:gd name="T20" fmla="*/ 628650 w 406"/>
                <a:gd name="T21" fmla="*/ 228600 h 406"/>
                <a:gd name="T22" fmla="*/ 606425 w 406"/>
                <a:gd name="T23" fmla="*/ 168275 h 406"/>
                <a:gd name="T24" fmla="*/ 571500 w 406"/>
                <a:gd name="T25" fmla="*/ 117475 h 406"/>
                <a:gd name="T26" fmla="*/ 527050 w 406"/>
                <a:gd name="T27" fmla="*/ 73025 h 406"/>
                <a:gd name="T28" fmla="*/ 476250 w 406"/>
                <a:gd name="T29" fmla="*/ 41275 h 406"/>
                <a:gd name="T30" fmla="*/ 419100 w 406"/>
                <a:gd name="T31" fmla="*/ 15875 h 406"/>
                <a:gd name="T32" fmla="*/ 355600 w 406"/>
                <a:gd name="T33" fmla="*/ 3175 h 406"/>
                <a:gd name="T34" fmla="*/ 323850 w 406"/>
                <a:gd name="T35" fmla="*/ 0 h 406"/>
                <a:gd name="T36" fmla="*/ 257175 w 406"/>
                <a:gd name="T37" fmla="*/ 6350 h 406"/>
                <a:gd name="T38" fmla="*/ 196850 w 406"/>
                <a:gd name="T39" fmla="*/ 25400 h 406"/>
                <a:gd name="T40" fmla="*/ 142875 w 406"/>
                <a:gd name="T41" fmla="*/ 57150 h 406"/>
                <a:gd name="T42" fmla="*/ 95250 w 406"/>
                <a:gd name="T43" fmla="*/ 95250 h 406"/>
                <a:gd name="T44" fmla="*/ 57150 w 406"/>
                <a:gd name="T45" fmla="*/ 142875 h 406"/>
                <a:gd name="T46" fmla="*/ 25400 w 406"/>
                <a:gd name="T47" fmla="*/ 196850 h 406"/>
                <a:gd name="T48" fmla="*/ 6350 w 406"/>
                <a:gd name="T49" fmla="*/ 257175 h 406"/>
                <a:gd name="T50" fmla="*/ 0 w 406"/>
                <a:gd name="T51" fmla="*/ 323850 h 406"/>
                <a:gd name="T52" fmla="*/ 3175 w 406"/>
                <a:gd name="T53" fmla="*/ 355600 h 406"/>
                <a:gd name="T54" fmla="*/ 15875 w 406"/>
                <a:gd name="T55" fmla="*/ 419100 h 406"/>
                <a:gd name="T56" fmla="*/ 38100 w 406"/>
                <a:gd name="T57" fmla="*/ 476250 h 406"/>
                <a:gd name="T58" fmla="*/ 73025 w 406"/>
                <a:gd name="T59" fmla="*/ 527050 h 406"/>
                <a:gd name="T60" fmla="*/ 117475 w 406"/>
                <a:gd name="T61" fmla="*/ 571500 h 406"/>
                <a:gd name="T62" fmla="*/ 168275 w 406"/>
                <a:gd name="T63" fmla="*/ 606425 h 406"/>
                <a:gd name="T64" fmla="*/ 225425 w 406"/>
                <a:gd name="T65" fmla="*/ 631825 h 406"/>
                <a:gd name="T66" fmla="*/ 288925 w 406"/>
                <a:gd name="T67" fmla="*/ 644525 h 40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latin typeface="Arial"/>
                <a:cs typeface="+mn-cs"/>
              </a:endParaRPr>
            </a:p>
          </p:txBody>
        </p:sp>
        <p:sp>
          <p:nvSpPr>
            <p:cNvPr id="6" name="Freeform 7"/>
            <p:cNvSpPr>
              <a:spLocks/>
            </p:cNvSpPr>
            <p:nvPr/>
          </p:nvSpPr>
          <p:spPr bwMode="auto">
            <a:xfrm>
              <a:off x="4300538" y="3190875"/>
              <a:ext cx="644525" cy="644525"/>
            </a:xfrm>
            <a:custGeom>
              <a:avLst/>
              <a:gdLst>
                <a:gd name="T0" fmla="*/ 323850 w 406"/>
                <a:gd name="T1" fmla="*/ 644525 h 406"/>
                <a:gd name="T2" fmla="*/ 387350 w 406"/>
                <a:gd name="T3" fmla="*/ 638175 h 406"/>
                <a:gd name="T4" fmla="*/ 447675 w 406"/>
                <a:gd name="T5" fmla="*/ 619125 h 406"/>
                <a:gd name="T6" fmla="*/ 501650 w 406"/>
                <a:gd name="T7" fmla="*/ 590550 h 406"/>
                <a:gd name="T8" fmla="*/ 549275 w 406"/>
                <a:gd name="T9" fmla="*/ 549275 h 406"/>
                <a:gd name="T10" fmla="*/ 590550 w 406"/>
                <a:gd name="T11" fmla="*/ 501650 h 406"/>
                <a:gd name="T12" fmla="*/ 619125 w 406"/>
                <a:gd name="T13" fmla="*/ 447675 h 406"/>
                <a:gd name="T14" fmla="*/ 638175 w 406"/>
                <a:gd name="T15" fmla="*/ 387350 h 406"/>
                <a:gd name="T16" fmla="*/ 644525 w 406"/>
                <a:gd name="T17" fmla="*/ 323850 h 406"/>
                <a:gd name="T18" fmla="*/ 641350 w 406"/>
                <a:gd name="T19" fmla="*/ 288925 h 406"/>
                <a:gd name="T20" fmla="*/ 628650 w 406"/>
                <a:gd name="T21" fmla="*/ 228600 h 406"/>
                <a:gd name="T22" fmla="*/ 606425 w 406"/>
                <a:gd name="T23" fmla="*/ 168275 h 406"/>
                <a:gd name="T24" fmla="*/ 571500 w 406"/>
                <a:gd name="T25" fmla="*/ 117475 h 406"/>
                <a:gd name="T26" fmla="*/ 527050 w 406"/>
                <a:gd name="T27" fmla="*/ 73025 h 406"/>
                <a:gd name="T28" fmla="*/ 476250 w 406"/>
                <a:gd name="T29" fmla="*/ 41275 h 406"/>
                <a:gd name="T30" fmla="*/ 419100 w 406"/>
                <a:gd name="T31" fmla="*/ 15875 h 406"/>
                <a:gd name="T32" fmla="*/ 355600 w 406"/>
                <a:gd name="T33" fmla="*/ 3175 h 406"/>
                <a:gd name="T34" fmla="*/ 323850 w 406"/>
                <a:gd name="T35" fmla="*/ 0 h 406"/>
                <a:gd name="T36" fmla="*/ 257175 w 406"/>
                <a:gd name="T37" fmla="*/ 6350 h 406"/>
                <a:gd name="T38" fmla="*/ 196850 w 406"/>
                <a:gd name="T39" fmla="*/ 25400 h 406"/>
                <a:gd name="T40" fmla="*/ 142875 w 406"/>
                <a:gd name="T41" fmla="*/ 57150 h 406"/>
                <a:gd name="T42" fmla="*/ 95250 w 406"/>
                <a:gd name="T43" fmla="*/ 95250 h 406"/>
                <a:gd name="T44" fmla="*/ 57150 w 406"/>
                <a:gd name="T45" fmla="*/ 142875 h 406"/>
                <a:gd name="T46" fmla="*/ 25400 w 406"/>
                <a:gd name="T47" fmla="*/ 196850 h 406"/>
                <a:gd name="T48" fmla="*/ 6350 w 406"/>
                <a:gd name="T49" fmla="*/ 257175 h 406"/>
                <a:gd name="T50" fmla="*/ 0 w 406"/>
                <a:gd name="T51" fmla="*/ 323850 h 406"/>
                <a:gd name="T52" fmla="*/ 3175 w 406"/>
                <a:gd name="T53" fmla="*/ 355600 h 406"/>
                <a:gd name="T54" fmla="*/ 15875 w 406"/>
                <a:gd name="T55" fmla="*/ 419100 h 406"/>
                <a:gd name="T56" fmla="*/ 38100 w 406"/>
                <a:gd name="T57" fmla="*/ 476250 h 406"/>
                <a:gd name="T58" fmla="*/ 73025 w 406"/>
                <a:gd name="T59" fmla="*/ 527050 h 406"/>
                <a:gd name="T60" fmla="*/ 117475 w 406"/>
                <a:gd name="T61" fmla="*/ 571500 h 406"/>
                <a:gd name="T62" fmla="*/ 168275 w 406"/>
                <a:gd name="T63" fmla="*/ 606425 h 406"/>
                <a:gd name="T64" fmla="*/ 225425 w 406"/>
                <a:gd name="T65" fmla="*/ 631825 h 406"/>
                <a:gd name="T66" fmla="*/ 288925 w 406"/>
                <a:gd name="T67" fmla="*/ 644525 h 40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latin typeface="Arial"/>
                <a:cs typeface="+mn-cs"/>
              </a:endParaRPr>
            </a:p>
          </p:txBody>
        </p:sp>
        <p:sp>
          <p:nvSpPr>
            <p:cNvPr id="8" name="Freeform 8"/>
            <p:cNvSpPr>
              <a:spLocks/>
            </p:cNvSpPr>
            <p:nvPr/>
          </p:nvSpPr>
          <p:spPr bwMode="auto">
            <a:xfrm>
              <a:off x="4291013" y="3178175"/>
              <a:ext cx="660400" cy="631825"/>
            </a:xfrm>
            <a:custGeom>
              <a:avLst/>
              <a:gdLst>
                <a:gd name="T0" fmla="*/ 434975 w 416"/>
                <a:gd name="T1" fmla="*/ 412750 h 398"/>
                <a:gd name="T2" fmla="*/ 206375 w 416"/>
                <a:gd name="T3" fmla="*/ 631825 h 398"/>
                <a:gd name="T4" fmla="*/ 149225 w 416"/>
                <a:gd name="T5" fmla="*/ 600075 h 398"/>
                <a:gd name="T6" fmla="*/ 76200 w 416"/>
                <a:gd name="T7" fmla="*/ 533400 h 398"/>
                <a:gd name="T8" fmla="*/ 25400 w 416"/>
                <a:gd name="T9" fmla="*/ 450850 h 398"/>
                <a:gd name="T10" fmla="*/ 6350 w 416"/>
                <a:gd name="T11" fmla="*/ 390525 h 398"/>
                <a:gd name="T12" fmla="*/ 3175 w 416"/>
                <a:gd name="T13" fmla="*/ 292100 h 398"/>
                <a:gd name="T14" fmla="*/ 25400 w 416"/>
                <a:gd name="T15" fmla="*/ 200025 h 398"/>
                <a:gd name="T16" fmla="*/ 57150 w 416"/>
                <a:gd name="T17" fmla="*/ 142875 h 398"/>
                <a:gd name="T18" fmla="*/ 123825 w 416"/>
                <a:gd name="T19" fmla="*/ 69850 h 398"/>
                <a:gd name="T20" fmla="*/ 209550 w 416"/>
                <a:gd name="T21" fmla="*/ 19050 h 398"/>
                <a:gd name="T22" fmla="*/ 260350 w 416"/>
                <a:gd name="T23" fmla="*/ 6350 h 398"/>
                <a:gd name="T24" fmla="*/ 342900 w 416"/>
                <a:gd name="T25" fmla="*/ 0 h 398"/>
                <a:gd name="T26" fmla="*/ 422275 w 416"/>
                <a:gd name="T27" fmla="*/ 12700 h 398"/>
                <a:gd name="T28" fmla="*/ 479425 w 416"/>
                <a:gd name="T29" fmla="*/ 34925 h 398"/>
                <a:gd name="T30" fmla="*/ 555625 w 416"/>
                <a:gd name="T31" fmla="*/ 88900 h 398"/>
                <a:gd name="T32" fmla="*/ 612775 w 416"/>
                <a:gd name="T33" fmla="*/ 158750 h 398"/>
                <a:gd name="T34" fmla="*/ 641350 w 416"/>
                <a:gd name="T35" fmla="*/ 222250 h 398"/>
                <a:gd name="T36" fmla="*/ 660400 w 416"/>
                <a:gd name="T37" fmla="*/ 323850 h 398"/>
                <a:gd name="T38" fmla="*/ 644525 w 416"/>
                <a:gd name="T39" fmla="*/ 425450 h 398"/>
                <a:gd name="T40" fmla="*/ 603250 w 416"/>
                <a:gd name="T41" fmla="*/ 511175 h 398"/>
                <a:gd name="T42" fmla="*/ 539750 w 416"/>
                <a:gd name="T43" fmla="*/ 584200 h 398"/>
                <a:gd name="T44" fmla="*/ 574675 w 416"/>
                <a:gd name="T45" fmla="*/ 504825 h 398"/>
                <a:gd name="T46" fmla="*/ 415925 w 416"/>
                <a:gd name="T47" fmla="*/ 365125 h 398"/>
                <a:gd name="T48" fmla="*/ 622300 w 416"/>
                <a:gd name="T49" fmla="*/ 396875 h 398"/>
                <a:gd name="T50" fmla="*/ 628650 w 416"/>
                <a:gd name="T51" fmla="*/ 279400 h 398"/>
                <a:gd name="T52" fmla="*/ 422275 w 416"/>
                <a:gd name="T53" fmla="*/ 292100 h 398"/>
                <a:gd name="T54" fmla="*/ 584200 w 416"/>
                <a:gd name="T55" fmla="*/ 168275 h 398"/>
                <a:gd name="T56" fmla="*/ 400050 w 416"/>
                <a:gd name="T57" fmla="*/ 260350 h 398"/>
                <a:gd name="T58" fmla="*/ 498475 w 416"/>
                <a:gd name="T59" fmla="*/ 82550 h 398"/>
                <a:gd name="T60" fmla="*/ 393700 w 416"/>
                <a:gd name="T61" fmla="*/ 34925 h 398"/>
                <a:gd name="T62" fmla="*/ 314325 w 416"/>
                <a:gd name="T63" fmla="*/ 168275 h 398"/>
                <a:gd name="T64" fmla="*/ 276225 w 416"/>
                <a:gd name="T65" fmla="*/ 28575 h 398"/>
                <a:gd name="T66" fmla="*/ 168275 w 416"/>
                <a:gd name="T67" fmla="*/ 76200 h 398"/>
                <a:gd name="T68" fmla="*/ 260350 w 416"/>
                <a:gd name="T69" fmla="*/ 254000 h 398"/>
                <a:gd name="T70" fmla="*/ 79375 w 416"/>
                <a:gd name="T71" fmla="*/ 158750 h 398"/>
                <a:gd name="T72" fmla="*/ 38100 w 416"/>
                <a:gd name="T73" fmla="*/ 266700 h 398"/>
                <a:gd name="T74" fmla="*/ 234950 w 416"/>
                <a:gd name="T75" fmla="*/ 327025 h 398"/>
                <a:gd name="T76" fmla="*/ 38100 w 416"/>
                <a:gd name="T77" fmla="*/ 384175 h 398"/>
                <a:gd name="T78" fmla="*/ 82550 w 416"/>
                <a:gd name="T79" fmla="*/ 495300 h 398"/>
                <a:gd name="T80" fmla="*/ 209550 w 416"/>
                <a:gd name="T81" fmla="*/ 431800 h 398"/>
                <a:gd name="T82" fmla="*/ 250825 w 416"/>
                <a:gd name="T83" fmla="*/ 365125 h 398"/>
                <a:gd name="T84" fmla="*/ 282575 w 416"/>
                <a:gd name="T85" fmla="*/ 390525 h 3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16" h="398">
                  <a:moveTo>
                    <a:pt x="178" y="246"/>
                  </a:moveTo>
                  <a:lnTo>
                    <a:pt x="252" y="246"/>
                  </a:lnTo>
                  <a:lnTo>
                    <a:pt x="274" y="260"/>
                  </a:lnTo>
                  <a:lnTo>
                    <a:pt x="174" y="260"/>
                  </a:lnTo>
                  <a:lnTo>
                    <a:pt x="134" y="384"/>
                  </a:lnTo>
                  <a:lnTo>
                    <a:pt x="130" y="398"/>
                  </a:lnTo>
                  <a:lnTo>
                    <a:pt x="112" y="390"/>
                  </a:lnTo>
                  <a:lnTo>
                    <a:pt x="94" y="378"/>
                  </a:lnTo>
                  <a:lnTo>
                    <a:pt x="78" y="366"/>
                  </a:lnTo>
                  <a:lnTo>
                    <a:pt x="62" y="352"/>
                  </a:lnTo>
                  <a:lnTo>
                    <a:pt x="48" y="336"/>
                  </a:lnTo>
                  <a:lnTo>
                    <a:pt x="34" y="320"/>
                  </a:lnTo>
                  <a:lnTo>
                    <a:pt x="24" y="302"/>
                  </a:lnTo>
                  <a:lnTo>
                    <a:pt x="16" y="284"/>
                  </a:lnTo>
                  <a:lnTo>
                    <a:pt x="8" y="266"/>
                  </a:lnTo>
                  <a:lnTo>
                    <a:pt x="4" y="246"/>
                  </a:lnTo>
                  <a:lnTo>
                    <a:pt x="2" y="226"/>
                  </a:lnTo>
                  <a:lnTo>
                    <a:pt x="0" y="206"/>
                  </a:lnTo>
                  <a:lnTo>
                    <a:pt x="2" y="184"/>
                  </a:lnTo>
                  <a:lnTo>
                    <a:pt x="4" y="164"/>
                  </a:lnTo>
                  <a:lnTo>
                    <a:pt x="10" y="146"/>
                  </a:lnTo>
                  <a:lnTo>
                    <a:pt x="16" y="126"/>
                  </a:lnTo>
                  <a:lnTo>
                    <a:pt x="24" y="108"/>
                  </a:lnTo>
                  <a:lnTo>
                    <a:pt x="36" y="90"/>
                  </a:lnTo>
                  <a:lnTo>
                    <a:pt x="48" y="74"/>
                  </a:lnTo>
                  <a:lnTo>
                    <a:pt x="62" y="58"/>
                  </a:lnTo>
                  <a:lnTo>
                    <a:pt x="78" y="44"/>
                  </a:lnTo>
                  <a:lnTo>
                    <a:pt x="96" y="32"/>
                  </a:lnTo>
                  <a:lnTo>
                    <a:pt x="114" y="20"/>
                  </a:lnTo>
                  <a:lnTo>
                    <a:pt x="132" y="12"/>
                  </a:lnTo>
                  <a:lnTo>
                    <a:pt x="148" y="8"/>
                  </a:lnTo>
                  <a:lnTo>
                    <a:pt x="164" y="4"/>
                  </a:lnTo>
                  <a:lnTo>
                    <a:pt x="182" y="0"/>
                  </a:lnTo>
                  <a:lnTo>
                    <a:pt x="198" y="0"/>
                  </a:lnTo>
                  <a:lnTo>
                    <a:pt x="216" y="0"/>
                  </a:lnTo>
                  <a:lnTo>
                    <a:pt x="234" y="0"/>
                  </a:lnTo>
                  <a:lnTo>
                    <a:pt x="250" y="4"/>
                  </a:lnTo>
                  <a:lnTo>
                    <a:pt x="266" y="8"/>
                  </a:lnTo>
                  <a:lnTo>
                    <a:pt x="284" y="14"/>
                  </a:lnTo>
                  <a:lnTo>
                    <a:pt x="302" y="22"/>
                  </a:lnTo>
                  <a:lnTo>
                    <a:pt x="318" y="32"/>
                  </a:lnTo>
                  <a:lnTo>
                    <a:pt x="334" y="42"/>
                  </a:lnTo>
                  <a:lnTo>
                    <a:pt x="350" y="56"/>
                  </a:lnTo>
                  <a:lnTo>
                    <a:pt x="364" y="70"/>
                  </a:lnTo>
                  <a:lnTo>
                    <a:pt x="376" y="84"/>
                  </a:lnTo>
                  <a:lnTo>
                    <a:pt x="386" y="100"/>
                  </a:lnTo>
                  <a:lnTo>
                    <a:pt x="396" y="120"/>
                  </a:lnTo>
                  <a:lnTo>
                    <a:pt x="404" y="140"/>
                  </a:lnTo>
                  <a:lnTo>
                    <a:pt x="410" y="160"/>
                  </a:lnTo>
                  <a:lnTo>
                    <a:pt x="414" y="182"/>
                  </a:lnTo>
                  <a:lnTo>
                    <a:pt x="416" y="204"/>
                  </a:lnTo>
                  <a:lnTo>
                    <a:pt x="414" y="226"/>
                  </a:lnTo>
                  <a:lnTo>
                    <a:pt x="412" y="248"/>
                  </a:lnTo>
                  <a:lnTo>
                    <a:pt x="406" y="268"/>
                  </a:lnTo>
                  <a:lnTo>
                    <a:pt x="396" y="296"/>
                  </a:lnTo>
                  <a:lnTo>
                    <a:pt x="380" y="322"/>
                  </a:lnTo>
                  <a:lnTo>
                    <a:pt x="362" y="346"/>
                  </a:lnTo>
                  <a:lnTo>
                    <a:pt x="352" y="358"/>
                  </a:lnTo>
                  <a:lnTo>
                    <a:pt x="340" y="368"/>
                  </a:lnTo>
                  <a:lnTo>
                    <a:pt x="334" y="358"/>
                  </a:lnTo>
                  <a:lnTo>
                    <a:pt x="284" y="276"/>
                  </a:lnTo>
                  <a:lnTo>
                    <a:pt x="362" y="318"/>
                  </a:lnTo>
                  <a:lnTo>
                    <a:pt x="262" y="230"/>
                  </a:lnTo>
                  <a:lnTo>
                    <a:pt x="392" y="250"/>
                  </a:lnTo>
                  <a:lnTo>
                    <a:pt x="390" y="250"/>
                  </a:lnTo>
                  <a:lnTo>
                    <a:pt x="268" y="206"/>
                  </a:lnTo>
                  <a:lnTo>
                    <a:pt x="396" y="176"/>
                  </a:lnTo>
                  <a:lnTo>
                    <a:pt x="396" y="174"/>
                  </a:lnTo>
                  <a:lnTo>
                    <a:pt x="266" y="184"/>
                  </a:lnTo>
                  <a:lnTo>
                    <a:pt x="358" y="114"/>
                  </a:lnTo>
                  <a:lnTo>
                    <a:pt x="368" y="106"/>
                  </a:lnTo>
                  <a:lnTo>
                    <a:pt x="366" y="106"/>
                  </a:lnTo>
                  <a:lnTo>
                    <a:pt x="270" y="156"/>
                  </a:lnTo>
                  <a:lnTo>
                    <a:pt x="252" y="164"/>
                  </a:lnTo>
                  <a:lnTo>
                    <a:pt x="316" y="52"/>
                  </a:lnTo>
                  <a:lnTo>
                    <a:pt x="314" y="52"/>
                  </a:lnTo>
                  <a:lnTo>
                    <a:pt x="232" y="150"/>
                  </a:lnTo>
                  <a:lnTo>
                    <a:pt x="248" y="22"/>
                  </a:lnTo>
                  <a:lnTo>
                    <a:pt x="208" y="146"/>
                  </a:lnTo>
                  <a:lnTo>
                    <a:pt x="198" y="106"/>
                  </a:lnTo>
                  <a:lnTo>
                    <a:pt x="176" y="18"/>
                  </a:lnTo>
                  <a:lnTo>
                    <a:pt x="174" y="18"/>
                  </a:lnTo>
                  <a:lnTo>
                    <a:pt x="176" y="28"/>
                  </a:lnTo>
                  <a:lnTo>
                    <a:pt x="184" y="150"/>
                  </a:lnTo>
                  <a:lnTo>
                    <a:pt x="106" y="48"/>
                  </a:lnTo>
                  <a:lnTo>
                    <a:pt x="104" y="48"/>
                  </a:lnTo>
                  <a:lnTo>
                    <a:pt x="164" y="160"/>
                  </a:lnTo>
                  <a:lnTo>
                    <a:pt x="52" y="100"/>
                  </a:lnTo>
                  <a:lnTo>
                    <a:pt x="50" y="100"/>
                  </a:lnTo>
                  <a:lnTo>
                    <a:pt x="140" y="174"/>
                  </a:lnTo>
                  <a:lnTo>
                    <a:pt x="150" y="182"/>
                  </a:lnTo>
                  <a:lnTo>
                    <a:pt x="24" y="168"/>
                  </a:lnTo>
                  <a:lnTo>
                    <a:pt x="24" y="170"/>
                  </a:lnTo>
                  <a:lnTo>
                    <a:pt x="148" y="206"/>
                  </a:lnTo>
                  <a:lnTo>
                    <a:pt x="24" y="242"/>
                  </a:lnTo>
                  <a:lnTo>
                    <a:pt x="150" y="228"/>
                  </a:lnTo>
                  <a:lnTo>
                    <a:pt x="52" y="312"/>
                  </a:lnTo>
                  <a:lnTo>
                    <a:pt x="52" y="314"/>
                  </a:lnTo>
                  <a:lnTo>
                    <a:pt x="52" y="312"/>
                  </a:lnTo>
                  <a:lnTo>
                    <a:pt x="132" y="272"/>
                  </a:lnTo>
                  <a:lnTo>
                    <a:pt x="152" y="242"/>
                  </a:lnTo>
                  <a:lnTo>
                    <a:pt x="172" y="242"/>
                  </a:lnTo>
                  <a:lnTo>
                    <a:pt x="158" y="230"/>
                  </a:lnTo>
                  <a:lnTo>
                    <a:pt x="208" y="152"/>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latin typeface="Arial"/>
                <a:cs typeface="+mn-cs"/>
              </a:endParaRPr>
            </a:p>
          </p:txBody>
        </p:sp>
        <p:sp>
          <p:nvSpPr>
            <p:cNvPr id="9" name="Freeform 9"/>
            <p:cNvSpPr>
              <a:spLocks/>
            </p:cNvSpPr>
            <p:nvPr/>
          </p:nvSpPr>
          <p:spPr bwMode="auto">
            <a:xfrm>
              <a:off x="4291013" y="3178175"/>
              <a:ext cx="660400" cy="631825"/>
            </a:xfrm>
            <a:custGeom>
              <a:avLst/>
              <a:gdLst>
                <a:gd name="T0" fmla="*/ 434975 w 416"/>
                <a:gd name="T1" fmla="*/ 412750 h 398"/>
                <a:gd name="T2" fmla="*/ 206375 w 416"/>
                <a:gd name="T3" fmla="*/ 631825 h 398"/>
                <a:gd name="T4" fmla="*/ 149225 w 416"/>
                <a:gd name="T5" fmla="*/ 600075 h 398"/>
                <a:gd name="T6" fmla="*/ 76200 w 416"/>
                <a:gd name="T7" fmla="*/ 533400 h 398"/>
                <a:gd name="T8" fmla="*/ 25400 w 416"/>
                <a:gd name="T9" fmla="*/ 450850 h 398"/>
                <a:gd name="T10" fmla="*/ 6350 w 416"/>
                <a:gd name="T11" fmla="*/ 390525 h 398"/>
                <a:gd name="T12" fmla="*/ 3175 w 416"/>
                <a:gd name="T13" fmla="*/ 292100 h 398"/>
                <a:gd name="T14" fmla="*/ 25400 w 416"/>
                <a:gd name="T15" fmla="*/ 200025 h 398"/>
                <a:gd name="T16" fmla="*/ 57150 w 416"/>
                <a:gd name="T17" fmla="*/ 142875 h 398"/>
                <a:gd name="T18" fmla="*/ 123825 w 416"/>
                <a:gd name="T19" fmla="*/ 69850 h 398"/>
                <a:gd name="T20" fmla="*/ 209550 w 416"/>
                <a:gd name="T21" fmla="*/ 19050 h 398"/>
                <a:gd name="T22" fmla="*/ 260350 w 416"/>
                <a:gd name="T23" fmla="*/ 6350 h 398"/>
                <a:gd name="T24" fmla="*/ 342900 w 416"/>
                <a:gd name="T25" fmla="*/ 0 h 398"/>
                <a:gd name="T26" fmla="*/ 422275 w 416"/>
                <a:gd name="T27" fmla="*/ 12700 h 398"/>
                <a:gd name="T28" fmla="*/ 479425 w 416"/>
                <a:gd name="T29" fmla="*/ 34925 h 398"/>
                <a:gd name="T30" fmla="*/ 555625 w 416"/>
                <a:gd name="T31" fmla="*/ 88900 h 398"/>
                <a:gd name="T32" fmla="*/ 612775 w 416"/>
                <a:gd name="T33" fmla="*/ 158750 h 398"/>
                <a:gd name="T34" fmla="*/ 641350 w 416"/>
                <a:gd name="T35" fmla="*/ 222250 h 398"/>
                <a:gd name="T36" fmla="*/ 660400 w 416"/>
                <a:gd name="T37" fmla="*/ 323850 h 398"/>
                <a:gd name="T38" fmla="*/ 644525 w 416"/>
                <a:gd name="T39" fmla="*/ 425450 h 398"/>
                <a:gd name="T40" fmla="*/ 603250 w 416"/>
                <a:gd name="T41" fmla="*/ 511175 h 398"/>
                <a:gd name="T42" fmla="*/ 539750 w 416"/>
                <a:gd name="T43" fmla="*/ 584200 h 398"/>
                <a:gd name="T44" fmla="*/ 574675 w 416"/>
                <a:gd name="T45" fmla="*/ 504825 h 398"/>
                <a:gd name="T46" fmla="*/ 415925 w 416"/>
                <a:gd name="T47" fmla="*/ 365125 h 398"/>
                <a:gd name="T48" fmla="*/ 622300 w 416"/>
                <a:gd name="T49" fmla="*/ 396875 h 398"/>
                <a:gd name="T50" fmla="*/ 628650 w 416"/>
                <a:gd name="T51" fmla="*/ 279400 h 398"/>
                <a:gd name="T52" fmla="*/ 422275 w 416"/>
                <a:gd name="T53" fmla="*/ 292100 h 398"/>
                <a:gd name="T54" fmla="*/ 584200 w 416"/>
                <a:gd name="T55" fmla="*/ 168275 h 398"/>
                <a:gd name="T56" fmla="*/ 400050 w 416"/>
                <a:gd name="T57" fmla="*/ 260350 h 398"/>
                <a:gd name="T58" fmla="*/ 498475 w 416"/>
                <a:gd name="T59" fmla="*/ 82550 h 398"/>
                <a:gd name="T60" fmla="*/ 393700 w 416"/>
                <a:gd name="T61" fmla="*/ 34925 h 398"/>
                <a:gd name="T62" fmla="*/ 314325 w 416"/>
                <a:gd name="T63" fmla="*/ 168275 h 398"/>
                <a:gd name="T64" fmla="*/ 276225 w 416"/>
                <a:gd name="T65" fmla="*/ 28575 h 398"/>
                <a:gd name="T66" fmla="*/ 168275 w 416"/>
                <a:gd name="T67" fmla="*/ 76200 h 398"/>
                <a:gd name="T68" fmla="*/ 260350 w 416"/>
                <a:gd name="T69" fmla="*/ 254000 h 398"/>
                <a:gd name="T70" fmla="*/ 79375 w 416"/>
                <a:gd name="T71" fmla="*/ 158750 h 398"/>
                <a:gd name="T72" fmla="*/ 38100 w 416"/>
                <a:gd name="T73" fmla="*/ 266700 h 398"/>
                <a:gd name="T74" fmla="*/ 234950 w 416"/>
                <a:gd name="T75" fmla="*/ 327025 h 398"/>
                <a:gd name="T76" fmla="*/ 38100 w 416"/>
                <a:gd name="T77" fmla="*/ 384175 h 398"/>
                <a:gd name="T78" fmla="*/ 82550 w 416"/>
                <a:gd name="T79" fmla="*/ 495300 h 398"/>
                <a:gd name="T80" fmla="*/ 209550 w 416"/>
                <a:gd name="T81" fmla="*/ 431800 h 398"/>
                <a:gd name="T82" fmla="*/ 250825 w 416"/>
                <a:gd name="T83" fmla="*/ 365125 h 398"/>
                <a:gd name="T84" fmla="*/ 282575 w 416"/>
                <a:gd name="T85" fmla="*/ 390525 h 3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16" h="398">
                  <a:moveTo>
                    <a:pt x="178" y="246"/>
                  </a:moveTo>
                  <a:lnTo>
                    <a:pt x="252" y="246"/>
                  </a:lnTo>
                  <a:lnTo>
                    <a:pt x="274" y="260"/>
                  </a:lnTo>
                  <a:lnTo>
                    <a:pt x="174" y="260"/>
                  </a:lnTo>
                  <a:lnTo>
                    <a:pt x="134" y="384"/>
                  </a:lnTo>
                  <a:lnTo>
                    <a:pt x="130" y="398"/>
                  </a:lnTo>
                  <a:lnTo>
                    <a:pt x="112" y="390"/>
                  </a:lnTo>
                  <a:lnTo>
                    <a:pt x="94" y="378"/>
                  </a:lnTo>
                  <a:lnTo>
                    <a:pt x="78" y="366"/>
                  </a:lnTo>
                  <a:lnTo>
                    <a:pt x="62" y="352"/>
                  </a:lnTo>
                  <a:lnTo>
                    <a:pt x="48" y="336"/>
                  </a:lnTo>
                  <a:lnTo>
                    <a:pt x="34" y="320"/>
                  </a:lnTo>
                  <a:lnTo>
                    <a:pt x="24" y="302"/>
                  </a:lnTo>
                  <a:lnTo>
                    <a:pt x="16" y="284"/>
                  </a:lnTo>
                  <a:lnTo>
                    <a:pt x="8" y="266"/>
                  </a:lnTo>
                  <a:lnTo>
                    <a:pt x="4" y="246"/>
                  </a:lnTo>
                  <a:lnTo>
                    <a:pt x="2" y="226"/>
                  </a:lnTo>
                  <a:lnTo>
                    <a:pt x="0" y="206"/>
                  </a:lnTo>
                  <a:lnTo>
                    <a:pt x="2" y="184"/>
                  </a:lnTo>
                  <a:lnTo>
                    <a:pt x="4" y="164"/>
                  </a:lnTo>
                  <a:lnTo>
                    <a:pt x="10" y="146"/>
                  </a:lnTo>
                  <a:lnTo>
                    <a:pt x="16" y="126"/>
                  </a:lnTo>
                  <a:lnTo>
                    <a:pt x="24" y="108"/>
                  </a:lnTo>
                  <a:lnTo>
                    <a:pt x="36" y="90"/>
                  </a:lnTo>
                  <a:lnTo>
                    <a:pt x="48" y="74"/>
                  </a:lnTo>
                  <a:lnTo>
                    <a:pt x="62" y="58"/>
                  </a:lnTo>
                  <a:lnTo>
                    <a:pt x="78" y="44"/>
                  </a:lnTo>
                  <a:lnTo>
                    <a:pt x="96" y="32"/>
                  </a:lnTo>
                  <a:lnTo>
                    <a:pt x="114" y="20"/>
                  </a:lnTo>
                  <a:lnTo>
                    <a:pt x="132" y="12"/>
                  </a:lnTo>
                  <a:lnTo>
                    <a:pt x="148" y="8"/>
                  </a:lnTo>
                  <a:lnTo>
                    <a:pt x="164" y="4"/>
                  </a:lnTo>
                  <a:lnTo>
                    <a:pt x="182" y="0"/>
                  </a:lnTo>
                  <a:lnTo>
                    <a:pt x="198" y="0"/>
                  </a:lnTo>
                  <a:lnTo>
                    <a:pt x="216" y="0"/>
                  </a:lnTo>
                  <a:lnTo>
                    <a:pt x="234" y="0"/>
                  </a:lnTo>
                  <a:lnTo>
                    <a:pt x="250" y="4"/>
                  </a:lnTo>
                  <a:lnTo>
                    <a:pt x="266" y="8"/>
                  </a:lnTo>
                  <a:lnTo>
                    <a:pt x="284" y="14"/>
                  </a:lnTo>
                  <a:lnTo>
                    <a:pt x="302" y="22"/>
                  </a:lnTo>
                  <a:lnTo>
                    <a:pt x="318" y="32"/>
                  </a:lnTo>
                  <a:lnTo>
                    <a:pt x="334" y="42"/>
                  </a:lnTo>
                  <a:lnTo>
                    <a:pt x="350" y="56"/>
                  </a:lnTo>
                  <a:lnTo>
                    <a:pt x="364" y="70"/>
                  </a:lnTo>
                  <a:lnTo>
                    <a:pt x="376" y="84"/>
                  </a:lnTo>
                  <a:lnTo>
                    <a:pt x="386" y="100"/>
                  </a:lnTo>
                  <a:lnTo>
                    <a:pt x="396" y="120"/>
                  </a:lnTo>
                  <a:lnTo>
                    <a:pt x="404" y="140"/>
                  </a:lnTo>
                  <a:lnTo>
                    <a:pt x="410" y="160"/>
                  </a:lnTo>
                  <a:lnTo>
                    <a:pt x="414" y="182"/>
                  </a:lnTo>
                  <a:lnTo>
                    <a:pt x="416" y="204"/>
                  </a:lnTo>
                  <a:lnTo>
                    <a:pt x="414" y="226"/>
                  </a:lnTo>
                  <a:lnTo>
                    <a:pt x="412" y="248"/>
                  </a:lnTo>
                  <a:lnTo>
                    <a:pt x="406" y="268"/>
                  </a:lnTo>
                  <a:lnTo>
                    <a:pt x="396" y="296"/>
                  </a:lnTo>
                  <a:lnTo>
                    <a:pt x="380" y="322"/>
                  </a:lnTo>
                  <a:lnTo>
                    <a:pt x="362" y="346"/>
                  </a:lnTo>
                  <a:lnTo>
                    <a:pt x="352" y="358"/>
                  </a:lnTo>
                  <a:lnTo>
                    <a:pt x="340" y="368"/>
                  </a:lnTo>
                  <a:lnTo>
                    <a:pt x="334" y="358"/>
                  </a:lnTo>
                  <a:lnTo>
                    <a:pt x="284" y="276"/>
                  </a:lnTo>
                  <a:lnTo>
                    <a:pt x="362" y="318"/>
                  </a:lnTo>
                  <a:lnTo>
                    <a:pt x="262" y="230"/>
                  </a:lnTo>
                  <a:lnTo>
                    <a:pt x="392" y="250"/>
                  </a:lnTo>
                  <a:lnTo>
                    <a:pt x="390" y="250"/>
                  </a:lnTo>
                  <a:lnTo>
                    <a:pt x="268" y="206"/>
                  </a:lnTo>
                  <a:lnTo>
                    <a:pt x="396" y="176"/>
                  </a:lnTo>
                  <a:lnTo>
                    <a:pt x="396" y="174"/>
                  </a:lnTo>
                  <a:lnTo>
                    <a:pt x="266" y="184"/>
                  </a:lnTo>
                  <a:lnTo>
                    <a:pt x="358" y="114"/>
                  </a:lnTo>
                  <a:lnTo>
                    <a:pt x="368" y="106"/>
                  </a:lnTo>
                  <a:lnTo>
                    <a:pt x="366" y="106"/>
                  </a:lnTo>
                  <a:lnTo>
                    <a:pt x="270" y="156"/>
                  </a:lnTo>
                  <a:lnTo>
                    <a:pt x="252" y="164"/>
                  </a:lnTo>
                  <a:lnTo>
                    <a:pt x="316" y="52"/>
                  </a:lnTo>
                  <a:lnTo>
                    <a:pt x="314" y="52"/>
                  </a:lnTo>
                  <a:lnTo>
                    <a:pt x="232" y="150"/>
                  </a:lnTo>
                  <a:lnTo>
                    <a:pt x="248" y="22"/>
                  </a:lnTo>
                  <a:lnTo>
                    <a:pt x="208" y="146"/>
                  </a:lnTo>
                  <a:lnTo>
                    <a:pt x="198" y="106"/>
                  </a:lnTo>
                  <a:lnTo>
                    <a:pt x="176" y="18"/>
                  </a:lnTo>
                  <a:lnTo>
                    <a:pt x="174" y="18"/>
                  </a:lnTo>
                  <a:lnTo>
                    <a:pt x="176" y="28"/>
                  </a:lnTo>
                  <a:lnTo>
                    <a:pt x="184" y="150"/>
                  </a:lnTo>
                  <a:lnTo>
                    <a:pt x="106" y="48"/>
                  </a:lnTo>
                  <a:lnTo>
                    <a:pt x="104" y="48"/>
                  </a:lnTo>
                  <a:lnTo>
                    <a:pt x="164" y="160"/>
                  </a:lnTo>
                  <a:lnTo>
                    <a:pt x="52" y="100"/>
                  </a:lnTo>
                  <a:lnTo>
                    <a:pt x="50" y="100"/>
                  </a:lnTo>
                  <a:lnTo>
                    <a:pt x="140" y="174"/>
                  </a:lnTo>
                  <a:lnTo>
                    <a:pt x="150" y="182"/>
                  </a:lnTo>
                  <a:lnTo>
                    <a:pt x="24" y="168"/>
                  </a:lnTo>
                  <a:lnTo>
                    <a:pt x="24" y="170"/>
                  </a:lnTo>
                  <a:lnTo>
                    <a:pt x="148" y="206"/>
                  </a:lnTo>
                  <a:lnTo>
                    <a:pt x="24" y="242"/>
                  </a:lnTo>
                  <a:lnTo>
                    <a:pt x="150" y="228"/>
                  </a:lnTo>
                  <a:lnTo>
                    <a:pt x="52" y="312"/>
                  </a:lnTo>
                  <a:lnTo>
                    <a:pt x="52" y="314"/>
                  </a:lnTo>
                  <a:lnTo>
                    <a:pt x="52" y="312"/>
                  </a:lnTo>
                  <a:lnTo>
                    <a:pt x="132" y="272"/>
                  </a:lnTo>
                  <a:lnTo>
                    <a:pt x="152" y="242"/>
                  </a:lnTo>
                  <a:lnTo>
                    <a:pt x="172" y="242"/>
                  </a:lnTo>
                  <a:lnTo>
                    <a:pt x="158" y="230"/>
                  </a:lnTo>
                  <a:lnTo>
                    <a:pt x="208" y="152"/>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latin typeface="Arial"/>
                <a:cs typeface="+mn-cs"/>
              </a:endParaRPr>
            </a:p>
          </p:txBody>
        </p:sp>
        <p:sp>
          <p:nvSpPr>
            <p:cNvPr id="10" name="Freeform 10"/>
            <p:cNvSpPr>
              <a:spLocks/>
            </p:cNvSpPr>
            <p:nvPr/>
          </p:nvSpPr>
          <p:spPr bwMode="auto">
            <a:xfrm>
              <a:off x="4999038" y="3279775"/>
              <a:ext cx="450850" cy="454025"/>
            </a:xfrm>
            <a:custGeom>
              <a:avLst/>
              <a:gdLst>
                <a:gd name="T0" fmla="*/ 158750 w 284"/>
                <a:gd name="T1" fmla="*/ 454025 h 286"/>
                <a:gd name="T2" fmla="*/ 0 w 284"/>
                <a:gd name="T3" fmla="*/ 454025 h 286"/>
                <a:gd name="T4" fmla="*/ 127000 w 284"/>
                <a:gd name="T5" fmla="*/ 0 h 286"/>
                <a:gd name="T6" fmla="*/ 450850 w 284"/>
                <a:gd name="T7" fmla="*/ 0 h 286"/>
                <a:gd name="T8" fmla="*/ 422275 w 284"/>
                <a:gd name="T9" fmla="*/ 107950 h 286"/>
                <a:gd name="T10" fmla="*/ 257175 w 284"/>
                <a:gd name="T11" fmla="*/ 107950 h 286"/>
                <a:gd name="T12" fmla="*/ 234950 w 284"/>
                <a:gd name="T13" fmla="*/ 184150 h 286"/>
                <a:gd name="T14" fmla="*/ 400050 w 284"/>
                <a:gd name="T15" fmla="*/ 184150 h 286"/>
                <a:gd name="T16" fmla="*/ 371475 w 284"/>
                <a:gd name="T17" fmla="*/ 285750 h 286"/>
                <a:gd name="T18" fmla="*/ 206375 w 284"/>
                <a:gd name="T19" fmla="*/ 285750 h 286"/>
                <a:gd name="T20" fmla="*/ 158750 w 284"/>
                <a:gd name="T21" fmla="*/ 454025 h 28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latin typeface="Arial"/>
                <a:cs typeface="+mn-cs"/>
              </a:endParaRPr>
            </a:p>
          </p:txBody>
        </p:sp>
        <p:sp>
          <p:nvSpPr>
            <p:cNvPr id="11" name="Freeform 11"/>
            <p:cNvSpPr>
              <a:spLocks noEditPoints="1"/>
            </p:cNvSpPr>
            <p:nvPr/>
          </p:nvSpPr>
          <p:spPr bwMode="auto">
            <a:xfrm>
              <a:off x="5367338" y="3279775"/>
              <a:ext cx="282575" cy="454025"/>
            </a:xfrm>
            <a:custGeom>
              <a:avLst/>
              <a:gdLst>
                <a:gd name="T0" fmla="*/ 158750 w 178"/>
                <a:gd name="T1" fmla="*/ 454025 h 286"/>
                <a:gd name="T2" fmla="*/ 0 w 178"/>
                <a:gd name="T3" fmla="*/ 454025 h 286"/>
                <a:gd name="T4" fmla="*/ 92075 w 178"/>
                <a:gd name="T5" fmla="*/ 123825 h 286"/>
                <a:gd name="T6" fmla="*/ 250825 w 178"/>
                <a:gd name="T7" fmla="*/ 123825 h 286"/>
                <a:gd name="T8" fmla="*/ 158750 w 178"/>
                <a:gd name="T9" fmla="*/ 454025 h 286"/>
                <a:gd name="T10" fmla="*/ 257175 w 178"/>
                <a:gd name="T11" fmla="*/ 92075 h 286"/>
                <a:gd name="T12" fmla="*/ 101600 w 178"/>
                <a:gd name="T13" fmla="*/ 92075 h 286"/>
                <a:gd name="T14" fmla="*/ 127000 w 178"/>
                <a:gd name="T15" fmla="*/ 0 h 286"/>
                <a:gd name="T16" fmla="*/ 282575 w 178"/>
                <a:gd name="T17" fmla="*/ 0 h 286"/>
                <a:gd name="T18" fmla="*/ 257175 w 178"/>
                <a:gd name="T19" fmla="*/ 92075 h 28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latin typeface="Arial"/>
                <a:cs typeface="+mn-cs"/>
              </a:endParaRPr>
            </a:p>
          </p:txBody>
        </p:sp>
        <p:sp>
          <p:nvSpPr>
            <p:cNvPr id="12" name="Freeform 12"/>
            <p:cNvSpPr>
              <a:spLocks noEditPoints="1"/>
            </p:cNvSpPr>
            <p:nvPr/>
          </p:nvSpPr>
          <p:spPr bwMode="auto">
            <a:xfrm>
              <a:off x="5592763" y="3279775"/>
              <a:ext cx="463550" cy="460375"/>
            </a:xfrm>
            <a:custGeom>
              <a:avLst/>
              <a:gdLst>
                <a:gd name="T0" fmla="*/ 336550 w 292"/>
                <a:gd name="T1" fmla="*/ 454025 h 290"/>
                <a:gd name="T2" fmla="*/ 184150 w 292"/>
                <a:gd name="T3" fmla="*/ 454025 h 290"/>
                <a:gd name="T4" fmla="*/ 193675 w 292"/>
                <a:gd name="T5" fmla="*/ 415925 h 290"/>
                <a:gd name="T6" fmla="*/ 193675 w 292"/>
                <a:gd name="T7" fmla="*/ 415925 h 290"/>
                <a:gd name="T8" fmla="*/ 171450 w 292"/>
                <a:gd name="T9" fmla="*/ 434975 h 290"/>
                <a:gd name="T10" fmla="*/ 146050 w 292"/>
                <a:gd name="T11" fmla="*/ 447675 h 290"/>
                <a:gd name="T12" fmla="*/ 117475 w 292"/>
                <a:gd name="T13" fmla="*/ 457200 h 290"/>
                <a:gd name="T14" fmla="*/ 82550 w 292"/>
                <a:gd name="T15" fmla="*/ 460375 h 290"/>
                <a:gd name="T16" fmla="*/ 82550 w 292"/>
                <a:gd name="T17" fmla="*/ 460375 h 290"/>
                <a:gd name="T18" fmla="*/ 63500 w 292"/>
                <a:gd name="T19" fmla="*/ 460375 h 290"/>
                <a:gd name="T20" fmla="*/ 47625 w 292"/>
                <a:gd name="T21" fmla="*/ 457200 h 290"/>
                <a:gd name="T22" fmla="*/ 34925 w 292"/>
                <a:gd name="T23" fmla="*/ 450850 h 290"/>
                <a:gd name="T24" fmla="*/ 22225 w 292"/>
                <a:gd name="T25" fmla="*/ 441325 h 290"/>
                <a:gd name="T26" fmla="*/ 12700 w 292"/>
                <a:gd name="T27" fmla="*/ 431800 h 290"/>
                <a:gd name="T28" fmla="*/ 6350 w 292"/>
                <a:gd name="T29" fmla="*/ 419100 h 290"/>
                <a:gd name="T30" fmla="*/ 0 w 292"/>
                <a:gd name="T31" fmla="*/ 403225 h 290"/>
                <a:gd name="T32" fmla="*/ 0 w 292"/>
                <a:gd name="T33" fmla="*/ 384175 h 290"/>
                <a:gd name="T34" fmla="*/ 0 w 292"/>
                <a:gd name="T35" fmla="*/ 384175 h 290"/>
                <a:gd name="T36" fmla="*/ 3175 w 292"/>
                <a:gd name="T37" fmla="*/ 339725 h 290"/>
                <a:gd name="T38" fmla="*/ 15875 w 292"/>
                <a:gd name="T39" fmla="*/ 285750 h 290"/>
                <a:gd name="T40" fmla="*/ 31750 w 292"/>
                <a:gd name="T41" fmla="*/ 231775 h 290"/>
                <a:gd name="T42" fmla="*/ 53975 w 292"/>
                <a:gd name="T43" fmla="*/ 184150 h 290"/>
                <a:gd name="T44" fmla="*/ 53975 w 292"/>
                <a:gd name="T45" fmla="*/ 184150 h 290"/>
                <a:gd name="T46" fmla="*/ 63500 w 292"/>
                <a:gd name="T47" fmla="*/ 168275 h 290"/>
                <a:gd name="T48" fmla="*/ 76200 w 292"/>
                <a:gd name="T49" fmla="*/ 155575 h 290"/>
                <a:gd name="T50" fmla="*/ 88900 w 292"/>
                <a:gd name="T51" fmla="*/ 142875 h 290"/>
                <a:gd name="T52" fmla="*/ 104775 w 292"/>
                <a:gd name="T53" fmla="*/ 133350 h 290"/>
                <a:gd name="T54" fmla="*/ 120650 w 292"/>
                <a:gd name="T55" fmla="*/ 127000 h 290"/>
                <a:gd name="T56" fmla="*/ 136525 w 292"/>
                <a:gd name="T57" fmla="*/ 120650 h 290"/>
                <a:gd name="T58" fmla="*/ 155575 w 292"/>
                <a:gd name="T59" fmla="*/ 117475 h 290"/>
                <a:gd name="T60" fmla="*/ 174625 w 292"/>
                <a:gd name="T61" fmla="*/ 117475 h 290"/>
                <a:gd name="T62" fmla="*/ 174625 w 292"/>
                <a:gd name="T63" fmla="*/ 117475 h 290"/>
                <a:gd name="T64" fmla="*/ 206375 w 292"/>
                <a:gd name="T65" fmla="*/ 120650 h 290"/>
                <a:gd name="T66" fmla="*/ 231775 w 292"/>
                <a:gd name="T67" fmla="*/ 130175 h 290"/>
                <a:gd name="T68" fmla="*/ 250825 w 292"/>
                <a:gd name="T69" fmla="*/ 142875 h 290"/>
                <a:gd name="T70" fmla="*/ 263525 w 292"/>
                <a:gd name="T71" fmla="*/ 161925 h 290"/>
                <a:gd name="T72" fmla="*/ 307975 w 292"/>
                <a:gd name="T73" fmla="*/ 0 h 290"/>
                <a:gd name="T74" fmla="*/ 463550 w 292"/>
                <a:gd name="T75" fmla="*/ 0 h 290"/>
                <a:gd name="T76" fmla="*/ 336550 w 292"/>
                <a:gd name="T77" fmla="*/ 454025 h 290"/>
                <a:gd name="T78" fmla="*/ 219075 w 292"/>
                <a:gd name="T79" fmla="*/ 222250 h 290"/>
                <a:gd name="T80" fmla="*/ 219075 w 292"/>
                <a:gd name="T81" fmla="*/ 222250 h 290"/>
                <a:gd name="T82" fmla="*/ 209550 w 292"/>
                <a:gd name="T83" fmla="*/ 222250 h 290"/>
                <a:gd name="T84" fmla="*/ 200025 w 292"/>
                <a:gd name="T85" fmla="*/ 225425 h 290"/>
                <a:gd name="T86" fmla="*/ 190500 w 292"/>
                <a:gd name="T87" fmla="*/ 231775 h 290"/>
                <a:gd name="T88" fmla="*/ 184150 w 292"/>
                <a:gd name="T89" fmla="*/ 244475 h 290"/>
                <a:gd name="T90" fmla="*/ 184150 w 292"/>
                <a:gd name="T91" fmla="*/ 244475 h 290"/>
                <a:gd name="T92" fmla="*/ 168275 w 292"/>
                <a:gd name="T93" fmla="*/ 285750 h 290"/>
                <a:gd name="T94" fmla="*/ 165100 w 292"/>
                <a:gd name="T95" fmla="*/ 307975 h 290"/>
                <a:gd name="T96" fmla="*/ 161925 w 292"/>
                <a:gd name="T97" fmla="*/ 327025 h 290"/>
                <a:gd name="T98" fmla="*/ 161925 w 292"/>
                <a:gd name="T99" fmla="*/ 327025 h 290"/>
                <a:gd name="T100" fmla="*/ 165100 w 292"/>
                <a:gd name="T101" fmla="*/ 336550 h 290"/>
                <a:gd name="T102" fmla="*/ 168275 w 292"/>
                <a:gd name="T103" fmla="*/ 342900 h 290"/>
                <a:gd name="T104" fmla="*/ 177800 w 292"/>
                <a:gd name="T105" fmla="*/ 349250 h 290"/>
                <a:gd name="T106" fmla="*/ 187325 w 292"/>
                <a:gd name="T107" fmla="*/ 352425 h 290"/>
                <a:gd name="T108" fmla="*/ 187325 w 292"/>
                <a:gd name="T109" fmla="*/ 352425 h 290"/>
                <a:gd name="T110" fmla="*/ 203200 w 292"/>
                <a:gd name="T111" fmla="*/ 349250 h 290"/>
                <a:gd name="T112" fmla="*/ 212725 w 292"/>
                <a:gd name="T113" fmla="*/ 342900 h 290"/>
                <a:gd name="T114" fmla="*/ 244475 w 292"/>
                <a:gd name="T115" fmla="*/ 234950 h 290"/>
                <a:gd name="T116" fmla="*/ 244475 w 292"/>
                <a:gd name="T117" fmla="*/ 234950 h 290"/>
                <a:gd name="T118" fmla="*/ 234950 w 292"/>
                <a:gd name="T119" fmla="*/ 225425 h 290"/>
                <a:gd name="T120" fmla="*/ 219075 w 292"/>
                <a:gd name="T121" fmla="*/ 222250 h 290"/>
                <a:gd name="T122" fmla="*/ 219075 w 292"/>
                <a:gd name="T123" fmla="*/ 222250 h 29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92" h="290">
                  <a:moveTo>
                    <a:pt x="212" y="286"/>
                  </a:moveTo>
                  <a:lnTo>
                    <a:pt x="116" y="286"/>
                  </a:lnTo>
                  <a:lnTo>
                    <a:pt x="122" y="262"/>
                  </a:lnTo>
                  <a:lnTo>
                    <a:pt x="108" y="274"/>
                  </a:lnTo>
                  <a:lnTo>
                    <a:pt x="92" y="282"/>
                  </a:lnTo>
                  <a:lnTo>
                    <a:pt x="74" y="288"/>
                  </a:lnTo>
                  <a:lnTo>
                    <a:pt x="52" y="290"/>
                  </a:lnTo>
                  <a:lnTo>
                    <a:pt x="40" y="290"/>
                  </a:lnTo>
                  <a:lnTo>
                    <a:pt x="30" y="288"/>
                  </a:lnTo>
                  <a:lnTo>
                    <a:pt x="22" y="284"/>
                  </a:lnTo>
                  <a:lnTo>
                    <a:pt x="14" y="278"/>
                  </a:lnTo>
                  <a:lnTo>
                    <a:pt x="8" y="272"/>
                  </a:lnTo>
                  <a:lnTo>
                    <a:pt x="4" y="264"/>
                  </a:lnTo>
                  <a:lnTo>
                    <a:pt x="0" y="254"/>
                  </a:lnTo>
                  <a:lnTo>
                    <a:pt x="0" y="242"/>
                  </a:lnTo>
                  <a:lnTo>
                    <a:pt x="2" y="214"/>
                  </a:lnTo>
                  <a:lnTo>
                    <a:pt x="10" y="180"/>
                  </a:lnTo>
                  <a:lnTo>
                    <a:pt x="20" y="146"/>
                  </a:lnTo>
                  <a:lnTo>
                    <a:pt x="34" y="116"/>
                  </a:lnTo>
                  <a:lnTo>
                    <a:pt x="40" y="106"/>
                  </a:lnTo>
                  <a:lnTo>
                    <a:pt x="48" y="98"/>
                  </a:lnTo>
                  <a:lnTo>
                    <a:pt x="56" y="90"/>
                  </a:lnTo>
                  <a:lnTo>
                    <a:pt x="66" y="84"/>
                  </a:lnTo>
                  <a:lnTo>
                    <a:pt x="76" y="80"/>
                  </a:lnTo>
                  <a:lnTo>
                    <a:pt x="86" y="76"/>
                  </a:lnTo>
                  <a:lnTo>
                    <a:pt x="98"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06" y="180"/>
                  </a:lnTo>
                  <a:lnTo>
                    <a:pt x="104" y="194"/>
                  </a:lnTo>
                  <a:lnTo>
                    <a:pt x="102" y="206"/>
                  </a:lnTo>
                  <a:lnTo>
                    <a:pt x="104" y="212"/>
                  </a:lnTo>
                  <a:lnTo>
                    <a:pt x="106" y="216"/>
                  </a:lnTo>
                  <a:lnTo>
                    <a:pt x="112" y="220"/>
                  </a:lnTo>
                  <a:lnTo>
                    <a:pt x="118" y="222"/>
                  </a:lnTo>
                  <a:lnTo>
                    <a:pt x="128" y="220"/>
                  </a:lnTo>
                  <a:lnTo>
                    <a:pt x="134" y="216"/>
                  </a:lnTo>
                  <a:lnTo>
                    <a:pt x="154" y="148"/>
                  </a:lnTo>
                  <a:lnTo>
                    <a:pt x="148" y="142"/>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latin typeface="Arial"/>
                <a:cs typeface="+mn-cs"/>
              </a:endParaRPr>
            </a:p>
          </p:txBody>
        </p:sp>
        <p:sp>
          <p:nvSpPr>
            <p:cNvPr id="13" name="Freeform 13"/>
            <p:cNvSpPr>
              <a:spLocks noEditPoints="1"/>
            </p:cNvSpPr>
            <p:nvPr/>
          </p:nvSpPr>
          <p:spPr bwMode="auto">
            <a:xfrm>
              <a:off x="5999163" y="3394075"/>
              <a:ext cx="390525" cy="346075"/>
            </a:xfrm>
            <a:custGeom>
              <a:avLst/>
              <a:gdLst>
                <a:gd name="T0" fmla="*/ 155575 w 246"/>
                <a:gd name="T1" fmla="*/ 193675 h 218"/>
                <a:gd name="T2" fmla="*/ 152400 w 246"/>
                <a:gd name="T3" fmla="*/ 219075 h 218"/>
                <a:gd name="T4" fmla="*/ 149225 w 246"/>
                <a:gd name="T5" fmla="*/ 238125 h 218"/>
                <a:gd name="T6" fmla="*/ 152400 w 246"/>
                <a:gd name="T7" fmla="*/ 254000 h 218"/>
                <a:gd name="T8" fmla="*/ 171450 w 246"/>
                <a:gd name="T9" fmla="*/ 263525 h 218"/>
                <a:gd name="T10" fmla="*/ 184150 w 246"/>
                <a:gd name="T11" fmla="*/ 260350 h 218"/>
                <a:gd name="T12" fmla="*/ 206375 w 246"/>
                <a:gd name="T13" fmla="*/ 241300 h 218"/>
                <a:gd name="T14" fmla="*/ 365125 w 246"/>
                <a:gd name="T15" fmla="*/ 222250 h 218"/>
                <a:gd name="T16" fmla="*/ 361950 w 246"/>
                <a:gd name="T17" fmla="*/ 238125 h 218"/>
                <a:gd name="T18" fmla="*/ 346075 w 246"/>
                <a:gd name="T19" fmla="*/ 266700 h 218"/>
                <a:gd name="T20" fmla="*/ 311150 w 246"/>
                <a:gd name="T21" fmla="*/ 301625 h 218"/>
                <a:gd name="T22" fmla="*/ 254000 w 246"/>
                <a:gd name="T23" fmla="*/ 333375 h 218"/>
                <a:gd name="T24" fmla="*/ 193675 w 246"/>
                <a:gd name="T25" fmla="*/ 346075 h 218"/>
                <a:gd name="T26" fmla="*/ 165100 w 246"/>
                <a:gd name="T27" fmla="*/ 346075 h 218"/>
                <a:gd name="T28" fmla="*/ 101600 w 246"/>
                <a:gd name="T29" fmla="*/ 342900 h 218"/>
                <a:gd name="T30" fmla="*/ 47625 w 246"/>
                <a:gd name="T31" fmla="*/ 330200 h 218"/>
                <a:gd name="T32" fmla="*/ 12700 w 246"/>
                <a:gd name="T33" fmla="*/ 298450 h 218"/>
                <a:gd name="T34" fmla="*/ 3175 w 246"/>
                <a:gd name="T35" fmla="*/ 276225 h 218"/>
                <a:gd name="T36" fmla="*/ 0 w 246"/>
                <a:gd name="T37" fmla="*/ 244475 h 218"/>
                <a:gd name="T38" fmla="*/ 6350 w 246"/>
                <a:gd name="T39" fmla="*/ 203200 h 218"/>
                <a:gd name="T40" fmla="*/ 34925 w 246"/>
                <a:gd name="T41" fmla="*/ 111125 h 218"/>
                <a:gd name="T42" fmla="*/ 57150 w 246"/>
                <a:gd name="T43" fmla="*/ 73025 h 218"/>
                <a:gd name="T44" fmla="*/ 76200 w 246"/>
                <a:gd name="T45" fmla="*/ 53975 h 218"/>
                <a:gd name="T46" fmla="*/ 114300 w 246"/>
                <a:gd name="T47" fmla="*/ 25400 h 218"/>
                <a:gd name="T48" fmla="*/ 158750 w 246"/>
                <a:gd name="T49" fmla="*/ 9525 h 218"/>
                <a:gd name="T50" fmla="*/ 206375 w 246"/>
                <a:gd name="T51" fmla="*/ 3175 h 218"/>
                <a:gd name="T52" fmla="*/ 228600 w 246"/>
                <a:gd name="T53" fmla="*/ 0 h 218"/>
                <a:gd name="T54" fmla="*/ 295275 w 246"/>
                <a:gd name="T55" fmla="*/ 6350 h 218"/>
                <a:gd name="T56" fmla="*/ 346075 w 246"/>
                <a:gd name="T57" fmla="*/ 22225 h 218"/>
                <a:gd name="T58" fmla="*/ 377825 w 246"/>
                <a:gd name="T59" fmla="*/ 53975 h 218"/>
                <a:gd name="T60" fmla="*/ 390525 w 246"/>
                <a:gd name="T61" fmla="*/ 104775 h 218"/>
                <a:gd name="T62" fmla="*/ 384175 w 246"/>
                <a:gd name="T63" fmla="*/ 146050 h 218"/>
                <a:gd name="T64" fmla="*/ 371475 w 246"/>
                <a:gd name="T65" fmla="*/ 193675 h 218"/>
                <a:gd name="T66" fmla="*/ 215900 w 246"/>
                <a:gd name="T67" fmla="*/ 82550 h 218"/>
                <a:gd name="T68" fmla="*/ 190500 w 246"/>
                <a:gd name="T69" fmla="*/ 95250 h 218"/>
                <a:gd name="T70" fmla="*/ 174625 w 246"/>
                <a:gd name="T71" fmla="*/ 130175 h 218"/>
                <a:gd name="T72" fmla="*/ 238125 w 246"/>
                <a:gd name="T73" fmla="*/ 130175 h 218"/>
                <a:gd name="T74" fmla="*/ 244475 w 246"/>
                <a:gd name="T75" fmla="*/ 107950 h 218"/>
                <a:gd name="T76" fmla="*/ 234950 w 246"/>
                <a:gd name="T77" fmla="*/ 88900 h 218"/>
                <a:gd name="T78" fmla="*/ 215900 w 246"/>
                <a:gd name="T79" fmla="*/ 82550 h 21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46" h="218">
                  <a:moveTo>
                    <a:pt x="234" y="122"/>
                  </a:moveTo>
                  <a:lnTo>
                    <a:pt x="98" y="122"/>
                  </a:lnTo>
                  <a:lnTo>
                    <a:pt x="96" y="138"/>
                  </a:lnTo>
                  <a:lnTo>
                    <a:pt x="94" y="150"/>
                  </a:lnTo>
                  <a:lnTo>
                    <a:pt x="94" y="154"/>
                  </a:lnTo>
                  <a:lnTo>
                    <a:pt x="96" y="160"/>
                  </a:lnTo>
                  <a:lnTo>
                    <a:pt x="100" y="164"/>
                  </a:lnTo>
                  <a:lnTo>
                    <a:pt x="108" y="166"/>
                  </a:lnTo>
                  <a:lnTo>
                    <a:pt x="116" y="164"/>
                  </a:lnTo>
                  <a:lnTo>
                    <a:pt x="124" y="160"/>
                  </a:lnTo>
                  <a:lnTo>
                    <a:pt x="130" y="152"/>
                  </a:lnTo>
                  <a:lnTo>
                    <a:pt x="134"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84" y="218"/>
                  </a:lnTo>
                  <a:lnTo>
                    <a:pt x="64" y="216"/>
                  </a:lnTo>
                  <a:lnTo>
                    <a:pt x="46" y="214"/>
                  </a:lnTo>
                  <a:lnTo>
                    <a:pt x="30" y="208"/>
                  </a:lnTo>
                  <a:lnTo>
                    <a:pt x="18" y="200"/>
                  </a:lnTo>
                  <a:lnTo>
                    <a:pt x="8" y="188"/>
                  </a:lnTo>
                  <a:lnTo>
                    <a:pt x="6" y="182"/>
                  </a:lnTo>
                  <a:lnTo>
                    <a:pt x="2" y="174"/>
                  </a:lnTo>
                  <a:lnTo>
                    <a:pt x="0" y="154"/>
                  </a:lnTo>
                  <a:lnTo>
                    <a:pt x="2" y="142"/>
                  </a:lnTo>
                  <a:lnTo>
                    <a:pt x="4" y="128"/>
                  </a:lnTo>
                  <a:lnTo>
                    <a:pt x="12" y="98"/>
                  </a:lnTo>
                  <a:lnTo>
                    <a:pt x="22" y="70"/>
                  </a:lnTo>
                  <a:lnTo>
                    <a:pt x="30" y="56"/>
                  </a:lnTo>
                  <a:lnTo>
                    <a:pt x="36" y="46"/>
                  </a:lnTo>
                  <a:lnTo>
                    <a:pt x="48" y="34"/>
                  </a:lnTo>
                  <a:lnTo>
                    <a:pt x="58" y="24"/>
                  </a:lnTo>
                  <a:lnTo>
                    <a:pt x="72" y="16"/>
                  </a:lnTo>
                  <a:lnTo>
                    <a:pt x="86" y="10"/>
                  </a:lnTo>
                  <a:lnTo>
                    <a:pt x="100" y="6"/>
                  </a:lnTo>
                  <a:lnTo>
                    <a:pt x="114" y="2"/>
                  </a:lnTo>
                  <a:lnTo>
                    <a:pt x="130" y="2"/>
                  </a:lnTo>
                  <a:lnTo>
                    <a:pt x="144" y="0"/>
                  </a:lnTo>
                  <a:lnTo>
                    <a:pt x="166" y="2"/>
                  </a:lnTo>
                  <a:lnTo>
                    <a:pt x="186" y="4"/>
                  </a:lnTo>
                  <a:lnTo>
                    <a:pt x="204" y="8"/>
                  </a:lnTo>
                  <a:lnTo>
                    <a:pt x="218" y="14"/>
                  </a:lnTo>
                  <a:lnTo>
                    <a:pt x="230" y="22"/>
                  </a:lnTo>
                  <a:lnTo>
                    <a:pt x="238" y="34"/>
                  </a:lnTo>
                  <a:lnTo>
                    <a:pt x="244" y="48"/>
                  </a:lnTo>
                  <a:lnTo>
                    <a:pt x="246" y="66"/>
                  </a:lnTo>
                  <a:lnTo>
                    <a:pt x="242" y="92"/>
                  </a:lnTo>
                  <a:lnTo>
                    <a:pt x="234" y="122"/>
                  </a:lnTo>
                  <a:close/>
                  <a:moveTo>
                    <a:pt x="136" y="52"/>
                  </a:moveTo>
                  <a:lnTo>
                    <a:pt x="136" y="52"/>
                  </a:lnTo>
                  <a:lnTo>
                    <a:pt x="128" y="54"/>
                  </a:lnTo>
                  <a:lnTo>
                    <a:pt x="120" y="60"/>
                  </a:lnTo>
                  <a:lnTo>
                    <a:pt x="114" y="68"/>
                  </a:lnTo>
                  <a:lnTo>
                    <a:pt x="110" y="82"/>
                  </a:lnTo>
                  <a:lnTo>
                    <a:pt x="150" y="82"/>
                  </a:lnTo>
                  <a:lnTo>
                    <a:pt x="154" y="68"/>
                  </a:lnTo>
                  <a:lnTo>
                    <a:pt x="152" y="60"/>
                  </a:lnTo>
                  <a:lnTo>
                    <a:pt x="148" y="56"/>
                  </a:lnTo>
                  <a:lnTo>
                    <a:pt x="144" y="54"/>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latin typeface="Arial"/>
                <a:cs typeface="+mn-cs"/>
              </a:endParaRPr>
            </a:p>
          </p:txBody>
        </p:sp>
        <p:sp>
          <p:nvSpPr>
            <p:cNvPr id="14" name="Freeform 14"/>
            <p:cNvSpPr>
              <a:spLocks/>
            </p:cNvSpPr>
            <p:nvPr/>
          </p:nvSpPr>
          <p:spPr bwMode="auto">
            <a:xfrm>
              <a:off x="6373813" y="3279775"/>
              <a:ext cx="282575" cy="454025"/>
            </a:xfrm>
            <a:custGeom>
              <a:avLst/>
              <a:gdLst>
                <a:gd name="T0" fmla="*/ 155575 w 178"/>
                <a:gd name="T1" fmla="*/ 454025 h 286"/>
                <a:gd name="T2" fmla="*/ 0 w 178"/>
                <a:gd name="T3" fmla="*/ 454025 h 286"/>
                <a:gd name="T4" fmla="*/ 127000 w 178"/>
                <a:gd name="T5" fmla="*/ 0 h 286"/>
                <a:gd name="T6" fmla="*/ 282575 w 178"/>
                <a:gd name="T7" fmla="*/ 0 h 286"/>
                <a:gd name="T8" fmla="*/ 155575 w 178"/>
                <a:gd name="T9" fmla="*/ 454025 h 28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latin typeface="Arial"/>
                <a:cs typeface="+mn-cs"/>
              </a:endParaRPr>
            </a:p>
          </p:txBody>
        </p:sp>
        <p:sp>
          <p:nvSpPr>
            <p:cNvPr id="15" name="Freeform 15"/>
            <p:cNvSpPr>
              <a:spLocks noEditPoints="1"/>
            </p:cNvSpPr>
            <p:nvPr/>
          </p:nvSpPr>
          <p:spPr bwMode="auto">
            <a:xfrm>
              <a:off x="6580188" y="3279775"/>
              <a:ext cx="282575" cy="454025"/>
            </a:xfrm>
            <a:custGeom>
              <a:avLst/>
              <a:gdLst>
                <a:gd name="T0" fmla="*/ 155575 w 178"/>
                <a:gd name="T1" fmla="*/ 454025 h 286"/>
                <a:gd name="T2" fmla="*/ 0 w 178"/>
                <a:gd name="T3" fmla="*/ 454025 h 286"/>
                <a:gd name="T4" fmla="*/ 92075 w 178"/>
                <a:gd name="T5" fmla="*/ 123825 h 286"/>
                <a:gd name="T6" fmla="*/ 247650 w 178"/>
                <a:gd name="T7" fmla="*/ 123825 h 286"/>
                <a:gd name="T8" fmla="*/ 155575 w 178"/>
                <a:gd name="T9" fmla="*/ 454025 h 286"/>
                <a:gd name="T10" fmla="*/ 257175 w 178"/>
                <a:gd name="T11" fmla="*/ 92075 h 286"/>
                <a:gd name="T12" fmla="*/ 101600 w 178"/>
                <a:gd name="T13" fmla="*/ 92075 h 286"/>
                <a:gd name="T14" fmla="*/ 127000 w 178"/>
                <a:gd name="T15" fmla="*/ 0 h 286"/>
                <a:gd name="T16" fmla="*/ 282575 w 178"/>
                <a:gd name="T17" fmla="*/ 0 h 286"/>
                <a:gd name="T18" fmla="*/ 257175 w 178"/>
                <a:gd name="T19" fmla="*/ 92075 h 28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latin typeface="Arial"/>
                <a:cs typeface="+mn-cs"/>
              </a:endParaRPr>
            </a:p>
          </p:txBody>
        </p:sp>
        <p:sp>
          <p:nvSpPr>
            <p:cNvPr id="16" name="Freeform 16"/>
            <p:cNvSpPr>
              <a:spLocks/>
            </p:cNvSpPr>
            <p:nvPr/>
          </p:nvSpPr>
          <p:spPr bwMode="auto">
            <a:xfrm>
              <a:off x="6805613" y="3330575"/>
              <a:ext cx="327025" cy="403225"/>
            </a:xfrm>
            <a:custGeom>
              <a:avLst/>
              <a:gdLst>
                <a:gd name="T0" fmla="*/ 311150 w 206"/>
                <a:gd name="T1" fmla="*/ 73025 h 254"/>
                <a:gd name="T2" fmla="*/ 327025 w 206"/>
                <a:gd name="T3" fmla="*/ 146050 h 254"/>
                <a:gd name="T4" fmla="*/ 206375 w 206"/>
                <a:gd name="T5" fmla="*/ 146050 h 254"/>
                <a:gd name="T6" fmla="*/ 171450 w 206"/>
                <a:gd name="T7" fmla="*/ 273050 h 254"/>
                <a:gd name="T8" fmla="*/ 171450 w 206"/>
                <a:gd name="T9" fmla="*/ 273050 h 254"/>
                <a:gd name="T10" fmla="*/ 168275 w 206"/>
                <a:gd name="T11" fmla="*/ 288925 h 254"/>
                <a:gd name="T12" fmla="*/ 165100 w 206"/>
                <a:gd name="T13" fmla="*/ 301625 h 254"/>
                <a:gd name="T14" fmla="*/ 165100 w 206"/>
                <a:gd name="T15" fmla="*/ 301625 h 254"/>
                <a:gd name="T16" fmla="*/ 168275 w 206"/>
                <a:gd name="T17" fmla="*/ 311150 h 254"/>
                <a:gd name="T18" fmla="*/ 171450 w 206"/>
                <a:gd name="T19" fmla="*/ 317500 h 254"/>
                <a:gd name="T20" fmla="*/ 180975 w 206"/>
                <a:gd name="T21" fmla="*/ 320675 h 254"/>
                <a:gd name="T22" fmla="*/ 193675 w 206"/>
                <a:gd name="T23" fmla="*/ 320675 h 254"/>
                <a:gd name="T24" fmla="*/ 225425 w 206"/>
                <a:gd name="T25" fmla="*/ 320675 h 254"/>
                <a:gd name="T26" fmla="*/ 203200 w 206"/>
                <a:gd name="T27" fmla="*/ 403225 h 254"/>
                <a:gd name="T28" fmla="*/ 63500 w 206"/>
                <a:gd name="T29" fmla="*/ 403225 h 254"/>
                <a:gd name="T30" fmla="*/ 63500 w 206"/>
                <a:gd name="T31" fmla="*/ 403225 h 254"/>
                <a:gd name="T32" fmla="*/ 47625 w 206"/>
                <a:gd name="T33" fmla="*/ 400050 h 254"/>
                <a:gd name="T34" fmla="*/ 34925 w 206"/>
                <a:gd name="T35" fmla="*/ 400050 h 254"/>
                <a:gd name="T36" fmla="*/ 22225 w 206"/>
                <a:gd name="T37" fmla="*/ 393700 h 254"/>
                <a:gd name="T38" fmla="*/ 15875 w 206"/>
                <a:gd name="T39" fmla="*/ 387350 h 254"/>
                <a:gd name="T40" fmla="*/ 9525 w 206"/>
                <a:gd name="T41" fmla="*/ 377825 h 254"/>
                <a:gd name="T42" fmla="*/ 3175 w 206"/>
                <a:gd name="T43" fmla="*/ 368300 h 254"/>
                <a:gd name="T44" fmla="*/ 0 w 206"/>
                <a:gd name="T45" fmla="*/ 358775 h 254"/>
                <a:gd name="T46" fmla="*/ 0 w 206"/>
                <a:gd name="T47" fmla="*/ 346075 h 254"/>
                <a:gd name="T48" fmla="*/ 0 w 206"/>
                <a:gd name="T49" fmla="*/ 346075 h 254"/>
                <a:gd name="T50" fmla="*/ 3175 w 206"/>
                <a:gd name="T51" fmla="*/ 323850 h 254"/>
                <a:gd name="T52" fmla="*/ 6350 w 206"/>
                <a:gd name="T53" fmla="*/ 301625 h 254"/>
                <a:gd name="T54" fmla="*/ 92075 w 206"/>
                <a:gd name="T55" fmla="*/ 0 h 254"/>
                <a:gd name="T56" fmla="*/ 247650 w 206"/>
                <a:gd name="T57" fmla="*/ 0 h 254"/>
                <a:gd name="T58" fmla="*/ 228600 w 206"/>
                <a:gd name="T59" fmla="*/ 73025 h 254"/>
                <a:gd name="T60" fmla="*/ 311150 w 206"/>
                <a:gd name="T61" fmla="*/ 73025 h 25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06" h="254">
                  <a:moveTo>
                    <a:pt x="196" y="46"/>
                  </a:moveTo>
                  <a:lnTo>
                    <a:pt x="206" y="92"/>
                  </a:lnTo>
                  <a:lnTo>
                    <a:pt x="130" y="92"/>
                  </a:lnTo>
                  <a:lnTo>
                    <a:pt x="108" y="172"/>
                  </a:lnTo>
                  <a:lnTo>
                    <a:pt x="106" y="182"/>
                  </a:lnTo>
                  <a:lnTo>
                    <a:pt x="104" y="190"/>
                  </a:lnTo>
                  <a:lnTo>
                    <a:pt x="106" y="196"/>
                  </a:lnTo>
                  <a:lnTo>
                    <a:pt x="108" y="200"/>
                  </a:lnTo>
                  <a:lnTo>
                    <a:pt x="114" y="202"/>
                  </a:lnTo>
                  <a:lnTo>
                    <a:pt x="122" y="202"/>
                  </a:lnTo>
                  <a:lnTo>
                    <a:pt x="142" y="202"/>
                  </a:lnTo>
                  <a:lnTo>
                    <a:pt x="128" y="254"/>
                  </a:lnTo>
                  <a:lnTo>
                    <a:pt x="40" y="254"/>
                  </a:lnTo>
                  <a:lnTo>
                    <a:pt x="30" y="252"/>
                  </a:lnTo>
                  <a:lnTo>
                    <a:pt x="22" y="252"/>
                  </a:lnTo>
                  <a:lnTo>
                    <a:pt x="14" y="248"/>
                  </a:lnTo>
                  <a:lnTo>
                    <a:pt x="10" y="244"/>
                  </a:lnTo>
                  <a:lnTo>
                    <a:pt x="6" y="238"/>
                  </a:lnTo>
                  <a:lnTo>
                    <a:pt x="2" y="232"/>
                  </a:lnTo>
                  <a:lnTo>
                    <a:pt x="0" y="226"/>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latin typeface="Arial"/>
                <a:cs typeface="+mn-cs"/>
              </a:endParaRPr>
            </a:p>
          </p:txBody>
        </p:sp>
        <p:sp>
          <p:nvSpPr>
            <p:cNvPr id="17" name="Freeform 17"/>
            <p:cNvSpPr>
              <a:spLocks/>
            </p:cNvSpPr>
            <p:nvPr/>
          </p:nvSpPr>
          <p:spPr bwMode="auto">
            <a:xfrm>
              <a:off x="4973638" y="3784600"/>
              <a:ext cx="63500" cy="79375"/>
            </a:xfrm>
            <a:custGeom>
              <a:avLst/>
              <a:gdLst>
                <a:gd name="T0" fmla="*/ 22225 w 40"/>
                <a:gd name="T1" fmla="*/ 0 h 50"/>
                <a:gd name="T2" fmla="*/ 63500 w 40"/>
                <a:gd name="T3" fmla="*/ 0 h 50"/>
                <a:gd name="T4" fmla="*/ 38100 w 40"/>
                <a:gd name="T5" fmla="*/ 79375 h 50"/>
                <a:gd name="T6" fmla="*/ 0 w 40"/>
                <a:gd name="T7" fmla="*/ 79375 h 50"/>
                <a:gd name="T8" fmla="*/ 22225 w 40"/>
                <a:gd name="T9" fmla="*/ 0 h 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latin typeface="Arial"/>
                <a:cs typeface="+mn-cs"/>
              </a:endParaRPr>
            </a:p>
          </p:txBody>
        </p:sp>
        <p:sp>
          <p:nvSpPr>
            <p:cNvPr id="18" name="Freeform 18"/>
            <p:cNvSpPr>
              <a:spLocks/>
            </p:cNvSpPr>
            <p:nvPr/>
          </p:nvSpPr>
          <p:spPr bwMode="auto">
            <a:xfrm>
              <a:off x="5110163" y="3784600"/>
              <a:ext cx="146050" cy="79375"/>
            </a:xfrm>
            <a:custGeom>
              <a:avLst/>
              <a:gdLst>
                <a:gd name="T0" fmla="*/ 22225 w 92"/>
                <a:gd name="T1" fmla="*/ 0 h 50"/>
                <a:gd name="T2" fmla="*/ 79375 w 92"/>
                <a:gd name="T3" fmla="*/ 0 h 50"/>
                <a:gd name="T4" fmla="*/ 95250 w 92"/>
                <a:gd name="T5" fmla="*/ 53975 h 50"/>
                <a:gd name="T6" fmla="*/ 95250 w 92"/>
                <a:gd name="T7" fmla="*/ 53975 h 50"/>
                <a:gd name="T8" fmla="*/ 111125 w 92"/>
                <a:gd name="T9" fmla="*/ 0 h 50"/>
                <a:gd name="T10" fmla="*/ 146050 w 92"/>
                <a:gd name="T11" fmla="*/ 0 h 50"/>
                <a:gd name="T12" fmla="*/ 120650 w 92"/>
                <a:gd name="T13" fmla="*/ 79375 h 50"/>
                <a:gd name="T14" fmla="*/ 66675 w 92"/>
                <a:gd name="T15" fmla="*/ 79375 h 50"/>
                <a:gd name="T16" fmla="*/ 50800 w 92"/>
                <a:gd name="T17" fmla="*/ 22225 h 50"/>
                <a:gd name="T18" fmla="*/ 50800 w 92"/>
                <a:gd name="T19" fmla="*/ 22225 h 50"/>
                <a:gd name="T20" fmla="*/ 31750 w 92"/>
                <a:gd name="T21" fmla="*/ 79375 h 50"/>
                <a:gd name="T22" fmla="*/ 0 w 92"/>
                <a:gd name="T23" fmla="*/ 79375 h 50"/>
                <a:gd name="T24" fmla="*/ 22225 w 92"/>
                <a:gd name="T25" fmla="*/ 0 h 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2" h="50">
                  <a:moveTo>
                    <a:pt x="14" y="0"/>
                  </a:moveTo>
                  <a:lnTo>
                    <a:pt x="50" y="0"/>
                  </a:lnTo>
                  <a:lnTo>
                    <a:pt x="60" y="34"/>
                  </a:lnTo>
                  <a:lnTo>
                    <a:pt x="70" y="0"/>
                  </a:lnTo>
                  <a:lnTo>
                    <a:pt x="92" y="0"/>
                  </a:lnTo>
                  <a:lnTo>
                    <a:pt x="76" y="50"/>
                  </a:lnTo>
                  <a:lnTo>
                    <a:pt x="42" y="50"/>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latin typeface="Arial"/>
                <a:cs typeface="+mn-cs"/>
              </a:endParaRPr>
            </a:p>
          </p:txBody>
        </p:sp>
        <p:sp>
          <p:nvSpPr>
            <p:cNvPr id="19" name="Freeform 19"/>
            <p:cNvSpPr>
              <a:spLocks/>
            </p:cNvSpPr>
            <p:nvPr/>
          </p:nvSpPr>
          <p:spPr bwMode="auto">
            <a:xfrm>
              <a:off x="5329238" y="3784600"/>
              <a:ext cx="130175" cy="79375"/>
            </a:xfrm>
            <a:custGeom>
              <a:avLst/>
              <a:gdLst>
                <a:gd name="T0" fmla="*/ 0 w 82"/>
                <a:gd name="T1" fmla="*/ 0 h 50"/>
                <a:gd name="T2" fmla="*/ 44450 w 82"/>
                <a:gd name="T3" fmla="*/ 0 h 50"/>
                <a:gd name="T4" fmla="*/ 50800 w 82"/>
                <a:gd name="T5" fmla="*/ 50800 h 50"/>
                <a:gd name="T6" fmla="*/ 88900 w 82"/>
                <a:gd name="T7" fmla="*/ 0 h 50"/>
                <a:gd name="T8" fmla="*/ 130175 w 82"/>
                <a:gd name="T9" fmla="*/ 0 h 50"/>
                <a:gd name="T10" fmla="*/ 63500 w 82"/>
                <a:gd name="T11" fmla="*/ 79375 h 50"/>
                <a:gd name="T12" fmla="*/ 15875 w 82"/>
                <a:gd name="T13" fmla="*/ 79375 h 50"/>
                <a:gd name="T14" fmla="*/ 0 w 82"/>
                <a:gd name="T15" fmla="*/ 0 h 5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latin typeface="Arial"/>
                <a:cs typeface="+mn-cs"/>
              </a:endParaRPr>
            </a:p>
          </p:txBody>
        </p:sp>
        <p:sp>
          <p:nvSpPr>
            <p:cNvPr id="20" name="Freeform 20"/>
            <p:cNvSpPr>
              <a:spLocks/>
            </p:cNvSpPr>
            <p:nvPr/>
          </p:nvSpPr>
          <p:spPr bwMode="auto">
            <a:xfrm>
              <a:off x="5510213" y="3784600"/>
              <a:ext cx="111125" cy="79375"/>
            </a:xfrm>
            <a:custGeom>
              <a:avLst/>
              <a:gdLst>
                <a:gd name="T0" fmla="*/ 22225 w 70"/>
                <a:gd name="T1" fmla="*/ 0 h 50"/>
                <a:gd name="T2" fmla="*/ 111125 w 70"/>
                <a:gd name="T3" fmla="*/ 0 h 50"/>
                <a:gd name="T4" fmla="*/ 107950 w 70"/>
                <a:gd name="T5" fmla="*/ 15875 h 50"/>
                <a:gd name="T6" fmla="*/ 57150 w 70"/>
                <a:gd name="T7" fmla="*/ 15875 h 50"/>
                <a:gd name="T8" fmla="*/ 50800 w 70"/>
                <a:gd name="T9" fmla="*/ 31750 h 50"/>
                <a:gd name="T10" fmla="*/ 98425 w 70"/>
                <a:gd name="T11" fmla="*/ 31750 h 50"/>
                <a:gd name="T12" fmla="*/ 95250 w 70"/>
                <a:gd name="T13" fmla="*/ 47625 h 50"/>
                <a:gd name="T14" fmla="*/ 47625 w 70"/>
                <a:gd name="T15" fmla="*/ 47625 h 50"/>
                <a:gd name="T16" fmla="*/ 41275 w 70"/>
                <a:gd name="T17" fmla="*/ 63500 h 50"/>
                <a:gd name="T18" fmla="*/ 92075 w 70"/>
                <a:gd name="T19" fmla="*/ 63500 h 50"/>
                <a:gd name="T20" fmla="*/ 88900 w 70"/>
                <a:gd name="T21" fmla="*/ 79375 h 50"/>
                <a:gd name="T22" fmla="*/ 0 w 70"/>
                <a:gd name="T23" fmla="*/ 79375 h 50"/>
                <a:gd name="T24" fmla="*/ 22225 w 70"/>
                <a:gd name="T25" fmla="*/ 0 h 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latin typeface="Arial"/>
                <a:cs typeface="+mn-cs"/>
              </a:endParaRPr>
            </a:p>
          </p:txBody>
        </p:sp>
        <p:sp>
          <p:nvSpPr>
            <p:cNvPr id="21" name="Freeform 21"/>
            <p:cNvSpPr>
              <a:spLocks/>
            </p:cNvSpPr>
            <p:nvPr/>
          </p:nvSpPr>
          <p:spPr bwMode="auto">
            <a:xfrm>
              <a:off x="5884863" y="3784600"/>
              <a:ext cx="104775" cy="79375"/>
            </a:xfrm>
            <a:custGeom>
              <a:avLst/>
              <a:gdLst>
                <a:gd name="T0" fmla="*/ 28575 w 66"/>
                <a:gd name="T1" fmla="*/ 19050 h 50"/>
                <a:gd name="T2" fmla="*/ 0 w 66"/>
                <a:gd name="T3" fmla="*/ 19050 h 50"/>
                <a:gd name="T4" fmla="*/ 6350 w 66"/>
                <a:gd name="T5" fmla="*/ 0 h 50"/>
                <a:gd name="T6" fmla="*/ 104775 w 66"/>
                <a:gd name="T7" fmla="*/ 0 h 50"/>
                <a:gd name="T8" fmla="*/ 98425 w 66"/>
                <a:gd name="T9" fmla="*/ 19050 h 50"/>
                <a:gd name="T10" fmla="*/ 69850 w 66"/>
                <a:gd name="T11" fmla="*/ 19050 h 50"/>
                <a:gd name="T12" fmla="*/ 50800 w 66"/>
                <a:gd name="T13" fmla="*/ 79375 h 50"/>
                <a:gd name="T14" fmla="*/ 9525 w 66"/>
                <a:gd name="T15" fmla="*/ 79375 h 50"/>
                <a:gd name="T16" fmla="*/ 28575 w 66"/>
                <a:gd name="T17" fmla="*/ 19050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latin typeface="Arial"/>
                <a:cs typeface="+mn-cs"/>
              </a:endParaRPr>
            </a:p>
          </p:txBody>
        </p:sp>
        <p:sp>
          <p:nvSpPr>
            <p:cNvPr id="22" name="Freeform 22"/>
            <p:cNvSpPr>
              <a:spLocks/>
            </p:cNvSpPr>
            <p:nvPr/>
          </p:nvSpPr>
          <p:spPr bwMode="auto">
            <a:xfrm>
              <a:off x="6046788" y="3784600"/>
              <a:ext cx="180975" cy="79375"/>
            </a:xfrm>
            <a:custGeom>
              <a:avLst/>
              <a:gdLst>
                <a:gd name="T0" fmla="*/ 22225 w 114"/>
                <a:gd name="T1" fmla="*/ 0 h 50"/>
                <a:gd name="T2" fmla="*/ 82550 w 114"/>
                <a:gd name="T3" fmla="*/ 0 h 50"/>
                <a:gd name="T4" fmla="*/ 85725 w 114"/>
                <a:gd name="T5" fmla="*/ 53975 h 50"/>
                <a:gd name="T6" fmla="*/ 85725 w 114"/>
                <a:gd name="T7" fmla="*/ 53975 h 50"/>
                <a:gd name="T8" fmla="*/ 120650 w 114"/>
                <a:gd name="T9" fmla="*/ 0 h 50"/>
                <a:gd name="T10" fmla="*/ 180975 w 114"/>
                <a:gd name="T11" fmla="*/ 0 h 50"/>
                <a:gd name="T12" fmla="*/ 155575 w 114"/>
                <a:gd name="T13" fmla="*/ 79375 h 50"/>
                <a:gd name="T14" fmla="*/ 120650 w 114"/>
                <a:gd name="T15" fmla="*/ 79375 h 50"/>
                <a:gd name="T16" fmla="*/ 136525 w 114"/>
                <a:gd name="T17" fmla="*/ 19050 h 50"/>
                <a:gd name="T18" fmla="*/ 136525 w 114"/>
                <a:gd name="T19" fmla="*/ 19050 h 50"/>
                <a:gd name="T20" fmla="*/ 95250 w 114"/>
                <a:gd name="T21" fmla="*/ 79375 h 50"/>
                <a:gd name="T22" fmla="*/ 57150 w 114"/>
                <a:gd name="T23" fmla="*/ 79375 h 50"/>
                <a:gd name="T24" fmla="*/ 50800 w 114"/>
                <a:gd name="T25" fmla="*/ 19050 h 50"/>
                <a:gd name="T26" fmla="*/ 50800 w 114"/>
                <a:gd name="T27" fmla="*/ 19050 h 50"/>
                <a:gd name="T28" fmla="*/ 31750 w 114"/>
                <a:gd name="T29" fmla="*/ 79375 h 50"/>
                <a:gd name="T30" fmla="*/ 0 w 114"/>
                <a:gd name="T31" fmla="*/ 79375 h 50"/>
                <a:gd name="T32" fmla="*/ 22225 w 114"/>
                <a:gd name="T33" fmla="*/ 0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14" h="50">
                  <a:moveTo>
                    <a:pt x="14" y="0"/>
                  </a:moveTo>
                  <a:lnTo>
                    <a:pt x="52" y="0"/>
                  </a:lnTo>
                  <a:lnTo>
                    <a:pt x="54" y="34"/>
                  </a:lnTo>
                  <a:lnTo>
                    <a:pt x="76" y="0"/>
                  </a:lnTo>
                  <a:lnTo>
                    <a:pt x="114" y="0"/>
                  </a:lnTo>
                  <a:lnTo>
                    <a:pt x="98" y="50"/>
                  </a:lnTo>
                  <a:lnTo>
                    <a:pt x="76" y="50"/>
                  </a:lnTo>
                  <a:lnTo>
                    <a:pt x="86" y="12"/>
                  </a:lnTo>
                  <a:lnTo>
                    <a:pt x="60" y="50"/>
                  </a:lnTo>
                  <a:lnTo>
                    <a:pt x="36" y="50"/>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latin typeface="Arial"/>
                <a:cs typeface="+mn-cs"/>
              </a:endParaRPr>
            </a:p>
          </p:txBody>
        </p:sp>
        <p:sp>
          <p:nvSpPr>
            <p:cNvPr id="23" name="Freeform 23"/>
            <p:cNvSpPr>
              <a:spLocks/>
            </p:cNvSpPr>
            <p:nvPr/>
          </p:nvSpPr>
          <p:spPr bwMode="auto">
            <a:xfrm>
              <a:off x="6450013" y="3784600"/>
              <a:ext cx="146050" cy="79375"/>
            </a:xfrm>
            <a:custGeom>
              <a:avLst/>
              <a:gdLst>
                <a:gd name="T0" fmla="*/ 25400 w 92"/>
                <a:gd name="T1" fmla="*/ 0 h 50"/>
                <a:gd name="T2" fmla="*/ 82550 w 92"/>
                <a:gd name="T3" fmla="*/ 0 h 50"/>
                <a:gd name="T4" fmla="*/ 98425 w 92"/>
                <a:gd name="T5" fmla="*/ 53975 h 50"/>
                <a:gd name="T6" fmla="*/ 98425 w 92"/>
                <a:gd name="T7" fmla="*/ 53975 h 50"/>
                <a:gd name="T8" fmla="*/ 114300 w 92"/>
                <a:gd name="T9" fmla="*/ 0 h 50"/>
                <a:gd name="T10" fmla="*/ 146050 w 92"/>
                <a:gd name="T11" fmla="*/ 0 h 50"/>
                <a:gd name="T12" fmla="*/ 123825 w 92"/>
                <a:gd name="T13" fmla="*/ 79375 h 50"/>
                <a:gd name="T14" fmla="*/ 66675 w 92"/>
                <a:gd name="T15" fmla="*/ 79375 h 50"/>
                <a:gd name="T16" fmla="*/ 50800 w 92"/>
                <a:gd name="T17" fmla="*/ 22225 h 50"/>
                <a:gd name="T18" fmla="*/ 50800 w 92"/>
                <a:gd name="T19" fmla="*/ 22225 h 50"/>
                <a:gd name="T20" fmla="*/ 34925 w 92"/>
                <a:gd name="T21" fmla="*/ 79375 h 50"/>
                <a:gd name="T22" fmla="*/ 0 w 92"/>
                <a:gd name="T23" fmla="*/ 79375 h 50"/>
                <a:gd name="T24" fmla="*/ 25400 w 92"/>
                <a:gd name="T25" fmla="*/ 0 h 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2" h="50">
                  <a:moveTo>
                    <a:pt x="16" y="0"/>
                  </a:moveTo>
                  <a:lnTo>
                    <a:pt x="52" y="0"/>
                  </a:lnTo>
                  <a:lnTo>
                    <a:pt x="62" y="34"/>
                  </a:lnTo>
                  <a:lnTo>
                    <a:pt x="72" y="0"/>
                  </a:lnTo>
                  <a:lnTo>
                    <a:pt x="92" y="0"/>
                  </a:lnTo>
                  <a:lnTo>
                    <a:pt x="78" y="50"/>
                  </a:lnTo>
                  <a:lnTo>
                    <a:pt x="42" y="50"/>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latin typeface="Arial"/>
                <a:cs typeface="+mn-cs"/>
              </a:endParaRPr>
            </a:p>
          </p:txBody>
        </p:sp>
        <p:sp>
          <p:nvSpPr>
            <p:cNvPr id="24" name="Freeform 24"/>
            <p:cNvSpPr>
              <a:spLocks/>
            </p:cNvSpPr>
            <p:nvPr/>
          </p:nvSpPr>
          <p:spPr bwMode="auto">
            <a:xfrm>
              <a:off x="6659563" y="3784600"/>
              <a:ext cx="107950" cy="79375"/>
            </a:xfrm>
            <a:custGeom>
              <a:avLst/>
              <a:gdLst>
                <a:gd name="T0" fmla="*/ 31750 w 68"/>
                <a:gd name="T1" fmla="*/ 19050 h 50"/>
                <a:gd name="T2" fmla="*/ 0 w 68"/>
                <a:gd name="T3" fmla="*/ 19050 h 50"/>
                <a:gd name="T4" fmla="*/ 6350 w 68"/>
                <a:gd name="T5" fmla="*/ 0 h 50"/>
                <a:gd name="T6" fmla="*/ 107950 w 68"/>
                <a:gd name="T7" fmla="*/ 0 h 50"/>
                <a:gd name="T8" fmla="*/ 101600 w 68"/>
                <a:gd name="T9" fmla="*/ 19050 h 50"/>
                <a:gd name="T10" fmla="*/ 69850 w 68"/>
                <a:gd name="T11" fmla="*/ 19050 h 50"/>
                <a:gd name="T12" fmla="*/ 50800 w 68"/>
                <a:gd name="T13" fmla="*/ 79375 h 50"/>
                <a:gd name="T14" fmla="*/ 12700 w 68"/>
                <a:gd name="T15" fmla="*/ 79375 h 50"/>
                <a:gd name="T16" fmla="*/ 31750 w 68"/>
                <a:gd name="T17" fmla="*/ 19050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latin typeface="Arial"/>
                <a:cs typeface="+mn-cs"/>
              </a:endParaRPr>
            </a:p>
          </p:txBody>
        </p:sp>
        <p:sp>
          <p:nvSpPr>
            <p:cNvPr id="25" name="Freeform 25"/>
            <p:cNvSpPr>
              <a:spLocks noEditPoints="1"/>
            </p:cNvSpPr>
            <p:nvPr/>
          </p:nvSpPr>
          <p:spPr bwMode="auto">
            <a:xfrm>
              <a:off x="7326313" y="3667125"/>
              <a:ext cx="85725" cy="85725"/>
            </a:xfrm>
            <a:custGeom>
              <a:avLst/>
              <a:gdLst>
                <a:gd name="T0" fmla="*/ 41275 w 54"/>
                <a:gd name="T1" fmla="*/ 0 h 54"/>
                <a:gd name="T2" fmla="*/ 41275 w 54"/>
                <a:gd name="T3" fmla="*/ 0 h 54"/>
                <a:gd name="T4" fmla="*/ 25400 w 54"/>
                <a:gd name="T5" fmla="*/ 3175 h 54"/>
                <a:gd name="T6" fmla="*/ 12700 w 54"/>
                <a:gd name="T7" fmla="*/ 12700 h 54"/>
                <a:gd name="T8" fmla="*/ 3175 w 54"/>
                <a:gd name="T9" fmla="*/ 25400 h 54"/>
                <a:gd name="T10" fmla="*/ 0 w 54"/>
                <a:gd name="T11" fmla="*/ 41275 h 54"/>
                <a:gd name="T12" fmla="*/ 0 w 54"/>
                <a:gd name="T13" fmla="*/ 41275 h 54"/>
                <a:gd name="T14" fmla="*/ 3175 w 54"/>
                <a:gd name="T15" fmla="*/ 57150 h 54"/>
                <a:gd name="T16" fmla="*/ 12700 w 54"/>
                <a:gd name="T17" fmla="*/ 73025 h 54"/>
                <a:gd name="T18" fmla="*/ 25400 w 54"/>
                <a:gd name="T19" fmla="*/ 82550 h 54"/>
                <a:gd name="T20" fmla="*/ 41275 w 54"/>
                <a:gd name="T21" fmla="*/ 85725 h 54"/>
                <a:gd name="T22" fmla="*/ 41275 w 54"/>
                <a:gd name="T23" fmla="*/ 85725 h 54"/>
                <a:gd name="T24" fmla="*/ 57150 w 54"/>
                <a:gd name="T25" fmla="*/ 82550 h 54"/>
                <a:gd name="T26" fmla="*/ 73025 w 54"/>
                <a:gd name="T27" fmla="*/ 73025 h 54"/>
                <a:gd name="T28" fmla="*/ 82550 w 54"/>
                <a:gd name="T29" fmla="*/ 57150 h 54"/>
                <a:gd name="T30" fmla="*/ 85725 w 54"/>
                <a:gd name="T31" fmla="*/ 41275 h 54"/>
                <a:gd name="T32" fmla="*/ 85725 w 54"/>
                <a:gd name="T33" fmla="*/ 41275 h 54"/>
                <a:gd name="T34" fmla="*/ 82550 w 54"/>
                <a:gd name="T35" fmla="*/ 25400 h 54"/>
                <a:gd name="T36" fmla="*/ 73025 w 54"/>
                <a:gd name="T37" fmla="*/ 12700 h 54"/>
                <a:gd name="T38" fmla="*/ 57150 w 54"/>
                <a:gd name="T39" fmla="*/ 3175 h 54"/>
                <a:gd name="T40" fmla="*/ 41275 w 54"/>
                <a:gd name="T41" fmla="*/ 0 h 54"/>
                <a:gd name="T42" fmla="*/ 41275 w 54"/>
                <a:gd name="T43" fmla="*/ 0 h 54"/>
                <a:gd name="T44" fmla="*/ 41275 w 54"/>
                <a:gd name="T45" fmla="*/ 76200 h 54"/>
                <a:gd name="T46" fmla="*/ 41275 w 54"/>
                <a:gd name="T47" fmla="*/ 76200 h 54"/>
                <a:gd name="T48" fmla="*/ 28575 w 54"/>
                <a:gd name="T49" fmla="*/ 73025 h 54"/>
                <a:gd name="T50" fmla="*/ 15875 w 54"/>
                <a:gd name="T51" fmla="*/ 66675 h 54"/>
                <a:gd name="T52" fmla="*/ 9525 w 54"/>
                <a:gd name="T53" fmla="*/ 57150 h 54"/>
                <a:gd name="T54" fmla="*/ 6350 w 54"/>
                <a:gd name="T55" fmla="*/ 41275 h 54"/>
                <a:gd name="T56" fmla="*/ 6350 w 54"/>
                <a:gd name="T57" fmla="*/ 41275 h 54"/>
                <a:gd name="T58" fmla="*/ 9525 w 54"/>
                <a:gd name="T59" fmla="*/ 28575 h 54"/>
                <a:gd name="T60" fmla="*/ 15875 w 54"/>
                <a:gd name="T61" fmla="*/ 15875 h 54"/>
                <a:gd name="T62" fmla="*/ 28575 w 54"/>
                <a:gd name="T63" fmla="*/ 9525 h 54"/>
                <a:gd name="T64" fmla="*/ 41275 w 54"/>
                <a:gd name="T65" fmla="*/ 6350 h 54"/>
                <a:gd name="T66" fmla="*/ 41275 w 54"/>
                <a:gd name="T67" fmla="*/ 6350 h 54"/>
                <a:gd name="T68" fmla="*/ 57150 w 54"/>
                <a:gd name="T69" fmla="*/ 9525 h 54"/>
                <a:gd name="T70" fmla="*/ 66675 w 54"/>
                <a:gd name="T71" fmla="*/ 15875 h 54"/>
                <a:gd name="T72" fmla="*/ 73025 w 54"/>
                <a:gd name="T73" fmla="*/ 28575 h 54"/>
                <a:gd name="T74" fmla="*/ 76200 w 54"/>
                <a:gd name="T75" fmla="*/ 41275 h 54"/>
                <a:gd name="T76" fmla="*/ 76200 w 54"/>
                <a:gd name="T77" fmla="*/ 41275 h 54"/>
                <a:gd name="T78" fmla="*/ 73025 w 54"/>
                <a:gd name="T79" fmla="*/ 57150 h 54"/>
                <a:gd name="T80" fmla="*/ 66675 w 54"/>
                <a:gd name="T81" fmla="*/ 66675 h 54"/>
                <a:gd name="T82" fmla="*/ 57150 w 54"/>
                <a:gd name="T83" fmla="*/ 73025 h 54"/>
                <a:gd name="T84" fmla="*/ 41275 w 54"/>
                <a:gd name="T85" fmla="*/ 76200 h 54"/>
                <a:gd name="T86" fmla="*/ 41275 w 54"/>
                <a:gd name="T87" fmla="*/ 76200 h 5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4" h="54">
                  <a:moveTo>
                    <a:pt x="26" y="0"/>
                  </a:moveTo>
                  <a:lnTo>
                    <a:pt x="26" y="0"/>
                  </a:lnTo>
                  <a:lnTo>
                    <a:pt x="16" y="2"/>
                  </a:lnTo>
                  <a:lnTo>
                    <a:pt x="8" y="8"/>
                  </a:lnTo>
                  <a:lnTo>
                    <a:pt x="2" y="16"/>
                  </a:lnTo>
                  <a:lnTo>
                    <a:pt x="0" y="26"/>
                  </a:lnTo>
                  <a:lnTo>
                    <a:pt x="2" y="36"/>
                  </a:lnTo>
                  <a:lnTo>
                    <a:pt x="8" y="46"/>
                  </a:lnTo>
                  <a:lnTo>
                    <a:pt x="16" y="52"/>
                  </a:lnTo>
                  <a:lnTo>
                    <a:pt x="26" y="54"/>
                  </a:lnTo>
                  <a:lnTo>
                    <a:pt x="36" y="52"/>
                  </a:lnTo>
                  <a:lnTo>
                    <a:pt x="46" y="46"/>
                  </a:lnTo>
                  <a:lnTo>
                    <a:pt x="52" y="36"/>
                  </a:lnTo>
                  <a:lnTo>
                    <a:pt x="54" y="26"/>
                  </a:lnTo>
                  <a:lnTo>
                    <a:pt x="52" y="16"/>
                  </a:lnTo>
                  <a:lnTo>
                    <a:pt x="46" y="8"/>
                  </a:lnTo>
                  <a:lnTo>
                    <a:pt x="36" y="2"/>
                  </a:lnTo>
                  <a:lnTo>
                    <a:pt x="26" y="0"/>
                  </a:lnTo>
                  <a:close/>
                  <a:moveTo>
                    <a:pt x="26" y="48"/>
                  </a:moveTo>
                  <a:lnTo>
                    <a:pt x="26" y="48"/>
                  </a:lnTo>
                  <a:lnTo>
                    <a:pt x="18" y="46"/>
                  </a:lnTo>
                  <a:lnTo>
                    <a:pt x="10" y="42"/>
                  </a:lnTo>
                  <a:lnTo>
                    <a:pt x="6" y="36"/>
                  </a:lnTo>
                  <a:lnTo>
                    <a:pt x="4" y="26"/>
                  </a:lnTo>
                  <a:lnTo>
                    <a:pt x="6" y="18"/>
                  </a:lnTo>
                  <a:lnTo>
                    <a:pt x="10" y="10"/>
                  </a:lnTo>
                  <a:lnTo>
                    <a:pt x="18" y="6"/>
                  </a:lnTo>
                  <a:lnTo>
                    <a:pt x="26" y="4"/>
                  </a:lnTo>
                  <a:lnTo>
                    <a:pt x="36" y="6"/>
                  </a:lnTo>
                  <a:lnTo>
                    <a:pt x="42" y="10"/>
                  </a:lnTo>
                  <a:lnTo>
                    <a:pt x="46" y="18"/>
                  </a:lnTo>
                  <a:lnTo>
                    <a:pt x="48" y="26"/>
                  </a:lnTo>
                  <a:lnTo>
                    <a:pt x="46" y="36"/>
                  </a:lnTo>
                  <a:lnTo>
                    <a:pt x="42" y="42"/>
                  </a:lnTo>
                  <a:lnTo>
                    <a:pt x="36" y="46"/>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latin typeface="Arial"/>
                <a:cs typeface="+mn-cs"/>
              </a:endParaRPr>
            </a:p>
          </p:txBody>
        </p:sp>
        <p:sp>
          <p:nvSpPr>
            <p:cNvPr id="26" name="Freeform 26"/>
            <p:cNvSpPr>
              <a:spLocks noEditPoints="1"/>
            </p:cNvSpPr>
            <p:nvPr/>
          </p:nvSpPr>
          <p:spPr bwMode="auto">
            <a:xfrm>
              <a:off x="7354888" y="3686175"/>
              <a:ext cx="31750" cy="44450"/>
            </a:xfrm>
            <a:custGeom>
              <a:avLst/>
              <a:gdLst>
                <a:gd name="T0" fmla="*/ 31750 w 20"/>
                <a:gd name="T1" fmla="*/ 15875 h 28"/>
                <a:gd name="T2" fmla="*/ 31750 w 20"/>
                <a:gd name="T3" fmla="*/ 15875 h 28"/>
                <a:gd name="T4" fmla="*/ 28575 w 20"/>
                <a:gd name="T5" fmla="*/ 9525 h 28"/>
                <a:gd name="T6" fmla="*/ 25400 w 20"/>
                <a:gd name="T7" fmla="*/ 3175 h 28"/>
                <a:gd name="T8" fmla="*/ 22225 w 20"/>
                <a:gd name="T9" fmla="*/ 3175 h 28"/>
                <a:gd name="T10" fmla="*/ 15875 w 20"/>
                <a:gd name="T11" fmla="*/ 0 h 28"/>
                <a:gd name="T12" fmla="*/ 0 w 20"/>
                <a:gd name="T13" fmla="*/ 0 h 28"/>
                <a:gd name="T14" fmla="*/ 0 w 20"/>
                <a:gd name="T15" fmla="*/ 44450 h 28"/>
                <a:gd name="T16" fmla="*/ 6350 w 20"/>
                <a:gd name="T17" fmla="*/ 44450 h 28"/>
                <a:gd name="T18" fmla="*/ 6350 w 20"/>
                <a:gd name="T19" fmla="*/ 28575 h 28"/>
                <a:gd name="T20" fmla="*/ 12700 w 20"/>
                <a:gd name="T21" fmla="*/ 28575 h 28"/>
                <a:gd name="T22" fmla="*/ 22225 w 20"/>
                <a:gd name="T23" fmla="*/ 44450 h 28"/>
                <a:gd name="T24" fmla="*/ 31750 w 20"/>
                <a:gd name="T25" fmla="*/ 44450 h 28"/>
                <a:gd name="T26" fmla="*/ 19050 w 20"/>
                <a:gd name="T27" fmla="*/ 25400 h 28"/>
                <a:gd name="T28" fmla="*/ 19050 w 20"/>
                <a:gd name="T29" fmla="*/ 25400 h 28"/>
                <a:gd name="T30" fmla="*/ 28575 w 20"/>
                <a:gd name="T31" fmla="*/ 22225 h 28"/>
                <a:gd name="T32" fmla="*/ 31750 w 20"/>
                <a:gd name="T33" fmla="*/ 15875 h 28"/>
                <a:gd name="T34" fmla="*/ 31750 w 20"/>
                <a:gd name="T35" fmla="*/ 15875 h 28"/>
                <a:gd name="T36" fmla="*/ 6350 w 20"/>
                <a:gd name="T37" fmla="*/ 19050 h 28"/>
                <a:gd name="T38" fmla="*/ 6350 w 20"/>
                <a:gd name="T39" fmla="*/ 6350 h 28"/>
                <a:gd name="T40" fmla="*/ 12700 w 20"/>
                <a:gd name="T41" fmla="*/ 6350 h 28"/>
                <a:gd name="T42" fmla="*/ 12700 w 20"/>
                <a:gd name="T43" fmla="*/ 6350 h 28"/>
                <a:gd name="T44" fmla="*/ 19050 w 20"/>
                <a:gd name="T45" fmla="*/ 9525 h 28"/>
                <a:gd name="T46" fmla="*/ 22225 w 20"/>
                <a:gd name="T47" fmla="*/ 9525 h 28"/>
                <a:gd name="T48" fmla="*/ 22225 w 20"/>
                <a:gd name="T49" fmla="*/ 12700 h 28"/>
                <a:gd name="T50" fmla="*/ 22225 w 20"/>
                <a:gd name="T51" fmla="*/ 12700 h 28"/>
                <a:gd name="T52" fmla="*/ 22225 w 20"/>
                <a:gd name="T53" fmla="*/ 19050 h 28"/>
                <a:gd name="T54" fmla="*/ 19050 w 20"/>
                <a:gd name="T55" fmla="*/ 19050 h 28"/>
                <a:gd name="T56" fmla="*/ 12700 w 20"/>
                <a:gd name="T57" fmla="*/ 19050 h 28"/>
                <a:gd name="T58" fmla="*/ 6350 w 20"/>
                <a:gd name="T59" fmla="*/ 19050 h 2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8" y="14"/>
                  </a:lnTo>
                  <a:lnTo>
                    <a:pt x="20" y="10"/>
                  </a:lnTo>
                  <a:close/>
                  <a:moveTo>
                    <a:pt x="4" y="12"/>
                  </a:moveTo>
                  <a:lnTo>
                    <a:pt x="4" y="4"/>
                  </a:lnTo>
                  <a:lnTo>
                    <a:pt x="8" y="4"/>
                  </a:lnTo>
                  <a:lnTo>
                    <a:pt x="12" y="6"/>
                  </a:lnTo>
                  <a:lnTo>
                    <a:pt x="14" y="6"/>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latin typeface="Arial"/>
                <a:cs typeface="+mn-cs"/>
              </a:endParaRPr>
            </a:p>
          </p:txBody>
        </p:sp>
        <p:sp>
          <p:nvSpPr>
            <p:cNvPr id="27" name="Freeform 27"/>
            <p:cNvSpPr>
              <a:spLocks/>
            </p:cNvSpPr>
            <p:nvPr/>
          </p:nvSpPr>
          <p:spPr bwMode="auto">
            <a:xfrm>
              <a:off x="5688013" y="3784600"/>
              <a:ext cx="120650" cy="82550"/>
            </a:xfrm>
            <a:custGeom>
              <a:avLst/>
              <a:gdLst>
                <a:gd name="T0" fmla="*/ 53975 w 76"/>
                <a:gd name="T1" fmla="*/ 25400 h 52"/>
                <a:gd name="T2" fmla="*/ 53975 w 76"/>
                <a:gd name="T3" fmla="*/ 19050 h 52"/>
                <a:gd name="T4" fmla="*/ 66675 w 76"/>
                <a:gd name="T5" fmla="*/ 12700 h 52"/>
                <a:gd name="T6" fmla="*/ 76200 w 76"/>
                <a:gd name="T7" fmla="*/ 12700 h 52"/>
                <a:gd name="T8" fmla="*/ 82550 w 76"/>
                <a:gd name="T9" fmla="*/ 15875 h 52"/>
                <a:gd name="T10" fmla="*/ 85725 w 76"/>
                <a:gd name="T11" fmla="*/ 22225 h 52"/>
                <a:gd name="T12" fmla="*/ 117475 w 76"/>
                <a:gd name="T13" fmla="*/ 22225 h 52"/>
                <a:gd name="T14" fmla="*/ 114300 w 76"/>
                <a:gd name="T15" fmla="*/ 6350 h 52"/>
                <a:gd name="T16" fmla="*/ 76200 w 76"/>
                <a:gd name="T17" fmla="*/ 0 h 52"/>
                <a:gd name="T18" fmla="*/ 50800 w 76"/>
                <a:gd name="T19" fmla="*/ 0 h 52"/>
                <a:gd name="T20" fmla="*/ 19050 w 76"/>
                <a:gd name="T21" fmla="*/ 12700 h 52"/>
                <a:gd name="T22" fmla="*/ 12700 w 76"/>
                <a:gd name="T23" fmla="*/ 25400 h 52"/>
                <a:gd name="T24" fmla="*/ 12700 w 76"/>
                <a:gd name="T25" fmla="*/ 38100 h 52"/>
                <a:gd name="T26" fmla="*/ 25400 w 76"/>
                <a:gd name="T27" fmla="*/ 44450 h 52"/>
                <a:gd name="T28" fmla="*/ 60325 w 76"/>
                <a:gd name="T29" fmla="*/ 53975 h 52"/>
                <a:gd name="T30" fmla="*/ 69850 w 76"/>
                <a:gd name="T31" fmla="*/ 57150 h 52"/>
                <a:gd name="T32" fmla="*/ 69850 w 76"/>
                <a:gd name="T33" fmla="*/ 60325 h 52"/>
                <a:gd name="T34" fmla="*/ 63500 w 76"/>
                <a:gd name="T35" fmla="*/ 66675 h 52"/>
                <a:gd name="T36" fmla="*/ 50800 w 76"/>
                <a:gd name="T37" fmla="*/ 69850 h 52"/>
                <a:gd name="T38" fmla="*/ 38100 w 76"/>
                <a:gd name="T39" fmla="*/ 66675 h 52"/>
                <a:gd name="T40" fmla="*/ 34925 w 76"/>
                <a:gd name="T41" fmla="*/ 60325 h 52"/>
                <a:gd name="T42" fmla="*/ 0 w 76"/>
                <a:gd name="T43" fmla="*/ 57150 h 52"/>
                <a:gd name="T44" fmla="*/ 0 w 76"/>
                <a:gd name="T45" fmla="*/ 66675 h 52"/>
                <a:gd name="T46" fmla="*/ 3175 w 76"/>
                <a:gd name="T47" fmla="*/ 76200 h 52"/>
                <a:gd name="T48" fmla="*/ 15875 w 76"/>
                <a:gd name="T49" fmla="*/ 82550 h 52"/>
                <a:gd name="T50" fmla="*/ 44450 w 76"/>
                <a:gd name="T51" fmla="*/ 82550 h 52"/>
                <a:gd name="T52" fmla="*/ 92075 w 76"/>
                <a:gd name="T53" fmla="*/ 76200 h 52"/>
                <a:gd name="T54" fmla="*/ 111125 w 76"/>
                <a:gd name="T55" fmla="*/ 57150 h 52"/>
                <a:gd name="T56" fmla="*/ 111125 w 76"/>
                <a:gd name="T57" fmla="*/ 47625 h 52"/>
                <a:gd name="T58" fmla="*/ 107950 w 76"/>
                <a:gd name="T59" fmla="*/ 41275 h 52"/>
                <a:gd name="T60" fmla="*/ 79375 w 76"/>
                <a:gd name="T61" fmla="*/ 31750 h 52"/>
                <a:gd name="T62" fmla="*/ 53975 w 76"/>
                <a:gd name="T63" fmla="*/ 25400 h 5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76" h="52">
                  <a:moveTo>
                    <a:pt x="34" y="16"/>
                  </a:moveTo>
                  <a:lnTo>
                    <a:pt x="34" y="16"/>
                  </a:lnTo>
                  <a:lnTo>
                    <a:pt x="34" y="12"/>
                  </a:lnTo>
                  <a:lnTo>
                    <a:pt x="36" y="10"/>
                  </a:lnTo>
                  <a:lnTo>
                    <a:pt x="42" y="8"/>
                  </a:lnTo>
                  <a:lnTo>
                    <a:pt x="48" y="8"/>
                  </a:lnTo>
                  <a:lnTo>
                    <a:pt x="52" y="10"/>
                  </a:lnTo>
                  <a:lnTo>
                    <a:pt x="54" y="12"/>
                  </a:lnTo>
                  <a:lnTo>
                    <a:pt x="54" y="14"/>
                  </a:lnTo>
                  <a:lnTo>
                    <a:pt x="74" y="14"/>
                  </a:lnTo>
                  <a:lnTo>
                    <a:pt x="76" y="8"/>
                  </a:lnTo>
                  <a:lnTo>
                    <a:pt x="72" y="4"/>
                  </a:lnTo>
                  <a:lnTo>
                    <a:pt x="62" y="0"/>
                  </a:lnTo>
                  <a:lnTo>
                    <a:pt x="48" y="0"/>
                  </a:lnTo>
                  <a:lnTo>
                    <a:pt x="32" y="0"/>
                  </a:lnTo>
                  <a:lnTo>
                    <a:pt x="20" y="4"/>
                  </a:lnTo>
                  <a:lnTo>
                    <a:pt x="12" y="8"/>
                  </a:lnTo>
                  <a:lnTo>
                    <a:pt x="8" y="16"/>
                  </a:lnTo>
                  <a:lnTo>
                    <a:pt x="6" y="20"/>
                  </a:lnTo>
                  <a:lnTo>
                    <a:pt x="8" y="24"/>
                  </a:lnTo>
                  <a:lnTo>
                    <a:pt x="16" y="28"/>
                  </a:lnTo>
                  <a:lnTo>
                    <a:pt x="28" y="32"/>
                  </a:lnTo>
                  <a:lnTo>
                    <a:pt x="38" y="34"/>
                  </a:lnTo>
                  <a:lnTo>
                    <a:pt x="44" y="36"/>
                  </a:lnTo>
                  <a:lnTo>
                    <a:pt x="44" y="38"/>
                  </a:lnTo>
                  <a:lnTo>
                    <a:pt x="42" y="40"/>
                  </a:lnTo>
                  <a:lnTo>
                    <a:pt x="40" y="42"/>
                  </a:lnTo>
                  <a:lnTo>
                    <a:pt x="32" y="44"/>
                  </a:lnTo>
                  <a:lnTo>
                    <a:pt x="28" y="42"/>
                  </a:lnTo>
                  <a:lnTo>
                    <a:pt x="24" y="42"/>
                  </a:lnTo>
                  <a:lnTo>
                    <a:pt x="22" y="38"/>
                  </a:lnTo>
                  <a:lnTo>
                    <a:pt x="24" y="36"/>
                  </a:lnTo>
                  <a:lnTo>
                    <a:pt x="0" y="36"/>
                  </a:lnTo>
                  <a:lnTo>
                    <a:pt x="0" y="42"/>
                  </a:lnTo>
                  <a:lnTo>
                    <a:pt x="0" y="46"/>
                  </a:lnTo>
                  <a:lnTo>
                    <a:pt x="2" y="48"/>
                  </a:lnTo>
                  <a:lnTo>
                    <a:pt x="6" y="50"/>
                  </a:lnTo>
                  <a:lnTo>
                    <a:pt x="10" y="52"/>
                  </a:lnTo>
                  <a:lnTo>
                    <a:pt x="28" y="52"/>
                  </a:lnTo>
                  <a:lnTo>
                    <a:pt x="46" y="52"/>
                  </a:lnTo>
                  <a:lnTo>
                    <a:pt x="58" y="48"/>
                  </a:lnTo>
                  <a:lnTo>
                    <a:pt x="66" y="42"/>
                  </a:lnTo>
                  <a:lnTo>
                    <a:pt x="70" y="36"/>
                  </a:lnTo>
                  <a:lnTo>
                    <a:pt x="70" y="30"/>
                  </a:lnTo>
                  <a:lnTo>
                    <a:pt x="68" y="26"/>
                  </a:lnTo>
                  <a:lnTo>
                    <a:pt x="62" y="22"/>
                  </a:lnTo>
                  <a:lnTo>
                    <a:pt x="50" y="20"/>
                  </a:lnTo>
                  <a:lnTo>
                    <a:pt x="40" y="18"/>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latin typeface="Arial"/>
                <a:cs typeface="+mn-cs"/>
              </a:endParaRPr>
            </a:p>
          </p:txBody>
        </p:sp>
        <p:sp>
          <p:nvSpPr>
            <p:cNvPr id="28" name="Freeform 28"/>
            <p:cNvSpPr>
              <a:spLocks/>
            </p:cNvSpPr>
            <p:nvPr/>
          </p:nvSpPr>
          <p:spPr bwMode="auto">
            <a:xfrm>
              <a:off x="6281738" y="3784600"/>
              <a:ext cx="114300" cy="79375"/>
            </a:xfrm>
            <a:custGeom>
              <a:avLst/>
              <a:gdLst>
                <a:gd name="T0" fmla="*/ 25400 w 72"/>
                <a:gd name="T1" fmla="*/ 0 h 50"/>
                <a:gd name="T2" fmla="*/ 114300 w 72"/>
                <a:gd name="T3" fmla="*/ 0 h 50"/>
                <a:gd name="T4" fmla="*/ 107950 w 72"/>
                <a:gd name="T5" fmla="*/ 15875 h 50"/>
                <a:gd name="T6" fmla="*/ 57150 w 72"/>
                <a:gd name="T7" fmla="*/ 15875 h 50"/>
                <a:gd name="T8" fmla="*/ 53975 w 72"/>
                <a:gd name="T9" fmla="*/ 31750 h 50"/>
                <a:gd name="T10" fmla="*/ 101600 w 72"/>
                <a:gd name="T11" fmla="*/ 31750 h 50"/>
                <a:gd name="T12" fmla="*/ 95250 w 72"/>
                <a:gd name="T13" fmla="*/ 47625 h 50"/>
                <a:gd name="T14" fmla="*/ 47625 w 72"/>
                <a:gd name="T15" fmla="*/ 47625 h 50"/>
                <a:gd name="T16" fmla="*/ 41275 w 72"/>
                <a:gd name="T17" fmla="*/ 63500 h 50"/>
                <a:gd name="T18" fmla="*/ 95250 w 72"/>
                <a:gd name="T19" fmla="*/ 63500 h 50"/>
                <a:gd name="T20" fmla="*/ 88900 w 72"/>
                <a:gd name="T21" fmla="*/ 79375 h 50"/>
                <a:gd name="T22" fmla="*/ 0 w 72"/>
                <a:gd name="T23" fmla="*/ 79375 h 50"/>
                <a:gd name="T24" fmla="*/ 25400 w 72"/>
                <a:gd name="T25" fmla="*/ 0 h 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latin typeface="Arial"/>
                <a:cs typeface="+mn-cs"/>
              </a:endParaRPr>
            </a:p>
          </p:txBody>
        </p:sp>
        <p:sp>
          <p:nvSpPr>
            <p:cNvPr id="29" name="Freeform 29"/>
            <p:cNvSpPr>
              <a:spLocks/>
            </p:cNvSpPr>
            <p:nvPr/>
          </p:nvSpPr>
          <p:spPr bwMode="auto">
            <a:xfrm>
              <a:off x="7015163" y="3403600"/>
              <a:ext cx="473075" cy="460375"/>
            </a:xfrm>
            <a:custGeom>
              <a:avLst/>
              <a:gdLst>
                <a:gd name="T0" fmla="*/ 314325 w 298"/>
                <a:gd name="T1" fmla="*/ 0 h 290"/>
                <a:gd name="T2" fmla="*/ 228600 w 298"/>
                <a:gd name="T3" fmla="*/ 180975 h 290"/>
                <a:gd name="T4" fmla="*/ 231775 w 298"/>
                <a:gd name="T5" fmla="*/ 0 h 290"/>
                <a:gd name="T6" fmla="*/ 73025 w 298"/>
                <a:gd name="T7" fmla="*/ 0 h 290"/>
                <a:gd name="T8" fmla="*/ 104775 w 298"/>
                <a:gd name="T9" fmla="*/ 330200 h 290"/>
                <a:gd name="T10" fmla="*/ 104775 w 298"/>
                <a:gd name="T11" fmla="*/ 330200 h 290"/>
                <a:gd name="T12" fmla="*/ 101600 w 298"/>
                <a:gd name="T13" fmla="*/ 342900 h 290"/>
                <a:gd name="T14" fmla="*/ 95250 w 298"/>
                <a:gd name="T15" fmla="*/ 352425 h 290"/>
                <a:gd name="T16" fmla="*/ 88900 w 298"/>
                <a:gd name="T17" fmla="*/ 358775 h 290"/>
                <a:gd name="T18" fmla="*/ 82550 w 298"/>
                <a:gd name="T19" fmla="*/ 365125 h 290"/>
                <a:gd name="T20" fmla="*/ 82550 w 298"/>
                <a:gd name="T21" fmla="*/ 365125 h 290"/>
                <a:gd name="T22" fmla="*/ 69850 w 298"/>
                <a:gd name="T23" fmla="*/ 368300 h 290"/>
                <a:gd name="T24" fmla="*/ 53975 w 298"/>
                <a:gd name="T25" fmla="*/ 368300 h 290"/>
                <a:gd name="T26" fmla="*/ 28575 w 298"/>
                <a:gd name="T27" fmla="*/ 368300 h 290"/>
                <a:gd name="T28" fmla="*/ 25400 w 298"/>
                <a:gd name="T29" fmla="*/ 368300 h 290"/>
                <a:gd name="T30" fmla="*/ 0 w 298"/>
                <a:gd name="T31" fmla="*/ 460375 h 290"/>
                <a:gd name="T32" fmla="*/ 107950 w 298"/>
                <a:gd name="T33" fmla="*/ 460375 h 290"/>
                <a:gd name="T34" fmla="*/ 107950 w 298"/>
                <a:gd name="T35" fmla="*/ 460375 h 290"/>
                <a:gd name="T36" fmla="*/ 130175 w 298"/>
                <a:gd name="T37" fmla="*/ 457200 h 290"/>
                <a:gd name="T38" fmla="*/ 149225 w 298"/>
                <a:gd name="T39" fmla="*/ 454025 h 290"/>
                <a:gd name="T40" fmla="*/ 168275 w 298"/>
                <a:gd name="T41" fmla="*/ 444500 h 290"/>
                <a:gd name="T42" fmla="*/ 184150 w 298"/>
                <a:gd name="T43" fmla="*/ 434975 h 290"/>
                <a:gd name="T44" fmla="*/ 200025 w 298"/>
                <a:gd name="T45" fmla="*/ 422275 h 290"/>
                <a:gd name="T46" fmla="*/ 215900 w 298"/>
                <a:gd name="T47" fmla="*/ 403225 h 290"/>
                <a:gd name="T48" fmla="*/ 247650 w 298"/>
                <a:gd name="T49" fmla="*/ 358775 h 290"/>
                <a:gd name="T50" fmla="*/ 473075 w 298"/>
                <a:gd name="T51" fmla="*/ 0 h 290"/>
                <a:gd name="T52" fmla="*/ 314325 w 298"/>
                <a:gd name="T53" fmla="*/ 0 h 29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98" h="290">
                  <a:moveTo>
                    <a:pt x="198" y="0"/>
                  </a:moveTo>
                  <a:lnTo>
                    <a:pt x="144" y="114"/>
                  </a:lnTo>
                  <a:lnTo>
                    <a:pt x="146" y="0"/>
                  </a:lnTo>
                  <a:lnTo>
                    <a:pt x="46" y="0"/>
                  </a:lnTo>
                  <a:lnTo>
                    <a:pt x="66" y="208"/>
                  </a:lnTo>
                  <a:lnTo>
                    <a:pt x="64" y="216"/>
                  </a:lnTo>
                  <a:lnTo>
                    <a:pt x="60" y="222"/>
                  </a:lnTo>
                  <a:lnTo>
                    <a:pt x="56" y="226"/>
                  </a:lnTo>
                  <a:lnTo>
                    <a:pt x="52" y="230"/>
                  </a:lnTo>
                  <a:lnTo>
                    <a:pt x="44" y="232"/>
                  </a:lnTo>
                  <a:lnTo>
                    <a:pt x="34" y="232"/>
                  </a:lnTo>
                  <a:lnTo>
                    <a:pt x="18" y="232"/>
                  </a:lnTo>
                  <a:lnTo>
                    <a:pt x="16" y="232"/>
                  </a:lnTo>
                  <a:lnTo>
                    <a:pt x="0"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latin typeface="Arial"/>
                <a:cs typeface="+mn-cs"/>
              </a:endParaRPr>
            </a:p>
          </p:txBody>
        </p:sp>
        <p:sp>
          <p:nvSpPr>
            <p:cNvPr id="30" name="Freeform 30"/>
            <p:cNvSpPr>
              <a:spLocks/>
            </p:cNvSpPr>
            <p:nvPr/>
          </p:nvSpPr>
          <p:spPr bwMode="auto">
            <a:xfrm>
              <a:off x="6811963" y="3781425"/>
              <a:ext cx="120650" cy="85725"/>
            </a:xfrm>
            <a:custGeom>
              <a:avLst/>
              <a:gdLst>
                <a:gd name="T0" fmla="*/ 53975 w 76"/>
                <a:gd name="T1" fmla="*/ 28575 h 54"/>
                <a:gd name="T2" fmla="*/ 53975 w 76"/>
                <a:gd name="T3" fmla="*/ 22225 h 54"/>
                <a:gd name="T4" fmla="*/ 69850 w 76"/>
                <a:gd name="T5" fmla="*/ 15875 h 54"/>
                <a:gd name="T6" fmla="*/ 79375 w 76"/>
                <a:gd name="T7" fmla="*/ 15875 h 54"/>
                <a:gd name="T8" fmla="*/ 82550 w 76"/>
                <a:gd name="T9" fmla="*/ 19050 h 54"/>
                <a:gd name="T10" fmla="*/ 85725 w 76"/>
                <a:gd name="T11" fmla="*/ 25400 h 54"/>
                <a:gd name="T12" fmla="*/ 120650 w 76"/>
                <a:gd name="T13" fmla="*/ 25400 h 54"/>
                <a:gd name="T14" fmla="*/ 114300 w 76"/>
                <a:gd name="T15" fmla="*/ 9525 h 54"/>
                <a:gd name="T16" fmla="*/ 76200 w 76"/>
                <a:gd name="T17" fmla="*/ 0 h 54"/>
                <a:gd name="T18" fmla="*/ 50800 w 76"/>
                <a:gd name="T19" fmla="*/ 3175 h 54"/>
                <a:gd name="T20" fmla="*/ 19050 w 76"/>
                <a:gd name="T21" fmla="*/ 15875 h 54"/>
                <a:gd name="T22" fmla="*/ 12700 w 76"/>
                <a:gd name="T23" fmla="*/ 28575 h 54"/>
                <a:gd name="T24" fmla="*/ 15875 w 76"/>
                <a:gd name="T25" fmla="*/ 41275 h 54"/>
                <a:gd name="T26" fmla="*/ 28575 w 76"/>
                <a:gd name="T27" fmla="*/ 47625 h 54"/>
                <a:gd name="T28" fmla="*/ 63500 w 76"/>
                <a:gd name="T29" fmla="*/ 57150 h 54"/>
                <a:gd name="T30" fmla="*/ 73025 w 76"/>
                <a:gd name="T31" fmla="*/ 60325 h 54"/>
                <a:gd name="T32" fmla="*/ 73025 w 76"/>
                <a:gd name="T33" fmla="*/ 63500 h 54"/>
                <a:gd name="T34" fmla="*/ 63500 w 76"/>
                <a:gd name="T35" fmla="*/ 69850 h 54"/>
                <a:gd name="T36" fmla="*/ 53975 w 76"/>
                <a:gd name="T37" fmla="*/ 73025 h 54"/>
                <a:gd name="T38" fmla="*/ 38100 w 76"/>
                <a:gd name="T39" fmla="*/ 69850 h 54"/>
                <a:gd name="T40" fmla="*/ 38100 w 76"/>
                <a:gd name="T41" fmla="*/ 63500 h 54"/>
                <a:gd name="T42" fmla="*/ 3175 w 76"/>
                <a:gd name="T43" fmla="*/ 60325 h 54"/>
                <a:gd name="T44" fmla="*/ 0 w 76"/>
                <a:gd name="T45" fmla="*/ 69850 h 54"/>
                <a:gd name="T46" fmla="*/ 6350 w 76"/>
                <a:gd name="T47" fmla="*/ 79375 h 54"/>
                <a:gd name="T48" fmla="*/ 19050 w 76"/>
                <a:gd name="T49" fmla="*/ 85725 h 54"/>
                <a:gd name="T50" fmla="*/ 47625 w 76"/>
                <a:gd name="T51" fmla="*/ 85725 h 54"/>
                <a:gd name="T52" fmla="*/ 95250 w 76"/>
                <a:gd name="T53" fmla="*/ 79375 h 54"/>
                <a:gd name="T54" fmla="*/ 114300 w 76"/>
                <a:gd name="T55" fmla="*/ 60325 h 54"/>
                <a:gd name="T56" fmla="*/ 114300 w 76"/>
                <a:gd name="T57" fmla="*/ 50800 h 54"/>
                <a:gd name="T58" fmla="*/ 111125 w 76"/>
                <a:gd name="T59" fmla="*/ 44450 h 54"/>
                <a:gd name="T60" fmla="*/ 82550 w 76"/>
                <a:gd name="T61" fmla="*/ 34925 h 54"/>
                <a:gd name="T62" fmla="*/ 53975 w 76"/>
                <a:gd name="T63" fmla="*/ 28575 h 5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76" h="54">
                  <a:moveTo>
                    <a:pt x="34" y="18"/>
                  </a:moveTo>
                  <a:lnTo>
                    <a:pt x="34" y="18"/>
                  </a:lnTo>
                  <a:lnTo>
                    <a:pt x="34" y="14"/>
                  </a:lnTo>
                  <a:lnTo>
                    <a:pt x="38" y="12"/>
                  </a:lnTo>
                  <a:lnTo>
                    <a:pt x="44" y="10"/>
                  </a:lnTo>
                  <a:lnTo>
                    <a:pt x="50" y="10"/>
                  </a:lnTo>
                  <a:lnTo>
                    <a:pt x="52" y="12"/>
                  </a:lnTo>
                  <a:lnTo>
                    <a:pt x="54" y="14"/>
                  </a:lnTo>
                  <a:lnTo>
                    <a:pt x="54" y="16"/>
                  </a:lnTo>
                  <a:lnTo>
                    <a:pt x="76" y="16"/>
                  </a:lnTo>
                  <a:lnTo>
                    <a:pt x="76" y="10"/>
                  </a:lnTo>
                  <a:lnTo>
                    <a:pt x="72" y="6"/>
                  </a:lnTo>
                  <a:lnTo>
                    <a:pt x="64" y="2"/>
                  </a:lnTo>
                  <a:lnTo>
                    <a:pt x="48" y="0"/>
                  </a:lnTo>
                  <a:lnTo>
                    <a:pt x="32" y="2"/>
                  </a:lnTo>
                  <a:lnTo>
                    <a:pt x="20" y="4"/>
                  </a:lnTo>
                  <a:lnTo>
                    <a:pt x="12" y="10"/>
                  </a:lnTo>
                  <a:lnTo>
                    <a:pt x="8" y="18"/>
                  </a:lnTo>
                  <a:lnTo>
                    <a:pt x="8" y="22"/>
                  </a:lnTo>
                  <a:lnTo>
                    <a:pt x="10" y="26"/>
                  </a:lnTo>
                  <a:lnTo>
                    <a:pt x="18" y="30"/>
                  </a:lnTo>
                  <a:lnTo>
                    <a:pt x="28" y="32"/>
                  </a:lnTo>
                  <a:lnTo>
                    <a:pt x="40" y="36"/>
                  </a:lnTo>
                  <a:lnTo>
                    <a:pt x="46" y="38"/>
                  </a:lnTo>
                  <a:lnTo>
                    <a:pt x="46" y="40"/>
                  </a:lnTo>
                  <a:lnTo>
                    <a:pt x="44" y="42"/>
                  </a:lnTo>
                  <a:lnTo>
                    <a:pt x="40" y="44"/>
                  </a:lnTo>
                  <a:lnTo>
                    <a:pt x="34" y="46"/>
                  </a:lnTo>
                  <a:lnTo>
                    <a:pt x="28" y="44"/>
                  </a:lnTo>
                  <a:lnTo>
                    <a:pt x="24" y="44"/>
                  </a:lnTo>
                  <a:lnTo>
                    <a:pt x="24" y="40"/>
                  </a:lnTo>
                  <a:lnTo>
                    <a:pt x="24" y="38"/>
                  </a:lnTo>
                  <a:lnTo>
                    <a:pt x="2" y="38"/>
                  </a:lnTo>
                  <a:lnTo>
                    <a:pt x="0" y="44"/>
                  </a:lnTo>
                  <a:lnTo>
                    <a:pt x="2" y="48"/>
                  </a:lnTo>
                  <a:lnTo>
                    <a:pt x="4" y="50"/>
                  </a:lnTo>
                  <a:lnTo>
                    <a:pt x="6" y="52"/>
                  </a:lnTo>
                  <a:lnTo>
                    <a:pt x="12" y="54"/>
                  </a:lnTo>
                  <a:lnTo>
                    <a:pt x="30" y="54"/>
                  </a:lnTo>
                  <a:lnTo>
                    <a:pt x="48" y="54"/>
                  </a:lnTo>
                  <a:lnTo>
                    <a:pt x="60" y="50"/>
                  </a:lnTo>
                  <a:lnTo>
                    <a:pt x="68" y="44"/>
                  </a:lnTo>
                  <a:lnTo>
                    <a:pt x="72" y="38"/>
                  </a:lnTo>
                  <a:lnTo>
                    <a:pt x="72" y="32"/>
                  </a:lnTo>
                  <a:lnTo>
                    <a:pt x="70" y="28"/>
                  </a:lnTo>
                  <a:lnTo>
                    <a:pt x="62" y="24"/>
                  </a:lnTo>
                  <a:lnTo>
                    <a:pt x="52" y="22"/>
                  </a:lnTo>
                  <a:lnTo>
                    <a:pt x="40" y="20"/>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latin typeface="Arial"/>
                <a:cs typeface="+mn-cs"/>
              </a:endParaRPr>
            </a:p>
          </p:txBody>
        </p:sp>
      </p:grpSp>
      <p:sp>
        <p:nvSpPr>
          <p:cNvPr id="2" name="Title 1"/>
          <p:cNvSpPr>
            <a:spLocks noGrp="1"/>
          </p:cNvSpPr>
          <p:nvPr>
            <p:ph type="title"/>
          </p:nvPr>
        </p:nvSpPr>
        <p:spPr>
          <a:xfrm>
            <a:off x="317116" y="228600"/>
            <a:ext cx="8188710" cy="838200"/>
          </a:xfrm>
        </p:spPr>
        <p:txBody>
          <a:bodyPr/>
          <a:lstStyle/>
          <a:p>
            <a:r>
              <a:rPr lang="en-US" dirty="0"/>
              <a:t>Click to edit Master title style</a:t>
            </a:r>
          </a:p>
        </p:txBody>
      </p:sp>
      <p:sp>
        <p:nvSpPr>
          <p:cNvPr id="7" name="Content Placeholder 2"/>
          <p:cNvSpPr>
            <a:spLocks noGrp="1"/>
          </p:cNvSpPr>
          <p:nvPr>
            <p:ph idx="13"/>
          </p:nvPr>
        </p:nvSpPr>
        <p:spPr>
          <a:xfrm>
            <a:off x="317116" y="1339850"/>
            <a:ext cx="8188710" cy="4878388"/>
          </a:xfrm>
        </p:spPr>
        <p:txBody>
          <a:bodyPr/>
          <a:lstStyle>
            <a:lvl1pPr marL="0" indent="0" algn="l" rtl="0" fontAlgn="base">
              <a:spcBef>
                <a:spcPts val="480"/>
              </a:spcBef>
              <a:spcAft>
                <a:spcPct val="0"/>
              </a:spcAft>
              <a:buSzPct val="40000"/>
              <a:defRPr lang="en-US" sz="1600" b="1" dirty="0" smtClean="0">
                <a:solidFill>
                  <a:schemeClr val="accent3"/>
                </a:solidFill>
                <a:latin typeface="+mn-lt"/>
                <a:ea typeface="+mn-ea"/>
                <a:cs typeface="+mn-cs"/>
              </a:defRPr>
            </a:lvl1pPr>
            <a:lvl2pPr>
              <a:spcBef>
                <a:spcPts val="1999"/>
              </a:spcBef>
              <a:defRPr lang="en-US" dirty="0" smtClean="0">
                <a:solidFill>
                  <a:schemeClr val="tx1"/>
                </a:solidFill>
                <a:latin typeface="+mn-lt"/>
              </a:defRPr>
            </a:lvl2pPr>
            <a:lvl3pPr>
              <a:defRPr lang="en-US" sz="1600" dirty="0" smtClean="0">
                <a:solidFill>
                  <a:schemeClr val="accent1"/>
                </a:solidFill>
                <a:latin typeface="+mn-lt"/>
              </a:defRPr>
            </a:lvl3pPr>
            <a:lvl4pPr>
              <a:buClr>
                <a:schemeClr val="bg2"/>
              </a:buClr>
              <a:buSzPct val="80000"/>
              <a:buFont typeface="Arial" pitchFamily="34" charset="0"/>
              <a:buChar char="•"/>
              <a:defRPr sz="1400">
                <a:solidFill>
                  <a:schemeClr val="accent1"/>
                </a:solidFill>
              </a:defRPr>
            </a:lvl4pPr>
          </a:lstStyle>
          <a:p>
            <a:pPr lvl="0"/>
            <a:r>
              <a:rPr lang="en-US" dirty="0"/>
              <a:t>Click to edit Master text styles</a:t>
            </a:r>
          </a:p>
        </p:txBody>
      </p:sp>
      <p:sp>
        <p:nvSpPr>
          <p:cNvPr id="31" name="Slide Number Placeholder 3"/>
          <p:cNvSpPr>
            <a:spLocks noGrp="1"/>
          </p:cNvSpPr>
          <p:nvPr>
            <p:ph type="sldNum" sz="quarter" idx="14"/>
          </p:nvPr>
        </p:nvSpPr>
        <p:spPr>
          <a:xfrm>
            <a:off x="1" y="6384925"/>
            <a:ext cx="328613" cy="268288"/>
          </a:xfrm>
        </p:spPr>
        <p:txBody>
          <a:bodyPr/>
          <a:lstStyle>
            <a:lvl1pPr>
              <a:defRPr smtClean="0">
                <a:solidFill>
                  <a:srgbClr val="000000"/>
                </a:solidFill>
              </a:defRPr>
            </a:lvl1pPr>
          </a:lstStyle>
          <a:p>
            <a:pPr>
              <a:defRPr/>
            </a:pPr>
            <a:fld id="{D61BB4A6-003F-49C2-BE48-E7D8BCBF86DF}" type="slidenum">
              <a:rPr lang="en-US"/>
              <a:pPr>
                <a:defRPr/>
              </a:pPr>
              <a:t>‹#›</a:t>
            </a:fld>
            <a:endParaRPr lang="en-US" dirty="0"/>
          </a:p>
        </p:txBody>
      </p:sp>
      <p:sp>
        <p:nvSpPr>
          <p:cNvPr id="32" name="Footer Placeholder 4"/>
          <p:cNvSpPr>
            <a:spLocks noGrp="1"/>
          </p:cNvSpPr>
          <p:nvPr>
            <p:ph type="ftr" sz="quarter" idx="15"/>
          </p:nvPr>
        </p:nvSpPr>
        <p:spPr>
          <a:xfrm>
            <a:off x="320676" y="6483350"/>
            <a:ext cx="3933825" cy="173038"/>
          </a:xfrm>
        </p:spPr>
        <p:txBody>
          <a:bodyPr/>
          <a:lstStyle>
            <a:lvl1pPr algn="l">
              <a:defRPr smtClean="0">
                <a:solidFill>
                  <a:srgbClr val="000000"/>
                </a:solidFill>
              </a:defRPr>
            </a:lvl1pPr>
          </a:lstStyle>
          <a:p>
            <a:pPr>
              <a:defRPr/>
            </a:pPr>
            <a:r>
              <a:rPr lang="en-US" dirty="0"/>
              <a:t>For institutional use only.</a:t>
            </a:r>
          </a:p>
        </p:txBody>
      </p:sp>
      <p:sp>
        <p:nvSpPr>
          <p:cNvPr id="33" name="Rectangle 155"/>
          <p:cNvSpPr>
            <a:spLocks noGrp="1" noChangeArrowheads="1"/>
          </p:cNvSpPr>
          <p:nvPr>
            <p:ph type="dt" sz="half" idx="16"/>
          </p:nvPr>
        </p:nvSpPr>
        <p:spPr>
          <a:xfrm>
            <a:off x="320675" y="6656388"/>
            <a:ext cx="1982788" cy="120650"/>
          </a:xfrm>
        </p:spPr>
        <p:txBody>
          <a:bodyPr/>
          <a:lstStyle>
            <a:lvl1pPr algn="l">
              <a:defRPr sz="700" smtClean="0">
                <a:solidFill>
                  <a:srgbClr val="000000"/>
                </a:solidFill>
              </a:defRPr>
            </a:lvl1pPr>
          </a:lstStyle>
          <a:p>
            <a:pPr>
              <a:defRPr/>
            </a:pPr>
            <a:endParaRPr lang="en-US" dirty="0"/>
          </a:p>
        </p:txBody>
      </p:sp>
    </p:spTree>
    <p:extLst>
      <p:ext uri="{BB962C8B-B14F-4D97-AF65-F5344CB8AC3E}">
        <p14:creationId xmlns:p14="http://schemas.microsoft.com/office/powerpoint/2010/main" val="121395569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6363" y="470647"/>
            <a:ext cx="5957455" cy="470647"/>
          </a:xfrm>
        </p:spPr>
        <p:txBody>
          <a:bodyPr>
            <a:normAutofit/>
          </a:bodyPr>
          <a:lstStyle>
            <a:lvl1pPr algn="l">
              <a:defRPr sz="1600">
                <a:solidFill>
                  <a:schemeClr val="tx2"/>
                </a:solidFill>
                <a:latin typeface="PT Serif Caption" pitchFamily="18" charset="0"/>
              </a:defRPr>
            </a:lvl1pPr>
          </a:lstStyle>
          <a:p>
            <a:r>
              <a:rPr lang="en-US" dirty="0"/>
              <a:t>Click to edit Master Title Style</a:t>
            </a:r>
          </a:p>
        </p:txBody>
      </p:sp>
      <p:sp>
        <p:nvSpPr>
          <p:cNvPr id="3" name="Content Placeholder 2"/>
          <p:cNvSpPr>
            <a:spLocks noGrp="1"/>
          </p:cNvSpPr>
          <p:nvPr>
            <p:ph idx="1"/>
          </p:nvPr>
        </p:nvSpPr>
        <p:spPr>
          <a:xfrm>
            <a:off x="554182" y="2420471"/>
            <a:ext cx="8132618" cy="3638457"/>
          </a:xfrm>
        </p:spPr>
        <p:txBody>
          <a:bodyPr/>
          <a:lstStyle>
            <a:lvl1pPr marL="152435" indent="-152435">
              <a:lnSpc>
                <a:spcPts val="1077"/>
              </a:lnSpc>
              <a:spcBef>
                <a:spcPts val="1615"/>
              </a:spcBef>
              <a:spcAft>
                <a:spcPts val="538"/>
              </a:spcAft>
              <a:buClr>
                <a:schemeClr val="accent3"/>
              </a:buClr>
              <a:buSzPct val="111000"/>
              <a:buFont typeface="Arial" pitchFamily="34" charset="0"/>
              <a:buChar char="•"/>
              <a:defRPr sz="1300">
                <a:solidFill>
                  <a:schemeClr val="tx2"/>
                </a:solidFill>
                <a:latin typeface="PT Serif" pitchFamily="18" charset="0"/>
              </a:defRPr>
            </a:lvl1pPr>
            <a:lvl2pPr marL="354731" indent="-146737">
              <a:buClr>
                <a:schemeClr val="accent3"/>
              </a:buClr>
              <a:buSzPct val="111000"/>
              <a:buFont typeface="Arial" pitchFamily="34" charset="0"/>
              <a:buChar char="•"/>
              <a:defRPr sz="1100">
                <a:solidFill>
                  <a:schemeClr val="tx1"/>
                </a:solidFill>
                <a:latin typeface="PT Serif" pitchFamily="18" charset="0"/>
              </a:defRPr>
            </a:lvl2pPr>
            <a:lvl3pPr marL="514289" indent="-159558">
              <a:buClr>
                <a:schemeClr val="accent5"/>
              </a:buClr>
              <a:buFont typeface="Franklin Gothic Book" pitchFamily="34" charset="0"/>
              <a:buChar char="―"/>
              <a:defRPr sz="1100">
                <a:solidFill>
                  <a:schemeClr val="tx1"/>
                </a:solidFill>
                <a:latin typeface="PT Serif" pitchFamily="18" charset="0"/>
              </a:defRPr>
            </a:lvl3pPr>
          </a:lstStyle>
          <a:p>
            <a:pPr lvl="0"/>
            <a:r>
              <a:rPr lang="en-US" dirty="0"/>
              <a:t>Click to edit Master text styles</a:t>
            </a:r>
          </a:p>
          <a:p>
            <a:pPr lvl="1"/>
            <a:r>
              <a:rPr lang="en-US" dirty="0"/>
              <a:t>Second level</a:t>
            </a:r>
          </a:p>
          <a:p>
            <a:pPr lvl="2"/>
            <a:r>
              <a:rPr lang="en-US" dirty="0"/>
              <a:t>Third level</a:t>
            </a:r>
          </a:p>
        </p:txBody>
      </p:sp>
      <p:cxnSp>
        <p:nvCxnSpPr>
          <p:cNvPr id="8" name="Straight Connector 7"/>
          <p:cNvCxnSpPr/>
          <p:nvPr userDrawn="1"/>
        </p:nvCxnSpPr>
        <p:spPr>
          <a:xfrm>
            <a:off x="415636" y="941294"/>
            <a:ext cx="6442364"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277091" y="6454588"/>
            <a:ext cx="8589818" cy="2017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rtlCol="0" anchor="ctr"/>
          <a:lstStyle/>
          <a:p>
            <a:pPr algn="ctr"/>
            <a:endParaRPr lang="en-US" dirty="0">
              <a:solidFill>
                <a:srgbClr val="FFFFFF"/>
              </a:solidFill>
            </a:endParaRPr>
          </a:p>
        </p:txBody>
      </p:sp>
      <p:sp>
        <p:nvSpPr>
          <p:cNvPr id="9" name="TextBox 8"/>
          <p:cNvSpPr txBox="1"/>
          <p:nvPr userDrawn="1"/>
        </p:nvSpPr>
        <p:spPr>
          <a:xfrm>
            <a:off x="277091" y="6454589"/>
            <a:ext cx="1941601" cy="241465"/>
          </a:xfrm>
          <a:prstGeom prst="rect">
            <a:avLst/>
          </a:prstGeom>
          <a:noFill/>
        </p:spPr>
        <p:txBody>
          <a:bodyPr wrap="square" lIns="86730" tIns="43365" rIns="86730" bIns="43365" rtlCol="0">
            <a:spAutoFit/>
          </a:bodyPr>
          <a:lstStyle/>
          <a:p>
            <a:r>
              <a:rPr lang="en-US" sz="1000" b="1" dirty="0">
                <a:solidFill>
                  <a:srgbClr val="FFFFFF"/>
                </a:solidFill>
                <a:latin typeface="Calibri"/>
                <a:cs typeface="+mn-cs"/>
              </a:rPr>
              <a:t>FOR INSTITUTIONAL USE ONLY</a:t>
            </a:r>
          </a:p>
        </p:txBody>
      </p:sp>
      <p:pic>
        <p:nvPicPr>
          <p:cNvPr id="13" name="Picture 12" descr="Logo - new colors goldies.jpg"/>
          <p:cNvPicPr>
            <a:picLocks noChangeAspect="1"/>
          </p:cNvPicPr>
          <p:nvPr userDrawn="1"/>
        </p:nvPicPr>
        <p:blipFill>
          <a:blip r:embed="rId2" cstate="print"/>
          <a:stretch>
            <a:fillRect/>
          </a:stretch>
        </p:blipFill>
        <p:spPr>
          <a:xfrm>
            <a:off x="6957687" y="662636"/>
            <a:ext cx="1978495" cy="547599"/>
          </a:xfrm>
          <a:prstGeom prst="rect">
            <a:avLst/>
          </a:prstGeom>
        </p:spPr>
      </p:pic>
      <p:sp>
        <p:nvSpPr>
          <p:cNvPr id="12" name="Slide Number Placeholder 5"/>
          <p:cNvSpPr>
            <a:spLocks noGrp="1"/>
          </p:cNvSpPr>
          <p:nvPr>
            <p:ph type="sldNum" sz="quarter" idx="4"/>
          </p:nvPr>
        </p:nvSpPr>
        <p:spPr>
          <a:xfrm>
            <a:off x="6650182" y="6089463"/>
            <a:ext cx="2133600" cy="365125"/>
          </a:xfrm>
          <a:prstGeom prst="rect">
            <a:avLst/>
          </a:prstGeom>
        </p:spPr>
        <p:txBody>
          <a:bodyPr vert="horz" lIns="91429" tIns="45714" rIns="91429" bIns="45714" rtlCol="0" anchor="ctr"/>
          <a:lstStyle>
            <a:lvl1pPr algn="r">
              <a:defRPr sz="1000" i="1">
                <a:solidFill>
                  <a:schemeClr val="tx2"/>
                </a:solidFill>
                <a:latin typeface="PT Serif" pitchFamily="18" charset="0"/>
              </a:defRPr>
            </a:lvl1pPr>
          </a:lstStyle>
          <a:p>
            <a:fld id="{08D9734A-995F-4986-BDFF-65B05E3CF6BB}" type="slidenum">
              <a:rPr lang="en-US" smtClean="0">
                <a:solidFill>
                  <a:srgbClr val="212425"/>
                </a:solidFill>
              </a:rPr>
              <a:pPr/>
              <a:t>‹#›</a:t>
            </a:fld>
            <a:endParaRPr lang="en-US" dirty="0">
              <a:solidFill>
                <a:srgbClr val="212425"/>
              </a:solidFill>
            </a:endParaRPr>
          </a:p>
        </p:txBody>
      </p:sp>
      <p:sp>
        <p:nvSpPr>
          <p:cNvPr id="27" name="Text Placeholder 26"/>
          <p:cNvSpPr>
            <a:spLocks noGrp="1"/>
          </p:cNvSpPr>
          <p:nvPr>
            <p:ph type="body" sz="quarter" idx="10" hasCustomPrompt="1"/>
          </p:nvPr>
        </p:nvSpPr>
        <p:spPr>
          <a:xfrm>
            <a:off x="346363" y="1075765"/>
            <a:ext cx="6442364" cy="605118"/>
          </a:xfrm>
        </p:spPr>
        <p:txBody>
          <a:bodyPr/>
          <a:lstStyle>
            <a:lvl1pPr>
              <a:buFontTx/>
              <a:buNone/>
              <a:defRPr sz="1400">
                <a:solidFill>
                  <a:schemeClr val="tx2"/>
                </a:solidFill>
                <a:latin typeface="Open Sans Condensed Light" pitchFamily="34" charset="0"/>
                <a:ea typeface="Open Sans Condensed Light" pitchFamily="34" charset="0"/>
                <a:cs typeface="Open Sans Condensed Light" pitchFamily="34" charset="0"/>
              </a:defRPr>
            </a:lvl1pPr>
            <a:lvl2pPr>
              <a:buFontTx/>
              <a:buNone/>
              <a:defRPr/>
            </a:lvl2pPr>
            <a:lvl3pPr>
              <a:buFontTx/>
              <a:buNone/>
              <a:defRPr/>
            </a:lvl3pPr>
            <a:lvl4pPr>
              <a:buFontTx/>
              <a:buNone/>
              <a:defRPr/>
            </a:lvl4pPr>
            <a:lvl5pPr>
              <a:buFontTx/>
              <a:buNone/>
              <a:defRPr/>
            </a:lvl5pPr>
          </a:lstStyle>
          <a:p>
            <a:pPr lvl="0"/>
            <a:r>
              <a:rPr lang="en-US" dirty="0"/>
              <a:t>Click to add Master Sub Title</a:t>
            </a:r>
          </a:p>
          <a:p>
            <a:pPr lvl="0"/>
            <a:endParaRPr lang="en-US" dirty="0"/>
          </a:p>
        </p:txBody>
      </p:sp>
      <p:sp>
        <p:nvSpPr>
          <p:cNvPr id="4" name="TextBox 3"/>
          <p:cNvSpPr txBox="1"/>
          <p:nvPr userDrawn="1"/>
        </p:nvSpPr>
        <p:spPr>
          <a:xfrm>
            <a:off x="7946934" y="6493353"/>
            <a:ext cx="919975" cy="162941"/>
          </a:xfrm>
          <a:prstGeom prst="rect">
            <a:avLst/>
          </a:prstGeom>
          <a:noFill/>
        </p:spPr>
        <p:txBody>
          <a:bodyPr wrap="square" lIns="82058" tIns="41029" rIns="82058" bIns="41029" rtlCol="0">
            <a:spAutoFit/>
          </a:bodyPr>
          <a:lstStyle/>
          <a:p>
            <a:pPr algn="r"/>
            <a:r>
              <a:rPr lang="en-US" sz="500" dirty="0">
                <a:solidFill>
                  <a:srgbClr val="FFFFFF"/>
                </a:solidFill>
                <a:latin typeface="Open Sans" panose="020B0606030504020204" pitchFamily="34" charset="0"/>
                <a:ea typeface="Open Sans" panose="020B0606030504020204" pitchFamily="34" charset="0"/>
                <a:cs typeface="Open Sans" panose="020B0606030504020204" pitchFamily="34" charset="0"/>
              </a:rPr>
              <a:t>GCM Exp. 06.30.15</a:t>
            </a:r>
          </a:p>
        </p:txBody>
      </p:sp>
    </p:spTree>
    <p:extLst>
      <p:ext uri="{BB962C8B-B14F-4D97-AF65-F5344CB8AC3E}">
        <p14:creationId xmlns:p14="http://schemas.microsoft.com/office/powerpoint/2010/main" val="48849386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lvl1pPr>
              <a:defRPr>
                <a:solidFill>
                  <a:srgbClr val="333F48"/>
                </a:solidFill>
              </a:defRPr>
            </a:lvl1pPr>
          </a:lstStyle>
          <a:p>
            <a:r>
              <a:rPr lang="en-US"/>
              <a:t>Click to edit Master title style</a:t>
            </a:r>
            <a:endParaRPr lang="en-US" dirty="0"/>
          </a:p>
        </p:txBody>
      </p:sp>
      <p:sp>
        <p:nvSpPr>
          <p:cNvPr id="8"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9"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a:t>201803-23594</a:t>
            </a:r>
            <a:endParaRPr lang="en-US" dirty="0"/>
          </a:p>
        </p:txBody>
      </p:sp>
      <p:grpSp>
        <p:nvGrpSpPr>
          <p:cNvPr id="10" name="Group 9"/>
          <p:cNvGrpSpPr/>
          <p:nvPr userDrawn="1"/>
        </p:nvGrpSpPr>
        <p:grpSpPr>
          <a:xfrm>
            <a:off x="7364320" y="6412511"/>
            <a:ext cx="1371600" cy="283464"/>
            <a:chOff x="4291013" y="3178175"/>
            <a:chExt cx="3197225" cy="688975"/>
          </a:xfrm>
        </p:grpSpPr>
        <p:sp>
          <p:nvSpPr>
            <p:cNvPr id="11"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a:solidFill>
                  <a:srgbClr val="000000"/>
                </a:solidFill>
                <a:latin typeface="Arial"/>
                <a:cs typeface="+mn-cs"/>
              </a:endParaRPr>
            </a:p>
          </p:txBody>
        </p:sp>
        <p:sp>
          <p:nvSpPr>
            <p:cNvPr id="12"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a:solidFill>
                  <a:srgbClr val="000000"/>
                </a:solidFill>
                <a:latin typeface="Arial"/>
                <a:cs typeface="+mn-cs"/>
              </a:endParaRPr>
            </a:p>
          </p:txBody>
        </p:sp>
        <p:sp>
          <p:nvSpPr>
            <p:cNvPr id="13"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a:solidFill>
                  <a:srgbClr val="000000"/>
                </a:solidFill>
                <a:latin typeface="Arial"/>
                <a:cs typeface="+mn-cs"/>
              </a:endParaRPr>
            </a:p>
          </p:txBody>
        </p:sp>
        <p:sp>
          <p:nvSpPr>
            <p:cNvPr id="14"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a:solidFill>
                  <a:srgbClr val="000000"/>
                </a:solidFill>
                <a:latin typeface="Arial"/>
                <a:cs typeface="+mn-cs"/>
              </a:endParaRPr>
            </a:p>
          </p:txBody>
        </p:sp>
        <p:sp>
          <p:nvSpPr>
            <p:cNvPr id="15"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a:solidFill>
                  <a:srgbClr val="000000"/>
                </a:solidFill>
                <a:latin typeface="Arial"/>
                <a:cs typeface="+mn-cs"/>
              </a:endParaRPr>
            </a:p>
          </p:txBody>
        </p:sp>
        <p:sp>
          <p:nvSpPr>
            <p:cNvPr id="16"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a:solidFill>
                  <a:srgbClr val="000000"/>
                </a:solidFill>
                <a:latin typeface="Arial"/>
                <a:cs typeface="+mn-cs"/>
              </a:endParaRPr>
            </a:p>
          </p:txBody>
        </p:sp>
        <p:sp>
          <p:nvSpPr>
            <p:cNvPr id="17"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a:solidFill>
                  <a:srgbClr val="000000"/>
                </a:solidFill>
                <a:latin typeface="Arial"/>
                <a:cs typeface="+mn-cs"/>
              </a:endParaRPr>
            </a:p>
          </p:txBody>
        </p:sp>
        <p:sp>
          <p:nvSpPr>
            <p:cNvPr id="18"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a:solidFill>
                  <a:srgbClr val="000000"/>
                </a:solidFill>
                <a:latin typeface="Arial"/>
                <a:cs typeface="+mn-cs"/>
              </a:endParaRPr>
            </a:p>
          </p:txBody>
        </p:sp>
        <p:sp>
          <p:nvSpPr>
            <p:cNvPr id="19"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a:solidFill>
                  <a:srgbClr val="000000"/>
                </a:solidFill>
                <a:latin typeface="Arial"/>
                <a:cs typeface="+mn-cs"/>
              </a:endParaRPr>
            </a:p>
          </p:txBody>
        </p:sp>
        <p:sp>
          <p:nvSpPr>
            <p:cNvPr id="20"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a:solidFill>
                  <a:srgbClr val="000000"/>
                </a:solidFill>
                <a:latin typeface="Arial"/>
                <a:cs typeface="+mn-cs"/>
              </a:endParaRPr>
            </a:p>
          </p:txBody>
        </p:sp>
        <p:sp>
          <p:nvSpPr>
            <p:cNvPr id="21"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a:solidFill>
                  <a:srgbClr val="000000"/>
                </a:solidFill>
                <a:latin typeface="Arial"/>
                <a:cs typeface="+mn-cs"/>
              </a:endParaRPr>
            </a:p>
          </p:txBody>
        </p:sp>
        <p:sp>
          <p:nvSpPr>
            <p:cNvPr id="22"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a:solidFill>
                  <a:srgbClr val="000000"/>
                </a:solidFill>
                <a:latin typeface="Arial"/>
                <a:cs typeface="+mn-cs"/>
              </a:endParaRPr>
            </a:p>
          </p:txBody>
        </p:sp>
        <p:sp>
          <p:nvSpPr>
            <p:cNvPr id="23"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a:solidFill>
                  <a:srgbClr val="000000"/>
                </a:solidFill>
                <a:latin typeface="Arial"/>
                <a:cs typeface="+mn-cs"/>
              </a:endParaRPr>
            </a:p>
          </p:txBody>
        </p:sp>
        <p:sp>
          <p:nvSpPr>
            <p:cNvPr id="24"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a:solidFill>
                  <a:srgbClr val="000000"/>
                </a:solidFill>
                <a:latin typeface="Arial"/>
                <a:cs typeface="+mn-cs"/>
              </a:endParaRPr>
            </a:p>
          </p:txBody>
        </p:sp>
        <p:sp>
          <p:nvSpPr>
            <p:cNvPr id="25"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a:solidFill>
                  <a:srgbClr val="000000"/>
                </a:solidFill>
                <a:latin typeface="Arial"/>
                <a:cs typeface="+mn-cs"/>
              </a:endParaRPr>
            </a:p>
          </p:txBody>
        </p:sp>
        <p:sp>
          <p:nvSpPr>
            <p:cNvPr id="26"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a:solidFill>
                  <a:srgbClr val="000000"/>
                </a:solidFill>
                <a:latin typeface="Arial"/>
                <a:cs typeface="+mn-cs"/>
              </a:endParaRPr>
            </a:p>
          </p:txBody>
        </p:sp>
        <p:sp>
          <p:nvSpPr>
            <p:cNvPr id="27"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a:solidFill>
                  <a:srgbClr val="000000"/>
                </a:solidFill>
                <a:latin typeface="Arial"/>
                <a:cs typeface="+mn-cs"/>
              </a:endParaRPr>
            </a:p>
          </p:txBody>
        </p:sp>
        <p:sp>
          <p:nvSpPr>
            <p:cNvPr id="28"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a:solidFill>
                  <a:srgbClr val="000000"/>
                </a:solidFill>
                <a:latin typeface="Arial"/>
                <a:cs typeface="+mn-cs"/>
              </a:endParaRPr>
            </a:p>
          </p:txBody>
        </p:sp>
        <p:sp>
          <p:nvSpPr>
            <p:cNvPr id="29"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a:solidFill>
                  <a:srgbClr val="000000"/>
                </a:solidFill>
                <a:latin typeface="Arial"/>
                <a:cs typeface="+mn-cs"/>
              </a:endParaRPr>
            </a:p>
          </p:txBody>
        </p:sp>
        <p:sp>
          <p:nvSpPr>
            <p:cNvPr id="30"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a:solidFill>
                  <a:srgbClr val="000000"/>
                </a:solidFill>
                <a:latin typeface="Arial"/>
                <a:cs typeface="+mn-cs"/>
              </a:endParaRPr>
            </a:p>
          </p:txBody>
        </p:sp>
        <p:sp>
          <p:nvSpPr>
            <p:cNvPr id="31"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a:solidFill>
                  <a:srgbClr val="000000"/>
                </a:solidFill>
                <a:latin typeface="Arial"/>
                <a:cs typeface="+mn-cs"/>
              </a:endParaRPr>
            </a:p>
          </p:txBody>
        </p:sp>
        <p:sp>
          <p:nvSpPr>
            <p:cNvPr id="32"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a:solidFill>
                  <a:srgbClr val="000000"/>
                </a:solidFill>
                <a:latin typeface="Arial"/>
                <a:cs typeface="+mn-cs"/>
              </a:endParaRPr>
            </a:p>
          </p:txBody>
        </p:sp>
        <p:sp>
          <p:nvSpPr>
            <p:cNvPr id="33"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a:solidFill>
                  <a:srgbClr val="000000"/>
                </a:solidFill>
                <a:latin typeface="Arial"/>
                <a:cs typeface="+mn-cs"/>
              </a:endParaRPr>
            </a:p>
          </p:txBody>
        </p:sp>
        <p:sp>
          <p:nvSpPr>
            <p:cNvPr id="34"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a:solidFill>
                  <a:srgbClr val="000000"/>
                </a:solidFill>
                <a:latin typeface="Arial"/>
                <a:cs typeface="+mn-cs"/>
              </a:endParaRPr>
            </a:p>
          </p:txBody>
        </p:sp>
        <p:sp>
          <p:nvSpPr>
            <p:cNvPr id="35"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sz="1800">
                <a:solidFill>
                  <a:srgbClr val="000000"/>
                </a:solidFill>
                <a:latin typeface="Arial"/>
                <a:cs typeface="+mn-cs"/>
              </a:endParaRPr>
            </a:p>
          </p:txBody>
        </p:sp>
      </p:grpSp>
      <p:sp>
        <p:nvSpPr>
          <p:cNvPr id="36"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271688857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p>
            <a:r>
              <a:rPr lang="en-US"/>
              <a:t>Click to edit Master title style</a:t>
            </a:r>
            <a:endParaRPr lang="en-US" dirty="0"/>
          </a:p>
        </p:txBody>
      </p:sp>
      <p:sp>
        <p:nvSpPr>
          <p:cNvPr id="7" name="Content Placeholder 2"/>
          <p:cNvSpPr>
            <a:spLocks noGrp="1"/>
          </p:cNvSpPr>
          <p:nvPr>
            <p:ph idx="13"/>
          </p:nvPr>
        </p:nvSpPr>
        <p:spPr>
          <a:xfrm>
            <a:off x="317115" y="1339850"/>
            <a:ext cx="8188710" cy="4878388"/>
          </a:xfrm>
        </p:spPr>
        <p:txBody>
          <a:bodyPr lIns="91440"/>
          <a:lstStyle>
            <a:lvl1pPr marL="0" indent="0" algn="l" rtl="0" fontAlgn="base">
              <a:spcBef>
                <a:spcPts val="480"/>
              </a:spcBef>
              <a:spcAft>
                <a:spcPct val="0"/>
              </a:spcAft>
              <a:buSzPct val="40000"/>
              <a:defRPr lang="en-US" sz="1600" b="1" dirty="0" smtClean="0">
                <a:solidFill>
                  <a:schemeClr val="accent3"/>
                </a:solidFill>
                <a:latin typeface="+mn-lt"/>
                <a:ea typeface="+mn-ea"/>
                <a:cs typeface="+mn-cs"/>
              </a:defRPr>
            </a:lvl1pPr>
            <a:lvl2pPr>
              <a:spcBef>
                <a:spcPts val="2000"/>
              </a:spcBef>
              <a:defRPr lang="en-US" dirty="0" smtClean="0">
                <a:solidFill>
                  <a:schemeClr val="tx1"/>
                </a:solidFill>
                <a:latin typeface="+mn-lt"/>
              </a:defRPr>
            </a:lvl2pPr>
            <a:lvl3pPr>
              <a:defRPr lang="en-US" sz="1600" dirty="0" smtClean="0">
                <a:solidFill>
                  <a:schemeClr val="accent1"/>
                </a:solidFill>
                <a:latin typeface="+mn-lt"/>
              </a:defRPr>
            </a:lvl3pPr>
            <a:lvl4pPr>
              <a:buClr>
                <a:schemeClr val="bg2"/>
              </a:buClr>
              <a:buSzPct val="80000"/>
              <a:buFont typeface="Arial" pitchFamily="34" charset="0"/>
              <a:buChar char="•"/>
              <a:defRPr sz="1400">
                <a:solidFill>
                  <a:schemeClr val="accent1"/>
                </a:solidFill>
              </a:defRPr>
            </a:lvl4pPr>
          </a:lstStyle>
          <a:p>
            <a:pPr lvl="0"/>
            <a:r>
              <a:rPr lang="en-US"/>
              <a:t>Click to edit Master text styles</a:t>
            </a:r>
          </a:p>
        </p:txBody>
      </p:sp>
      <p:sp>
        <p:nvSpPr>
          <p:cNvPr id="10"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11"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a:t>201801-23085</a:t>
            </a:r>
            <a:endParaRPr lang="en-US" dirty="0"/>
          </a:p>
        </p:txBody>
      </p:sp>
      <p:grpSp>
        <p:nvGrpSpPr>
          <p:cNvPr id="12" name="Group 11"/>
          <p:cNvGrpSpPr/>
          <p:nvPr userDrawn="1"/>
        </p:nvGrpSpPr>
        <p:grpSpPr>
          <a:xfrm>
            <a:off x="7364320" y="6412511"/>
            <a:ext cx="1371600" cy="283464"/>
            <a:chOff x="4291013" y="3178175"/>
            <a:chExt cx="3197225" cy="688975"/>
          </a:xfrm>
        </p:grpSpPr>
        <p:sp>
          <p:nvSpPr>
            <p:cNvPr id="13"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4"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5"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6"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7"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8"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9"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0"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1"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2"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3"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4"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5"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6"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7"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8"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9"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0"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1"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2"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3"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4"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5"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6"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7"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38"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43730828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1_FIAM_External_Print_Cover_IA">
    <p:spTree>
      <p:nvGrpSpPr>
        <p:cNvPr id="1" name=""/>
        <p:cNvGrpSpPr/>
        <p:nvPr/>
      </p:nvGrpSpPr>
      <p:grpSpPr>
        <a:xfrm>
          <a:off x="0" y="0"/>
          <a:ext cx="0" cy="0"/>
          <a:chOff x="0" y="0"/>
          <a:chExt cx="0" cy="0"/>
        </a:xfrm>
      </p:grpSpPr>
      <p:pic>
        <p:nvPicPr>
          <p:cNvPr id="45" name="Picture 4" descr="C:\Users\a216024\Desktop\stuff\_PPT_107\PowerPoint_Templates_Samples\_10x7.5_Templates\NEW_FIAM\Covers_secondary_slides\2-7_Covers\LightGray_grayscale.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12688" b="17606"/>
          <a:stretch/>
        </p:blipFill>
        <p:spPr bwMode="auto">
          <a:xfrm>
            <a:off x="0" y="2"/>
            <a:ext cx="9144000" cy="3646714"/>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5" descr="C:\Users\a216024\Desktop\stuff\_PPT_107\PowerPoint_Templates_Samples\_10x7.5_Templates\NEW_FIAM\Covers_secondary_slides\2-7_Covers\ColorBar.png"/>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0" y="3481392"/>
            <a:ext cx="9144000" cy="219075"/>
          </a:xfrm>
          <a:prstGeom prst="rect">
            <a:avLst/>
          </a:prstGeom>
          <a:noFill/>
          <a:extLst>
            <a:ext uri="{909E8E84-426E-40DD-AFC4-6F175D3DCCD1}">
              <a14:hiddenFill xmlns:a14="http://schemas.microsoft.com/office/drawing/2010/main">
                <a:solidFill>
                  <a:srgbClr val="FFFFFF"/>
                </a:solidFill>
              </a14:hiddenFill>
            </a:ext>
          </a:extLst>
        </p:spPr>
      </p:pic>
      <p:grpSp>
        <p:nvGrpSpPr>
          <p:cNvPr id="80" name="Group 79"/>
          <p:cNvGrpSpPr/>
          <p:nvPr userDrawn="1"/>
        </p:nvGrpSpPr>
        <p:grpSpPr>
          <a:xfrm>
            <a:off x="6970734" y="6128903"/>
            <a:ext cx="1839928" cy="396052"/>
            <a:chOff x="6923088" y="4475163"/>
            <a:chExt cx="1873251" cy="403225"/>
          </a:xfrm>
        </p:grpSpPr>
        <p:sp>
          <p:nvSpPr>
            <p:cNvPr id="81" name="AutoShape 4"/>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82" name="Freeform 6"/>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83" name="Freeform 7"/>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84" name="Freeform 83"/>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85" name="Freeform 84"/>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86" name="Freeform 85"/>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87" name="Freeform 86"/>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88" name="Freeform 87"/>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89" name="Freeform 88"/>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0" name="Freeform 89"/>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1" name="Freeform 90"/>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2" name="Freeform 91"/>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3" name="Freeform 92"/>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4" name="Freeform 93"/>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5" name="Freeform 94"/>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6" name="Freeform 95"/>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7" name="Freeform 96"/>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8" name="Freeform 97"/>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9" name="Freeform 98"/>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00" name="Freeform 99"/>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01" name="Freeform 100"/>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02" name="Freeform 101"/>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03" name="Freeform 102"/>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04" name="Freeform 103"/>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05" name="Freeform 104"/>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06" name="Freeform 105"/>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grpSp>
      <p:sp>
        <p:nvSpPr>
          <p:cNvPr id="44" name="Text Placeholder 43"/>
          <p:cNvSpPr>
            <a:spLocks noGrp="1"/>
          </p:cNvSpPr>
          <p:nvPr>
            <p:ph type="body" sz="quarter" idx="10"/>
          </p:nvPr>
        </p:nvSpPr>
        <p:spPr>
          <a:xfrm>
            <a:off x="715495" y="3833787"/>
            <a:ext cx="2455544" cy="332365"/>
          </a:xfrm>
        </p:spPr>
        <p:txBody>
          <a:bodyPr/>
          <a:lstStyle>
            <a:lvl1pPr>
              <a:defRPr lang="en-US" sz="1000" b="0" kern="1200" smtClean="0">
                <a:solidFill>
                  <a:srgbClr val="000000"/>
                </a:solidFill>
                <a:latin typeface="Arial"/>
                <a:ea typeface="ＭＳ Ｐゴシック"/>
                <a:cs typeface="ＭＳ Ｐゴシック"/>
              </a:defRPr>
            </a:lvl1pPr>
          </a:lstStyle>
          <a:p>
            <a:pPr lvl="0"/>
            <a:r>
              <a:rPr lang="en-US"/>
              <a:t>Click to edit Master text styles</a:t>
            </a:r>
          </a:p>
        </p:txBody>
      </p:sp>
      <p:sp>
        <p:nvSpPr>
          <p:cNvPr id="53" name="Content Placeholder 52"/>
          <p:cNvSpPr>
            <a:spLocks noGrp="1"/>
          </p:cNvSpPr>
          <p:nvPr>
            <p:ph sz="quarter" idx="12"/>
          </p:nvPr>
        </p:nvSpPr>
        <p:spPr>
          <a:xfrm>
            <a:off x="6280154" y="3842385"/>
            <a:ext cx="2487613" cy="165226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47" name="Rectangle 176"/>
          <p:cNvSpPr>
            <a:spLocks noGrp="1" noChangeArrowheads="1"/>
          </p:cNvSpPr>
          <p:nvPr>
            <p:ph type="ftr" sz="quarter" idx="13"/>
          </p:nvPr>
        </p:nvSpPr>
        <p:spPr>
          <a:xfrm>
            <a:off x="272779" y="5877561"/>
            <a:ext cx="6014623" cy="260350"/>
          </a:xfrm>
        </p:spPr>
        <p:txBody>
          <a:bodyPr anchor="b" anchorCtr="0"/>
          <a:lstStyle>
            <a:lvl1pPr algn="l">
              <a:defRPr sz="800" b="0" smtClean="0">
                <a:solidFill>
                  <a:srgbClr val="000000"/>
                </a:solidFill>
              </a:defRPr>
            </a:lvl1pPr>
          </a:lstStyle>
          <a:p>
            <a:pPr>
              <a:defRPr/>
            </a:pPr>
            <a:r>
              <a:rPr lang="en-US" b="1" dirty="0"/>
              <a:t>For institutional use only.</a:t>
            </a:r>
          </a:p>
        </p:txBody>
      </p:sp>
      <p:sp>
        <p:nvSpPr>
          <p:cNvPr id="72" name="Rectangle 6"/>
          <p:cNvSpPr>
            <a:spLocks noGrp="1" noChangeArrowheads="1"/>
          </p:cNvSpPr>
          <p:nvPr>
            <p:ph type="subTitle" idx="1"/>
          </p:nvPr>
        </p:nvSpPr>
        <p:spPr>
          <a:xfrm>
            <a:off x="685251" y="2091766"/>
            <a:ext cx="7805762" cy="563076"/>
          </a:xfrm>
        </p:spPr>
        <p:txBody>
          <a:bodyPr lIns="100538" rIns="100538"/>
          <a:lstStyle>
            <a:lvl1pPr marL="0" indent="0">
              <a:spcBef>
                <a:spcPts val="0"/>
              </a:spcBef>
              <a:defRPr sz="2000" b="0">
                <a:solidFill>
                  <a:srgbClr val="7A9B3D"/>
                </a:solidFill>
              </a:defRPr>
            </a:lvl1pPr>
          </a:lstStyle>
          <a:p>
            <a:r>
              <a:rPr lang="en-US"/>
              <a:t>Click to edit Master subtitle style</a:t>
            </a:r>
            <a:endParaRPr lang="en-US" dirty="0"/>
          </a:p>
        </p:txBody>
      </p:sp>
      <p:sp>
        <p:nvSpPr>
          <p:cNvPr id="74" name="Text Placeholder 43"/>
          <p:cNvSpPr>
            <a:spLocks noGrp="1"/>
          </p:cNvSpPr>
          <p:nvPr>
            <p:ph type="body" sz="quarter" idx="14" hasCustomPrompt="1"/>
          </p:nvPr>
        </p:nvSpPr>
        <p:spPr>
          <a:xfrm>
            <a:off x="685251" y="2581276"/>
            <a:ext cx="7805762" cy="266850"/>
          </a:xfrm>
        </p:spPr>
        <p:txBody>
          <a:bodyPr lIns="100538" rIns="100538"/>
          <a:lstStyle>
            <a:lvl1pPr>
              <a:spcBef>
                <a:spcPts val="0"/>
              </a:spcBef>
              <a:defRPr lang="en-US" sz="1200" b="0" kern="1200" dirty="0" smtClean="0">
                <a:solidFill>
                  <a:srgbClr val="333F48"/>
                </a:solidFill>
                <a:latin typeface="Arial"/>
                <a:ea typeface="ＭＳ Ｐゴシック" pitchFamily="34" charset="-128"/>
                <a:cs typeface="+mn-cs"/>
              </a:defRPr>
            </a:lvl1pPr>
          </a:lstStyle>
          <a:p>
            <a:pPr lvl="0"/>
            <a:r>
              <a:rPr lang="en-US" dirty="0"/>
              <a:t>Date</a:t>
            </a:r>
          </a:p>
        </p:txBody>
      </p:sp>
      <p:sp>
        <p:nvSpPr>
          <p:cNvPr id="39" name="Rectangle 9"/>
          <p:cNvSpPr>
            <a:spLocks noGrp="1" noChangeArrowheads="1"/>
          </p:cNvSpPr>
          <p:nvPr>
            <p:ph type="title" hasCustomPrompt="1"/>
          </p:nvPr>
        </p:nvSpPr>
        <p:spPr bwMode="auto">
          <a:xfrm>
            <a:off x="685253" y="1581076"/>
            <a:ext cx="7820573" cy="5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97" tIns="0" rIns="91397" bIns="0" numCol="1" anchor="b" anchorCtr="0" compatLnSpc="1">
            <a:prstTxWarp prst="textNoShape">
              <a:avLst/>
            </a:prstTxWarp>
          </a:bodyPr>
          <a:lstStyle>
            <a:lvl1pPr>
              <a:defRPr sz="3000">
                <a:solidFill>
                  <a:schemeClr val="bg2"/>
                </a:solidFill>
              </a:defRPr>
            </a:lvl1pPr>
          </a:lstStyle>
          <a:p>
            <a:pPr lvl="0"/>
            <a:r>
              <a:rPr lang="en-US" altLang="en-US" dirty="0"/>
              <a:t>Click To Edit Master Title Style</a:t>
            </a:r>
          </a:p>
        </p:txBody>
      </p:sp>
      <p:sp>
        <p:nvSpPr>
          <p:cNvPr id="50" name="Picture Placeholder 47"/>
          <p:cNvSpPr>
            <a:spLocks noGrp="1"/>
          </p:cNvSpPr>
          <p:nvPr>
            <p:ph type="pic" sz="quarter" idx="11" hasCustomPrompt="1"/>
          </p:nvPr>
        </p:nvSpPr>
        <p:spPr>
          <a:xfrm>
            <a:off x="804672" y="4105656"/>
            <a:ext cx="2424112" cy="609600"/>
          </a:xfrm>
          <a:noFill/>
        </p:spPr>
        <p:txBody>
          <a:bodyPr anchor="ctr"/>
          <a:lstStyle>
            <a:lvl1pPr>
              <a:defRPr sz="1000" b="0"/>
            </a:lvl1pPr>
          </a:lstStyle>
          <a:p>
            <a:pPr lvl="0"/>
            <a:r>
              <a:rPr lang="en-US" noProof="0" dirty="0"/>
              <a:t>Click icon to add logo</a:t>
            </a:r>
          </a:p>
        </p:txBody>
      </p:sp>
      <p:grpSp>
        <p:nvGrpSpPr>
          <p:cNvPr id="49" name="Group 48"/>
          <p:cNvGrpSpPr/>
          <p:nvPr userDrawn="1"/>
        </p:nvGrpSpPr>
        <p:grpSpPr>
          <a:xfrm>
            <a:off x="371883" y="6327117"/>
            <a:ext cx="4006611" cy="174407"/>
            <a:chOff x="371883" y="6327145"/>
            <a:chExt cx="4006611" cy="174407"/>
          </a:xfrm>
        </p:grpSpPr>
        <p:grpSp>
          <p:nvGrpSpPr>
            <p:cNvPr id="51" name="Group 50"/>
            <p:cNvGrpSpPr/>
            <p:nvPr userDrawn="1"/>
          </p:nvGrpSpPr>
          <p:grpSpPr>
            <a:xfrm>
              <a:off x="371883" y="6359447"/>
              <a:ext cx="3947551" cy="100654"/>
              <a:chOff x="362358" y="6368972"/>
              <a:chExt cx="3947551" cy="100654"/>
            </a:xfrm>
          </p:grpSpPr>
          <p:pic>
            <p:nvPicPr>
              <p:cNvPr id="54" name="Picture 5"/>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r="1439" b="-2834"/>
              <a:stretch/>
            </p:blipFill>
            <p:spPr bwMode="auto">
              <a:xfrm>
                <a:off x="362358" y="6368972"/>
                <a:ext cx="3848307" cy="100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5" name="AutoShape 4"/>
              <p:cNvSpPr>
                <a:spLocks noChangeAspect="1" noChangeArrowheads="1" noTextEdit="1"/>
              </p:cNvSpPr>
              <p:nvPr userDrawn="1"/>
            </p:nvSpPr>
            <p:spPr bwMode="auto">
              <a:xfrm>
                <a:off x="4213072" y="6374683"/>
                <a:ext cx="96837"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grpSp>
        <p:sp>
          <p:nvSpPr>
            <p:cNvPr id="52" name="TextBox 51"/>
            <p:cNvSpPr txBox="1"/>
            <p:nvPr userDrawn="1"/>
          </p:nvSpPr>
          <p:spPr>
            <a:xfrm>
              <a:off x="4144134" y="6327145"/>
              <a:ext cx="234360" cy="174407"/>
            </a:xfrm>
            <a:prstGeom prst="rect">
              <a:avLst/>
            </a:prstGeom>
            <a:noFill/>
          </p:spPr>
          <p:txBody>
            <a:bodyPr wrap="none" rtlCol="0">
              <a:spAutoFit/>
            </a:bodyPr>
            <a:lstStyle/>
            <a:p>
              <a:r>
                <a:rPr lang="en-US" sz="800" b="1" baseline="30000" dirty="0">
                  <a:solidFill>
                    <a:srgbClr val="000000"/>
                  </a:solidFill>
                  <a:latin typeface="Arial"/>
                  <a:cs typeface="+mn-cs"/>
                </a:rPr>
                <a:t>®</a:t>
              </a:r>
            </a:p>
          </p:txBody>
        </p:sp>
      </p:grpSp>
    </p:spTree>
    <p:extLst>
      <p:ext uri="{BB962C8B-B14F-4D97-AF65-F5344CB8AC3E}">
        <p14:creationId xmlns:p14="http://schemas.microsoft.com/office/powerpoint/2010/main" val="371411738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FIAM_External_Print_Cover_BD">
    <p:spTree>
      <p:nvGrpSpPr>
        <p:cNvPr id="1" name=""/>
        <p:cNvGrpSpPr/>
        <p:nvPr/>
      </p:nvGrpSpPr>
      <p:grpSpPr>
        <a:xfrm>
          <a:off x="0" y="0"/>
          <a:ext cx="0" cy="0"/>
          <a:chOff x="0" y="0"/>
          <a:chExt cx="0" cy="0"/>
        </a:xfrm>
      </p:grpSpPr>
      <p:pic>
        <p:nvPicPr>
          <p:cNvPr id="45" name="Picture 4" descr="C:\Users\a216024\Desktop\stuff\_PPT_107\PowerPoint_Templates_Samples\_10x7.5_Templates\NEW_FIAM\Covers_secondary_slides\2-7_Covers\LightGray_grayscale.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12688" b="17606"/>
          <a:stretch/>
        </p:blipFill>
        <p:spPr bwMode="auto">
          <a:xfrm>
            <a:off x="0" y="2"/>
            <a:ext cx="9144000" cy="3646714"/>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5" descr="C:\Users\a216024\Desktop\stuff\_PPT_107\PowerPoint_Templates_Samples\_10x7.5_Templates\NEW_FIAM\Covers_secondary_slides\2-7_Covers\ColorBar.png"/>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0" y="3481392"/>
            <a:ext cx="9144000" cy="219075"/>
          </a:xfrm>
          <a:prstGeom prst="rect">
            <a:avLst/>
          </a:prstGeom>
          <a:noFill/>
          <a:extLst>
            <a:ext uri="{909E8E84-426E-40DD-AFC4-6F175D3DCCD1}">
              <a14:hiddenFill xmlns:a14="http://schemas.microsoft.com/office/drawing/2010/main">
                <a:solidFill>
                  <a:srgbClr val="FFFFFF"/>
                </a:solidFill>
              </a14:hiddenFill>
            </a:ext>
          </a:extLst>
        </p:spPr>
      </p:pic>
      <p:grpSp>
        <p:nvGrpSpPr>
          <p:cNvPr id="80" name="Group 79"/>
          <p:cNvGrpSpPr/>
          <p:nvPr userDrawn="1"/>
        </p:nvGrpSpPr>
        <p:grpSpPr>
          <a:xfrm>
            <a:off x="6970734" y="6128903"/>
            <a:ext cx="1839928" cy="396052"/>
            <a:chOff x="6923088" y="4475163"/>
            <a:chExt cx="1873251" cy="403225"/>
          </a:xfrm>
        </p:grpSpPr>
        <p:sp>
          <p:nvSpPr>
            <p:cNvPr id="81" name="AutoShape 4"/>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82" name="Freeform 6"/>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83" name="Freeform 7"/>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84" name="Freeform 83"/>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85" name="Freeform 84"/>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86" name="Freeform 85"/>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87" name="Freeform 86"/>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88" name="Freeform 87"/>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89" name="Freeform 88"/>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0" name="Freeform 89"/>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1" name="Freeform 90"/>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2" name="Freeform 91"/>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3" name="Freeform 92"/>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4" name="Freeform 93"/>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5" name="Freeform 94"/>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6" name="Freeform 95"/>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7" name="Freeform 96"/>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8" name="Freeform 97"/>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9" name="Freeform 98"/>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00" name="Freeform 99"/>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01" name="Freeform 100"/>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02" name="Freeform 101"/>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03" name="Freeform 102"/>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04" name="Freeform 103"/>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05" name="Freeform 104"/>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06" name="Freeform 105"/>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grpSp>
      <p:sp>
        <p:nvSpPr>
          <p:cNvPr id="44" name="Text Placeholder 43"/>
          <p:cNvSpPr>
            <a:spLocks noGrp="1"/>
          </p:cNvSpPr>
          <p:nvPr>
            <p:ph type="body" sz="quarter" idx="10"/>
          </p:nvPr>
        </p:nvSpPr>
        <p:spPr>
          <a:xfrm>
            <a:off x="715495" y="3833787"/>
            <a:ext cx="2455544" cy="332365"/>
          </a:xfrm>
        </p:spPr>
        <p:txBody>
          <a:bodyPr/>
          <a:lstStyle>
            <a:lvl1pPr>
              <a:defRPr lang="en-US" sz="1000" b="0" kern="1200" smtClean="0">
                <a:solidFill>
                  <a:srgbClr val="000000"/>
                </a:solidFill>
                <a:latin typeface="Arial"/>
                <a:ea typeface="ＭＳ Ｐゴシック"/>
                <a:cs typeface="ＭＳ Ｐゴシック"/>
              </a:defRPr>
            </a:lvl1pPr>
          </a:lstStyle>
          <a:p>
            <a:pPr lvl="0"/>
            <a:r>
              <a:rPr lang="en-US"/>
              <a:t>Click to edit Master text styles</a:t>
            </a:r>
          </a:p>
        </p:txBody>
      </p:sp>
      <p:sp>
        <p:nvSpPr>
          <p:cNvPr id="53" name="Content Placeholder 52"/>
          <p:cNvSpPr>
            <a:spLocks noGrp="1"/>
          </p:cNvSpPr>
          <p:nvPr>
            <p:ph sz="quarter" idx="12"/>
          </p:nvPr>
        </p:nvSpPr>
        <p:spPr>
          <a:xfrm>
            <a:off x="6280154" y="3842385"/>
            <a:ext cx="2487613" cy="165226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47" name="Rectangle 176"/>
          <p:cNvSpPr>
            <a:spLocks noGrp="1" noChangeArrowheads="1"/>
          </p:cNvSpPr>
          <p:nvPr>
            <p:ph type="ftr" sz="quarter" idx="13"/>
          </p:nvPr>
        </p:nvSpPr>
        <p:spPr>
          <a:xfrm>
            <a:off x="281405" y="5877561"/>
            <a:ext cx="6014623" cy="260350"/>
          </a:xfrm>
        </p:spPr>
        <p:txBody>
          <a:bodyPr anchor="b" anchorCtr="0"/>
          <a:lstStyle>
            <a:lvl1pPr algn="l">
              <a:defRPr sz="800" b="0" smtClean="0">
                <a:solidFill>
                  <a:srgbClr val="000000"/>
                </a:solidFill>
              </a:defRPr>
            </a:lvl1pPr>
          </a:lstStyle>
          <a:p>
            <a:pPr>
              <a:defRPr/>
            </a:pPr>
            <a:r>
              <a:rPr lang="en-US" b="1" dirty="0"/>
              <a:t>For institutional use only.</a:t>
            </a:r>
          </a:p>
        </p:txBody>
      </p:sp>
      <p:sp>
        <p:nvSpPr>
          <p:cNvPr id="72" name="Rectangle 6"/>
          <p:cNvSpPr>
            <a:spLocks noGrp="1" noChangeArrowheads="1"/>
          </p:cNvSpPr>
          <p:nvPr>
            <p:ph type="subTitle" idx="1"/>
          </p:nvPr>
        </p:nvSpPr>
        <p:spPr>
          <a:xfrm>
            <a:off x="685251" y="2091766"/>
            <a:ext cx="7805762" cy="563076"/>
          </a:xfrm>
        </p:spPr>
        <p:txBody>
          <a:bodyPr lIns="100538" rIns="100538"/>
          <a:lstStyle>
            <a:lvl1pPr marL="0" indent="0">
              <a:spcBef>
                <a:spcPts val="0"/>
              </a:spcBef>
              <a:defRPr sz="2000" b="0">
                <a:solidFill>
                  <a:srgbClr val="7A9B3D"/>
                </a:solidFill>
              </a:defRPr>
            </a:lvl1pPr>
          </a:lstStyle>
          <a:p>
            <a:r>
              <a:rPr lang="en-US"/>
              <a:t>Click to edit Master subtitle style</a:t>
            </a:r>
            <a:endParaRPr lang="en-US" dirty="0"/>
          </a:p>
        </p:txBody>
      </p:sp>
      <p:sp>
        <p:nvSpPr>
          <p:cNvPr id="74" name="Text Placeholder 43"/>
          <p:cNvSpPr>
            <a:spLocks noGrp="1"/>
          </p:cNvSpPr>
          <p:nvPr>
            <p:ph type="body" sz="quarter" idx="14" hasCustomPrompt="1"/>
          </p:nvPr>
        </p:nvSpPr>
        <p:spPr>
          <a:xfrm>
            <a:off x="685251" y="2581276"/>
            <a:ext cx="7805762" cy="266850"/>
          </a:xfrm>
        </p:spPr>
        <p:txBody>
          <a:bodyPr lIns="100538" rIns="100538"/>
          <a:lstStyle>
            <a:lvl1pPr>
              <a:spcBef>
                <a:spcPts val="0"/>
              </a:spcBef>
              <a:defRPr lang="en-US" sz="1200" b="0" kern="1200" dirty="0" smtClean="0">
                <a:solidFill>
                  <a:srgbClr val="333F48"/>
                </a:solidFill>
                <a:latin typeface="Arial"/>
                <a:ea typeface="ＭＳ Ｐゴシック" pitchFamily="34" charset="-128"/>
                <a:cs typeface="+mn-cs"/>
              </a:defRPr>
            </a:lvl1pPr>
          </a:lstStyle>
          <a:p>
            <a:pPr lvl="0"/>
            <a:r>
              <a:rPr lang="en-US" dirty="0"/>
              <a:t>Date</a:t>
            </a:r>
          </a:p>
        </p:txBody>
      </p:sp>
      <p:sp>
        <p:nvSpPr>
          <p:cNvPr id="39" name="Rectangle 9"/>
          <p:cNvSpPr>
            <a:spLocks noGrp="1" noChangeArrowheads="1"/>
          </p:cNvSpPr>
          <p:nvPr>
            <p:ph type="title" hasCustomPrompt="1"/>
          </p:nvPr>
        </p:nvSpPr>
        <p:spPr bwMode="auto">
          <a:xfrm>
            <a:off x="685253" y="1581076"/>
            <a:ext cx="7820573" cy="5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97" tIns="0" rIns="91397" bIns="0" numCol="1" anchor="b" anchorCtr="0" compatLnSpc="1">
            <a:prstTxWarp prst="textNoShape">
              <a:avLst/>
            </a:prstTxWarp>
          </a:bodyPr>
          <a:lstStyle>
            <a:lvl1pPr>
              <a:defRPr sz="3000">
                <a:solidFill>
                  <a:schemeClr val="bg2"/>
                </a:solidFill>
              </a:defRPr>
            </a:lvl1pPr>
          </a:lstStyle>
          <a:p>
            <a:pPr lvl="0"/>
            <a:r>
              <a:rPr lang="en-US" altLang="en-US" dirty="0"/>
              <a:t>Click To Edit Master Title Style</a:t>
            </a:r>
          </a:p>
        </p:txBody>
      </p:sp>
      <p:sp>
        <p:nvSpPr>
          <p:cNvPr id="49" name="Text Box 15"/>
          <p:cNvSpPr txBox="1">
            <a:spLocks noChangeArrowheads="1"/>
          </p:cNvSpPr>
          <p:nvPr userDrawn="1"/>
        </p:nvSpPr>
        <p:spPr bwMode="ltGray">
          <a:xfrm>
            <a:off x="383501" y="5535110"/>
            <a:ext cx="2868671" cy="184616"/>
          </a:xfrm>
          <a:prstGeom prst="rect">
            <a:avLst/>
          </a:prstGeom>
          <a:noFill/>
          <a:ln w="9525">
            <a:solidFill>
              <a:srgbClr val="000000"/>
            </a:solidFill>
            <a:miter lim="800000"/>
            <a:headEnd/>
            <a:tailEnd/>
          </a:ln>
        </p:spPr>
        <p:txBody>
          <a:bodyPr wrap="none" lIns="45689" tIns="45689" rIns="45689" bIns="27414" anchor="ctr">
            <a:spAutoFit/>
          </a:bodyP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defTabSz="913972" fontAlgn="auto">
              <a:lnSpc>
                <a:spcPct val="90000"/>
              </a:lnSpc>
              <a:spcBef>
                <a:spcPts val="0"/>
              </a:spcBef>
              <a:spcAft>
                <a:spcPts val="0"/>
              </a:spcAft>
              <a:defRPr/>
            </a:pPr>
            <a:r>
              <a:rPr lang="en-US" sz="800" b="1" kern="0" dirty="0">
                <a:solidFill>
                  <a:srgbClr val="000000"/>
                </a:solidFill>
                <a:latin typeface="Arial"/>
                <a:cs typeface="+mn-cs"/>
              </a:rPr>
              <a:t>Not FDIC Insured </a:t>
            </a:r>
            <a:r>
              <a:rPr lang="en-US" sz="800" b="1" kern="0" dirty="0">
                <a:solidFill>
                  <a:srgbClr val="000000"/>
                </a:solidFill>
                <a:latin typeface="Arial"/>
                <a:cs typeface="+mn-cs"/>
                <a:sym typeface="Wingdings" pitchFamily="2" charset="2"/>
              </a:rPr>
              <a:t> May Lose Value  No Bank Guarantee</a:t>
            </a:r>
          </a:p>
        </p:txBody>
      </p:sp>
      <p:sp>
        <p:nvSpPr>
          <p:cNvPr id="50" name="Picture Placeholder 47"/>
          <p:cNvSpPr>
            <a:spLocks noGrp="1"/>
          </p:cNvSpPr>
          <p:nvPr>
            <p:ph type="pic" sz="quarter" idx="11" hasCustomPrompt="1"/>
          </p:nvPr>
        </p:nvSpPr>
        <p:spPr>
          <a:xfrm>
            <a:off x="804672" y="4105656"/>
            <a:ext cx="2424112" cy="609600"/>
          </a:xfrm>
          <a:noFill/>
        </p:spPr>
        <p:txBody>
          <a:bodyPr anchor="ctr"/>
          <a:lstStyle>
            <a:lvl1pPr>
              <a:defRPr sz="1000" b="0"/>
            </a:lvl1pPr>
          </a:lstStyle>
          <a:p>
            <a:pPr lvl="0"/>
            <a:r>
              <a:rPr lang="en-US" noProof="0" dirty="0"/>
              <a:t>Click icon to add logo</a:t>
            </a:r>
          </a:p>
        </p:txBody>
      </p:sp>
      <p:grpSp>
        <p:nvGrpSpPr>
          <p:cNvPr id="51" name="Group 50"/>
          <p:cNvGrpSpPr/>
          <p:nvPr userDrawn="1"/>
        </p:nvGrpSpPr>
        <p:grpSpPr>
          <a:xfrm>
            <a:off x="371883" y="6327117"/>
            <a:ext cx="4006611" cy="174407"/>
            <a:chOff x="371883" y="6327145"/>
            <a:chExt cx="4006611" cy="174407"/>
          </a:xfrm>
        </p:grpSpPr>
        <p:grpSp>
          <p:nvGrpSpPr>
            <p:cNvPr id="52" name="Group 51"/>
            <p:cNvGrpSpPr/>
            <p:nvPr userDrawn="1"/>
          </p:nvGrpSpPr>
          <p:grpSpPr>
            <a:xfrm>
              <a:off x="371883" y="6359447"/>
              <a:ext cx="3947551" cy="100654"/>
              <a:chOff x="362358" y="6368972"/>
              <a:chExt cx="3947551" cy="100654"/>
            </a:xfrm>
          </p:grpSpPr>
          <p:pic>
            <p:nvPicPr>
              <p:cNvPr id="55" name="Picture 5"/>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r="1439" b="-2834"/>
              <a:stretch/>
            </p:blipFill>
            <p:spPr bwMode="auto">
              <a:xfrm>
                <a:off x="362358" y="6368972"/>
                <a:ext cx="3848307" cy="100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AutoShape 4"/>
              <p:cNvSpPr>
                <a:spLocks noChangeAspect="1" noChangeArrowheads="1" noTextEdit="1"/>
              </p:cNvSpPr>
              <p:nvPr userDrawn="1"/>
            </p:nvSpPr>
            <p:spPr bwMode="auto">
              <a:xfrm>
                <a:off x="4213072" y="6374683"/>
                <a:ext cx="96837"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grpSp>
        <p:sp>
          <p:nvSpPr>
            <p:cNvPr id="54" name="TextBox 53"/>
            <p:cNvSpPr txBox="1"/>
            <p:nvPr userDrawn="1"/>
          </p:nvSpPr>
          <p:spPr>
            <a:xfrm>
              <a:off x="4144134" y="6327145"/>
              <a:ext cx="234360" cy="174407"/>
            </a:xfrm>
            <a:prstGeom prst="rect">
              <a:avLst/>
            </a:prstGeom>
            <a:noFill/>
          </p:spPr>
          <p:txBody>
            <a:bodyPr wrap="none" rtlCol="0">
              <a:spAutoFit/>
            </a:bodyPr>
            <a:lstStyle/>
            <a:p>
              <a:r>
                <a:rPr lang="en-US" sz="800" b="1" baseline="30000" dirty="0">
                  <a:solidFill>
                    <a:srgbClr val="000000"/>
                  </a:solidFill>
                  <a:latin typeface="Arial"/>
                  <a:cs typeface="+mn-cs"/>
                </a:rPr>
                <a:t>®</a:t>
              </a:r>
            </a:p>
          </p:txBody>
        </p:sp>
      </p:grpSp>
    </p:spTree>
    <p:extLst>
      <p:ext uri="{BB962C8B-B14F-4D97-AF65-F5344CB8AC3E}">
        <p14:creationId xmlns:p14="http://schemas.microsoft.com/office/powerpoint/2010/main" val="31801256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Biography">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p>
            <a:r>
              <a:rPr lang="en-US"/>
              <a:t>Click to edit Master title style</a:t>
            </a:r>
            <a:endParaRPr lang="en-US" dirty="0"/>
          </a:p>
        </p:txBody>
      </p:sp>
      <p:sp>
        <p:nvSpPr>
          <p:cNvPr id="3" name="Content Placeholder 2"/>
          <p:cNvSpPr>
            <a:spLocks noGrp="1"/>
          </p:cNvSpPr>
          <p:nvPr>
            <p:ph idx="1"/>
          </p:nvPr>
        </p:nvSpPr>
        <p:spPr>
          <a:xfrm>
            <a:off x="317115" y="1073258"/>
            <a:ext cx="8188710" cy="439305"/>
          </a:xfrm>
        </p:spPr>
        <p:txBody>
          <a:bodyPr lIns="91440"/>
          <a:lstStyle>
            <a:lvl1pPr marL="0" indent="0">
              <a:spcBef>
                <a:spcPts val="0"/>
              </a:spcBef>
              <a:defRPr lang="en-US" sz="1200" b="1" dirty="0" smtClean="0">
                <a:solidFill>
                  <a:srgbClr val="7A9B3D"/>
                </a:solidFill>
                <a:latin typeface="+mn-lt"/>
                <a:ea typeface="+mn-ea"/>
                <a:cs typeface="+mn-cs"/>
              </a:defRPr>
            </a:lvl1pPr>
            <a:lvl2pPr marL="0" indent="0">
              <a:spcBef>
                <a:spcPts val="0"/>
              </a:spcBef>
              <a:buNone/>
              <a:defRPr sz="1200" b="0" i="1">
                <a:solidFill>
                  <a:srgbClr val="7A9B3D"/>
                </a:solidFill>
              </a:defRPr>
            </a:lvl2pPr>
          </a:lstStyle>
          <a:p>
            <a:pPr lvl="0"/>
            <a:r>
              <a:rPr lang="en-US"/>
              <a:t>Click to edit Master text styles</a:t>
            </a:r>
          </a:p>
          <a:p>
            <a:pPr lvl="1"/>
            <a:r>
              <a:rPr lang="en-US"/>
              <a:t>Second level</a:t>
            </a:r>
          </a:p>
        </p:txBody>
      </p:sp>
      <p:sp>
        <p:nvSpPr>
          <p:cNvPr id="10" name="Content Placeholder 9"/>
          <p:cNvSpPr>
            <a:spLocks noGrp="1"/>
          </p:cNvSpPr>
          <p:nvPr>
            <p:ph sz="quarter" idx="13"/>
          </p:nvPr>
        </p:nvSpPr>
        <p:spPr>
          <a:xfrm>
            <a:off x="317115" y="1526850"/>
            <a:ext cx="8188710" cy="4691387"/>
          </a:xfrm>
        </p:spPr>
        <p:txBody>
          <a:bodyPr lIns="91440"/>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12"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a:t>201607-20094</a:t>
            </a:r>
            <a:endParaRPr lang="en-US" dirty="0"/>
          </a:p>
        </p:txBody>
      </p:sp>
      <p:grpSp>
        <p:nvGrpSpPr>
          <p:cNvPr id="13" name="Group 12"/>
          <p:cNvGrpSpPr/>
          <p:nvPr userDrawn="1"/>
        </p:nvGrpSpPr>
        <p:grpSpPr>
          <a:xfrm>
            <a:off x="7364320" y="6412511"/>
            <a:ext cx="1371600" cy="283464"/>
            <a:chOff x="4291013" y="3178175"/>
            <a:chExt cx="3197225" cy="688975"/>
          </a:xfrm>
        </p:grpSpPr>
        <p:sp>
          <p:nvSpPr>
            <p:cNvPr id="14"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9"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220096873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1_GIS Cover">
    <p:spTree>
      <p:nvGrpSpPr>
        <p:cNvPr id="1" name=""/>
        <p:cNvGrpSpPr/>
        <p:nvPr/>
      </p:nvGrpSpPr>
      <p:grpSpPr>
        <a:xfrm>
          <a:off x="0" y="0"/>
          <a:ext cx="0" cy="0"/>
          <a:chOff x="0" y="0"/>
          <a:chExt cx="0" cy="0"/>
        </a:xfrm>
      </p:grpSpPr>
      <p:pic>
        <p:nvPicPr>
          <p:cNvPr id="45" name="Picture 4" descr="C:\Users\a216024\Desktop\stuff\_PPT_107\PowerPoint_Templates_Samples\_10x7.5_Templates\NEW_FIAM\Covers_secondary_slides\2-7_Covers\LightGray_grayscale.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12688" b="17606"/>
          <a:stretch/>
        </p:blipFill>
        <p:spPr bwMode="auto">
          <a:xfrm>
            <a:off x="0" y="2"/>
            <a:ext cx="9144000" cy="3646714"/>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5" descr="C:\Users\a216024\Desktop\stuff\_PPT_107\PowerPoint_Templates_Samples\_10x7.5_Templates\NEW_FIAM\Covers_secondary_slides\2-7_Covers\ColorBar.png"/>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l="1379" r="1716"/>
          <a:stretch/>
        </p:blipFill>
        <p:spPr bwMode="auto">
          <a:xfrm>
            <a:off x="0" y="3481392"/>
            <a:ext cx="9144000" cy="219075"/>
          </a:xfrm>
          <a:prstGeom prst="rect">
            <a:avLst/>
          </a:prstGeom>
          <a:noFill/>
          <a:extLst>
            <a:ext uri="{909E8E84-426E-40DD-AFC4-6F175D3DCCD1}">
              <a14:hiddenFill xmlns:a14="http://schemas.microsoft.com/office/drawing/2010/main">
                <a:solidFill>
                  <a:srgbClr val="FFFFFF"/>
                </a:solidFill>
              </a14:hiddenFill>
            </a:ext>
          </a:extLst>
        </p:spPr>
      </p:pic>
      <p:grpSp>
        <p:nvGrpSpPr>
          <p:cNvPr id="80" name="Group 79"/>
          <p:cNvGrpSpPr/>
          <p:nvPr userDrawn="1"/>
        </p:nvGrpSpPr>
        <p:grpSpPr>
          <a:xfrm>
            <a:off x="6970734" y="6128903"/>
            <a:ext cx="1839928" cy="396052"/>
            <a:chOff x="6923088" y="4475163"/>
            <a:chExt cx="1873251" cy="403225"/>
          </a:xfrm>
        </p:grpSpPr>
        <p:sp>
          <p:nvSpPr>
            <p:cNvPr id="81" name="AutoShape 4"/>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82" name="Freeform 6"/>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83" name="Freeform 7"/>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84" name="Freeform 83"/>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85" name="Freeform 84"/>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86" name="Freeform 85"/>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87" name="Freeform 86"/>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88" name="Freeform 87"/>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89" name="Freeform 88"/>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0" name="Freeform 89"/>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1" name="Freeform 90"/>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2" name="Freeform 91"/>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3" name="Freeform 92"/>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4" name="Freeform 93"/>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5" name="Freeform 94"/>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6" name="Freeform 95"/>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7" name="Freeform 96"/>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8" name="Freeform 97"/>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9" name="Freeform 98"/>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00" name="Freeform 99"/>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01" name="Freeform 100"/>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02" name="Freeform 101"/>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03" name="Freeform 102"/>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04" name="Freeform 103"/>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05" name="Freeform 104"/>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06" name="Freeform 105"/>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grpSp>
      <p:sp>
        <p:nvSpPr>
          <p:cNvPr id="44" name="Text Placeholder 43"/>
          <p:cNvSpPr>
            <a:spLocks noGrp="1"/>
          </p:cNvSpPr>
          <p:nvPr>
            <p:ph type="body" sz="quarter" idx="10" hasCustomPrompt="1"/>
          </p:nvPr>
        </p:nvSpPr>
        <p:spPr>
          <a:xfrm>
            <a:off x="715495" y="3833787"/>
            <a:ext cx="2455544" cy="332365"/>
          </a:xfrm>
        </p:spPr>
        <p:txBody>
          <a:bodyPr/>
          <a:lstStyle>
            <a:lvl1pPr marL="0" indent="0">
              <a:defRPr lang="en-US" sz="1000" b="1" kern="1200" smtClean="0">
                <a:solidFill>
                  <a:srgbClr val="000000"/>
                </a:solidFill>
                <a:latin typeface="Arial"/>
                <a:ea typeface="ＭＳ Ｐゴシック"/>
                <a:cs typeface="ＭＳ Ｐゴシック"/>
              </a:defRPr>
            </a:lvl1pPr>
          </a:lstStyle>
          <a:p>
            <a:pPr marL="0" indent="0"/>
            <a:r>
              <a:rPr lang="en-US" sz="1200" dirty="0"/>
              <a:t>Global Institutional Solutions</a:t>
            </a:r>
            <a:br>
              <a:rPr lang="en-US" sz="1200" dirty="0"/>
            </a:br>
            <a:endParaRPr lang="en-US" sz="1200" dirty="0"/>
          </a:p>
        </p:txBody>
      </p:sp>
      <p:sp>
        <p:nvSpPr>
          <p:cNvPr id="53" name="Content Placeholder 52"/>
          <p:cNvSpPr>
            <a:spLocks noGrp="1"/>
          </p:cNvSpPr>
          <p:nvPr>
            <p:ph sz="quarter" idx="12"/>
          </p:nvPr>
        </p:nvSpPr>
        <p:spPr>
          <a:xfrm>
            <a:off x="6280154" y="3842385"/>
            <a:ext cx="2487613" cy="165226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72" name="Rectangle 6"/>
          <p:cNvSpPr>
            <a:spLocks noGrp="1" noChangeArrowheads="1"/>
          </p:cNvSpPr>
          <p:nvPr>
            <p:ph type="subTitle" idx="1"/>
          </p:nvPr>
        </p:nvSpPr>
        <p:spPr>
          <a:xfrm>
            <a:off x="685251" y="2091766"/>
            <a:ext cx="7805762" cy="563076"/>
          </a:xfrm>
        </p:spPr>
        <p:txBody>
          <a:bodyPr lIns="100538" rIns="100538"/>
          <a:lstStyle>
            <a:lvl1pPr marL="0" indent="0">
              <a:spcBef>
                <a:spcPts val="0"/>
              </a:spcBef>
              <a:defRPr sz="2600" b="0">
                <a:solidFill>
                  <a:srgbClr val="7A9B3D"/>
                </a:solidFill>
              </a:defRPr>
            </a:lvl1pPr>
          </a:lstStyle>
          <a:p>
            <a:r>
              <a:rPr lang="en-US"/>
              <a:t>Click to edit Master subtitle style</a:t>
            </a:r>
            <a:endParaRPr lang="en-US" dirty="0"/>
          </a:p>
        </p:txBody>
      </p:sp>
      <p:sp>
        <p:nvSpPr>
          <p:cNvPr id="74" name="Text Placeholder 43"/>
          <p:cNvSpPr>
            <a:spLocks noGrp="1"/>
          </p:cNvSpPr>
          <p:nvPr>
            <p:ph type="body" sz="quarter" idx="14" hasCustomPrompt="1"/>
          </p:nvPr>
        </p:nvSpPr>
        <p:spPr>
          <a:xfrm>
            <a:off x="685251" y="2581276"/>
            <a:ext cx="7805762" cy="266850"/>
          </a:xfrm>
        </p:spPr>
        <p:txBody>
          <a:bodyPr lIns="100538" rIns="100538"/>
          <a:lstStyle>
            <a:lvl1pPr>
              <a:spcBef>
                <a:spcPts val="0"/>
              </a:spcBef>
              <a:defRPr lang="en-US" sz="1200" b="0" kern="1200" dirty="0" smtClean="0">
                <a:solidFill>
                  <a:srgbClr val="333F48"/>
                </a:solidFill>
                <a:latin typeface="Arial"/>
                <a:ea typeface="ＭＳ Ｐゴシック" pitchFamily="34" charset="-128"/>
                <a:cs typeface="+mn-cs"/>
              </a:defRPr>
            </a:lvl1pPr>
          </a:lstStyle>
          <a:p>
            <a:pPr lvl="0"/>
            <a:r>
              <a:rPr lang="en-US" dirty="0"/>
              <a:t>Date</a:t>
            </a:r>
          </a:p>
        </p:txBody>
      </p:sp>
      <p:sp>
        <p:nvSpPr>
          <p:cNvPr id="50" name="Rectangle 176"/>
          <p:cNvSpPr>
            <a:spLocks noGrp="1" noChangeArrowheads="1"/>
          </p:cNvSpPr>
          <p:nvPr>
            <p:ph type="ftr" sz="quarter" idx="13"/>
          </p:nvPr>
        </p:nvSpPr>
        <p:spPr>
          <a:xfrm>
            <a:off x="272779" y="5877561"/>
            <a:ext cx="6014623" cy="260350"/>
          </a:xfrm>
        </p:spPr>
        <p:txBody>
          <a:bodyPr anchor="b" anchorCtr="0"/>
          <a:lstStyle>
            <a:lvl1pPr algn="l">
              <a:defRPr sz="800" b="0" smtClean="0">
                <a:solidFill>
                  <a:srgbClr val="000000"/>
                </a:solidFill>
              </a:defRPr>
            </a:lvl1pPr>
          </a:lstStyle>
          <a:p>
            <a:pPr>
              <a:defRPr/>
            </a:pPr>
            <a:r>
              <a:rPr lang="en-US" b="1" dirty="0"/>
              <a:t>For institutional use only.</a:t>
            </a:r>
          </a:p>
        </p:txBody>
      </p:sp>
      <p:sp>
        <p:nvSpPr>
          <p:cNvPr id="3" name="Rectangle 2"/>
          <p:cNvSpPr/>
          <p:nvPr userDrawn="1"/>
        </p:nvSpPr>
        <p:spPr>
          <a:xfrm>
            <a:off x="709199" y="1901645"/>
            <a:ext cx="1356462" cy="276999"/>
          </a:xfrm>
          <a:prstGeom prst="rect">
            <a:avLst/>
          </a:prstGeom>
        </p:spPr>
        <p:txBody>
          <a:bodyPr wrap="none" lIns="91397" tIns="45698" rIns="91397" bIns="45698">
            <a:spAutoFit/>
          </a:bodyPr>
          <a:lstStyle/>
          <a:p>
            <a:r>
              <a:rPr lang="en-US" b="1" dirty="0">
                <a:solidFill>
                  <a:srgbClr val="333F48"/>
                </a:solidFill>
                <a:latin typeface="Arial"/>
                <a:cs typeface="+mn-cs"/>
              </a:rPr>
              <a:t>Presentation to:</a:t>
            </a:r>
            <a:endParaRPr lang="en-US" dirty="0">
              <a:solidFill>
                <a:srgbClr val="000000"/>
              </a:solidFill>
              <a:latin typeface="Arial"/>
              <a:cs typeface="+mn-cs"/>
            </a:endParaRPr>
          </a:p>
        </p:txBody>
      </p:sp>
      <p:grpSp>
        <p:nvGrpSpPr>
          <p:cNvPr id="43" name="Group 42"/>
          <p:cNvGrpSpPr/>
          <p:nvPr userDrawn="1"/>
        </p:nvGrpSpPr>
        <p:grpSpPr>
          <a:xfrm>
            <a:off x="371883" y="6327117"/>
            <a:ext cx="4006611" cy="174407"/>
            <a:chOff x="371883" y="6327145"/>
            <a:chExt cx="4006611" cy="174407"/>
          </a:xfrm>
        </p:grpSpPr>
        <p:grpSp>
          <p:nvGrpSpPr>
            <p:cNvPr id="47" name="Group 46"/>
            <p:cNvGrpSpPr/>
            <p:nvPr userDrawn="1"/>
          </p:nvGrpSpPr>
          <p:grpSpPr>
            <a:xfrm>
              <a:off x="371883" y="6359447"/>
              <a:ext cx="3947551" cy="100654"/>
              <a:chOff x="362358" y="6368972"/>
              <a:chExt cx="3947551" cy="100654"/>
            </a:xfrm>
          </p:grpSpPr>
          <p:pic>
            <p:nvPicPr>
              <p:cNvPr id="51" name="Picture 5"/>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r="1439" b="-2834"/>
              <a:stretch/>
            </p:blipFill>
            <p:spPr bwMode="auto">
              <a:xfrm>
                <a:off x="362358" y="6368972"/>
                <a:ext cx="3848307" cy="100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2" name="AutoShape 4"/>
              <p:cNvSpPr>
                <a:spLocks noChangeAspect="1" noChangeArrowheads="1" noTextEdit="1"/>
              </p:cNvSpPr>
              <p:nvPr userDrawn="1"/>
            </p:nvSpPr>
            <p:spPr bwMode="auto">
              <a:xfrm>
                <a:off x="4213072" y="6374683"/>
                <a:ext cx="96837"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grpSp>
        <p:sp>
          <p:nvSpPr>
            <p:cNvPr id="49" name="TextBox 48"/>
            <p:cNvSpPr txBox="1"/>
            <p:nvPr userDrawn="1"/>
          </p:nvSpPr>
          <p:spPr>
            <a:xfrm>
              <a:off x="4144134" y="6327145"/>
              <a:ext cx="234360" cy="174407"/>
            </a:xfrm>
            <a:prstGeom prst="rect">
              <a:avLst/>
            </a:prstGeom>
            <a:noFill/>
          </p:spPr>
          <p:txBody>
            <a:bodyPr wrap="none" rtlCol="0">
              <a:spAutoFit/>
            </a:bodyPr>
            <a:lstStyle/>
            <a:p>
              <a:r>
                <a:rPr lang="en-US" sz="800" b="1" baseline="30000" dirty="0">
                  <a:solidFill>
                    <a:srgbClr val="000000"/>
                  </a:solidFill>
                  <a:latin typeface="Arial"/>
                  <a:cs typeface="+mn-cs"/>
                </a:rPr>
                <a:t>®</a:t>
              </a:r>
            </a:p>
          </p:txBody>
        </p:sp>
      </p:grpSp>
    </p:spTree>
    <p:extLst>
      <p:ext uri="{BB962C8B-B14F-4D97-AF65-F5344CB8AC3E}">
        <p14:creationId xmlns:p14="http://schemas.microsoft.com/office/powerpoint/2010/main" val="172872045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TOC/Agenda">
    <p:spTree>
      <p:nvGrpSpPr>
        <p:cNvPr id="1" name=""/>
        <p:cNvGrpSpPr/>
        <p:nvPr/>
      </p:nvGrpSpPr>
      <p:grpSpPr>
        <a:xfrm>
          <a:off x="0" y="0"/>
          <a:ext cx="0" cy="0"/>
          <a:chOff x="0" y="0"/>
          <a:chExt cx="0" cy="0"/>
        </a:xfrm>
      </p:grpSpPr>
      <p:sp>
        <p:nvSpPr>
          <p:cNvPr id="2" name="Title 1"/>
          <p:cNvSpPr>
            <a:spLocks noGrp="1"/>
          </p:cNvSpPr>
          <p:nvPr>
            <p:ph type="title"/>
          </p:nvPr>
        </p:nvSpPr>
        <p:spPr>
          <a:xfrm>
            <a:off x="317119" y="228600"/>
            <a:ext cx="8188710" cy="838200"/>
          </a:xfrm>
          <a:noFill/>
          <a:ln w="9525">
            <a:noFill/>
            <a:miter lim="800000"/>
            <a:headEnd/>
            <a:tailEnd/>
          </a:ln>
          <a:effectLst/>
        </p:spPr>
        <p:txBody>
          <a:bodyPr tIns="45698" anchor="t" anchorCtr="0"/>
          <a:lstStyle>
            <a:lvl1pPr>
              <a:defRPr kumimoji="0" lang="en-US" sz="2400" b="0" i="0" u="none" strike="noStrike" kern="0" cap="none" spc="0" normalizeH="0" baseline="0" noProof="0" dirty="0">
                <a:ln>
                  <a:noFill/>
                </a:ln>
                <a:solidFill>
                  <a:srgbClr val="333F48"/>
                </a:solidFill>
                <a:effectLst/>
                <a:uLnTx/>
                <a:uFillTx/>
                <a:latin typeface="+mj-lt"/>
                <a:ea typeface="+mj-ea"/>
                <a:cs typeface="+mj-cs"/>
              </a:defRPr>
            </a:lvl1pPr>
          </a:lstStyle>
          <a:p>
            <a:pPr lvl="0"/>
            <a:r>
              <a:rPr lang="en-US"/>
              <a:t>Click to edit Master title style</a:t>
            </a:r>
            <a:endParaRPr lang="en-US" dirty="0"/>
          </a:p>
        </p:txBody>
      </p:sp>
      <p:sp>
        <p:nvSpPr>
          <p:cNvPr id="10" name="Content Placeholder 9"/>
          <p:cNvSpPr>
            <a:spLocks noGrp="1"/>
          </p:cNvSpPr>
          <p:nvPr>
            <p:ph sz="quarter" idx="13"/>
          </p:nvPr>
        </p:nvSpPr>
        <p:spPr>
          <a:xfrm>
            <a:off x="317119" y="1339850"/>
            <a:ext cx="8188710" cy="3879131"/>
          </a:xfrm>
        </p:spPr>
        <p:txBody>
          <a:bodyPr/>
          <a:lstStyle>
            <a:lvl1pPr marL="226908" indent="-226908">
              <a:spcBef>
                <a:spcPts val="600"/>
              </a:spcBef>
              <a:buClr>
                <a:srgbClr val="7A9B3D"/>
              </a:buClr>
              <a:buSzPct val="100000"/>
              <a:buFont typeface="+mj-lt"/>
              <a:buAutoNum type="arabicPeriod"/>
              <a:defRPr sz="1400" b="0" i="0" baseline="0">
                <a:solidFill>
                  <a:srgbClr val="000000"/>
                </a:solidFill>
                <a:latin typeface="Arial" pitchFamily="34" charset="0"/>
              </a:defRPr>
            </a:lvl1pPr>
            <a:lvl2pPr marL="461747" indent="-217384">
              <a:spcBef>
                <a:spcPts val="600"/>
              </a:spcBef>
              <a:buClr>
                <a:srgbClr val="768692"/>
              </a:buClr>
              <a:buFont typeface="+mj-lt"/>
              <a:buAutoNum type="alphaUcPeriod"/>
              <a:defRPr sz="1200" baseline="0">
                <a:solidFill>
                  <a:srgbClr val="000000"/>
                </a:solidFill>
                <a:latin typeface="Arial" pitchFamily="34" charset="0"/>
              </a:defRPr>
            </a:lvl2pPr>
            <a:lvl3pPr>
              <a:spcBef>
                <a:spcPts val="600"/>
              </a:spcBef>
              <a:buClr>
                <a:srgbClr val="000000"/>
              </a:buClr>
              <a:defRPr baseline="0">
                <a:solidFill>
                  <a:srgbClr val="000000"/>
                </a:solidFill>
              </a:defRPr>
            </a:lvl3pPr>
          </a:lstStyle>
          <a:p>
            <a:pPr lvl="0"/>
            <a:r>
              <a:rPr lang="en-US"/>
              <a:t>Click to edit Master text styles</a:t>
            </a:r>
          </a:p>
          <a:p>
            <a:pPr lvl="1"/>
            <a:r>
              <a:rPr lang="en-US"/>
              <a:t>Second level</a:t>
            </a:r>
          </a:p>
          <a:p>
            <a:pPr lvl="2"/>
            <a:r>
              <a:rPr lang="en-US"/>
              <a:t>Third level</a:t>
            </a:r>
          </a:p>
        </p:txBody>
      </p:sp>
      <p:sp>
        <p:nvSpPr>
          <p:cNvPr id="5"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dirty="0"/>
              <a:t>For institutional use only.</a:t>
            </a:r>
          </a:p>
        </p:txBody>
      </p:sp>
      <p:sp>
        <p:nvSpPr>
          <p:cNvPr id="7" name="Rectangle 155"/>
          <p:cNvSpPr>
            <a:spLocks noGrp="1" noChangeArrowheads="1"/>
          </p:cNvSpPr>
          <p:nvPr>
            <p:ph type="dt" sz="half" idx="16"/>
          </p:nvPr>
        </p:nvSpPr>
        <p:spPr>
          <a:xfrm>
            <a:off x="320040" y="6655656"/>
            <a:ext cx="1983958" cy="120649"/>
          </a:xfrm>
        </p:spPr>
        <p:txBody>
          <a:bodyPr/>
          <a:lstStyle>
            <a:lvl1pPr algn="l">
              <a:defRPr sz="700" smtClean="0">
                <a:solidFill>
                  <a:srgbClr val="000000"/>
                </a:solidFill>
              </a:defRPr>
            </a:lvl1pPr>
          </a:lstStyle>
          <a:p>
            <a:pPr>
              <a:defRPr/>
            </a:pPr>
            <a:r>
              <a:rPr lang="en-US" dirty="0"/>
              <a:t>Production code #</a:t>
            </a:r>
          </a:p>
        </p:txBody>
      </p:sp>
      <p:grpSp>
        <p:nvGrpSpPr>
          <p:cNvPr id="8" name="Group 7"/>
          <p:cNvGrpSpPr/>
          <p:nvPr userDrawn="1"/>
        </p:nvGrpSpPr>
        <p:grpSpPr>
          <a:xfrm>
            <a:off x="7364320" y="6412514"/>
            <a:ext cx="1371600" cy="283464"/>
            <a:chOff x="4291013" y="3178175"/>
            <a:chExt cx="3197225" cy="688975"/>
          </a:xfrm>
        </p:grpSpPr>
        <p:sp>
          <p:nvSpPr>
            <p:cNvPr id="9"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1"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2"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3"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4"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5"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6"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7"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8"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9"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0"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1"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2"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3"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4"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5"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6"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7"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8"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9"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0"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1"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2"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3"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4"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grpSp>
      <p:sp>
        <p:nvSpPr>
          <p:cNvPr id="35" name="Text Box 5"/>
          <p:cNvSpPr txBox="1">
            <a:spLocks noChangeArrowheads="1"/>
          </p:cNvSpPr>
          <p:nvPr userDrawn="1"/>
        </p:nvSpPr>
        <p:spPr bwMode="auto">
          <a:xfrm>
            <a:off x="320041" y="6336796"/>
            <a:ext cx="6933168" cy="219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397" tIns="45698" rIns="91397" bIns="45698" anchor="b"/>
          <a:lstStyle>
            <a:lvl1pPr eaLnBrk="0" hangingPunct="0">
              <a:spcBef>
                <a:spcPct val="20000"/>
              </a:spcBef>
              <a:buSzPct val="40000"/>
              <a:defRPr sz="1600" b="1">
                <a:solidFill>
                  <a:schemeClr val="accent1"/>
                </a:solidFill>
                <a:latin typeface="Arial" charset="0"/>
              </a:defRPr>
            </a:lvl1pPr>
            <a:lvl2pPr marL="742950" indent="-285750" eaLnBrk="0" hangingPunct="0">
              <a:spcBef>
                <a:spcPct val="20000"/>
              </a:spcBef>
              <a:buClr>
                <a:srgbClr val="978981"/>
              </a:buClr>
              <a:buChar char="•"/>
              <a:defRPr sz="1400">
                <a:solidFill>
                  <a:schemeClr val="tx1"/>
                </a:solidFill>
                <a:latin typeface="Arial" charset="0"/>
              </a:defRPr>
            </a:lvl2pPr>
            <a:lvl3pPr marL="1143000" indent="-228600" eaLnBrk="0" hangingPunct="0">
              <a:spcBef>
                <a:spcPct val="20000"/>
              </a:spcBef>
              <a:buClr>
                <a:schemeClr val="accent1"/>
              </a:buClr>
              <a:buFont typeface="Arial" charset="0"/>
              <a:buChar char="–"/>
              <a:defRPr sz="1200">
                <a:solidFill>
                  <a:schemeClr val="accent1"/>
                </a:solidFill>
                <a:latin typeface="Arial" charset="0"/>
              </a:defRPr>
            </a:lvl3pPr>
            <a:lvl4pPr marL="1600200" indent="-228600" eaLnBrk="0" hangingPunct="0">
              <a:spcBef>
                <a:spcPct val="20000"/>
              </a:spcBef>
              <a:buFont typeface="Arial" charset="0"/>
              <a:buChar char="•"/>
              <a:defRPr sz="1200">
                <a:solidFill>
                  <a:srgbClr val="4C5F6C"/>
                </a:solidFill>
                <a:latin typeface="Arial" charset="0"/>
              </a:defRPr>
            </a:lvl4pPr>
            <a:lvl5pPr marL="2057400" indent="-228600" eaLnBrk="0" hangingPunct="0">
              <a:lnSpc>
                <a:spcPts val="2400"/>
              </a:lnSpc>
              <a:defRPr sz="1400">
                <a:solidFill>
                  <a:schemeClr val="tx1"/>
                </a:solidFill>
                <a:latin typeface="Arial" charset="0"/>
              </a:defRPr>
            </a:lvl5pPr>
            <a:lvl6pPr marL="2514600" indent="-228600" eaLnBrk="0" fontAlgn="base" hangingPunct="0">
              <a:lnSpc>
                <a:spcPts val="2400"/>
              </a:lnSpc>
              <a:spcBef>
                <a:spcPct val="0"/>
              </a:spcBef>
              <a:spcAft>
                <a:spcPct val="0"/>
              </a:spcAft>
              <a:defRPr sz="1400">
                <a:solidFill>
                  <a:schemeClr val="tx1"/>
                </a:solidFill>
                <a:latin typeface="Arial" charset="0"/>
              </a:defRPr>
            </a:lvl6pPr>
            <a:lvl7pPr marL="2971800" indent="-228600" eaLnBrk="0" fontAlgn="base" hangingPunct="0">
              <a:lnSpc>
                <a:spcPts val="2400"/>
              </a:lnSpc>
              <a:spcBef>
                <a:spcPct val="0"/>
              </a:spcBef>
              <a:spcAft>
                <a:spcPct val="0"/>
              </a:spcAft>
              <a:defRPr sz="1400">
                <a:solidFill>
                  <a:schemeClr val="tx1"/>
                </a:solidFill>
                <a:latin typeface="Arial" charset="0"/>
              </a:defRPr>
            </a:lvl7pPr>
            <a:lvl8pPr marL="3429000" indent="-228600" eaLnBrk="0" fontAlgn="base" hangingPunct="0">
              <a:lnSpc>
                <a:spcPts val="2400"/>
              </a:lnSpc>
              <a:spcBef>
                <a:spcPct val="0"/>
              </a:spcBef>
              <a:spcAft>
                <a:spcPct val="0"/>
              </a:spcAft>
              <a:defRPr sz="1400">
                <a:solidFill>
                  <a:schemeClr val="tx1"/>
                </a:solidFill>
                <a:latin typeface="Arial" charset="0"/>
              </a:defRPr>
            </a:lvl8pPr>
            <a:lvl9pPr marL="3886200" indent="-228600" eaLnBrk="0" fontAlgn="base" hangingPunct="0">
              <a:lnSpc>
                <a:spcPts val="2400"/>
              </a:lnSpc>
              <a:spcBef>
                <a:spcPct val="0"/>
              </a:spcBef>
              <a:spcAft>
                <a:spcPct val="0"/>
              </a:spcAft>
              <a:defRPr sz="1400">
                <a:solidFill>
                  <a:schemeClr val="tx1"/>
                </a:solidFill>
                <a:latin typeface="Arial" charset="0"/>
              </a:defRPr>
            </a:lvl9pPr>
          </a:lstStyle>
          <a:p>
            <a:pPr>
              <a:spcBef>
                <a:spcPts val="300"/>
              </a:spcBef>
            </a:pPr>
            <a:r>
              <a:rPr lang="en-US" sz="800" i="1" dirty="0">
                <a:solidFill>
                  <a:srgbClr val="000000"/>
                </a:solidFill>
                <a:cs typeface="+mn-cs"/>
              </a:rPr>
              <a:t>This document does not make an offer or solicitation to buy or sell any securities or services, and is not investment advice. FIAM does not provide legal or tax advice and we encourage you to consult your own lawyer, accountant or other advisor before making an investment.</a:t>
            </a:r>
          </a:p>
          <a:p>
            <a:pPr>
              <a:spcBef>
                <a:spcPts val="0"/>
              </a:spcBef>
            </a:pPr>
            <a:r>
              <a:rPr lang="en-US" sz="800" b="0" i="1" dirty="0">
                <a:solidFill>
                  <a:srgbClr val="000000"/>
                </a:solidFill>
                <a:cs typeface="+mn-cs"/>
              </a:rPr>
              <a:t>Information provided in this document is for informational and educational purposes only. To the extent any investment information in this material is deemed to be a recommendation, it is not meant to be impartial investment advice or advice in a fiduciary capacity and is not intended to be used as a primary basis for you or your client’s investment decisions. Fidelity and its representatives may have a conflict of interest in the products or services mentioned in this material because they have a financial interest in them, and receive compensation, directly or indirectly, in connection with the management, distribution, and/or servicing of these products or services, including Fidelity funds, certain third-party funds and products, and certain investment services.</a:t>
            </a:r>
          </a:p>
          <a:p>
            <a:pPr>
              <a:lnSpc>
                <a:spcPts val="1000"/>
              </a:lnSpc>
              <a:spcBef>
                <a:spcPct val="0"/>
              </a:spcBef>
              <a:spcAft>
                <a:spcPts val="300"/>
              </a:spcAft>
              <a:buSzTx/>
            </a:pPr>
            <a:r>
              <a:rPr lang="en-US" altLang="en-US" sz="800" b="0" dirty="0">
                <a:solidFill>
                  <a:srgbClr val="000000"/>
                </a:solidFill>
                <a:latin typeface="Arial"/>
                <a:cs typeface="+mn-cs"/>
              </a:rPr>
              <a:t>See “Important Information” for a discussion of performance data, some of the principal risks related to any of the investment strategies referred to in this presentation and other information related to this presentation.</a:t>
            </a:r>
          </a:p>
        </p:txBody>
      </p:sp>
    </p:spTree>
    <p:extLst>
      <p:ext uri="{BB962C8B-B14F-4D97-AF65-F5344CB8AC3E}">
        <p14:creationId xmlns:p14="http://schemas.microsoft.com/office/powerpoint/2010/main" val="471003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OC/Agenda_CFA">
    <p:spTree>
      <p:nvGrpSpPr>
        <p:cNvPr id="1" name=""/>
        <p:cNvGrpSpPr/>
        <p:nvPr/>
      </p:nvGrpSpPr>
      <p:grpSpPr>
        <a:xfrm>
          <a:off x="0" y="0"/>
          <a:ext cx="0" cy="0"/>
          <a:chOff x="0" y="0"/>
          <a:chExt cx="0" cy="0"/>
        </a:xfrm>
      </p:grpSpPr>
      <p:sp>
        <p:nvSpPr>
          <p:cNvPr id="2" name="Title 1"/>
          <p:cNvSpPr>
            <a:spLocks noGrp="1"/>
          </p:cNvSpPr>
          <p:nvPr>
            <p:ph type="title"/>
          </p:nvPr>
        </p:nvSpPr>
        <p:spPr>
          <a:xfrm>
            <a:off x="317119" y="228600"/>
            <a:ext cx="8188710" cy="838200"/>
          </a:xfrm>
          <a:noFill/>
          <a:ln w="9525">
            <a:noFill/>
            <a:miter lim="800000"/>
            <a:headEnd/>
            <a:tailEnd/>
          </a:ln>
          <a:effectLst/>
        </p:spPr>
        <p:txBody>
          <a:bodyPr tIns="45698" anchor="t" anchorCtr="0"/>
          <a:lstStyle>
            <a:lvl1pPr>
              <a:defRPr kumimoji="0" lang="en-US" sz="2400" b="0" i="0" u="none" strike="noStrike" kern="0" cap="none" spc="0" normalizeH="0" baseline="0" noProof="0" dirty="0">
                <a:ln>
                  <a:noFill/>
                </a:ln>
                <a:solidFill>
                  <a:srgbClr val="333F48"/>
                </a:solidFill>
                <a:effectLst/>
                <a:uLnTx/>
                <a:uFillTx/>
                <a:latin typeface="+mj-lt"/>
                <a:ea typeface="+mj-ea"/>
                <a:cs typeface="+mj-cs"/>
              </a:defRPr>
            </a:lvl1pPr>
          </a:lstStyle>
          <a:p>
            <a:pPr lvl="0"/>
            <a:r>
              <a:rPr lang="en-US"/>
              <a:t>Click to edit Master title style</a:t>
            </a:r>
            <a:endParaRPr lang="en-US" dirty="0"/>
          </a:p>
        </p:txBody>
      </p:sp>
      <p:sp>
        <p:nvSpPr>
          <p:cNvPr id="10" name="Content Placeholder 9"/>
          <p:cNvSpPr>
            <a:spLocks noGrp="1"/>
          </p:cNvSpPr>
          <p:nvPr>
            <p:ph sz="quarter" idx="13"/>
          </p:nvPr>
        </p:nvSpPr>
        <p:spPr>
          <a:xfrm>
            <a:off x="317119" y="1339850"/>
            <a:ext cx="8188710" cy="3879131"/>
          </a:xfrm>
        </p:spPr>
        <p:txBody>
          <a:bodyPr/>
          <a:lstStyle>
            <a:lvl1pPr marL="226908" indent="-226908">
              <a:spcBef>
                <a:spcPts val="600"/>
              </a:spcBef>
              <a:buClr>
                <a:srgbClr val="7A9B3D"/>
              </a:buClr>
              <a:buSzPct val="100000"/>
              <a:buFont typeface="+mj-lt"/>
              <a:buAutoNum type="arabicPeriod"/>
              <a:defRPr sz="1400" b="0" i="0" baseline="0">
                <a:solidFill>
                  <a:srgbClr val="000000"/>
                </a:solidFill>
                <a:latin typeface="Arial" pitchFamily="34" charset="0"/>
              </a:defRPr>
            </a:lvl1pPr>
            <a:lvl2pPr marL="461747" indent="-217384">
              <a:spcBef>
                <a:spcPts val="600"/>
              </a:spcBef>
              <a:buClr>
                <a:srgbClr val="768692"/>
              </a:buClr>
              <a:buFont typeface="+mj-lt"/>
              <a:buAutoNum type="alphaUcPeriod"/>
              <a:defRPr sz="1200" baseline="0">
                <a:solidFill>
                  <a:srgbClr val="000000"/>
                </a:solidFill>
                <a:latin typeface="Arial" pitchFamily="34" charset="0"/>
              </a:defRPr>
            </a:lvl2pPr>
            <a:lvl3pPr>
              <a:spcBef>
                <a:spcPts val="600"/>
              </a:spcBef>
              <a:buClr>
                <a:srgbClr val="000000"/>
              </a:buClr>
              <a:defRPr baseline="0">
                <a:solidFill>
                  <a:srgbClr val="000000"/>
                </a:solidFill>
              </a:defRPr>
            </a:lvl3pPr>
          </a:lstStyle>
          <a:p>
            <a:pPr lvl="0"/>
            <a:r>
              <a:rPr lang="en-US"/>
              <a:t>Click to edit Master text styles</a:t>
            </a:r>
          </a:p>
          <a:p>
            <a:pPr lvl="1"/>
            <a:r>
              <a:rPr lang="en-US"/>
              <a:t>Second level</a:t>
            </a:r>
          </a:p>
          <a:p>
            <a:pPr lvl="2"/>
            <a:r>
              <a:rPr lang="en-US"/>
              <a:t>Third level</a:t>
            </a:r>
          </a:p>
        </p:txBody>
      </p:sp>
      <p:sp>
        <p:nvSpPr>
          <p:cNvPr id="5"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dirty="0"/>
              <a:t>For institutional use only.</a:t>
            </a:r>
          </a:p>
        </p:txBody>
      </p:sp>
      <p:sp>
        <p:nvSpPr>
          <p:cNvPr id="7" name="Rectangle 155"/>
          <p:cNvSpPr>
            <a:spLocks noGrp="1" noChangeArrowheads="1"/>
          </p:cNvSpPr>
          <p:nvPr>
            <p:ph type="dt" sz="half" idx="16"/>
          </p:nvPr>
        </p:nvSpPr>
        <p:spPr>
          <a:xfrm>
            <a:off x="320040" y="6655656"/>
            <a:ext cx="1983958" cy="120649"/>
          </a:xfrm>
        </p:spPr>
        <p:txBody>
          <a:bodyPr/>
          <a:lstStyle>
            <a:lvl1pPr algn="l">
              <a:defRPr sz="700" smtClean="0">
                <a:solidFill>
                  <a:srgbClr val="000000"/>
                </a:solidFill>
              </a:defRPr>
            </a:lvl1pPr>
          </a:lstStyle>
          <a:p>
            <a:pPr>
              <a:defRPr/>
            </a:pPr>
            <a:r>
              <a:rPr lang="en-US" dirty="0"/>
              <a:t>Production code #</a:t>
            </a:r>
          </a:p>
        </p:txBody>
      </p:sp>
      <p:grpSp>
        <p:nvGrpSpPr>
          <p:cNvPr id="8" name="Group 7"/>
          <p:cNvGrpSpPr/>
          <p:nvPr userDrawn="1"/>
        </p:nvGrpSpPr>
        <p:grpSpPr>
          <a:xfrm>
            <a:off x="7364320" y="6412514"/>
            <a:ext cx="1371600" cy="283464"/>
            <a:chOff x="4291013" y="3178175"/>
            <a:chExt cx="3197225" cy="688975"/>
          </a:xfrm>
        </p:grpSpPr>
        <p:sp>
          <p:nvSpPr>
            <p:cNvPr id="9"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1"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2"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3"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4"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5"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6"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7"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8"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9"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0"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1"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2"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3"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4"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5"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6"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7"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8"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9"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0"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1"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2"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3"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4"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grpSp>
      <p:sp>
        <p:nvSpPr>
          <p:cNvPr id="36" name="Text Box 5"/>
          <p:cNvSpPr txBox="1">
            <a:spLocks noChangeArrowheads="1"/>
          </p:cNvSpPr>
          <p:nvPr userDrawn="1"/>
        </p:nvSpPr>
        <p:spPr bwMode="auto">
          <a:xfrm>
            <a:off x="320039" y="6336796"/>
            <a:ext cx="6770189" cy="219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397" tIns="45698" rIns="91397" bIns="45698" anchor="b"/>
          <a:lstStyle>
            <a:lvl1pPr eaLnBrk="0" hangingPunct="0">
              <a:spcBef>
                <a:spcPct val="20000"/>
              </a:spcBef>
              <a:buSzPct val="40000"/>
              <a:defRPr sz="1600" b="1">
                <a:solidFill>
                  <a:schemeClr val="accent1"/>
                </a:solidFill>
                <a:latin typeface="Arial" charset="0"/>
              </a:defRPr>
            </a:lvl1pPr>
            <a:lvl2pPr marL="742950" indent="-285750" eaLnBrk="0" hangingPunct="0">
              <a:spcBef>
                <a:spcPct val="20000"/>
              </a:spcBef>
              <a:buClr>
                <a:srgbClr val="978981"/>
              </a:buClr>
              <a:buChar char="•"/>
              <a:defRPr sz="1400">
                <a:solidFill>
                  <a:schemeClr val="tx1"/>
                </a:solidFill>
                <a:latin typeface="Arial" charset="0"/>
              </a:defRPr>
            </a:lvl2pPr>
            <a:lvl3pPr marL="1143000" indent="-228600" eaLnBrk="0" hangingPunct="0">
              <a:spcBef>
                <a:spcPct val="20000"/>
              </a:spcBef>
              <a:buClr>
                <a:schemeClr val="accent1"/>
              </a:buClr>
              <a:buFont typeface="Arial" charset="0"/>
              <a:buChar char="–"/>
              <a:defRPr sz="1200">
                <a:solidFill>
                  <a:schemeClr val="accent1"/>
                </a:solidFill>
                <a:latin typeface="Arial" charset="0"/>
              </a:defRPr>
            </a:lvl3pPr>
            <a:lvl4pPr marL="1600200" indent="-228600" eaLnBrk="0" hangingPunct="0">
              <a:spcBef>
                <a:spcPct val="20000"/>
              </a:spcBef>
              <a:buFont typeface="Arial" charset="0"/>
              <a:buChar char="•"/>
              <a:defRPr sz="1200">
                <a:solidFill>
                  <a:srgbClr val="4C5F6C"/>
                </a:solidFill>
                <a:latin typeface="Arial" charset="0"/>
              </a:defRPr>
            </a:lvl4pPr>
            <a:lvl5pPr marL="2057400" indent="-228600" eaLnBrk="0" hangingPunct="0">
              <a:lnSpc>
                <a:spcPts val="2400"/>
              </a:lnSpc>
              <a:defRPr sz="1400">
                <a:solidFill>
                  <a:schemeClr val="tx1"/>
                </a:solidFill>
                <a:latin typeface="Arial" charset="0"/>
              </a:defRPr>
            </a:lvl5pPr>
            <a:lvl6pPr marL="2514600" indent="-228600" eaLnBrk="0" fontAlgn="base" hangingPunct="0">
              <a:lnSpc>
                <a:spcPts val="2400"/>
              </a:lnSpc>
              <a:spcBef>
                <a:spcPct val="0"/>
              </a:spcBef>
              <a:spcAft>
                <a:spcPct val="0"/>
              </a:spcAft>
              <a:defRPr sz="1400">
                <a:solidFill>
                  <a:schemeClr val="tx1"/>
                </a:solidFill>
                <a:latin typeface="Arial" charset="0"/>
              </a:defRPr>
            </a:lvl6pPr>
            <a:lvl7pPr marL="2971800" indent="-228600" eaLnBrk="0" fontAlgn="base" hangingPunct="0">
              <a:lnSpc>
                <a:spcPts val="2400"/>
              </a:lnSpc>
              <a:spcBef>
                <a:spcPct val="0"/>
              </a:spcBef>
              <a:spcAft>
                <a:spcPct val="0"/>
              </a:spcAft>
              <a:defRPr sz="1400">
                <a:solidFill>
                  <a:schemeClr val="tx1"/>
                </a:solidFill>
                <a:latin typeface="Arial" charset="0"/>
              </a:defRPr>
            </a:lvl7pPr>
            <a:lvl8pPr marL="3429000" indent="-228600" eaLnBrk="0" fontAlgn="base" hangingPunct="0">
              <a:lnSpc>
                <a:spcPts val="2400"/>
              </a:lnSpc>
              <a:spcBef>
                <a:spcPct val="0"/>
              </a:spcBef>
              <a:spcAft>
                <a:spcPct val="0"/>
              </a:spcAft>
              <a:defRPr sz="1400">
                <a:solidFill>
                  <a:schemeClr val="tx1"/>
                </a:solidFill>
                <a:latin typeface="Arial" charset="0"/>
              </a:defRPr>
            </a:lvl8pPr>
            <a:lvl9pPr marL="3886200" indent="-228600" eaLnBrk="0" fontAlgn="base" hangingPunct="0">
              <a:lnSpc>
                <a:spcPts val="2400"/>
              </a:lnSpc>
              <a:spcBef>
                <a:spcPct val="0"/>
              </a:spcBef>
              <a:spcAft>
                <a:spcPct val="0"/>
              </a:spcAft>
              <a:defRPr sz="1400">
                <a:solidFill>
                  <a:schemeClr val="tx1"/>
                </a:solidFill>
                <a:latin typeface="Arial" charset="0"/>
              </a:defRPr>
            </a:lvl9pPr>
          </a:lstStyle>
          <a:p>
            <a:pPr>
              <a:lnSpc>
                <a:spcPts val="1000"/>
              </a:lnSpc>
              <a:spcBef>
                <a:spcPct val="0"/>
              </a:spcBef>
              <a:spcAft>
                <a:spcPts val="300"/>
              </a:spcAft>
              <a:buSzTx/>
            </a:pPr>
            <a:r>
              <a:rPr lang="en-US" altLang="en-US" sz="800" b="0" i="1" dirty="0">
                <a:solidFill>
                  <a:srgbClr val="000000"/>
                </a:solidFill>
                <a:latin typeface="Arial"/>
                <a:cs typeface="+mn-cs"/>
              </a:rPr>
              <a:t>Unless otherwise disclosed to you, in providing this information, Fidelity is not undertaking to provide impartial investment advice, or to give advice in a fiduciary capacity, in connection with any investment or transaction described herein. Fiduciaries are solely responsible for exercising independent judgment in evaluating any transaction(s) and are assumed to be capable of evaluating investment risks independently, both in general and with regard to particular transactions and investment strategies. Fidelity has a financial interest in any transaction(s) that fiduciaries, and if applicable, their clients, may enter into involving Fidelity's products or services.</a:t>
            </a:r>
          </a:p>
          <a:p>
            <a:pPr>
              <a:lnSpc>
                <a:spcPts val="1000"/>
              </a:lnSpc>
              <a:spcBef>
                <a:spcPct val="0"/>
              </a:spcBef>
              <a:spcAft>
                <a:spcPts val="300"/>
              </a:spcAft>
              <a:buSzTx/>
            </a:pPr>
            <a:r>
              <a:rPr lang="en-US" altLang="en-US" sz="800" b="0" dirty="0">
                <a:solidFill>
                  <a:srgbClr val="000000"/>
                </a:solidFill>
                <a:latin typeface="Arial"/>
                <a:cs typeface="+mn-cs"/>
              </a:rPr>
              <a:t>See “Important Information” for a discussion of performance data, some of the principal risks related to any of the investment strategies referred to in this presentation, professional designations and how they are obtained, and other information related to this presentation.</a:t>
            </a:r>
          </a:p>
        </p:txBody>
      </p:sp>
    </p:spTree>
    <p:extLst>
      <p:ext uri="{BB962C8B-B14F-4D97-AF65-F5344CB8AC3E}">
        <p14:creationId xmlns:p14="http://schemas.microsoft.com/office/powerpoint/2010/main" val="80943603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17119" y="228600"/>
            <a:ext cx="8188710" cy="838200"/>
          </a:xfrm>
        </p:spPr>
        <p:txBody>
          <a:bodyPr/>
          <a:lstStyle>
            <a:lvl1pPr>
              <a:defRPr>
                <a:solidFill>
                  <a:srgbClr val="333F48"/>
                </a:solidFill>
              </a:defRPr>
            </a:lvl1pPr>
          </a:lstStyle>
          <a:p>
            <a:r>
              <a:rPr lang="en-US"/>
              <a:t>Click to edit Master title style</a:t>
            </a:r>
            <a:endParaRPr lang="en-US" dirty="0"/>
          </a:p>
        </p:txBody>
      </p:sp>
      <p:sp>
        <p:nvSpPr>
          <p:cNvPr id="8"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dirty="0"/>
              <a:t>For institutional use only.</a:t>
            </a:r>
          </a:p>
        </p:txBody>
      </p:sp>
      <p:sp>
        <p:nvSpPr>
          <p:cNvPr id="9" name="Rectangle 155"/>
          <p:cNvSpPr>
            <a:spLocks noGrp="1" noChangeArrowheads="1"/>
          </p:cNvSpPr>
          <p:nvPr>
            <p:ph type="dt" sz="half" idx="16"/>
          </p:nvPr>
        </p:nvSpPr>
        <p:spPr>
          <a:xfrm>
            <a:off x="320040" y="6655656"/>
            <a:ext cx="1983958" cy="120649"/>
          </a:xfrm>
        </p:spPr>
        <p:txBody>
          <a:bodyPr/>
          <a:lstStyle>
            <a:lvl1pPr algn="l">
              <a:defRPr sz="700" smtClean="0">
                <a:solidFill>
                  <a:srgbClr val="000000"/>
                </a:solidFill>
              </a:defRPr>
            </a:lvl1pPr>
          </a:lstStyle>
          <a:p>
            <a:pPr>
              <a:defRPr/>
            </a:pPr>
            <a:r>
              <a:rPr lang="en-US" dirty="0"/>
              <a:t>Production code #</a:t>
            </a:r>
          </a:p>
        </p:txBody>
      </p:sp>
      <p:grpSp>
        <p:nvGrpSpPr>
          <p:cNvPr id="10" name="Group 9"/>
          <p:cNvGrpSpPr/>
          <p:nvPr userDrawn="1"/>
        </p:nvGrpSpPr>
        <p:grpSpPr>
          <a:xfrm>
            <a:off x="7364320" y="6412514"/>
            <a:ext cx="1371600" cy="283464"/>
            <a:chOff x="4291013" y="3178175"/>
            <a:chExt cx="3197225" cy="688975"/>
          </a:xfrm>
        </p:grpSpPr>
        <p:sp>
          <p:nvSpPr>
            <p:cNvPr id="11"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2"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3"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4"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5"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6"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7"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8"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9"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0"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1"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2"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3"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4"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5"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6"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7"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8"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9"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0"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1"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2"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3"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4"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5"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grpSp>
      <p:sp>
        <p:nvSpPr>
          <p:cNvPr id="36"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149628425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17119" y="228600"/>
            <a:ext cx="8188710" cy="838200"/>
          </a:xfrm>
        </p:spPr>
        <p:txBody>
          <a:bodyPr/>
          <a:lstStyle/>
          <a:p>
            <a:r>
              <a:rPr lang="en-US"/>
              <a:t>Click to edit Master title style</a:t>
            </a:r>
            <a:endParaRPr lang="en-US" dirty="0"/>
          </a:p>
        </p:txBody>
      </p:sp>
      <p:sp>
        <p:nvSpPr>
          <p:cNvPr id="7" name="Content Placeholder 2"/>
          <p:cNvSpPr>
            <a:spLocks noGrp="1"/>
          </p:cNvSpPr>
          <p:nvPr>
            <p:ph idx="13"/>
          </p:nvPr>
        </p:nvSpPr>
        <p:spPr>
          <a:xfrm>
            <a:off x="317119" y="1339850"/>
            <a:ext cx="8188710" cy="4878388"/>
          </a:xfrm>
        </p:spPr>
        <p:txBody>
          <a:bodyPr lIns="91397"/>
          <a:lstStyle>
            <a:lvl1pPr marL="0" indent="0" algn="l" rtl="0" fontAlgn="base">
              <a:spcBef>
                <a:spcPts val="480"/>
              </a:spcBef>
              <a:spcAft>
                <a:spcPct val="0"/>
              </a:spcAft>
              <a:buSzPct val="40000"/>
              <a:defRPr lang="en-US" sz="1600" b="1" dirty="0" smtClean="0">
                <a:solidFill>
                  <a:schemeClr val="accent3"/>
                </a:solidFill>
                <a:latin typeface="+mn-lt"/>
                <a:ea typeface="+mn-ea"/>
                <a:cs typeface="+mn-cs"/>
              </a:defRPr>
            </a:lvl1pPr>
            <a:lvl2pPr>
              <a:spcBef>
                <a:spcPts val="1999"/>
              </a:spcBef>
              <a:defRPr lang="en-US" dirty="0" smtClean="0">
                <a:solidFill>
                  <a:schemeClr val="tx1"/>
                </a:solidFill>
                <a:latin typeface="+mn-lt"/>
              </a:defRPr>
            </a:lvl2pPr>
            <a:lvl3pPr>
              <a:defRPr lang="en-US" sz="1600" dirty="0" smtClean="0">
                <a:solidFill>
                  <a:schemeClr val="accent1"/>
                </a:solidFill>
                <a:latin typeface="+mn-lt"/>
              </a:defRPr>
            </a:lvl3pPr>
            <a:lvl4pPr>
              <a:buClr>
                <a:schemeClr val="bg2"/>
              </a:buClr>
              <a:buSzPct val="80000"/>
              <a:buFont typeface="Arial" pitchFamily="34" charset="0"/>
              <a:buChar char="•"/>
              <a:defRPr sz="1400">
                <a:solidFill>
                  <a:schemeClr val="accent1"/>
                </a:solidFill>
              </a:defRPr>
            </a:lvl4pPr>
          </a:lstStyle>
          <a:p>
            <a:pPr lvl="0"/>
            <a:r>
              <a:rPr lang="en-US"/>
              <a:t>Click to edit Master text styles</a:t>
            </a:r>
          </a:p>
        </p:txBody>
      </p:sp>
      <p:sp>
        <p:nvSpPr>
          <p:cNvPr id="10"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dirty="0"/>
              <a:t>For institutional use only.</a:t>
            </a:r>
          </a:p>
        </p:txBody>
      </p:sp>
      <p:sp>
        <p:nvSpPr>
          <p:cNvPr id="11" name="Rectangle 155"/>
          <p:cNvSpPr>
            <a:spLocks noGrp="1" noChangeArrowheads="1"/>
          </p:cNvSpPr>
          <p:nvPr>
            <p:ph type="dt" sz="half" idx="16"/>
          </p:nvPr>
        </p:nvSpPr>
        <p:spPr>
          <a:xfrm>
            <a:off x="320040" y="6655656"/>
            <a:ext cx="1983958" cy="120649"/>
          </a:xfrm>
        </p:spPr>
        <p:txBody>
          <a:bodyPr/>
          <a:lstStyle>
            <a:lvl1pPr algn="l">
              <a:defRPr sz="700" smtClean="0">
                <a:solidFill>
                  <a:srgbClr val="000000"/>
                </a:solidFill>
              </a:defRPr>
            </a:lvl1pPr>
          </a:lstStyle>
          <a:p>
            <a:pPr>
              <a:defRPr/>
            </a:pPr>
            <a:r>
              <a:rPr lang="en-US" dirty="0"/>
              <a:t>Production code #</a:t>
            </a:r>
          </a:p>
        </p:txBody>
      </p:sp>
      <p:grpSp>
        <p:nvGrpSpPr>
          <p:cNvPr id="12" name="Group 11"/>
          <p:cNvGrpSpPr/>
          <p:nvPr userDrawn="1"/>
        </p:nvGrpSpPr>
        <p:grpSpPr>
          <a:xfrm>
            <a:off x="7364320" y="6412514"/>
            <a:ext cx="1371600" cy="283464"/>
            <a:chOff x="4291013" y="3178175"/>
            <a:chExt cx="3197225" cy="688975"/>
          </a:xfrm>
        </p:grpSpPr>
        <p:sp>
          <p:nvSpPr>
            <p:cNvPr id="13"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4"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5"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6"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7"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8"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9"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0"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1"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2"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3"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4"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5"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6"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7"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8"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9"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0"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1"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2"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3"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4"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5"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6"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7"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grpSp>
      <p:sp>
        <p:nvSpPr>
          <p:cNvPr id="38"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15179870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5_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119" y="228600"/>
            <a:ext cx="8188710" cy="841248"/>
          </a:xfrm>
        </p:spPr>
        <p:txBody>
          <a:bodyPr/>
          <a:lstStyle>
            <a:lvl1pPr>
              <a:defRPr>
                <a:solidFill>
                  <a:srgbClr val="333F48"/>
                </a:solidFill>
              </a:defRPr>
            </a:lvl1pPr>
          </a:lstStyle>
          <a:p>
            <a:r>
              <a:rPr lang="en-US"/>
              <a:t>Click to edit Master title style</a:t>
            </a:r>
            <a:endParaRPr lang="en-US" dirty="0"/>
          </a:p>
        </p:txBody>
      </p:sp>
      <p:sp>
        <p:nvSpPr>
          <p:cNvPr id="11" name="Content Placeholder 2"/>
          <p:cNvSpPr>
            <a:spLocks noGrp="1"/>
          </p:cNvSpPr>
          <p:nvPr>
            <p:ph idx="12"/>
          </p:nvPr>
        </p:nvSpPr>
        <p:spPr>
          <a:xfrm>
            <a:off x="317119" y="1339850"/>
            <a:ext cx="8188710" cy="4878388"/>
          </a:xfrm>
        </p:spPr>
        <p:txBody>
          <a:bodyPr lIns="91397"/>
          <a:lstStyle>
            <a:lvl1pPr marL="0" indent="0" algn="l" rtl="0" fontAlgn="base">
              <a:spcBef>
                <a:spcPts val="480"/>
              </a:spcBef>
              <a:spcAft>
                <a:spcPct val="0"/>
              </a:spcAft>
              <a:buSzPct val="40000"/>
              <a:defRPr lang="en-US" sz="1600" b="1" dirty="0" smtClean="0">
                <a:solidFill>
                  <a:srgbClr val="7A9B3D"/>
                </a:solidFill>
                <a:latin typeface="+mn-lt"/>
                <a:ea typeface="+mn-ea"/>
                <a:cs typeface="+mn-cs"/>
              </a:defRPr>
            </a:lvl1pPr>
            <a:lvl2pPr marL="114248" indent="-114248">
              <a:spcBef>
                <a:spcPts val="288"/>
              </a:spcBef>
              <a:buClr>
                <a:srgbClr val="7A9B3D"/>
              </a:buClr>
              <a:defRPr lang="en-US" dirty="0" smtClean="0">
                <a:solidFill>
                  <a:srgbClr val="000000"/>
                </a:solidFill>
                <a:latin typeface="+mn-lt"/>
              </a:defRPr>
            </a:lvl2pPr>
            <a:lvl3pPr marL="228492" indent="-114248">
              <a:buClr>
                <a:srgbClr val="768692"/>
              </a:buClr>
              <a:defRPr lang="en-US" sz="1200" dirty="0" smtClean="0">
                <a:solidFill>
                  <a:srgbClr val="000000"/>
                </a:solidFill>
                <a:latin typeface="+mn-lt"/>
              </a:defRPr>
            </a:lvl3pPr>
            <a:lvl4pPr marL="342739" indent="-114248">
              <a:buClr>
                <a:srgbClr val="000000"/>
              </a:buClr>
              <a:buSzPct val="100000"/>
              <a:buFont typeface="Arial" pitchFamily="34" charset="0"/>
              <a:buChar char="•"/>
              <a:defRPr sz="1200">
                <a:solidFill>
                  <a:srgbClr val="000000"/>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dirty="0"/>
              <a:t>For institutional use only.</a:t>
            </a:r>
          </a:p>
        </p:txBody>
      </p:sp>
      <p:sp>
        <p:nvSpPr>
          <p:cNvPr id="13" name="Rectangle 155"/>
          <p:cNvSpPr>
            <a:spLocks noGrp="1" noChangeArrowheads="1"/>
          </p:cNvSpPr>
          <p:nvPr>
            <p:ph type="dt" sz="half" idx="16"/>
          </p:nvPr>
        </p:nvSpPr>
        <p:spPr>
          <a:xfrm>
            <a:off x="320040" y="6655656"/>
            <a:ext cx="1983958" cy="120649"/>
          </a:xfrm>
        </p:spPr>
        <p:txBody>
          <a:bodyPr/>
          <a:lstStyle>
            <a:lvl1pPr algn="l">
              <a:defRPr sz="700" smtClean="0">
                <a:solidFill>
                  <a:srgbClr val="000000"/>
                </a:solidFill>
              </a:defRPr>
            </a:lvl1pPr>
          </a:lstStyle>
          <a:p>
            <a:pPr>
              <a:defRPr/>
            </a:pPr>
            <a:r>
              <a:rPr lang="en-US" dirty="0"/>
              <a:t>Production code #</a:t>
            </a:r>
          </a:p>
        </p:txBody>
      </p:sp>
      <p:grpSp>
        <p:nvGrpSpPr>
          <p:cNvPr id="14" name="Group 13"/>
          <p:cNvGrpSpPr/>
          <p:nvPr userDrawn="1"/>
        </p:nvGrpSpPr>
        <p:grpSpPr>
          <a:xfrm>
            <a:off x="7364320" y="6412514"/>
            <a:ext cx="1371600" cy="283464"/>
            <a:chOff x="4291013" y="3178175"/>
            <a:chExt cx="3197225" cy="688975"/>
          </a:xfrm>
        </p:grpSpPr>
        <p:sp>
          <p:nvSpPr>
            <p:cNvPr id="15"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6"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7"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8"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9"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0"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1"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2"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3"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4"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5"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6"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7"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8"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9"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0"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1"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2"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3"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4"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5"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6"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7"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8"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9"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grpSp>
      <p:sp>
        <p:nvSpPr>
          <p:cNvPr id="40"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291164685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4_Bulleted List - with subhead">
    <p:spTree>
      <p:nvGrpSpPr>
        <p:cNvPr id="1" name=""/>
        <p:cNvGrpSpPr/>
        <p:nvPr/>
      </p:nvGrpSpPr>
      <p:grpSpPr>
        <a:xfrm>
          <a:off x="0" y="0"/>
          <a:ext cx="0" cy="0"/>
          <a:chOff x="0" y="0"/>
          <a:chExt cx="0" cy="0"/>
        </a:xfrm>
      </p:grpSpPr>
      <p:sp>
        <p:nvSpPr>
          <p:cNvPr id="2" name="Title 1"/>
          <p:cNvSpPr>
            <a:spLocks noGrp="1"/>
          </p:cNvSpPr>
          <p:nvPr>
            <p:ph type="title"/>
          </p:nvPr>
        </p:nvSpPr>
        <p:spPr>
          <a:xfrm>
            <a:off x="317119" y="228600"/>
            <a:ext cx="8188710" cy="841248"/>
          </a:xfrm>
        </p:spPr>
        <p:txBody>
          <a:bodyPr/>
          <a:lstStyle/>
          <a:p>
            <a:r>
              <a:rPr lang="en-US"/>
              <a:t>Click to edit Master title style</a:t>
            </a:r>
            <a:endParaRPr lang="en-US" dirty="0"/>
          </a:p>
        </p:txBody>
      </p:sp>
      <p:sp>
        <p:nvSpPr>
          <p:cNvPr id="11" name="Content Placeholder 2"/>
          <p:cNvSpPr>
            <a:spLocks noGrp="1"/>
          </p:cNvSpPr>
          <p:nvPr>
            <p:ph idx="12"/>
          </p:nvPr>
        </p:nvSpPr>
        <p:spPr>
          <a:xfrm>
            <a:off x="317119" y="1339850"/>
            <a:ext cx="8188710" cy="4878388"/>
          </a:xfrm>
        </p:spPr>
        <p:txBody>
          <a:bodyPr lIns="91397"/>
          <a:lstStyle>
            <a:lvl1pPr marL="0" indent="0" algn="l" rtl="0" fontAlgn="base">
              <a:spcBef>
                <a:spcPts val="480"/>
              </a:spcBef>
              <a:spcAft>
                <a:spcPct val="0"/>
              </a:spcAft>
              <a:buSzPct val="40000"/>
              <a:defRPr lang="en-US" sz="1600" b="1" dirty="0" smtClean="0">
                <a:solidFill>
                  <a:srgbClr val="7A9B3D"/>
                </a:solidFill>
                <a:latin typeface="+mn-lt"/>
                <a:ea typeface="+mn-ea"/>
                <a:cs typeface="+mn-cs"/>
              </a:defRPr>
            </a:lvl1pPr>
            <a:lvl2pPr marL="114248" indent="-114248">
              <a:spcBef>
                <a:spcPts val="288"/>
              </a:spcBef>
              <a:buClr>
                <a:srgbClr val="7A9B3D"/>
              </a:buClr>
              <a:defRPr lang="en-US" dirty="0" smtClean="0">
                <a:solidFill>
                  <a:srgbClr val="000000"/>
                </a:solidFill>
                <a:latin typeface="+mn-lt"/>
              </a:defRPr>
            </a:lvl2pPr>
            <a:lvl3pPr marL="228492" indent="-114248">
              <a:buClr>
                <a:srgbClr val="768692"/>
              </a:buClr>
              <a:defRPr lang="en-US" sz="1200" dirty="0" smtClean="0">
                <a:solidFill>
                  <a:srgbClr val="000000"/>
                </a:solidFill>
                <a:latin typeface="+mn-lt"/>
              </a:defRPr>
            </a:lvl3pPr>
            <a:lvl4pPr marL="342739" indent="-114248">
              <a:buClr>
                <a:srgbClr val="000000"/>
              </a:buClr>
              <a:buSzPct val="100000"/>
              <a:buFont typeface="Arial" pitchFamily="34" charset="0"/>
              <a:buChar char="•"/>
              <a:defRPr sz="1200">
                <a:solidFill>
                  <a:srgbClr val="000000"/>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dirty="0"/>
              <a:t>For institutional use only.</a:t>
            </a:r>
          </a:p>
        </p:txBody>
      </p:sp>
      <p:sp>
        <p:nvSpPr>
          <p:cNvPr id="13" name="Rectangle 155"/>
          <p:cNvSpPr>
            <a:spLocks noGrp="1" noChangeArrowheads="1"/>
          </p:cNvSpPr>
          <p:nvPr>
            <p:ph type="dt" sz="half" idx="16"/>
          </p:nvPr>
        </p:nvSpPr>
        <p:spPr>
          <a:xfrm>
            <a:off x="320040" y="6655656"/>
            <a:ext cx="1983958" cy="120649"/>
          </a:xfrm>
        </p:spPr>
        <p:txBody>
          <a:bodyPr/>
          <a:lstStyle>
            <a:lvl1pPr algn="l">
              <a:defRPr sz="700" smtClean="0">
                <a:solidFill>
                  <a:srgbClr val="000000"/>
                </a:solidFill>
              </a:defRPr>
            </a:lvl1pPr>
          </a:lstStyle>
          <a:p>
            <a:pPr>
              <a:defRPr/>
            </a:pPr>
            <a:r>
              <a:rPr lang="en-US" dirty="0"/>
              <a:t>Production code #</a:t>
            </a:r>
          </a:p>
        </p:txBody>
      </p:sp>
      <p:grpSp>
        <p:nvGrpSpPr>
          <p:cNvPr id="14" name="Group 13"/>
          <p:cNvGrpSpPr/>
          <p:nvPr userDrawn="1"/>
        </p:nvGrpSpPr>
        <p:grpSpPr>
          <a:xfrm>
            <a:off x="7364320" y="6412514"/>
            <a:ext cx="1371600" cy="283464"/>
            <a:chOff x="4291013" y="3178175"/>
            <a:chExt cx="3197225" cy="688975"/>
          </a:xfrm>
        </p:grpSpPr>
        <p:sp>
          <p:nvSpPr>
            <p:cNvPr id="15"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6"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7"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8"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9"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0"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1"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2"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3"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4"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5"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6"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7"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8"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9"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0"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1"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2"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3"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4"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5"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6"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7"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8"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9"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grpSp>
      <p:sp>
        <p:nvSpPr>
          <p:cNvPr id="40"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201883240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4_Important Information">
    <p:spTree>
      <p:nvGrpSpPr>
        <p:cNvPr id="1" name=""/>
        <p:cNvGrpSpPr/>
        <p:nvPr/>
      </p:nvGrpSpPr>
      <p:grpSpPr>
        <a:xfrm>
          <a:off x="0" y="0"/>
          <a:ext cx="0" cy="0"/>
          <a:chOff x="0" y="0"/>
          <a:chExt cx="0" cy="0"/>
        </a:xfrm>
      </p:grpSpPr>
      <p:sp>
        <p:nvSpPr>
          <p:cNvPr id="2" name="Title 1"/>
          <p:cNvSpPr>
            <a:spLocks noGrp="1"/>
          </p:cNvSpPr>
          <p:nvPr>
            <p:ph type="title"/>
          </p:nvPr>
        </p:nvSpPr>
        <p:spPr>
          <a:xfrm>
            <a:off x="317119" y="228600"/>
            <a:ext cx="8188710" cy="838200"/>
          </a:xfrm>
        </p:spPr>
        <p:txBody>
          <a:bodyPr/>
          <a:lstStyle>
            <a:lvl1pPr>
              <a:defRPr>
                <a:solidFill>
                  <a:srgbClr val="333F48"/>
                </a:solidFill>
              </a:defRPr>
            </a:lvl1pPr>
          </a:lstStyle>
          <a:p>
            <a:r>
              <a:rPr lang="en-US"/>
              <a:t>Click to edit Master title style</a:t>
            </a:r>
            <a:endParaRPr lang="en-US" dirty="0"/>
          </a:p>
        </p:txBody>
      </p:sp>
      <p:sp>
        <p:nvSpPr>
          <p:cNvPr id="3" name="Content Placeholder 2"/>
          <p:cNvSpPr>
            <a:spLocks noGrp="1"/>
          </p:cNvSpPr>
          <p:nvPr>
            <p:ph idx="1"/>
          </p:nvPr>
        </p:nvSpPr>
        <p:spPr>
          <a:xfrm>
            <a:off x="317119" y="1076325"/>
            <a:ext cx="8188710" cy="4808538"/>
          </a:xfrm>
          <a:noFill/>
          <a:ln w="9525">
            <a:noFill/>
            <a:miter lim="800000"/>
            <a:headEnd/>
            <a:tailEnd/>
          </a:ln>
          <a:effectLst/>
        </p:spPr>
        <p:txBody>
          <a:bodyPr lIns="91397"/>
          <a:lstStyle>
            <a:lvl1pPr marL="0" indent="0" algn="l" rtl="0" eaLnBrk="1" fontAlgn="base" hangingPunct="1">
              <a:spcAft>
                <a:spcPct val="0"/>
              </a:spcAft>
              <a:buSzPct val="40000"/>
              <a:defRPr lang="en-US" sz="1000" b="0" dirty="0" smtClean="0">
                <a:solidFill>
                  <a:srgbClr val="000000"/>
                </a:solidFill>
                <a:latin typeface="+mn-lt"/>
                <a:ea typeface="+mn-ea"/>
                <a:cs typeface="+mn-cs"/>
              </a:defRPr>
            </a:lvl1pPr>
            <a:lvl2pPr marL="0" indent="0" algn="l" rtl="0" eaLnBrk="1" fontAlgn="base" hangingPunct="1">
              <a:spcBef>
                <a:spcPts val="600"/>
              </a:spcBef>
              <a:spcAft>
                <a:spcPct val="0"/>
              </a:spcAft>
              <a:buSzPct val="40000"/>
              <a:buNone/>
              <a:defRPr lang="en-US" sz="1000" b="1" dirty="0">
                <a:solidFill>
                  <a:srgbClr val="000000"/>
                </a:solidFill>
                <a:latin typeface="+mn-lt"/>
                <a:ea typeface="+mn-ea"/>
                <a:cs typeface="+mn-cs"/>
              </a:defRPr>
            </a:lvl2pPr>
          </a:lstStyle>
          <a:p>
            <a:pPr lvl="0"/>
            <a:r>
              <a:rPr lang="en-US"/>
              <a:t>Click to edit Master text styles</a:t>
            </a:r>
          </a:p>
          <a:p>
            <a:pPr lvl="1"/>
            <a:r>
              <a:rPr lang="en-US"/>
              <a:t>Second level</a:t>
            </a:r>
          </a:p>
        </p:txBody>
      </p:sp>
      <p:sp>
        <p:nvSpPr>
          <p:cNvPr id="9"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dirty="0"/>
              <a:t>For institutional use only.</a:t>
            </a:r>
          </a:p>
        </p:txBody>
      </p:sp>
      <p:sp>
        <p:nvSpPr>
          <p:cNvPr id="10" name="Rectangle 155"/>
          <p:cNvSpPr>
            <a:spLocks noGrp="1" noChangeArrowheads="1"/>
          </p:cNvSpPr>
          <p:nvPr>
            <p:ph type="dt" sz="half" idx="16"/>
          </p:nvPr>
        </p:nvSpPr>
        <p:spPr>
          <a:xfrm>
            <a:off x="320040" y="6655656"/>
            <a:ext cx="1983958" cy="120649"/>
          </a:xfrm>
        </p:spPr>
        <p:txBody>
          <a:bodyPr/>
          <a:lstStyle>
            <a:lvl1pPr algn="l">
              <a:defRPr sz="700" smtClean="0">
                <a:solidFill>
                  <a:srgbClr val="000000"/>
                </a:solidFill>
              </a:defRPr>
            </a:lvl1pPr>
          </a:lstStyle>
          <a:p>
            <a:pPr>
              <a:defRPr/>
            </a:pPr>
            <a:r>
              <a:rPr lang="en-US" dirty="0"/>
              <a:t>Production code #</a:t>
            </a:r>
          </a:p>
        </p:txBody>
      </p:sp>
      <p:grpSp>
        <p:nvGrpSpPr>
          <p:cNvPr id="11" name="Group 10"/>
          <p:cNvGrpSpPr/>
          <p:nvPr userDrawn="1"/>
        </p:nvGrpSpPr>
        <p:grpSpPr>
          <a:xfrm>
            <a:off x="7364320" y="6412514"/>
            <a:ext cx="1371600" cy="283464"/>
            <a:chOff x="4291013" y="3178175"/>
            <a:chExt cx="3197225" cy="688975"/>
          </a:xfrm>
        </p:grpSpPr>
        <p:sp>
          <p:nvSpPr>
            <p:cNvPr id="12"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3"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4"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5"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6"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7"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8"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9"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0"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1"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2"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3"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4"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5"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6"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7"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8"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9"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0"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1"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2"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3"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4"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5"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6"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grpSp>
      <p:sp>
        <p:nvSpPr>
          <p:cNvPr id="37"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154504765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_Biography">
    <p:spTree>
      <p:nvGrpSpPr>
        <p:cNvPr id="1" name=""/>
        <p:cNvGrpSpPr/>
        <p:nvPr/>
      </p:nvGrpSpPr>
      <p:grpSpPr>
        <a:xfrm>
          <a:off x="0" y="0"/>
          <a:ext cx="0" cy="0"/>
          <a:chOff x="0" y="0"/>
          <a:chExt cx="0" cy="0"/>
        </a:xfrm>
      </p:grpSpPr>
      <p:sp>
        <p:nvSpPr>
          <p:cNvPr id="2" name="Title 1"/>
          <p:cNvSpPr>
            <a:spLocks noGrp="1"/>
          </p:cNvSpPr>
          <p:nvPr>
            <p:ph type="title"/>
          </p:nvPr>
        </p:nvSpPr>
        <p:spPr>
          <a:xfrm>
            <a:off x="317119" y="228600"/>
            <a:ext cx="8188710" cy="838200"/>
          </a:xfrm>
        </p:spPr>
        <p:txBody>
          <a:bodyPr/>
          <a:lstStyle/>
          <a:p>
            <a:r>
              <a:rPr lang="en-US"/>
              <a:t>Click to edit Master title style</a:t>
            </a:r>
            <a:endParaRPr lang="en-US" dirty="0"/>
          </a:p>
        </p:txBody>
      </p:sp>
      <p:sp>
        <p:nvSpPr>
          <p:cNvPr id="3" name="Content Placeholder 2"/>
          <p:cNvSpPr>
            <a:spLocks noGrp="1"/>
          </p:cNvSpPr>
          <p:nvPr>
            <p:ph idx="1"/>
          </p:nvPr>
        </p:nvSpPr>
        <p:spPr>
          <a:xfrm>
            <a:off x="317119" y="1073262"/>
            <a:ext cx="8188710" cy="439305"/>
          </a:xfrm>
        </p:spPr>
        <p:txBody>
          <a:bodyPr lIns="91397"/>
          <a:lstStyle>
            <a:lvl1pPr marL="0" indent="0">
              <a:spcBef>
                <a:spcPts val="0"/>
              </a:spcBef>
              <a:defRPr lang="en-US" sz="1200" b="1" dirty="0" smtClean="0">
                <a:solidFill>
                  <a:srgbClr val="7A9B3D"/>
                </a:solidFill>
                <a:latin typeface="+mn-lt"/>
                <a:ea typeface="+mn-ea"/>
                <a:cs typeface="+mn-cs"/>
              </a:defRPr>
            </a:lvl1pPr>
            <a:lvl2pPr marL="0" indent="0">
              <a:spcBef>
                <a:spcPts val="0"/>
              </a:spcBef>
              <a:buNone/>
              <a:defRPr sz="1200" b="0" i="1">
                <a:solidFill>
                  <a:srgbClr val="7A9B3D"/>
                </a:solidFill>
              </a:defRPr>
            </a:lvl2pPr>
          </a:lstStyle>
          <a:p>
            <a:pPr lvl="0"/>
            <a:r>
              <a:rPr lang="en-US"/>
              <a:t>Click to edit Master text styles</a:t>
            </a:r>
          </a:p>
          <a:p>
            <a:pPr lvl="1"/>
            <a:r>
              <a:rPr lang="en-US"/>
              <a:t>Second level</a:t>
            </a:r>
          </a:p>
        </p:txBody>
      </p:sp>
      <p:sp>
        <p:nvSpPr>
          <p:cNvPr id="10" name="Content Placeholder 9"/>
          <p:cNvSpPr>
            <a:spLocks noGrp="1"/>
          </p:cNvSpPr>
          <p:nvPr>
            <p:ph sz="quarter" idx="13"/>
          </p:nvPr>
        </p:nvSpPr>
        <p:spPr>
          <a:xfrm>
            <a:off x="317119" y="1526854"/>
            <a:ext cx="8188710" cy="4691387"/>
          </a:xfrm>
        </p:spPr>
        <p:txBody>
          <a:bodyPr lIns="91397"/>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dirty="0"/>
              <a:t>For institutional use only.</a:t>
            </a:r>
          </a:p>
        </p:txBody>
      </p:sp>
      <p:sp>
        <p:nvSpPr>
          <p:cNvPr id="12" name="Rectangle 155"/>
          <p:cNvSpPr>
            <a:spLocks noGrp="1" noChangeArrowheads="1"/>
          </p:cNvSpPr>
          <p:nvPr>
            <p:ph type="dt" sz="half" idx="16"/>
          </p:nvPr>
        </p:nvSpPr>
        <p:spPr>
          <a:xfrm>
            <a:off x="320040" y="6655656"/>
            <a:ext cx="1983958" cy="120649"/>
          </a:xfrm>
        </p:spPr>
        <p:txBody>
          <a:bodyPr/>
          <a:lstStyle>
            <a:lvl1pPr algn="l">
              <a:defRPr sz="700" smtClean="0">
                <a:solidFill>
                  <a:srgbClr val="000000"/>
                </a:solidFill>
              </a:defRPr>
            </a:lvl1pPr>
          </a:lstStyle>
          <a:p>
            <a:pPr>
              <a:defRPr/>
            </a:pPr>
            <a:r>
              <a:rPr lang="en-US" dirty="0"/>
              <a:t>Production code #</a:t>
            </a:r>
          </a:p>
        </p:txBody>
      </p:sp>
      <p:grpSp>
        <p:nvGrpSpPr>
          <p:cNvPr id="13" name="Group 12"/>
          <p:cNvGrpSpPr/>
          <p:nvPr userDrawn="1"/>
        </p:nvGrpSpPr>
        <p:grpSpPr>
          <a:xfrm>
            <a:off x="7364320" y="6412514"/>
            <a:ext cx="1371600" cy="283464"/>
            <a:chOff x="4291013" y="3178175"/>
            <a:chExt cx="3197225" cy="688975"/>
          </a:xfrm>
        </p:grpSpPr>
        <p:sp>
          <p:nvSpPr>
            <p:cNvPr id="14"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5"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6"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7"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8"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9"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0"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1"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2"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3"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4"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5"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6"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7"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8"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9"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0"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1"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2"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3"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4"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5"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6"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7"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8"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grpSp>
      <p:sp>
        <p:nvSpPr>
          <p:cNvPr id="39"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194469979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4_Biography 2">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7948" cy="838200"/>
          </a:xfrm>
        </p:spPr>
        <p:txBody>
          <a:bodyPr/>
          <a:lstStyle/>
          <a:p>
            <a:r>
              <a:rPr lang="en-US"/>
              <a:t>Click to edit Master title style</a:t>
            </a:r>
            <a:endParaRPr lang="en-US" dirty="0"/>
          </a:p>
        </p:txBody>
      </p:sp>
      <p:sp>
        <p:nvSpPr>
          <p:cNvPr id="3" name="Content Placeholder 2"/>
          <p:cNvSpPr>
            <a:spLocks noGrp="1"/>
          </p:cNvSpPr>
          <p:nvPr>
            <p:ph idx="1"/>
          </p:nvPr>
        </p:nvSpPr>
        <p:spPr>
          <a:xfrm>
            <a:off x="317115" y="1073262"/>
            <a:ext cx="8187948" cy="439305"/>
          </a:xfrm>
        </p:spPr>
        <p:txBody>
          <a:bodyPr lIns="91397"/>
          <a:lstStyle>
            <a:lvl1pPr marL="0" indent="0">
              <a:spcBef>
                <a:spcPts val="0"/>
              </a:spcBef>
              <a:defRPr lang="en-US" sz="1200" b="1" dirty="0" smtClean="0">
                <a:solidFill>
                  <a:srgbClr val="7A9B3D"/>
                </a:solidFill>
                <a:latin typeface="+mn-lt"/>
                <a:ea typeface="+mn-ea"/>
                <a:cs typeface="+mn-cs"/>
              </a:defRPr>
            </a:lvl1pPr>
            <a:lvl2pPr marL="0" indent="0">
              <a:spcBef>
                <a:spcPts val="0"/>
              </a:spcBef>
              <a:buNone/>
              <a:defRPr sz="1200" b="0" i="1">
                <a:solidFill>
                  <a:srgbClr val="7A9B3D"/>
                </a:solidFill>
              </a:defRPr>
            </a:lvl2pPr>
          </a:lstStyle>
          <a:p>
            <a:pPr lvl="0"/>
            <a:r>
              <a:rPr lang="en-US"/>
              <a:t>Click to edit Master text styles</a:t>
            </a:r>
          </a:p>
          <a:p>
            <a:pPr lvl="1"/>
            <a:r>
              <a:rPr lang="en-US"/>
              <a:t>Second level</a:t>
            </a:r>
          </a:p>
        </p:txBody>
      </p:sp>
      <p:sp>
        <p:nvSpPr>
          <p:cNvPr id="10" name="Content Placeholder 9"/>
          <p:cNvSpPr>
            <a:spLocks noGrp="1"/>
          </p:cNvSpPr>
          <p:nvPr>
            <p:ph sz="quarter" idx="13"/>
          </p:nvPr>
        </p:nvSpPr>
        <p:spPr>
          <a:xfrm>
            <a:off x="317119" y="1526855"/>
            <a:ext cx="8188710" cy="1902149"/>
          </a:xfrm>
        </p:spPr>
        <p:txBody>
          <a:bodyPr lIns="91397"/>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p:cNvSpPr>
            <a:spLocks noGrp="1"/>
          </p:cNvSpPr>
          <p:nvPr>
            <p:ph idx="17"/>
          </p:nvPr>
        </p:nvSpPr>
        <p:spPr>
          <a:xfrm>
            <a:off x="317119" y="3666462"/>
            <a:ext cx="8188710" cy="439305"/>
          </a:xfrm>
        </p:spPr>
        <p:txBody>
          <a:bodyPr lIns="91397"/>
          <a:lstStyle>
            <a:lvl1pPr marL="0" indent="0">
              <a:spcBef>
                <a:spcPts val="0"/>
              </a:spcBef>
              <a:defRPr lang="en-US" sz="1200" b="1" dirty="0" smtClean="0">
                <a:solidFill>
                  <a:srgbClr val="7A9B3D"/>
                </a:solidFill>
                <a:latin typeface="+mn-lt"/>
                <a:ea typeface="+mn-ea"/>
                <a:cs typeface="+mn-cs"/>
              </a:defRPr>
            </a:lvl1pPr>
            <a:lvl2pPr marL="0" indent="0">
              <a:spcBef>
                <a:spcPts val="0"/>
              </a:spcBef>
              <a:buNone/>
              <a:defRPr sz="1200" b="0" i="1">
                <a:solidFill>
                  <a:srgbClr val="7A9B3D"/>
                </a:solidFill>
              </a:defRPr>
            </a:lvl2pPr>
          </a:lstStyle>
          <a:p>
            <a:pPr lvl="0"/>
            <a:r>
              <a:rPr lang="en-US"/>
              <a:t>Click to edit Master text styles</a:t>
            </a:r>
          </a:p>
          <a:p>
            <a:pPr lvl="1"/>
            <a:r>
              <a:rPr lang="en-US"/>
              <a:t>Second level</a:t>
            </a:r>
          </a:p>
        </p:txBody>
      </p:sp>
      <p:sp>
        <p:nvSpPr>
          <p:cNvPr id="9" name="Content Placeholder 9"/>
          <p:cNvSpPr>
            <a:spLocks noGrp="1"/>
          </p:cNvSpPr>
          <p:nvPr>
            <p:ph sz="quarter" idx="18"/>
          </p:nvPr>
        </p:nvSpPr>
        <p:spPr>
          <a:xfrm>
            <a:off x="317119" y="4120055"/>
            <a:ext cx="8188710" cy="1902149"/>
          </a:xfrm>
        </p:spPr>
        <p:txBody>
          <a:bodyPr lIns="91397"/>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dirty="0"/>
              <a:t>For institutional use only.</a:t>
            </a:r>
          </a:p>
        </p:txBody>
      </p:sp>
      <p:sp>
        <p:nvSpPr>
          <p:cNvPr id="14" name="Rectangle 155"/>
          <p:cNvSpPr>
            <a:spLocks noGrp="1" noChangeArrowheads="1"/>
          </p:cNvSpPr>
          <p:nvPr>
            <p:ph type="dt" sz="half" idx="16"/>
          </p:nvPr>
        </p:nvSpPr>
        <p:spPr>
          <a:xfrm>
            <a:off x="320040" y="6655656"/>
            <a:ext cx="1983958" cy="120649"/>
          </a:xfrm>
        </p:spPr>
        <p:txBody>
          <a:bodyPr/>
          <a:lstStyle>
            <a:lvl1pPr algn="l">
              <a:defRPr sz="700" smtClean="0">
                <a:solidFill>
                  <a:srgbClr val="000000"/>
                </a:solidFill>
              </a:defRPr>
            </a:lvl1pPr>
          </a:lstStyle>
          <a:p>
            <a:pPr>
              <a:defRPr/>
            </a:pPr>
            <a:r>
              <a:rPr lang="en-US" dirty="0"/>
              <a:t>Production code #</a:t>
            </a:r>
          </a:p>
        </p:txBody>
      </p:sp>
      <p:grpSp>
        <p:nvGrpSpPr>
          <p:cNvPr id="15" name="Group 14"/>
          <p:cNvGrpSpPr/>
          <p:nvPr userDrawn="1"/>
        </p:nvGrpSpPr>
        <p:grpSpPr>
          <a:xfrm>
            <a:off x="7364320" y="6412514"/>
            <a:ext cx="1371600" cy="283464"/>
            <a:chOff x="4291013" y="3178175"/>
            <a:chExt cx="3197225" cy="688975"/>
          </a:xfrm>
        </p:grpSpPr>
        <p:sp>
          <p:nvSpPr>
            <p:cNvPr id="16"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7"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8"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9"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0"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1"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2"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3"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4"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5"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6"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7"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8"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9"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0"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1"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2"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3"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4"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5"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6"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7"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8"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9"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40"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grpSp>
      <p:sp>
        <p:nvSpPr>
          <p:cNvPr id="41"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2566221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Biography 2">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7948" cy="838200"/>
          </a:xfrm>
        </p:spPr>
        <p:txBody>
          <a:bodyPr/>
          <a:lstStyle/>
          <a:p>
            <a:r>
              <a:rPr lang="en-US"/>
              <a:t>Click to edit Master title style</a:t>
            </a:r>
            <a:endParaRPr lang="en-US" dirty="0"/>
          </a:p>
        </p:txBody>
      </p:sp>
      <p:sp>
        <p:nvSpPr>
          <p:cNvPr id="3" name="Content Placeholder 2"/>
          <p:cNvSpPr>
            <a:spLocks noGrp="1"/>
          </p:cNvSpPr>
          <p:nvPr>
            <p:ph idx="1"/>
          </p:nvPr>
        </p:nvSpPr>
        <p:spPr>
          <a:xfrm>
            <a:off x="317115" y="1073258"/>
            <a:ext cx="8187948" cy="439305"/>
          </a:xfrm>
        </p:spPr>
        <p:txBody>
          <a:bodyPr lIns="91440"/>
          <a:lstStyle>
            <a:lvl1pPr marL="0" indent="0">
              <a:spcBef>
                <a:spcPts val="0"/>
              </a:spcBef>
              <a:defRPr lang="en-US" sz="1200" b="1" dirty="0" smtClean="0">
                <a:solidFill>
                  <a:srgbClr val="7A9B3D"/>
                </a:solidFill>
                <a:latin typeface="+mn-lt"/>
                <a:ea typeface="+mn-ea"/>
                <a:cs typeface="+mn-cs"/>
              </a:defRPr>
            </a:lvl1pPr>
            <a:lvl2pPr marL="0" indent="0">
              <a:spcBef>
                <a:spcPts val="0"/>
              </a:spcBef>
              <a:buNone/>
              <a:defRPr sz="1200" b="0" i="1">
                <a:solidFill>
                  <a:srgbClr val="7A9B3D"/>
                </a:solidFill>
              </a:defRPr>
            </a:lvl2pPr>
          </a:lstStyle>
          <a:p>
            <a:pPr lvl="0"/>
            <a:r>
              <a:rPr lang="en-US"/>
              <a:t>Click to edit Master text styles</a:t>
            </a:r>
          </a:p>
          <a:p>
            <a:pPr lvl="1"/>
            <a:r>
              <a:rPr lang="en-US"/>
              <a:t>Second level</a:t>
            </a:r>
          </a:p>
        </p:txBody>
      </p:sp>
      <p:sp>
        <p:nvSpPr>
          <p:cNvPr id="10" name="Content Placeholder 9"/>
          <p:cNvSpPr>
            <a:spLocks noGrp="1"/>
          </p:cNvSpPr>
          <p:nvPr>
            <p:ph sz="quarter" idx="13"/>
          </p:nvPr>
        </p:nvSpPr>
        <p:spPr>
          <a:xfrm>
            <a:off x="317115" y="1526851"/>
            <a:ext cx="8188710" cy="1902149"/>
          </a:xfrm>
        </p:spPr>
        <p:txBody>
          <a:bodyPr lIns="91440"/>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p:cNvSpPr>
            <a:spLocks noGrp="1"/>
          </p:cNvSpPr>
          <p:nvPr>
            <p:ph idx="17"/>
          </p:nvPr>
        </p:nvSpPr>
        <p:spPr>
          <a:xfrm>
            <a:off x="317115" y="3666458"/>
            <a:ext cx="8188710" cy="439305"/>
          </a:xfrm>
        </p:spPr>
        <p:txBody>
          <a:bodyPr lIns="91440"/>
          <a:lstStyle>
            <a:lvl1pPr marL="0" indent="0">
              <a:spcBef>
                <a:spcPts val="0"/>
              </a:spcBef>
              <a:defRPr lang="en-US" sz="1200" b="1" dirty="0" smtClean="0">
                <a:solidFill>
                  <a:srgbClr val="7A9B3D"/>
                </a:solidFill>
                <a:latin typeface="+mn-lt"/>
                <a:ea typeface="+mn-ea"/>
                <a:cs typeface="+mn-cs"/>
              </a:defRPr>
            </a:lvl1pPr>
            <a:lvl2pPr marL="0" indent="0">
              <a:spcBef>
                <a:spcPts val="0"/>
              </a:spcBef>
              <a:buNone/>
              <a:defRPr sz="1200" b="0" i="1">
                <a:solidFill>
                  <a:srgbClr val="7A9B3D"/>
                </a:solidFill>
              </a:defRPr>
            </a:lvl2pPr>
          </a:lstStyle>
          <a:p>
            <a:pPr lvl="0"/>
            <a:r>
              <a:rPr lang="en-US"/>
              <a:t>Click to edit Master text styles</a:t>
            </a:r>
          </a:p>
          <a:p>
            <a:pPr lvl="1"/>
            <a:r>
              <a:rPr lang="en-US"/>
              <a:t>Second level</a:t>
            </a:r>
          </a:p>
        </p:txBody>
      </p:sp>
      <p:sp>
        <p:nvSpPr>
          <p:cNvPr id="9" name="Content Placeholder 9"/>
          <p:cNvSpPr>
            <a:spLocks noGrp="1"/>
          </p:cNvSpPr>
          <p:nvPr>
            <p:ph sz="quarter" idx="18"/>
          </p:nvPr>
        </p:nvSpPr>
        <p:spPr>
          <a:xfrm>
            <a:off x="317115" y="4120051"/>
            <a:ext cx="8188710" cy="1902149"/>
          </a:xfrm>
        </p:spPr>
        <p:txBody>
          <a:bodyPr lIns="91440"/>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14"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a:t>201607-20094</a:t>
            </a:r>
            <a:endParaRPr lang="en-US" dirty="0"/>
          </a:p>
        </p:txBody>
      </p:sp>
      <p:grpSp>
        <p:nvGrpSpPr>
          <p:cNvPr id="15" name="Group 14"/>
          <p:cNvGrpSpPr/>
          <p:nvPr userDrawn="1"/>
        </p:nvGrpSpPr>
        <p:grpSpPr>
          <a:xfrm>
            <a:off x="7364320" y="6412511"/>
            <a:ext cx="1371600" cy="283464"/>
            <a:chOff x="4291013" y="3178175"/>
            <a:chExt cx="3197225" cy="688975"/>
          </a:xfrm>
        </p:grpSpPr>
        <p:sp>
          <p:nvSpPr>
            <p:cNvPr id="16"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41"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203523597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73742" cy="838200"/>
          </a:xfrm>
        </p:spPr>
        <p:txBody>
          <a:bodyPr/>
          <a:lstStyle/>
          <a:p>
            <a:r>
              <a:rPr lang="en-US"/>
              <a:t>Click to edit Master title style</a:t>
            </a:r>
            <a:endParaRPr lang="en-US" dirty="0"/>
          </a:p>
        </p:txBody>
      </p:sp>
      <p:sp>
        <p:nvSpPr>
          <p:cNvPr id="3" name="Content Placeholder 2"/>
          <p:cNvSpPr>
            <a:spLocks noGrp="1"/>
          </p:cNvSpPr>
          <p:nvPr>
            <p:ph sz="half" idx="1"/>
          </p:nvPr>
        </p:nvSpPr>
        <p:spPr>
          <a:xfrm>
            <a:off x="317115" y="1339850"/>
            <a:ext cx="3878262" cy="4878388"/>
          </a:xfrm>
        </p:spPr>
        <p:txBody>
          <a:bodyPr lIns="91397"/>
          <a:lstStyle>
            <a:lvl1pPr>
              <a:spcBef>
                <a:spcPts val="600"/>
              </a:spcBef>
              <a:defRPr sz="1400">
                <a:solidFill>
                  <a:srgbClr val="7A9B3D"/>
                </a:solidFill>
              </a:defRPr>
            </a:lvl1pPr>
            <a:lvl2pPr marL="114248" indent="-114248">
              <a:spcBef>
                <a:spcPts val="600"/>
              </a:spcBef>
              <a:buClr>
                <a:srgbClr val="7A9B3D"/>
              </a:buClr>
              <a:defRPr sz="1200">
                <a:solidFill>
                  <a:srgbClr val="000000"/>
                </a:solidFill>
              </a:defRPr>
            </a:lvl2pPr>
            <a:lvl3pPr marL="228492" indent="-114248">
              <a:spcBef>
                <a:spcPts val="600"/>
              </a:spcBef>
              <a:buClr>
                <a:srgbClr val="768692"/>
              </a:buClr>
              <a:defRPr sz="1100">
                <a:solidFill>
                  <a:srgbClr val="000000"/>
                </a:solidFill>
              </a:defRPr>
            </a:lvl3pPr>
            <a:lvl4pPr marL="342739" indent="-114248">
              <a:spcBef>
                <a:spcPts val="600"/>
              </a:spcBef>
              <a:buClr>
                <a:srgbClr val="000000"/>
              </a:buClr>
              <a:defRPr sz="1100">
                <a:solidFill>
                  <a:srgbClr val="000000"/>
                </a:solidFill>
              </a:defRPr>
            </a:lvl4pPr>
            <a:lvl5pP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2"/>
          <p:cNvSpPr>
            <a:spLocks noGrp="1"/>
          </p:cNvSpPr>
          <p:nvPr>
            <p:ph sz="half" idx="13"/>
          </p:nvPr>
        </p:nvSpPr>
        <p:spPr>
          <a:xfrm>
            <a:off x="4611450" y="1339850"/>
            <a:ext cx="3878262" cy="4878388"/>
          </a:xfrm>
        </p:spPr>
        <p:txBody>
          <a:bodyPr lIns="91397"/>
          <a:lstStyle>
            <a:lvl1pPr>
              <a:spcBef>
                <a:spcPts val="600"/>
              </a:spcBef>
              <a:defRPr sz="1400">
                <a:solidFill>
                  <a:srgbClr val="7A9B3D"/>
                </a:solidFill>
              </a:defRPr>
            </a:lvl1pPr>
            <a:lvl2pPr marL="114248" indent="-114248">
              <a:spcBef>
                <a:spcPts val="600"/>
              </a:spcBef>
              <a:buClr>
                <a:srgbClr val="7A9B3D"/>
              </a:buClr>
              <a:defRPr sz="1200">
                <a:solidFill>
                  <a:srgbClr val="000000"/>
                </a:solidFill>
              </a:defRPr>
            </a:lvl2pPr>
            <a:lvl3pPr marL="228492" indent="-114248">
              <a:spcBef>
                <a:spcPts val="600"/>
              </a:spcBef>
              <a:buClr>
                <a:srgbClr val="768692"/>
              </a:buClr>
              <a:defRPr sz="1100">
                <a:solidFill>
                  <a:srgbClr val="000000"/>
                </a:solidFill>
              </a:defRPr>
            </a:lvl3pPr>
            <a:lvl4pPr marL="342739" indent="-114248">
              <a:spcBef>
                <a:spcPts val="600"/>
              </a:spcBef>
              <a:buClr>
                <a:srgbClr val="000000"/>
              </a:buClr>
              <a:defRPr sz="1100">
                <a:solidFill>
                  <a:srgbClr val="000000"/>
                </a:solidFill>
              </a:defRPr>
            </a:lvl4pPr>
            <a:lvl5pP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dirty="0"/>
              <a:t>For institutional use only.</a:t>
            </a:r>
          </a:p>
        </p:txBody>
      </p:sp>
      <p:sp>
        <p:nvSpPr>
          <p:cNvPr id="12" name="Rectangle 155"/>
          <p:cNvSpPr>
            <a:spLocks noGrp="1" noChangeArrowheads="1"/>
          </p:cNvSpPr>
          <p:nvPr>
            <p:ph type="dt" sz="half" idx="16"/>
          </p:nvPr>
        </p:nvSpPr>
        <p:spPr>
          <a:xfrm>
            <a:off x="320040" y="6655656"/>
            <a:ext cx="1983958" cy="120649"/>
          </a:xfrm>
        </p:spPr>
        <p:txBody>
          <a:bodyPr/>
          <a:lstStyle>
            <a:lvl1pPr algn="l">
              <a:defRPr sz="700" smtClean="0">
                <a:solidFill>
                  <a:srgbClr val="000000"/>
                </a:solidFill>
              </a:defRPr>
            </a:lvl1pPr>
          </a:lstStyle>
          <a:p>
            <a:pPr>
              <a:defRPr/>
            </a:pPr>
            <a:r>
              <a:rPr lang="en-US" dirty="0"/>
              <a:t>Production code #</a:t>
            </a:r>
          </a:p>
        </p:txBody>
      </p:sp>
      <p:grpSp>
        <p:nvGrpSpPr>
          <p:cNvPr id="13" name="Group 12"/>
          <p:cNvGrpSpPr/>
          <p:nvPr userDrawn="1"/>
        </p:nvGrpSpPr>
        <p:grpSpPr>
          <a:xfrm>
            <a:off x="7364320" y="6412514"/>
            <a:ext cx="1371600" cy="283464"/>
            <a:chOff x="4291013" y="3178175"/>
            <a:chExt cx="3197225" cy="688975"/>
          </a:xfrm>
        </p:grpSpPr>
        <p:sp>
          <p:nvSpPr>
            <p:cNvPr id="14"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5"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6"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7"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8"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9"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0"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1"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2"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3"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4"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5"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6"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7"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8"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9"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0"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1"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2"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3"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4"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5"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6"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7"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8"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grpSp>
      <p:sp>
        <p:nvSpPr>
          <p:cNvPr id="39"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711683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Comparison">
    <p:spTree>
      <p:nvGrpSpPr>
        <p:cNvPr id="1" name=""/>
        <p:cNvGrpSpPr/>
        <p:nvPr/>
      </p:nvGrpSpPr>
      <p:grpSpPr>
        <a:xfrm>
          <a:off x="0" y="0"/>
          <a:ext cx="0" cy="0"/>
          <a:chOff x="0" y="0"/>
          <a:chExt cx="0" cy="0"/>
        </a:xfrm>
      </p:grpSpPr>
      <p:sp>
        <p:nvSpPr>
          <p:cNvPr id="2" name="Title 1"/>
          <p:cNvSpPr>
            <a:spLocks noGrp="1"/>
          </p:cNvSpPr>
          <p:nvPr>
            <p:ph type="title"/>
          </p:nvPr>
        </p:nvSpPr>
        <p:spPr>
          <a:xfrm>
            <a:off x="317119" y="228600"/>
            <a:ext cx="8188710" cy="86868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hasCustomPrompt="1"/>
          </p:nvPr>
        </p:nvSpPr>
        <p:spPr>
          <a:xfrm>
            <a:off x="317115" y="1004757"/>
            <a:ext cx="4040188" cy="639762"/>
          </a:xfrm>
        </p:spPr>
        <p:txBody>
          <a:bodyPr lIns="91397" anchor="b"/>
          <a:lstStyle>
            <a:lvl1pPr marL="0" indent="0">
              <a:buNone/>
              <a:defRPr sz="1400" b="1">
                <a:solidFill>
                  <a:srgbClr val="000000"/>
                </a:solidFill>
              </a:defRPr>
            </a:lvl1pPr>
            <a:lvl2pPr marL="456986" indent="0">
              <a:buNone/>
              <a:defRPr sz="2000" b="1"/>
            </a:lvl2pPr>
            <a:lvl3pPr marL="913972" indent="0">
              <a:buNone/>
              <a:defRPr sz="1800" b="1"/>
            </a:lvl3pPr>
            <a:lvl4pPr marL="1370959" indent="0">
              <a:buNone/>
              <a:defRPr sz="1600" b="1"/>
            </a:lvl4pPr>
            <a:lvl5pPr marL="1827945" indent="0">
              <a:buNone/>
              <a:defRPr sz="1600" b="1"/>
            </a:lvl5pPr>
            <a:lvl6pPr marL="2284932" indent="0">
              <a:buNone/>
              <a:defRPr sz="1600" b="1"/>
            </a:lvl6pPr>
            <a:lvl7pPr marL="2741916" indent="0">
              <a:buNone/>
              <a:defRPr sz="1600" b="1"/>
            </a:lvl7pPr>
            <a:lvl8pPr marL="3198904" indent="0">
              <a:buNone/>
              <a:defRPr sz="1600" b="1"/>
            </a:lvl8pPr>
            <a:lvl9pPr marL="3655888" indent="0">
              <a:buNone/>
              <a:defRPr sz="1600" b="1"/>
            </a:lvl9pPr>
          </a:lstStyle>
          <a:p>
            <a:pPr lvl="0"/>
            <a:r>
              <a:rPr lang="en-US" dirty="0"/>
              <a:t>CLICK TO EDIT MASTER TEXT STYLES</a:t>
            </a:r>
          </a:p>
        </p:txBody>
      </p:sp>
      <p:sp>
        <p:nvSpPr>
          <p:cNvPr id="5" name="Text Placeholder 4"/>
          <p:cNvSpPr>
            <a:spLocks noGrp="1"/>
          </p:cNvSpPr>
          <p:nvPr>
            <p:ph type="body" sz="quarter" idx="3" hasCustomPrompt="1"/>
          </p:nvPr>
        </p:nvSpPr>
        <p:spPr>
          <a:xfrm>
            <a:off x="4449061" y="1004757"/>
            <a:ext cx="4041775" cy="639762"/>
          </a:xfrm>
        </p:spPr>
        <p:txBody>
          <a:bodyPr lIns="91397" anchor="b"/>
          <a:lstStyle>
            <a:lvl1pPr marL="0" indent="0">
              <a:buNone/>
              <a:defRPr sz="1400" b="1">
                <a:solidFill>
                  <a:srgbClr val="000000"/>
                </a:solidFill>
              </a:defRPr>
            </a:lvl1pPr>
            <a:lvl2pPr marL="456986" indent="0">
              <a:buNone/>
              <a:defRPr sz="2000" b="1"/>
            </a:lvl2pPr>
            <a:lvl3pPr marL="913972" indent="0">
              <a:buNone/>
              <a:defRPr sz="1800" b="1"/>
            </a:lvl3pPr>
            <a:lvl4pPr marL="1370959" indent="0">
              <a:buNone/>
              <a:defRPr sz="1600" b="1"/>
            </a:lvl4pPr>
            <a:lvl5pPr marL="1827945" indent="0">
              <a:buNone/>
              <a:defRPr sz="1600" b="1"/>
            </a:lvl5pPr>
            <a:lvl6pPr marL="2284932" indent="0">
              <a:buNone/>
              <a:defRPr sz="1600" b="1"/>
            </a:lvl6pPr>
            <a:lvl7pPr marL="2741916" indent="0">
              <a:buNone/>
              <a:defRPr sz="1600" b="1"/>
            </a:lvl7pPr>
            <a:lvl8pPr marL="3198904" indent="0">
              <a:buNone/>
              <a:defRPr sz="1600" b="1"/>
            </a:lvl8pPr>
            <a:lvl9pPr marL="3655888" indent="0">
              <a:buNone/>
              <a:defRPr sz="1600" b="1"/>
            </a:lvl9pPr>
          </a:lstStyle>
          <a:p>
            <a:pPr lvl="0"/>
            <a:r>
              <a:rPr lang="en-US" dirty="0"/>
              <a:t>CLICK TO EDIT MASTER TEXT STYLES</a:t>
            </a:r>
          </a:p>
        </p:txBody>
      </p:sp>
      <p:sp>
        <p:nvSpPr>
          <p:cNvPr id="10" name="Content Placeholder 2"/>
          <p:cNvSpPr>
            <a:spLocks noGrp="1"/>
          </p:cNvSpPr>
          <p:nvPr>
            <p:ph sz="half" idx="13"/>
          </p:nvPr>
        </p:nvSpPr>
        <p:spPr>
          <a:xfrm>
            <a:off x="317115" y="1664598"/>
            <a:ext cx="4041648" cy="4553643"/>
          </a:xfrm>
        </p:spPr>
        <p:txBody>
          <a:bodyPr lIns="91397"/>
          <a:lstStyle>
            <a:lvl1pPr>
              <a:spcBef>
                <a:spcPts val="600"/>
              </a:spcBef>
              <a:defRPr sz="1400">
                <a:solidFill>
                  <a:srgbClr val="7A9B3D"/>
                </a:solidFill>
              </a:defRPr>
            </a:lvl1pPr>
            <a:lvl2pPr marL="114248" indent="-114248">
              <a:spcBef>
                <a:spcPts val="600"/>
              </a:spcBef>
              <a:buClr>
                <a:srgbClr val="7A9B3D"/>
              </a:buClr>
              <a:defRPr sz="1200">
                <a:solidFill>
                  <a:srgbClr val="000000"/>
                </a:solidFill>
              </a:defRPr>
            </a:lvl2pPr>
            <a:lvl3pPr marL="228492" indent="-114248">
              <a:spcBef>
                <a:spcPts val="600"/>
              </a:spcBef>
              <a:defRPr sz="1100">
                <a:solidFill>
                  <a:srgbClr val="000000"/>
                </a:solidFill>
              </a:defRPr>
            </a:lvl3pPr>
            <a:lvl4pPr marL="342739" indent="-114248">
              <a:spcBef>
                <a:spcPts val="600"/>
              </a:spcBef>
              <a:buClr>
                <a:srgbClr val="000000"/>
              </a:buClr>
              <a:defRPr sz="1100">
                <a:solidFill>
                  <a:srgbClr val="000000"/>
                </a:solidFill>
              </a:defRPr>
            </a:lvl4pPr>
            <a:lvl5pP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2"/>
          <p:cNvSpPr>
            <a:spLocks noGrp="1"/>
          </p:cNvSpPr>
          <p:nvPr>
            <p:ph sz="half" idx="14"/>
          </p:nvPr>
        </p:nvSpPr>
        <p:spPr>
          <a:xfrm>
            <a:off x="4449061" y="1665798"/>
            <a:ext cx="4041648" cy="4552443"/>
          </a:xfrm>
        </p:spPr>
        <p:txBody>
          <a:bodyPr lIns="91397"/>
          <a:lstStyle>
            <a:lvl1pPr>
              <a:spcBef>
                <a:spcPts val="600"/>
              </a:spcBef>
              <a:defRPr sz="1400">
                <a:solidFill>
                  <a:srgbClr val="7A9B3D"/>
                </a:solidFill>
              </a:defRPr>
            </a:lvl1pPr>
            <a:lvl2pPr marL="114248" indent="-114248">
              <a:spcBef>
                <a:spcPts val="600"/>
              </a:spcBef>
              <a:buClr>
                <a:srgbClr val="7A9B3D"/>
              </a:buClr>
              <a:defRPr sz="1200">
                <a:solidFill>
                  <a:srgbClr val="000000"/>
                </a:solidFill>
              </a:defRPr>
            </a:lvl2pPr>
            <a:lvl3pPr marL="228492" indent="-114248">
              <a:spcBef>
                <a:spcPts val="600"/>
              </a:spcBef>
              <a:defRPr sz="1100">
                <a:solidFill>
                  <a:srgbClr val="000000"/>
                </a:solidFill>
              </a:defRPr>
            </a:lvl3pPr>
            <a:lvl4pPr marL="342739" indent="-114248">
              <a:spcBef>
                <a:spcPts val="600"/>
              </a:spcBef>
              <a:buClr>
                <a:srgbClr val="000000"/>
              </a:buClr>
              <a:defRPr sz="1100">
                <a:solidFill>
                  <a:srgbClr val="000000"/>
                </a:solidFill>
              </a:defRPr>
            </a:lvl4pPr>
            <a:lvl5pP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Footer Placeholder 4"/>
          <p:cNvSpPr>
            <a:spLocks noGrp="1"/>
          </p:cNvSpPr>
          <p:nvPr>
            <p:ph type="ftr" sz="quarter" idx="16"/>
          </p:nvPr>
        </p:nvSpPr>
        <p:spPr>
          <a:xfrm>
            <a:off x="320040" y="6483290"/>
            <a:ext cx="3933825" cy="172486"/>
          </a:xfrm>
        </p:spPr>
        <p:txBody>
          <a:bodyPr/>
          <a:lstStyle>
            <a:lvl1pPr algn="r">
              <a:defRPr smtClean="0">
                <a:solidFill>
                  <a:srgbClr val="000000"/>
                </a:solidFill>
              </a:defRPr>
            </a:lvl1pPr>
          </a:lstStyle>
          <a:p>
            <a:pPr algn="l">
              <a:defRPr/>
            </a:pPr>
            <a:r>
              <a:rPr lang="en-US" dirty="0"/>
              <a:t>For institutional use only.</a:t>
            </a:r>
          </a:p>
        </p:txBody>
      </p:sp>
      <p:sp>
        <p:nvSpPr>
          <p:cNvPr id="15" name="Rectangle 155"/>
          <p:cNvSpPr>
            <a:spLocks noGrp="1" noChangeArrowheads="1"/>
          </p:cNvSpPr>
          <p:nvPr>
            <p:ph type="dt" sz="half" idx="17"/>
          </p:nvPr>
        </p:nvSpPr>
        <p:spPr>
          <a:xfrm>
            <a:off x="320040" y="6655656"/>
            <a:ext cx="1983958" cy="120649"/>
          </a:xfrm>
        </p:spPr>
        <p:txBody>
          <a:bodyPr/>
          <a:lstStyle>
            <a:lvl1pPr algn="l">
              <a:defRPr sz="700" smtClean="0">
                <a:solidFill>
                  <a:srgbClr val="000000"/>
                </a:solidFill>
              </a:defRPr>
            </a:lvl1pPr>
          </a:lstStyle>
          <a:p>
            <a:pPr>
              <a:defRPr/>
            </a:pPr>
            <a:r>
              <a:rPr lang="en-US" dirty="0"/>
              <a:t>Production code #</a:t>
            </a:r>
          </a:p>
        </p:txBody>
      </p:sp>
      <p:grpSp>
        <p:nvGrpSpPr>
          <p:cNvPr id="16" name="Group 15"/>
          <p:cNvGrpSpPr/>
          <p:nvPr userDrawn="1"/>
        </p:nvGrpSpPr>
        <p:grpSpPr>
          <a:xfrm>
            <a:off x="7364320" y="6412514"/>
            <a:ext cx="1371600" cy="283464"/>
            <a:chOff x="4291013" y="3178175"/>
            <a:chExt cx="3197225" cy="688975"/>
          </a:xfrm>
        </p:grpSpPr>
        <p:sp>
          <p:nvSpPr>
            <p:cNvPr id="17"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8"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9"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0"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1"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2"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3"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4"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5"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6"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7"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8"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9"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0"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1"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2"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3"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4"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5"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6"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7"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8"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9"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40"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41"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grpSp>
      <p:sp>
        <p:nvSpPr>
          <p:cNvPr id="42" name="Slide Number Placeholder 3"/>
          <p:cNvSpPr>
            <a:spLocks noGrp="1"/>
          </p:cNvSpPr>
          <p:nvPr>
            <p:ph type="sldNum" sz="quarter" idx="18"/>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99441826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Back_Cover_BD">
    <p:spTree>
      <p:nvGrpSpPr>
        <p:cNvPr id="1" name=""/>
        <p:cNvGrpSpPr/>
        <p:nvPr/>
      </p:nvGrpSpPr>
      <p:grpSpPr>
        <a:xfrm>
          <a:off x="0" y="0"/>
          <a:ext cx="0" cy="0"/>
          <a:chOff x="0" y="0"/>
          <a:chExt cx="0" cy="0"/>
        </a:xfrm>
      </p:grpSpPr>
      <p:sp>
        <p:nvSpPr>
          <p:cNvPr id="5" name="TextBox 4"/>
          <p:cNvSpPr txBox="1"/>
          <p:nvPr userDrawn="1"/>
        </p:nvSpPr>
        <p:spPr>
          <a:xfrm>
            <a:off x="1267508" y="6473364"/>
            <a:ext cx="6466114" cy="353943"/>
          </a:xfrm>
          <a:prstGeom prst="rect">
            <a:avLst/>
          </a:prstGeom>
          <a:noFill/>
        </p:spPr>
        <p:txBody>
          <a:bodyPr wrap="square" lIns="91397" tIns="45698" rIns="91397" bIns="45698" rtlCol="0">
            <a:spAutoFit/>
          </a:bodyPr>
          <a:lstStyle/>
          <a:p>
            <a:pPr algn="ctr" defTabSz="913972">
              <a:spcBef>
                <a:spcPts val="200"/>
              </a:spcBef>
              <a:defRPr/>
            </a:pPr>
            <a:r>
              <a:rPr lang="en-US" altLang="en-US" sz="900" dirty="0">
                <a:solidFill>
                  <a:srgbClr val="000000"/>
                </a:solidFill>
                <a:latin typeface="Arial"/>
                <a:cs typeface="+mn-cs"/>
              </a:rPr>
              <a:t>FIDELITY INVESTMENTS INSTITUTIONAL SERVICES COMPANY, INC., 500 SALEM STREET, SMITHFIELD, RI  02917</a:t>
            </a:r>
            <a:br>
              <a:rPr lang="en-US" altLang="en-US" dirty="0">
                <a:solidFill>
                  <a:srgbClr val="000000"/>
                </a:solidFill>
                <a:latin typeface="Arial"/>
                <a:cs typeface="+mn-cs"/>
              </a:rPr>
            </a:br>
            <a:r>
              <a:rPr lang="en-US" sz="800" dirty="0">
                <a:solidFill>
                  <a:srgbClr val="000000"/>
                </a:solidFill>
                <a:latin typeface="Arial"/>
                <a:cs typeface="+mn-cs"/>
              </a:rPr>
              <a:t>© 2018 FMR LLC. All rights reserved.</a:t>
            </a:r>
          </a:p>
        </p:txBody>
      </p:sp>
      <p:grpSp>
        <p:nvGrpSpPr>
          <p:cNvPr id="32" name="Group 31"/>
          <p:cNvGrpSpPr/>
          <p:nvPr userDrawn="1"/>
        </p:nvGrpSpPr>
        <p:grpSpPr>
          <a:xfrm>
            <a:off x="360752" y="5158824"/>
            <a:ext cx="1890168" cy="396052"/>
            <a:chOff x="6871938" y="4475163"/>
            <a:chExt cx="1924401" cy="403225"/>
          </a:xfrm>
        </p:grpSpPr>
        <p:sp>
          <p:nvSpPr>
            <p:cNvPr id="33" name="AutoShape 4"/>
            <p:cNvSpPr>
              <a:spLocks noChangeAspect="1" noChangeArrowheads="1" noTextEdit="1"/>
            </p:cNvSpPr>
            <p:nvPr/>
          </p:nvSpPr>
          <p:spPr bwMode="auto">
            <a:xfrm>
              <a:off x="687193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34" name="Freeform 33"/>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35" name="Freeform 34"/>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36" name="Freeform 35"/>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39" name="Freeform 38"/>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8" name="Freeform 67"/>
            <p:cNvSpPr>
              <a:spLocks/>
            </p:cNvSpPr>
            <p:nvPr/>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9" name="Freeform 68"/>
            <p:cNvSpPr>
              <a:spLocks noEditPoints="1"/>
            </p:cNvSpPr>
            <p:nvPr/>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0" name="Freeform 69"/>
            <p:cNvSpPr>
              <a:spLocks noEditPoints="1"/>
            </p:cNvSpPr>
            <p:nvPr/>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1" name="Freeform 70"/>
            <p:cNvSpPr>
              <a:spLocks noEditPoints="1"/>
            </p:cNvSpPr>
            <p:nvPr/>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2" name="Freeform 71"/>
            <p:cNvSpPr>
              <a:spLocks/>
            </p:cNvSpPr>
            <p:nvPr/>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3" name="Freeform 72"/>
            <p:cNvSpPr>
              <a:spLocks noEditPoints="1"/>
            </p:cNvSpPr>
            <p:nvPr/>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4" name="Freeform 73"/>
            <p:cNvSpPr>
              <a:spLocks/>
            </p:cNvSpPr>
            <p:nvPr/>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5" name="Freeform 74"/>
            <p:cNvSpPr>
              <a:spLocks/>
            </p:cNvSpPr>
            <p:nvPr/>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6" name="Freeform 75"/>
            <p:cNvSpPr>
              <a:spLocks/>
            </p:cNvSpPr>
            <p:nvPr/>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7" name="Freeform 76"/>
            <p:cNvSpPr>
              <a:spLocks/>
            </p:cNvSpPr>
            <p:nvPr/>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8" name="Freeform 77"/>
            <p:cNvSpPr>
              <a:spLocks/>
            </p:cNvSpPr>
            <p:nvPr/>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9" name="Freeform 78"/>
            <p:cNvSpPr>
              <a:spLocks/>
            </p:cNvSpPr>
            <p:nvPr/>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0" name="Freeform 79"/>
            <p:cNvSpPr>
              <a:spLocks/>
            </p:cNvSpPr>
            <p:nvPr/>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1" name="Freeform 80"/>
            <p:cNvSpPr>
              <a:spLocks/>
            </p:cNvSpPr>
            <p:nvPr/>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2" name="Freeform 81"/>
            <p:cNvSpPr>
              <a:spLocks/>
            </p:cNvSpPr>
            <p:nvPr/>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3" name="Freeform 82"/>
            <p:cNvSpPr>
              <a:spLocks noEditPoints="1"/>
            </p:cNvSpPr>
            <p:nvPr/>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4" name="Freeform 83"/>
            <p:cNvSpPr>
              <a:spLocks noEditPoints="1"/>
            </p:cNvSpPr>
            <p:nvPr/>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5" name="Freeform 84"/>
            <p:cNvSpPr>
              <a:spLocks/>
            </p:cNvSpPr>
            <p:nvPr/>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6" name="Freeform 85"/>
            <p:cNvSpPr>
              <a:spLocks/>
            </p:cNvSpPr>
            <p:nvPr/>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7" name="Freeform 86"/>
            <p:cNvSpPr>
              <a:spLocks/>
            </p:cNvSpPr>
            <p:nvPr/>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8" name="Freeform 87"/>
            <p:cNvSpPr>
              <a:spLocks/>
            </p:cNvSpPr>
            <p:nvPr/>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grpSp>
      <p:sp>
        <p:nvSpPr>
          <p:cNvPr id="91" name="Content Placeholder 12"/>
          <p:cNvSpPr>
            <a:spLocks noGrp="1"/>
          </p:cNvSpPr>
          <p:nvPr>
            <p:ph sz="quarter" idx="16" hasCustomPrompt="1"/>
          </p:nvPr>
        </p:nvSpPr>
        <p:spPr>
          <a:xfrm>
            <a:off x="7991479" y="6332083"/>
            <a:ext cx="908050" cy="377825"/>
          </a:xfrm>
        </p:spPr>
        <p:txBody>
          <a:bodyPr anchor="b"/>
          <a:lstStyle>
            <a:lvl1pPr marL="0" indent="0" algn="r">
              <a:spcBef>
                <a:spcPts val="0"/>
              </a:spcBef>
              <a:defRPr sz="700" b="0">
                <a:solidFill>
                  <a:schemeClr val="tx1"/>
                </a:solidFill>
              </a:defRPr>
            </a:lvl1pPr>
            <a:lvl2pPr algn="r">
              <a:defRPr sz="700" b="0">
                <a:solidFill>
                  <a:schemeClr val="tx1"/>
                </a:solidFill>
              </a:defRPr>
            </a:lvl2pPr>
            <a:lvl3pPr algn="r">
              <a:defRPr sz="700" b="0">
                <a:solidFill>
                  <a:schemeClr val="tx1"/>
                </a:solidFill>
              </a:defRPr>
            </a:lvl3pPr>
            <a:lvl4pPr algn="r">
              <a:defRPr sz="700" b="0">
                <a:solidFill>
                  <a:schemeClr val="tx1"/>
                </a:solidFill>
              </a:defRPr>
            </a:lvl4pPr>
            <a:lvl5pPr algn="r">
              <a:defRPr sz="700" b="0">
                <a:solidFill>
                  <a:schemeClr val="tx1"/>
                </a:solidFill>
              </a:defRPr>
            </a:lvl5pPr>
          </a:lstStyle>
          <a:p>
            <a:pPr lvl="0"/>
            <a:r>
              <a:rPr lang="en-US" dirty="0"/>
              <a:t>1.000000.100</a:t>
            </a:r>
          </a:p>
          <a:p>
            <a:pPr lvl="0"/>
            <a:r>
              <a:rPr lang="en-US" dirty="0"/>
              <a:t>MMYY</a:t>
            </a:r>
          </a:p>
        </p:txBody>
      </p:sp>
      <p:pic>
        <p:nvPicPr>
          <p:cNvPr id="37"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9647" y="4359385"/>
            <a:ext cx="4941925" cy="539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 name="Content Placeholder 10"/>
          <p:cNvSpPr>
            <a:spLocks noGrp="1"/>
          </p:cNvSpPr>
          <p:nvPr>
            <p:ph sz="quarter" idx="15" hasCustomPrompt="1"/>
          </p:nvPr>
        </p:nvSpPr>
        <p:spPr>
          <a:xfrm>
            <a:off x="312964" y="6289468"/>
            <a:ext cx="964293" cy="420439"/>
          </a:xfrm>
        </p:spPr>
        <p:txBody>
          <a:bodyPr/>
          <a:lstStyle>
            <a:lvl1pPr marL="0" indent="0">
              <a:spcBef>
                <a:spcPts val="0"/>
              </a:spcBef>
              <a:defRPr sz="700" b="0">
                <a:solidFill>
                  <a:schemeClr val="tx1"/>
                </a:solidFill>
              </a:defRPr>
            </a:lvl1pPr>
            <a:lvl2pPr>
              <a:defRPr sz="700" b="0">
                <a:solidFill>
                  <a:schemeClr val="tx1"/>
                </a:solidFill>
              </a:defRPr>
            </a:lvl2pPr>
            <a:lvl3pPr>
              <a:defRPr sz="700" b="0">
                <a:solidFill>
                  <a:schemeClr val="tx1"/>
                </a:solidFill>
              </a:defRPr>
            </a:lvl3pPr>
            <a:lvl4pPr>
              <a:defRPr sz="700" b="0">
                <a:solidFill>
                  <a:schemeClr val="tx1"/>
                </a:solidFill>
              </a:defRPr>
            </a:lvl4pPr>
            <a:lvl5pPr>
              <a:defRPr sz="700" b="0">
                <a:solidFill>
                  <a:schemeClr val="tx1"/>
                </a:solidFill>
              </a:defRPr>
            </a:lvl5pPr>
          </a:lstStyle>
          <a:p>
            <a:pPr lvl="0"/>
            <a:r>
              <a:rPr lang="en-US" dirty="0"/>
              <a:t>XXXXXX.1.0</a:t>
            </a:r>
          </a:p>
          <a:p>
            <a:pPr lvl="0"/>
            <a:r>
              <a:rPr lang="en-US" dirty="0"/>
              <a:t>FIAM-BD</a:t>
            </a:r>
          </a:p>
          <a:p>
            <a:pPr lvl="0"/>
            <a:r>
              <a:rPr lang="en-US" dirty="0"/>
              <a:t>EXPIRES: 00/00/00</a:t>
            </a:r>
          </a:p>
        </p:txBody>
      </p:sp>
    </p:spTree>
    <p:extLst>
      <p:ext uri="{BB962C8B-B14F-4D97-AF65-F5344CB8AC3E}">
        <p14:creationId xmlns:p14="http://schemas.microsoft.com/office/powerpoint/2010/main" val="263120245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Back_Cover_IA">
    <p:spTree>
      <p:nvGrpSpPr>
        <p:cNvPr id="1" name=""/>
        <p:cNvGrpSpPr/>
        <p:nvPr/>
      </p:nvGrpSpPr>
      <p:grpSpPr>
        <a:xfrm>
          <a:off x="0" y="0"/>
          <a:ext cx="0" cy="0"/>
          <a:chOff x="0" y="0"/>
          <a:chExt cx="0" cy="0"/>
        </a:xfrm>
      </p:grpSpPr>
      <p:sp>
        <p:nvSpPr>
          <p:cNvPr id="2" name="Rectangle 1"/>
          <p:cNvSpPr/>
          <p:nvPr userDrawn="1"/>
        </p:nvSpPr>
        <p:spPr>
          <a:xfrm>
            <a:off x="1277187" y="6483639"/>
            <a:ext cx="6446759" cy="215444"/>
          </a:xfrm>
          <a:prstGeom prst="rect">
            <a:avLst/>
          </a:prstGeom>
        </p:spPr>
        <p:txBody>
          <a:bodyPr wrap="square" lIns="91397" tIns="45698" rIns="91397" bIns="45698">
            <a:spAutoFit/>
          </a:bodyPr>
          <a:lstStyle/>
          <a:p>
            <a:pPr algn="ctr" defTabSz="913972">
              <a:spcBef>
                <a:spcPts val="200"/>
              </a:spcBef>
              <a:defRPr/>
            </a:pPr>
            <a:r>
              <a:rPr lang="en-US" sz="800" dirty="0">
                <a:solidFill>
                  <a:srgbClr val="000000"/>
                </a:solidFill>
                <a:latin typeface="Arial"/>
                <a:cs typeface="+mn-cs"/>
              </a:rPr>
              <a:t>© 2018 FMR LLC. All rights reserved.</a:t>
            </a:r>
            <a:endParaRPr lang="en-US" altLang="en-US" sz="800" dirty="0">
              <a:solidFill>
                <a:srgbClr val="000000"/>
              </a:solidFill>
              <a:latin typeface="Arial"/>
              <a:cs typeface="+mn-cs"/>
            </a:endParaRPr>
          </a:p>
        </p:txBody>
      </p:sp>
      <p:grpSp>
        <p:nvGrpSpPr>
          <p:cNvPr id="37" name="Group 36"/>
          <p:cNvGrpSpPr/>
          <p:nvPr userDrawn="1"/>
        </p:nvGrpSpPr>
        <p:grpSpPr>
          <a:xfrm>
            <a:off x="360752" y="5158824"/>
            <a:ext cx="1890168" cy="396052"/>
            <a:chOff x="6871938" y="4475163"/>
            <a:chExt cx="1924401" cy="403225"/>
          </a:xfrm>
        </p:grpSpPr>
        <p:sp>
          <p:nvSpPr>
            <p:cNvPr id="38" name="AutoShape 4"/>
            <p:cNvSpPr>
              <a:spLocks noChangeAspect="1" noChangeArrowheads="1" noTextEdit="1"/>
            </p:cNvSpPr>
            <p:nvPr/>
          </p:nvSpPr>
          <p:spPr bwMode="auto">
            <a:xfrm>
              <a:off x="687193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39" name="Freeform 38"/>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0" name="Freeform 39"/>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1" name="Freeform 40"/>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2" name="Freeform 41"/>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3" name="Freeform 42"/>
            <p:cNvSpPr>
              <a:spLocks/>
            </p:cNvSpPr>
            <p:nvPr/>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4" name="Freeform 43"/>
            <p:cNvSpPr>
              <a:spLocks noEditPoints="1"/>
            </p:cNvSpPr>
            <p:nvPr/>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5" name="Freeform 44"/>
            <p:cNvSpPr>
              <a:spLocks noEditPoints="1"/>
            </p:cNvSpPr>
            <p:nvPr/>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6" name="Freeform 45"/>
            <p:cNvSpPr>
              <a:spLocks noEditPoints="1"/>
            </p:cNvSpPr>
            <p:nvPr/>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7" name="Freeform 46"/>
            <p:cNvSpPr>
              <a:spLocks/>
            </p:cNvSpPr>
            <p:nvPr/>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8" name="Freeform 47"/>
            <p:cNvSpPr>
              <a:spLocks noEditPoints="1"/>
            </p:cNvSpPr>
            <p:nvPr/>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9" name="Freeform 48"/>
            <p:cNvSpPr>
              <a:spLocks/>
            </p:cNvSpPr>
            <p:nvPr/>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0" name="Freeform 49"/>
            <p:cNvSpPr>
              <a:spLocks/>
            </p:cNvSpPr>
            <p:nvPr/>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1" name="Freeform 50"/>
            <p:cNvSpPr>
              <a:spLocks/>
            </p:cNvSpPr>
            <p:nvPr/>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2" name="Freeform 51"/>
            <p:cNvSpPr>
              <a:spLocks/>
            </p:cNvSpPr>
            <p:nvPr/>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3" name="Freeform 52"/>
            <p:cNvSpPr>
              <a:spLocks/>
            </p:cNvSpPr>
            <p:nvPr/>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4" name="Freeform 53"/>
            <p:cNvSpPr>
              <a:spLocks/>
            </p:cNvSpPr>
            <p:nvPr/>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5" name="Freeform 54"/>
            <p:cNvSpPr>
              <a:spLocks/>
            </p:cNvSpPr>
            <p:nvPr/>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6" name="Freeform 55"/>
            <p:cNvSpPr>
              <a:spLocks/>
            </p:cNvSpPr>
            <p:nvPr/>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7" name="Freeform 56"/>
            <p:cNvSpPr>
              <a:spLocks/>
            </p:cNvSpPr>
            <p:nvPr/>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8" name="Freeform 57"/>
            <p:cNvSpPr>
              <a:spLocks noEditPoints="1"/>
            </p:cNvSpPr>
            <p:nvPr/>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9" name="Freeform 58"/>
            <p:cNvSpPr>
              <a:spLocks noEditPoints="1"/>
            </p:cNvSpPr>
            <p:nvPr/>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0" name="Freeform 59"/>
            <p:cNvSpPr>
              <a:spLocks/>
            </p:cNvSpPr>
            <p:nvPr/>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1" name="Freeform 60"/>
            <p:cNvSpPr>
              <a:spLocks/>
            </p:cNvSpPr>
            <p:nvPr/>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2" name="Freeform 61"/>
            <p:cNvSpPr>
              <a:spLocks/>
            </p:cNvSpPr>
            <p:nvPr/>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3" name="Freeform 62"/>
            <p:cNvSpPr>
              <a:spLocks/>
            </p:cNvSpPr>
            <p:nvPr/>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grpSp>
      <p:sp>
        <p:nvSpPr>
          <p:cNvPr id="65" name="Content Placeholder 10"/>
          <p:cNvSpPr>
            <a:spLocks noGrp="1"/>
          </p:cNvSpPr>
          <p:nvPr>
            <p:ph sz="quarter" idx="15" hasCustomPrompt="1"/>
          </p:nvPr>
        </p:nvSpPr>
        <p:spPr>
          <a:xfrm>
            <a:off x="312964" y="6289468"/>
            <a:ext cx="964293" cy="420439"/>
          </a:xfrm>
        </p:spPr>
        <p:txBody>
          <a:bodyPr/>
          <a:lstStyle>
            <a:lvl1pPr marL="0" indent="0">
              <a:spcBef>
                <a:spcPts val="0"/>
              </a:spcBef>
              <a:defRPr sz="700" b="0">
                <a:solidFill>
                  <a:schemeClr val="tx1"/>
                </a:solidFill>
              </a:defRPr>
            </a:lvl1pPr>
            <a:lvl2pPr>
              <a:defRPr sz="700" b="0">
                <a:solidFill>
                  <a:schemeClr val="tx1"/>
                </a:solidFill>
              </a:defRPr>
            </a:lvl2pPr>
            <a:lvl3pPr>
              <a:defRPr sz="700" b="0">
                <a:solidFill>
                  <a:schemeClr val="tx1"/>
                </a:solidFill>
              </a:defRPr>
            </a:lvl3pPr>
            <a:lvl4pPr>
              <a:defRPr sz="700" b="0">
                <a:solidFill>
                  <a:schemeClr val="tx1"/>
                </a:solidFill>
              </a:defRPr>
            </a:lvl4pPr>
            <a:lvl5pPr>
              <a:defRPr sz="700" b="0">
                <a:solidFill>
                  <a:schemeClr val="tx1"/>
                </a:solidFill>
              </a:defRPr>
            </a:lvl5pPr>
          </a:lstStyle>
          <a:p>
            <a:pPr lvl="0"/>
            <a:r>
              <a:rPr lang="en-US" dirty="0"/>
              <a:t>XXXXXX.1.0</a:t>
            </a:r>
          </a:p>
          <a:p>
            <a:pPr lvl="0"/>
            <a:r>
              <a:rPr lang="en-US" dirty="0"/>
              <a:t>FIAM-IA</a:t>
            </a:r>
          </a:p>
          <a:p>
            <a:pPr lvl="0"/>
            <a:r>
              <a:rPr lang="en-US" dirty="0"/>
              <a:t>EXPIRES: 00/00/00</a:t>
            </a:r>
          </a:p>
        </p:txBody>
      </p:sp>
      <p:pic>
        <p:nvPicPr>
          <p:cNvPr id="32"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9647" y="4359385"/>
            <a:ext cx="4941925" cy="539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519306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ack_Cover_IA_Item_Code">
    <p:spTree>
      <p:nvGrpSpPr>
        <p:cNvPr id="1" name=""/>
        <p:cNvGrpSpPr/>
        <p:nvPr/>
      </p:nvGrpSpPr>
      <p:grpSpPr>
        <a:xfrm>
          <a:off x="0" y="0"/>
          <a:ext cx="0" cy="0"/>
          <a:chOff x="0" y="0"/>
          <a:chExt cx="0" cy="0"/>
        </a:xfrm>
      </p:grpSpPr>
      <p:sp>
        <p:nvSpPr>
          <p:cNvPr id="2" name="Rectangle 1"/>
          <p:cNvSpPr/>
          <p:nvPr userDrawn="1"/>
        </p:nvSpPr>
        <p:spPr>
          <a:xfrm>
            <a:off x="1277187" y="6483639"/>
            <a:ext cx="6446759" cy="215444"/>
          </a:xfrm>
          <a:prstGeom prst="rect">
            <a:avLst/>
          </a:prstGeom>
        </p:spPr>
        <p:txBody>
          <a:bodyPr wrap="square" lIns="91397" tIns="45698" rIns="91397" bIns="45698">
            <a:spAutoFit/>
          </a:bodyPr>
          <a:lstStyle/>
          <a:p>
            <a:pPr algn="ctr" defTabSz="913972">
              <a:spcBef>
                <a:spcPts val="200"/>
              </a:spcBef>
              <a:defRPr/>
            </a:pPr>
            <a:r>
              <a:rPr lang="en-US" sz="800" dirty="0">
                <a:solidFill>
                  <a:srgbClr val="000000"/>
                </a:solidFill>
                <a:latin typeface="Arial"/>
                <a:cs typeface="+mn-cs"/>
              </a:rPr>
              <a:t>© 2018 FMR LLC. All rights reserved.</a:t>
            </a:r>
            <a:endParaRPr lang="en-US" altLang="en-US" sz="800" dirty="0">
              <a:solidFill>
                <a:srgbClr val="000000"/>
              </a:solidFill>
              <a:latin typeface="Arial"/>
              <a:cs typeface="+mn-cs"/>
            </a:endParaRPr>
          </a:p>
        </p:txBody>
      </p:sp>
      <p:grpSp>
        <p:nvGrpSpPr>
          <p:cNvPr id="37" name="Group 36"/>
          <p:cNvGrpSpPr/>
          <p:nvPr userDrawn="1"/>
        </p:nvGrpSpPr>
        <p:grpSpPr>
          <a:xfrm>
            <a:off x="360752" y="5158824"/>
            <a:ext cx="1890168" cy="396052"/>
            <a:chOff x="6871938" y="4475163"/>
            <a:chExt cx="1924401" cy="403225"/>
          </a:xfrm>
        </p:grpSpPr>
        <p:sp>
          <p:nvSpPr>
            <p:cNvPr id="38" name="AutoShape 4"/>
            <p:cNvSpPr>
              <a:spLocks noChangeAspect="1" noChangeArrowheads="1" noTextEdit="1"/>
            </p:cNvSpPr>
            <p:nvPr/>
          </p:nvSpPr>
          <p:spPr bwMode="auto">
            <a:xfrm>
              <a:off x="687193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39" name="Freeform 38"/>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0" name="Freeform 39"/>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1" name="Freeform 40"/>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2" name="Freeform 41"/>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3" name="Freeform 42"/>
            <p:cNvSpPr>
              <a:spLocks/>
            </p:cNvSpPr>
            <p:nvPr/>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4" name="Freeform 43"/>
            <p:cNvSpPr>
              <a:spLocks noEditPoints="1"/>
            </p:cNvSpPr>
            <p:nvPr/>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5" name="Freeform 44"/>
            <p:cNvSpPr>
              <a:spLocks noEditPoints="1"/>
            </p:cNvSpPr>
            <p:nvPr/>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6" name="Freeform 45"/>
            <p:cNvSpPr>
              <a:spLocks noEditPoints="1"/>
            </p:cNvSpPr>
            <p:nvPr/>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7" name="Freeform 46"/>
            <p:cNvSpPr>
              <a:spLocks/>
            </p:cNvSpPr>
            <p:nvPr/>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8" name="Freeform 47"/>
            <p:cNvSpPr>
              <a:spLocks noEditPoints="1"/>
            </p:cNvSpPr>
            <p:nvPr/>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9" name="Freeform 48"/>
            <p:cNvSpPr>
              <a:spLocks/>
            </p:cNvSpPr>
            <p:nvPr/>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0" name="Freeform 49"/>
            <p:cNvSpPr>
              <a:spLocks/>
            </p:cNvSpPr>
            <p:nvPr/>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1" name="Freeform 50"/>
            <p:cNvSpPr>
              <a:spLocks/>
            </p:cNvSpPr>
            <p:nvPr/>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2" name="Freeform 51"/>
            <p:cNvSpPr>
              <a:spLocks/>
            </p:cNvSpPr>
            <p:nvPr/>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3" name="Freeform 52"/>
            <p:cNvSpPr>
              <a:spLocks/>
            </p:cNvSpPr>
            <p:nvPr/>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4" name="Freeform 53"/>
            <p:cNvSpPr>
              <a:spLocks/>
            </p:cNvSpPr>
            <p:nvPr/>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5" name="Freeform 54"/>
            <p:cNvSpPr>
              <a:spLocks/>
            </p:cNvSpPr>
            <p:nvPr/>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6" name="Freeform 55"/>
            <p:cNvSpPr>
              <a:spLocks/>
            </p:cNvSpPr>
            <p:nvPr/>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7" name="Freeform 56"/>
            <p:cNvSpPr>
              <a:spLocks/>
            </p:cNvSpPr>
            <p:nvPr/>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8" name="Freeform 57"/>
            <p:cNvSpPr>
              <a:spLocks noEditPoints="1"/>
            </p:cNvSpPr>
            <p:nvPr/>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9" name="Freeform 58"/>
            <p:cNvSpPr>
              <a:spLocks noEditPoints="1"/>
            </p:cNvSpPr>
            <p:nvPr/>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0" name="Freeform 59"/>
            <p:cNvSpPr>
              <a:spLocks/>
            </p:cNvSpPr>
            <p:nvPr/>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1" name="Freeform 60"/>
            <p:cNvSpPr>
              <a:spLocks/>
            </p:cNvSpPr>
            <p:nvPr/>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2" name="Freeform 61"/>
            <p:cNvSpPr>
              <a:spLocks/>
            </p:cNvSpPr>
            <p:nvPr/>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3" name="Freeform 62"/>
            <p:cNvSpPr>
              <a:spLocks/>
            </p:cNvSpPr>
            <p:nvPr/>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grpSp>
      <p:sp>
        <p:nvSpPr>
          <p:cNvPr id="65" name="Content Placeholder 10"/>
          <p:cNvSpPr>
            <a:spLocks noGrp="1"/>
          </p:cNvSpPr>
          <p:nvPr>
            <p:ph sz="quarter" idx="15" hasCustomPrompt="1"/>
          </p:nvPr>
        </p:nvSpPr>
        <p:spPr>
          <a:xfrm>
            <a:off x="312964" y="6289468"/>
            <a:ext cx="964293" cy="420439"/>
          </a:xfrm>
        </p:spPr>
        <p:txBody>
          <a:bodyPr/>
          <a:lstStyle>
            <a:lvl1pPr marL="0" indent="0">
              <a:spcBef>
                <a:spcPts val="0"/>
              </a:spcBef>
              <a:defRPr sz="700" b="0">
                <a:solidFill>
                  <a:schemeClr val="tx1"/>
                </a:solidFill>
              </a:defRPr>
            </a:lvl1pPr>
            <a:lvl2pPr>
              <a:defRPr sz="700" b="0">
                <a:solidFill>
                  <a:schemeClr val="tx1"/>
                </a:solidFill>
              </a:defRPr>
            </a:lvl2pPr>
            <a:lvl3pPr>
              <a:defRPr sz="700" b="0">
                <a:solidFill>
                  <a:schemeClr val="tx1"/>
                </a:solidFill>
              </a:defRPr>
            </a:lvl3pPr>
            <a:lvl4pPr>
              <a:defRPr sz="700" b="0">
                <a:solidFill>
                  <a:schemeClr val="tx1"/>
                </a:solidFill>
              </a:defRPr>
            </a:lvl4pPr>
            <a:lvl5pPr>
              <a:defRPr sz="700" b="0">
                <a:solidFill>
                  <a:schemeClr val="tx1"/>
                </a:solidFill>
              </a:defRPr>
            </a:lvl5pPr>
          </a:lstStyle>
          <a:p>
            <a:pPr lvl="0"/>
            <a:r>
              <a:rPr lang="en-US" dirty="0"/>
              <a:t>XXXXXX.1.0</a:t>
            </a:r>
          </a:p>
          <a:p>
            <a:pPr lvl="0"/>
            <a:r>
              <a:rPr lang="en-US" dirty="0"/>
              <a:t>FIAM-IA</a:t>
            </a:r>
          </a:p>
          <a:p>
            <a:pPr lvl="0"/>
            <a:r>
              <a:rPr lang="en-US" dirty="0"/>
              <a:t>EXPIRES: 00/00/00</a:t>
            </a:r>
          </a:p>
        </p:txBody>
      </p:sp>
      <p:pic>
        <p:nvPicPr>
          <p:cNvPr id="32"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9647" y="4359385"/>
            <a:ext cx="4941925" cy="539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Content Placeholder 12"/>
          <p:cNvSpPr>
            <a:spLocks noGrp="1"/>
          </p:cNvSpPr>
          <p:nvPr>
            <p:ph sz="quarter" idx="16" hasCustomPrompt="1"/>
          </p:nvPr>
        </p:nvSpPr>
        <p:spPr>
          <a:xfrm>
            <a:off x="7991479" y="6322558"/>
            <a:ext cx="908050" cy="377825"/>
          </a:xfrm>
        </p:spPr>
        <p:txBody>
          <a:bodyPr anchor="b"/>
          <a:lstStyle>
            <a:lvl1pPr marL="0" indent="0" algn="r">
              <a:spcBef>
                <a:spcPts val="0"/>
              </a:spcBef>
              <a:defRPr sz="700" b="0">
                <a:solidFill>
                  <a:schemeClr val="tx1"/>
                </a:solidFill>
              </a:defRPr>
            </a:lvl1pPr>
            <a:lvl2pPr algn="r">
              <a:defRPr sz="700" b="0">
                <a:solidFill>
                  <a:schemeClr val="tx1"/>
                </a:solidFill>
              </a:defRPr>
            </a:lvl2pPr>
            <a:lvl3pPr algn="r">
              <a:defRPr sz="700" b="0">
                <a:solidFill>
                  <a:schemeClr val="tx1"/>
                </a:solidFill>
              </a:defRPr>
            </a:lvl3pPr>
            <a:lvl4pPr algn="r">
              <a:defRPr sz="700" b="0">
                <a:solidFill>
                  <a:schemeClr val="tx1"/>
                </a:solidFill>
              </a:defRPr>
            </a:lvl4pPr>
            <a:lvl5pPr algn="r">
              <a:defRPr sz="700" b="0">
                <a:solidFill>
                  <a:schemeClr val="tx1"/>
                </a:solidFill>
              </a:defRPr>
            </a:lvl5pPr>
          </a:lstStyle>
          <a:p>
            <a:pPr lvl="0"/>
            <a:r>
              <a:rPr lang="en-US" dirty="0"/>
              <a:t>1.000000.100</a:t>
            </a:r>
          </a:p>
        </p:txBody>
      </p:sp>
    </p:spTree>
    <p:extLst>
      <p:ext uri="{BB962C8B-B14F-4D97-AF65-F5344CB8AC3E}">
        <p14:creationId xmlns:p14="http://schemas.microsoft.com/office/powerpoint/2010/main" val="178598882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8"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dirty="0"/>
              <a:t>For institutional use only.</a:t>
            </a:r>
          </a:p>
        </p:txBody>
      </p:sp>
      <p:sp>
        <p:nvSpPr>
          <p:cNvPr id="9" name="Rectangle 155"/>
          <p:cNvSpPr>
            <a:spLocks noGrp="1" noChangeArrowheads="1"/>
          </p:cNvSpPr>
          <p:nvPr>
            <p:ph type="dt" sz="half" idx="16"/>
          </p:nvPr>
        </p:nvSpPr>
        <p:spPr>
          <a:xfrm>
            <a:off x="320040" y="6655656"/>
            <a:ext cx="1983958" cy="120649"/>
          </a:xfrm>
        </p:spPr>
        <p:txBody>
          <a:bodyPr/>
          <a:lstStyle>
            <a:lvl1pPr algn="l">
              <a:defRPr sz="700" smtClean="0">
                <a:solidFill>
                  <a:srgbClr val="000000"/>
                </a:solidFill>
              </a:defRPr>
            </a:lvl1pPr>
          </a:lstStyle>
          <a:p>
            <a:pPr>
              <a:defRPr/>
            </a:pPr>
            <a:r>
              <a:rPr lang="en-US" dirty="0"/>
              <a:t>Production code #</a:t>
            </a:r>
          </a:p>
        </p:txBody>
      </p:sp>
      <p:grpSp>
        <p:nvGrpSpPr>
          <p:cNvPr id="10" name="Group 9"/>
          <p:cNvGrpSpPr/>
          <p:nvPr userDrawn="1"/>
        </p:nvGrpSpPr>
        <p:grpSpPr>
          <a:xfrm>
            <a:off x="7364320" y="6412514"/>
            <a:ext cx="1371600" cy="283464"/>
            <a:chOff x="4291013" y="3178175"/>
            <a:chExt cx="3197225" cy="688975"/>
          </a:xfrm>
        </p:grpSpPr>
        <p:sp>
          <p:nvSpPr>
            <p:cNvPr id="11"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2"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3"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4"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5"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6"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7"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8"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9"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0"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1"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2"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3"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4"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5"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6"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7"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8"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9"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0"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1"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2"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3"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4"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5"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grpSp>
      <p:sp>
        <p:nvSpPr>
          <p:cNvPr id="36"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240121679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6_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41248"/>
          </a:xfrm>
        </p:spPr>
        <p:txBody>
          <a:bodyPr/>
          <a:lstStyle>
            <a:lvl1pPr>
              <a:defRPr>
                <a:solidFill>
                  <a:srgbClr val="333F48"/>
                </a:solidFill>
              </a:defRPr>
            </a:lvl1pPr>
          </a:lstStyle>
          <a:p>
            <a:r>
              <a:rPr lang="en-US"/>
              <a:t>Click to edit Master title style</a:t>
            </a:r>
            <a:endParaRPr lang="en-US" dirty="0"/>
          </a:p>
        </p:txBody>
      </p:sp>
      <p:sp>
        <p:nvSpPr>
          <p:cNvPr id="11" name="Content Placeholder 2"/>
          <p:cNvSpPr>
            <a:spLocks noGrp="1"/>
          </p:cNvSpPr>
          <p:nvPr>
            <p:ph idx="12"/>
          </p:nvPr>
        </p:nvSpPr>
        <p:spPr>
          <a:xfrm>
            <a:off x="317115" y="1339850"/>
            <a:ext cx="8188710" cy="4878388"/>
          </a:xfrm>
        </p:spPr>
        <p:txBody>
          <a:bodyPr lIns="91440"/>
          <a:lstStyle>
            <a:lvl1pPr marL="0" indent="0" algn="l" rtl="0" fontAlgn="base">
              <a:spcBef>
                <a:spcPts val="480"/>
              </a:spcBef>
              <a:spcAft>
                <a:spcPct val="0"/>
              </a:spcAft>
              <a:buSzPct val="40000"/>
              <a:defRPr lang="en-US" sz="1600" b="1" dirty="0" smtClean="0">
                <a:solidFill>
                  <a:srgbClr val="7A9B3D"/>
                </a:solidFill>
                <a:latin typeface="+mn-lt"/>
                <a:ea typeface="+mn-ea"/>
                <a:cs typeface="+mn-cs"/>
              </a:defRPr>
            </a:lvl1pPr>
            <a:lvl2pPr marL="114300" indent="-114300">
              <a:spcBef>
                <a:spcPts val="288"/>
              </a:spcBef>
              <a:buClr>
                <a:srgbClr val="7A9B3D"/>
              </a:buClr>
              <a:defRPr lang="en-US" dirty="0" smtClean="0">
                <a:solidFill>
                  <a:srgbClr val="000000"/>
                </a:solidFill>
                <a:latin typeface="+mn-lt"/>
              </a:defRPr>
            </a:lvl2pPr>
            <a:lvl3pPr marL="228600" indent="-114300">
              <a:buClr>
                <a:srgbClr val="768692"/>
              </a:buClr>
              <a:defRPr lang="en-US" sz="1200" dirty="0" smtClean="0">
                <a:solidFill>
                  <a:srgbClr val="000000"/>
                </a:solidFill>
                <a:latin typeface="+mn-lt"/>
              </a:defRPr>
            </a:lvl3pPr>
            <a:lvl4pPr marL="342900" indent="-114300">
              <a:buClr>
                <a:srgbClr val="000000"/>
              </a:buClr>
              <a:buSzPct val="100000"/>
              <a:buFont typeface="Arial" pitchFamily="34" charset="0"/>
              <a:buChar char="•"/>
              <a:defRPr sz="1200">
                <a:solidFill>
                  <a:srgbClr val="000000"/>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dirty="0"/>
              <a:t>For institutional use only.</a:t>
            </a:r>
          </a:p>
        </p:txBody>
      </p:sp>
      <p:sp>
        <p:nvSpPr>
          <p:cNvPr id="13"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dirty="0"/>
              <a:t>Production code #</a:t>
            </a:r>
          </a:p>
        </p:txBody>
      </p:sp>
      <p:grpSp>
        <p:nvGrpSpPr>
          <p:cNvPr id="14" name="Group 13"/>
          <p:cNvGrpSpPr/>
          <p:nvPr userDrawn="1"/>
        </p:nvGrpSpPr>
        <p:grpSpPr>
          <a:xfrm>
            <a:off x="7364320" y="6412511"/>
            <a:ext cx="1371600" cy="283464"/>
            <a:chOff x="4291013" y="3178175"/>
            <a:chExt cx="3197225" cy="688975"/>
          </a:xfrm>
        </p:grpSpPr>
        <p:sp>
          <p:nvSpPr>
            <p:cNvPr id="15"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6"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7"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8"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9"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0"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1"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2"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3"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4"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5"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6"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7"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8"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9"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0"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1"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2"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3"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4"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5"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6"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7"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8"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9"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grpSp>
      <p:sp>
        <p:nvSpPr>
          <p:cNvPr id="40"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96904261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2_FIAM_External_Print_Cover_IA">
    <p:spTree>
      <p:nvGrpSpPr>
        <p:cNvPr id="1" name=""/>
        <p:cNvGrpSpPr/>
        <p:nvPr/>
      </p:nvGrpSpPr>
      <p:grpSpPr>
        <a:xfrm>
          <a:off x="0" y="0"/>
          <a:ext cx="0" cy="0"/>
          <a:chOff x="0" y="0"/>
          <a:chExt cx="0" cy="0"/>
        </a:xfrm>
      </p:grpSpPr>
      <p:pic>
        <p:nvPicPr>
          <p:cNvPr id="45" name="Picture 4" descr="C:\Users\a216024\Desktop\stuff\_PPT_107\PowerPoint_Templates_Samples\_10x7.5_Templates\NEW_FIAM\Covers_secondary_slides\2-7_Covers\LightGray_grayscale.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12688" b="17606"/>
          <a:stretch/>
        </p:blipFill>
        <p:spPr bwMode="auto">
          <a:xfrm>
            <a:off x="0" y="0"/>
            <a:ext cx="9144000" cy="3646714"/>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5" descr="C:\Users\a216024\Desktop\stuff\_PPT_107\PowerPoint_Templates_Samples\_10x7.5_Templates\NEW_FIAM\Covers_secondary_slides\2-7_Covers\ColorBar.png"/>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0" y="3481388"/>
            <a:ext cx="9144000" cy="219075"/>
          </a:xfrm>
          <a:prstGeom prst="rect">
            <a:avLst/>
          </a:prstGeom>
          <a:noFill/>
          <a:extLst>
            <a:ext uri="{909E8E84-426E-40DD-AFC4-6F175D3DCCD1}">
              <a14:hiddenFill xmlns:a14="http://schemas.microsoft.com/office/drawing/2010/main">
                <a:solidFill>
                  <a:srgbClr val="FFFFFF"/>
                </a:solidFill>
              </a14:hiddenFill>
            </a:ext>
          </a:extLst>
        </p:spPr>
      </p:pic>
      <p:grpSp>
        <p:nvGrpSpPr>
          <p:cNvPr id="80" name="Group 79"/>
          <p:cNvGrpSpPr/>
          <p:nvPr userDrawn="1"/>
        </p:nvGrpSpPr>
        <p:grpSpPr>
          <a:xfrm>
            <a:off x="6970734" y="6128901"/>
            <a:ext cx="1839928" cy="396052"/>
            <a:chOff x="6923088" y="4475163"/>
            <a:chExt cx="1873251" cy="403225"/>
          </a:xfrm>
        </p:grpSpPr>
        <p:sp>
          <p:nvSpPr>
            <p:cNvPr id="81" name="AutoShape 4"/>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2" name="Freeform 6"/>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3" name="Freeform 7"/>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4" name="Freeform 83"/>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5" name="Freeform 84"/>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6" name="Freeform 85"/>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7" name="Freeform 86"/>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8" name="Freeform 87"/>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9" name="Freeform 88"/>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0" name="Freeform 89"/>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1" name="Freeform 90"/>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2" name="Freeform 91"/>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3" name="Freeform 92"/>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4" name="Freeform 93"/>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5" name="Freeform 94"/>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6" name="Freeform 95"/>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7" name="Freeform 96"/>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8" name="Freeform 97"/>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9" name="Freeform 98"/>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0" name="Freeform 99"/>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1" name="Freeform 100"/>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2" name="Freeform 101"/>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3" name="Freeform 102"/>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4" name="Freeform 103"/>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5" name="Freeform 104"/>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6" name="Freeform 105"/>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44" name="Text Placeholder 43"/>
          <p:cNvSpPr>
            <a:spLocks noGrp="1"/>
          </p:cNvSpPr>
          <p:nvPr>
            <p:ph type="body" sz="quarter" idx="10"/>
          </p:nvPr>
        </p:nvSpPr>
        <p:spPr>
          <a:xfrm>
            <a:off x="715495" y="3833787"/>
            <a:ext cx="2455544" cy="332365"/>
          </a:xfrm>
        </p:spPr>
        <p:txBody>
          <a:bodyPr/>
          <a:lstStyle>
            <a:lvl1pPr>
              <a:defRPr lang="en-US" sz="1000" b="0" kern="1200" smtClean="0">
                <a:solidFill>
                  <a:srgbClr val="000000"/>
                </a:solidFill>
                <a:latin typeface="Arial"/>
                <a:ea typeface="ＭＳ Ｐゴシック"/>
                <a:cs typeface="ＭＳ Ｐゴシック"/>
              </a:defRPr>
            </a:lvl1pPr>
          </a:lstStyle>
          <a:p>
            <a:pPr lvl="0"/>
            <a:r>
              <a:rPr lang="en-US"/>
              <a:t>Click to edit Master text styles</a:t>
            </a:r>
          </a:p>
        </p:txBody>
      </p:sp>
      <p:sp>
        <p:nvSpPr>
          <p:cNvPr id="53" name="Content Placeholder 52"/>
          <p:cNvSpPr>
            <a:spLocks noGrp="1"/>
          </p:cNvSpPr>
          <p:nvPr>
            <p:ph sz="quarter" idx="12"/>
          </p:nvPr>
        </p:nvSpPr>
        <p:spPr>
          <a:xfrm>
            <a:off x="6280150" y="3842381"/>
            <a:ext cx="2487613" cy="165226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47" name="Rectangle 176"/>
          <p:cNvSpPr>
            <a:spLocks noGrp="1" noChangeArrowheads="1"/>
          </p:cNvSpPr>
          <p:nvPr>
            <p:ph type="ftr" sz="quarter" idx="13"/>
          </p:nvPr>
        </p:nvSpPr>
        <p:spPr>
          <a:xfrm>
            <a:off x="272775" y="5877558"/>
            <a:ext cx="6014623" cy="260350"/>
          </a:xfrm>
        </p:spPr>
        <p:txBody>
          <a:bodyPr anchor="b" anchorCtr="0"/>
          <a:lstStyle>
            <a:lvl1pPr algn="l">
              <a:defRPr sz="800" b="0" smtClean="0">
                <a:solidFill>
                  <a:srgbClr val="000000"/>
                </a:solidFill>
              </a:defRPr>
            </a:lvl1pPr>
          </a:lstStyle>
          <a:p>
            <a:pPr>
              <a:defRPr/>
            </a:pPr>
            <a:r>
              <a:rPr lang="en-US" b="1"/>
              <a:t>For institutional use only.</a:t>
            </a:r>
            <a:endParaRPr lang="en-US" b="1" dirty="0"/>
          </a:p>
        </p:txBody>
      </p:sp>
      <p:sp>
        <p:nvSpPr>
          <p:cNvPr id="72" name="Rectangle 6"/>
          <p:cNvSpPr>
            <a:spLocks noGrp="1" noChangeArrowheads="1"/>
          </p:cNvSpPr>
          <p:nvPr>
            <p:ph type="subTitle" idx="1"/>
          </p:nvPr>
        </p:nvSpPr>
        <p:spPr>
          <a:xfrm>
            <a:off x="685251" y="2091765"/>
            <a:ext cx="7805762" cy="563076"/>
          </a:xfrm>
        </p:spPr>
        <p:txBody>
          <a:bodyPr lIns="100584" rIns="100584"/>
          <a:lstStyle>
            <a:lvl1pPr marL="0" indent="0">
              <a:spcBef>
                <a:spcPts val="0"/>
              </a:spcBef>
              <a:defRPr sz="2000" b="0">
                <a:solidFill>
                  <a:srgbClr val="7A9B3D"/>
                </a:solidFill>
              </a:defRPr>
            </a:lvl1pPr>
          </a:lstStyle>
          <a:p>
            <a:r>
              <a:rPr lang="en-US"/>
              <a:t>Click to edit Master subtitle style</a:t>
            </a:r>
            <a:endParaRPr lang="en-US" dirty="0"/>
          </a:p>
        </p:txBody>
      </p:sp>
      <p:sp>
        <p:nvSpPr>
          <p:cNvPr id="74" name="Text Placeholder 43"/>
          <p:cNvSpPr>
            <a:spLocks noGrp="1"/>
          </p:cNvSpPr>
          <p:nvPr>
            <p:ph type="body" sz="quarter" idx="14" hasCustomPrompt="1"/>
          </p:nvPr>
        </p:nvSpPr>
        <p:spPr>
          <a:xfrm>
            <a:off x="685251" y="2581276"/>
            <a:ext cx="7805762" cy="266850"/>
          </a:xfrm>
        </p:spPr>
        <p:txBody>
          <a:bodyPr lIns="100584" rIns="100584"/>
          <a:lstStyle>
            <a:lvl1pPr>
              <a:spcBef>
                <a:spcPts val="0"/>
              </a:spcBef>
              <a:defRPr lang="en-US" sz="1200" b="0" kern="1200" dirty="0" smtClean="0">
                <a:solidFill>
                  <a:srgbClr val="333F48"/>
                </a:solidFill>
                <a:latin typeface="Arial"/>
                <a:ea typeface="ＭＳ Ｐゴシック" pitchFamily="34" charset="-128"/>
                <a:cs typeface="+mn-cs"/>
              </a:defRPr>
            </a:lvl1pPr>
          </a:lstStyle>
          <a:p>
            <a:pPr lvl="0"/>
            <a:r>
              <a:rPr lang="en-US" dirty="0"/>
              <a:t>Date</a:t>
            </a:r>
          </a:p>
        </p:txBody>
      </p:sp>
      <p:sp>
        <p:nvSpPr>
          <p:cNvPr id="39" name="Rectangle 9"/>
          <p:cNvSpPr>
            <a:spLocks noGrp="1" noChangeArrowheads="1"/>
          </p:cNvSpPr>
          <p:nvPr>
            <p:ph type="title" hasCustomPrompt="1"/>
          </p:nvPr>
        </p:nvSpPr>
        <p:spPr bwMode="auto">
          <a:xfrm>
            <a:off x="685252" y="1581072"/>
            <a:ext cx="7820573" cy="5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b" anchorCtr="0" compatLnSpc="1">
            <a:prstTxWarp prst="textNoShape">
              <a:avLst/>
            </a:prstTxWarp>
          </a:bodyPr>
          <a:lstStyle>
            <a:lvl1pPr>
              <a:defRPr sz="3000">
                <a:solidFill>
                  <a:schemeClr val="bg2"/>
                </a:solidFill>
              </a:defRPr>
            </a:lvl1pPr>
          </a:lstStyle>
          <a:p>
            <a:pPr lvl="0"/>
            <a:r>
              <a:rPr lang="en-US" altLang="en-US" dirty="0"/>
              <a:t>Click To Edit Master Title Style</a:t>
            </a:r>
          </a:p>
        </p:txBody>
      </p:sp>
      <p:sp>
        <p:nvSpPr>
          <p:cNvPr id="50" name="Picture Placeholder 47"/>
          <p:cNvSpPr>
            <a:spLocks noGrp="1"/>
          </p:cNvSpPr>
          <p:nvPr>
            <p:ph type="pic" sz="quarter" idx="11" hasCustomPrompt="1"/>
          </p:nvPr>
        </p:nvSpPr>
        <p:spPr>
          <a:xfrm>
            <a:off x="804672" y="4105656"/>
            <a:ext cx="2424112" cy="609600"/>
          </a:xfrm>
          <a:noFill/>
        </p:spPr>
        <p:txBody>
          <a:bodyPr anchor="ctr"/>
          <a:lstStyle>
            <a:lvl1pPr>
              <a:defRPr sz="1000" b="0"/>
            </a:lvl1pPr>
          </a:lstStyle>
          <a:p>
            <a:pPr lvl="0"/>
            <a:r>
              <a:rPr lang="en-US" noProof="0" dirty="0"/>
              <a:t>Click icon to add logo</a:t>
            </a:r>
          </a:p>
        </p:txBody>
      </p:sp>
      <p:grpSp>
        <p:nvGrpSpPr>
          <p:cNvPr id="49" name="Group 48"/>
          <p:cNvGrpSpPr/>
          <p:nvPr userDrawn="1"/>
        </p:nvGrpSpPr>
        <p:grpSpPr>
          <a:xfrm>
            <a:off x="371883" y="6327145"/>
            <a:ext cx="4006611" cy="174407"/>
            <a:chOff x="371883" y="6327145"/>
            <a:chExt cx="4006611" cy="174407"/>
          </a:xfrm>
        </p:grpSpPr>
        <p:grpSp>
          <p:nvGrpSpPr>
            <p:cNvPr id="51" name="Group 50"/>
            <p:cNvGrpSpPr/>
            <p:nvPr userDrawn="1"/>
          </p:nvGrpSpPr>
          <p:grpSpPr>
            <a:xfrm>
              <a:off x="371883" y="6359447"/>
              <a:ext cx="3947551" cy="100654"/>
              <a:chOff x="362358" y="6368972"/>
              <a:chExt cx="3947551" cy="100654"/>
            </a:xfrm>
          </p:grpSpPr>
          <p:pic>
            <p:nvPicPr>
              <p:cNvPr id="54" name="Picture 5"/>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r="1439" b="-2834"/>
              <a:stretch/>
            </p:blipFill>
            <p:spPr bwMode="auto">
              <a:xfrm>
                <a:off x="362358" y="6368972"/>
                <a:ext cx="3848307" cy="100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5" name="AutoShape 4"/>
              <p:cNvSpPr>
                <a:spLocks noChangeAspect="1" noChangeArrowheads="1" noTextEdit="1"/>
              </p:cNvSpPr>
              <p:nvPr userDrawn="1"/>
            </p:nvSpPr>
            <p:spPr bwMode="auto">
              <a:xfrm>
                <a:off x="4213072" y="6374683"/>
                <a:ext cx="96837"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52" name="TextBox 51"/>
            <p:cNvSpPr txBox="1"/>
            <p:nvPr userDrawn="1"/>
          </p:nvSpPr>
          <p:spPr>
            <a:xfrm>
              <a:off x="4144134" y="6327145"/>
              <a:ext cx="234360" cy="174407"/>
            </a:xfrm>
            <a:prstGeom prst="rect">
              <a:avLst/>
            </a:prstGeom>
            <a:noFill/>
          </p:spPr>
          <p:txBody>
            <a:bodyPr wrap="none" rtlCol="0">
              <a:spAutoFit/>
            </a:bodyPr>
            <a:lstStyle/>
            <a:p>
              <a:r>
                <a:rPr lang="en-US" sz="800" b="1" baseline="30000" dirty="0">
                  <a:solidFill>
                    <a:srgbClr val="000000"/>
                  </a:solidFill>
                  <a:latin typeface="Arial"/>
                  <a:cs typeface="+mn-cs"/>
                </a:rPr>
                <a:t>®</a:t>
              </a:r>
            </a:p>
          </p:txBody>
        </p:sp>
      </p:grpSp>
    </p:spTree>
    <p:extLst>
      <p:ext uri="{BB962C8B-B14F-4D97-AF65-F5344CB8AC3E}">
        <p14:creationId xmlns:p14="http://schemas.microsoft.com/office/powerpoint/2010/main" val="279590949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2_FIAM_External_Print_Cover_BD">
    <p:spTree>
      <p:nvGrpSpPr>
        <p:cNvPr id="1" name=""/>
        <p:cNvGrpSpPr/>
        <p:nvPr/>
      </p:nvGrpSpPr>
      <p:grpSpPr>
        <a:xfrm>
          <a:off x="0" y="0"/>
          <a:ext cx="0" cy="0"/>
          <a:chOff x="0" y="0"/>
          <a:chExt cx="0" cy="0"/>
        </a:xfrm>
      </p:grpSpPr>
      <p:pic>
        <p:nvPicPr>
          <p:cNvPr id="45" name="Picture 4" descr="C:\Users\a216024\Desktop\stuff\_PPT_107\PowerPoint_Templates_Samples\_10x7.5_Templates\NEW_FIAM\Covers_secondary_slides\2-7_Covers\LightGray_grayscale.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12688" b="17606"/>
          <a:stretch/>
        </p:blipFill>
        <p:spPr bwMode="auto">
          <a:xfrm>
            <a:off x="0" y="0"/>
            <a:ext cx="9144000" cy="3646714"/>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5" descr="C:\Users\a216024\Desktop\stuff\_PPT_107\PowerPoint_Templates_Samples\_10x7.5_Templates\NEW_FIAM\Covers_secondary_slides\2-7_Covers\ColorBar.png"/>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0" y="3481388"/>
            <a:ext cx="9144000" cy="219075"/>
          </a:xfrm>
          <a:prstGeom prst="rect">
            <a:avLst/>
          </a:prstGeom>
          <a:noFill/>
          <a:extLst>
            <a:ext uri="{909E8E84-426E-40DD-AFC4-6F175D3DCCD1}">
              <a14:hiddenFill xmlns:a14="http://schemas.microsoft.com/office/drawing/2010/main">
                <a:solidFill>
                  <a:srgbClr val="FFFFFF"/>
                </a:solidFill>
              </a14:hiddenFill>
            </a:ext>
          </a:extLst>
        </p:spPr>
      </p:pic>
      <p:grpSp>
        <p:nvGrpSpPr>
          <p:cNvPr id="80" name="Group 79"/>
          <p:cNvGrpSpPr/>
          <p:nvPr userDrawn="1"/>
        </p:nvGrpSpPr>
        <p:grpSpPr>
          <a:xfrm>
            <a:off x="6970734" y="6128901"/>
            <a:ext cx="1839928" cy="396052"/>
            <a:chOff x="6923088" y="4475163"/>
            <a:chExt cx="1873251" cy="403225"/>
          </a:xfrm>
        </p:grpSpPr>
        <p:sp>
          <p:nvSpPr>
            <p:cNvPr id="81" name="AutoShape 4"/>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2" name="Freeform 6"/>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3" name="Freeform 7"/>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4" name="Freeform 83"/>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5" name="Freeform 84"/>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6" name="Freeform 85"/>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7" name="Freeform 86"/>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8" name="Freeform 87"/>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9" name="Freeform 88"/>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0" name="Freeform 89"/>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1" name="Freeform 90"/>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2" name="Freeform 91"/>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3" name="Freeform 92"/>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4" name="Freeform 93"/>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5" name="Freeform 94"/>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6" name="Freeform 95"/>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7" name="Freeform 96"/>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8" name="Freeform 97"/>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9" name="Freeform 98"/>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0" name="Freeform 99"/>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1" name="Freeform 100"/>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2" name="Freeform 101"/>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3" name="Freeform 102"/>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4" name="Freeform 103"/>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5" name="Freeform 104"/>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6" name="Freeform 105"/>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44" name="Text Placeholder 43"/>
          <p:cNvSpPr>
            <a:spLocks noGrp="1"/>
          </p:cNvSpPr>
          <p:nvPr>
            <p:ph type="body" sz="quarter" idx="10"/>
          </p:nvPr>
        </p:nvSpPr>
        <p:spPr>
          <a:xfrm>
            <a:off x="715495" y="3833787"/>
            <a:ext cx="2455544" cy="332365"/>
          </a:xfrm>
        </p:spPr>
        <p:txBody>
          <a:bodyPr/>
          <a:lstStyle>
            <a:lvl1pPr>
              <a:defRPr lang="en-US" sz="1000" b="0" kern="1200" smtClean="0">
                <a:solidFill>
                  <a:srgbClr val="000000"/>
                </a:solidFill>
                <a:latin typeface="Arial"/>
                <a:ea typeface="ＭＳ Ｐゴシック"/>
                <a:cs typeface="ＭＳ Ｐゴシック"/>
              </a:defRPr>
            </a:lvl1pPr>
          </a:lstStyle>
          <a:p>
            <a:pPr lvl="0"/>
            <a:r>
              <a:rPr lang="en-US"/>
              <a:t>Click to edit Master text styles</a:t>
            </a:r>
          </a:p>
        </p:txBody>
      </p:sp>
      <p:sp>
        <p:nvSpPr>
          <p:cNvPr id="53" name="Content Placeholder 52"/>
          <p:cNvSpPr>
            <a:spLocks noGrp="1"/>
          </p:cNvSpPr>
          <p:nvPr>
            <p:ph sz="quarter" idx="12"/>
          </p:nvPr>
        </p:nvSpPr>
        <p:spPr>
          <a:xfrm>
            <a:off x="6280150" y="3842381"/>
            <a:ext cx="2487613" cy="165226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47" name="Rectangle 176"/>
          <p:cNvSpPr>
            <a:spLocks noGrp="1" noChangeArrowheads="1"/>
          </p:cNvSpPr>
          <p:nvPr>
            <p:ph type="ftr" sz="quarter" idx="13"/>
          </p:nvPr>
        </p:nvSpPr>
        <p:spPr>
          <a:xfrm>
            <a:off x="281401" y="5877558"/>
            <a:ext cx="6014623" cy="260350"/>
          </a:xfrm>
        </p:spPr>
        <p:txBody>
          <a:bodyPr anchor="b" anchorCtr="0"/>
          <a:lstStyle>
            <a:lvl1pPr algn="l">
              <a:defRPr sz="800" b="0" smtClean="0">
                <a:solidFill>
                  <a:srgbClr val="000000"/>
                </a:solidFill>
              </a:defRPr>
            </a:lvl1pPr>
          </a:lstStyle>
          <a:p>
            <a:pPr>
              <a:defRPr/>
            </a:pPr>
            <a:r>
              <a:rPr lang="en-US" b="1"/>
              <a:t>For institutional use only.</a:t>
            </a:r>
            <a:endParaRPr lang="en-US" b="1" dirty="0"/>
          </a:p>
        </p:txBody>
      </p:sp>
      <p:sp>
        <p:nvSpPr>
          <p:cNvPr id="72" name="Rectangle 6"/>
          <p:cNvSpPr>
            <a:spLocks noGrp="1" noChangeArrowheads="1"/>
          </p:cNvSpPr>
          <p:nvPr>
            <p:ph type="subTitle" idx="1"/>
          </p:nvPr>
        </p:nvSpPr>
        <p:spPr>
          <a:xfrm>
            <a:off x="685251" y="2091765"/>
            <a:ext cx="7805762" cy="563076"/>
          </a:xfrm>
        </p:spPr>
        <p:txBody>
          <a:bodyPr lIns="100584" rIns="100584"/>
          <a:lstStyle>
            <a:lvl1pPr marL="0" indent="0">
              <a:spcBef>
                <a:spcPts val="0"/>
              </a:spcBef>
              <a:defRPr sz="2000" b="0">
                <a:solidFill>
                  <a:srgbClr val="7A9B3D"/>
                </a:solidFill>
              </a:defRPr>
            </a:lvl1pPr>
          </a:lstStyle>
          <a:p>
            <a:r>
              <a:rPr lang="en-US"/>
              <a:t>Click to edit Master subtitle style</a:t>
            </a:r>
            <a:endParaRPr lang="en-US" dirty="0"/>
          </a:p>
        </p:txBody>
      </p:sp>
      <p:sp>
        <p:nvSpPr>
          <p:cNvPr id="74" name="Text Placeholder 43"/>
          <p:cNvSpPr>
            <a:spLocks noGrp="1"/>
          </p:cNvSpPr>
          <p:nvPr>
            <p:ph type="body" sz="quarter" idx="14" hasCustomPrompt="1"/>
          </p:nvPr>
        </p:nvSpPr>
        <p:spPr>
          <a:xfrm>
            <a:off x="685251" y="2581276"/>
            <a:ext cx="7805762" cy="266850"/>
          </a:xfrm>
        </p:spPr>
        <p:txBody>
          <a:bodyPr lIns="100584" rIns="100584"/>
          <a:lstStyle>
            <a:lvl1pPr>
              <a:spcBef>
                <a:spcPts val="0"/>
              </a:spcBef>
              <a:defRPr lang="en-US" sz="1200" b="0" kern="1200" dirty="0" smtClean="0">
                <a:solidFill>
                  <a:srgbClr val="333F48"/>
                </a:solidFill>
                <a:latin typeface="Arial"/>
                <a:ea typeface="ＭＳ Ｐゴシック" pitchFamily="34" charset="-128"/>
                <a:cs typeface="+mn-cs"/>
              </a:defRPr>
            </a:lvl1pPr>
          </a:lstStyle>
          <a:p>
            <a:pPr lvl="0"/>
            <a:r>
              <a:rPr lang="en-US" dirty="0"/>
              <a:t>Date</a:t>
            </a:r>
          </a:p>
        </p:txBody>
      </p:sp>
      <p:sp>
        <p:nvSpPr>
          <p:cNvPr id="39" name="Rectangle 9"/>
          <p:cNvSpPr>
            <a:spLocks noGrp="1" noChangeArrowheads="1"/>
          </p:cNvSpPr>
          <p:nvPr>
            <p:ph type="title" hasCustomPrompt="1"/>
          </p:nvPr>
        </p:nvSpPr>
        <p:spPr bwMode="auto">
          <a:xfrm>
            <a:off x="685252" y="1581072"/>
            <a:ext cx="7820573" cy="5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b" anchorCtr="0" compatLnSpc="1">
            <a:prstTxWarp prst="textNoShape">
              <a:avLst/>
            </a:prstTxWarp>
          </a:bodyPr>
          <a:lstStyle>
            <a:lvl1pPr>
              <a:defRPr sz="3000">
                <a:solidFill>
                  <a:schemeClr val="bg2"/>
                </a:solidFill>
              </a:defRPr>
            </a:lvl1pPr>
          </a:lstStyle>
          <a:p>
            <a:pPr lvl="0"/>
            <a:r>
              <a:rPr lang="en-US" altLang="en-US" dirty="0"/>
              <a:t>Click To Edit Master Title Style</a:t>
            </a:r>
          </a:p>
        </p:txBody>
      </p:sp>
      <p:sp>
        <p:nvSpPr>
          <p:cNvPr id="49" name="Text Box 15"/>
          <p:cNvSpPr txBox="1">
            <a:spLocks noChangeArrowheads="1"/>
          </p:cNvSpPr>
          <p:nvPr userDrawn="1"/>
        </p:nvSpPr>
        <p:spPr bwMode="ltGray">
          <a:xfrm>
            <a:off x="383501" y="5535090"/>
            <a:ext cx="2868716" cy="184652"/>
          </a:xfrm>
          <a:prstGeom prst="rect">
            <a:avLst/>
          </a:prstGeom>
          <a:noFill/>
          <a:ln w="9525">
            <a:solidFill>
              <a:srgbClr val="000000"/>
            </a:solidFill>
            <a:miter lim="800000"/>
            <a:headEnd/>
            <a:tailEnd/>
          </a:ln>
        </p:spPr>
        <p:txBody>
          <a:bodyPr wrap="none" lIns="45711" tIns="45711" rIns="45711" bIns="27427" anchor="ctr">
            <a:spAutoFit/>
          </a:bodyP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fontAlgn="auto">
              <a:lnSpc>
                <a:spcPct val="90000"/>
              </a:lnSpc>
              <a:spcBef>
                <a:spcPts val="0"/>
              </a:spcBef>
              <a:spcAft>
                <a:spcPts val="0"/>
              </a:spcAft>
              <a:defRPr/>
            </a:pPr>
            <a:r>
              <a:rPr lang="en-US" sz="800" b="1" kern="0" dirty="0">
                <a:solidFill>
                  <a:srgbClr val="000000"/>
                </a:solidFill>
                <a:latin typeface="Arial"/>
                <a:cs typeface="+mn-cs"/>
              </a:rPr>
              <a:t>Not FDIC Insured </a:t>
            </a:r>
            <a:r>
              <a:rPr lang="en-US" sz="800" b="1" kern="0" dirty="0">
                <a:solidFill>
                  <a:srgbClr val="000000"/>
                </a:solidFill>
                <a:latin typeface="Arial"/>
                <a:cs typeface="+mn-cs"/>
                <a:sym typeface="Wingdings" pitchFamily="2" charset="2"/>
              </a:rPr>
              <a:t> May Lose Value  No Bank Guarantee</a:t>
            </a:r>
          </a:p>
        </p:txBody>
      </p:sp>
      <p:sp>
        <p:nvSpPr>
          <p:cNvPr id="50" name="Picture Placeholder 47"/>
          <p:cNvSpPr>
            <a:spLocks noGrp="1"/>
          </p:cNvSpPr>
          <p:nvPr>
            <p:ph type="pic" sz="quarter" idx="11" hasCustomPrompt="1"/>
          </p:nvPr>
        </p:nvSpPr>
        <p:spPr>
          <a:xfrm>
            <a:off x="804672" y="4105656"/>
            <a:ext cx="2424112" cy="609600"/>
          </a:xfrm>
          <a:noFill/>
        </p:spPr>
        <p:txBody>
          <a:bodyPr anchor="ctr"/>
          <a:lstStyle>
            <a:lvl1pPr>
              <a:defRPr sz="1000" b="0"/>
            </a:lvl1pPr>
          </a:lstStyle>
          <a:p>
            <a:pPr lvl="0"/>
            <a:r>
              <a:rPr lang="en-US" noProof="0" dirty="0"/>
              <a:t>Click icon to add logo</a:t>
            </a:r>
          </a:p>
        </p:txBody>
      </p:sp>
      <p:grpSp>
        <p:nvGrpSpPr>
          <p:cNvPr id="51" name="Group 50"/>
          <p:cNvGrpSpPr/>
          <p:nvPr userDrawn="1"/>
        </p:nvGrpSpPr>
        <p:grpSpPr>
          <a:xfrm>
            <a:off x="371883" y="6327145"/>
            <a:ext cx="4006611" cy="174407"/>
            <a:chOff x="371883" y="6327145"/>
            <a:chExt cx="4006611" cy="174407"/>
          </a:xfrm>
        </p:grpSpPr>
        <p:grpSp>
          <p:nvGrpSpPr>
            <p:cNvPr id="52" name="Group 51"/>
            <p:cNvGrpSpPr/>
            <p:nvPr userDrawn="1"/>
          </p:nvGrpSpPr>
          <p:grpSpPr>
            <a:xfrm>
              <a:off x="371883" y="6359447"/>
              <a:ext cx="3947551" cy="100654"/>
              <a:chOff x="362358" y="6368972"/>
              <a:chExt cx="3947551" cy="100654"/>
            </a:xfrm>
          </p:grpSpPr>
          <p:pic>
            <p:nvPicPr>
              <p:cNvPr id="55" name="Picture 5"/>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r="1439" b="-2834"/>
              <a:stretch/>
            </p:blipFill>
            <p:spPr bwMode="auto">
              <a:xfrm>
                <a:off x="362358" y="6368972"/>
                <a:ext cx="3848307" cy="100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AutoShape 4"/>
              <p:cNvSpPr>
                <a:spLocks noChangeAspect="1" noChangeArrowheads="1" noTextEdit="1"/>
              </p:cNvSpPr>
              <p:nvPr userDrawn="1"/>
            </p:nvSpPr>
            <p:spPr bwMode="auto">
              <a:xfrm>
                <a:off x="4213072" y="6374683"/>
                <a:ext cx="96837"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54" name="TextBox 53"/>
            <p:cNvSpPr txBox="1"/>
            <p:nvPr userDrawn="1"/>
          </p:nvSpPr>
          <p:spPr>
            <a:xfrm>
              <a:off x="4144134" y="6327145"/>
              <a:ext cx="234360" cy="174407"/>
            </a:xfrm>
            <a:prstGeom prst="rect">
              <a:avLst/>
            </a:prstGeom>
            <a:noFill/>
          </p:spPr>
          <p:txBody>
            <a:bodyPr wrap="none" rtlCol="0">
              <a:spAutoFit/>
            </a:bodyPr>
            <a:lstStyle/>
            <a:p>
              <a:r>
                <a:rPr lang="en-US" sz="800" b="1" baseline="30000" dirty="0">
                  <a:solidFill>
                    <a:srgbClr val="000000"/>
                  </a:solidFill>
                  <a:latin typeface="Arial"/>
                  <a:cs typeface="+mn-cs"/>
                </a:rPr>
                <a:t>®</a:t>
              </a:r>
            </a:p>
          </p:txBody>
        </p:sp>
      </p:grpSp>
    </p:spTree>
    <p:extLst>
      <p:ext uri="{BB962C8B-B14F-4D97-AF65-F5344CB8AC3E}">
        <p14:creationId xmlns:p14="http://schemas.microsoft.com/office/powerpoint/2010/main" val="346998529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2_GIS Cover">
    <p:spTree>
      <p:nvGrpSpPr>
        <p:cNvPr id="1" name=""/>
        <p:cNvGrpSpPr/>
        <p:nvPr/>
      </p:nvGrpSpPr>
      <p:grpSpPr>
        <a:xfrm>
          <a:off x="0" y="0"/>
          <a:ext cx="0" cy="0"/>
          <a:chOff x="0" y="0"/>
          <a:chExt cx="0" cy="0"/>
        </a:xfrm>
      </p:grpSpPr>
      <p:pic>
        <p:nvPicPr>
          <p:cNvPr id="45" name="Picture 4" descr="C:\Users\a216024\Desktop\stuff\_PPT_107\PowerPoint_Templates_Samples\_10x7.5_Templates\NEW_FIAM\Covers_secondary_slides\2-7_Covers\LightGray_grayscale.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12688" b="17606"/>
          <a:stretch/>
        </p:blipFill>
        <p:spPr bwMode="auto">
          <a:xfrm>
            <a:off x="0" y="0"/>
            <a:ext cx="9144000" cy="3646714"/>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5" descr="C:\Users\a216024\Desktop\stuff\_PPT_107\PowerPoint_Templates_Samples\_10x7.5_Templates\NEW_FIAM\Covers_secondary_slides\2-7_Covers\ColorBar.png"/>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l="1379" r="1716"/>
          <a:stretch/>
        </p:blipFill>
        <p:spPr bwMode="auto">
          <a:xfrm>
            <a:off x="0" y="3481388"/>
            <a:ext cx="9144000" cy="219075"/>
          </a:xfrm>
          <a:prstGeom prst="rect">
            <a:avLst/>
          </a:prstGeom>
          <a:noFill/>
          <a:extLst>
            <a:ext uri="{909E8E84-426E-40DD-AFC4-6F175D3DCCD1}">
              <a14:hiddenFill xmlns:a14="http://schemas.microsoft.com/office/drawing/2010/main">
                <a:solidFill>
                  <a:srgbClr val="FFFFFF"/>
                </a:solidFill>
              </a14:hiddenFill>
            </a:ext>
          </a:extLst>
        </p:spPr>
      </p:pic>
      <p:grpSp>
        <p:nvGrpSpPr>
          <p:cNvPr id="80" name="Group 79"/>
          <p:cNvGrpSpPr/>
          <p:nvPr userDrawn="1"/>
        </p:nvGrpSpPr>
        <p:grpSpPr>
          <a:xfrm>
            <a:off x="6970734" y="6128901"/>
            <a:ext cx="1839928" cy="396052"/>
            <a:chOff x="6923088" y="4475163"/>
            <a:chExt cx="1873251" cy="403225"/>
          </a:xfrm>
        </p:grpSpPr>
        <p:sp>
          <p:nvSpPr>
            <p:cNvPr id="81" name="AutoShape 4"/>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2" name="Freeform 6"/>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3" name="Freeform 7"/>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4" name="Freeform 83"/>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5" name="Freeform 84"/>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6" name="Freeform 85"/>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7" name="Freeform 86"/>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8" name="Freeform 87"/>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9" name="Freeform 88"/>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0" name="Freeform 89"/>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1" name="Freeform 90"/>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2" name="Freeform 91"/>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3" name="Freeform 92"/>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4" name="Freeform 93"/>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5" name="Freeform 94"/>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6" name="Freeform 95"/>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7" name="Freeform 96"/>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8" name="Freeform 97"/>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9" name="Freeform 98"/>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0" name="Freeform 99"/>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1" name="Freeform 100"/>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2" name="Freeform 101"/>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3" name="Freeform 102"/>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4" name="Freeform 103"/>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5" name="Freeform 104"/>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6" name="Freeform 105"/>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44" name="Text Placeholder 43"/>
          <p:cNvSpPr>
            <a:spLocks noGrp="1"/>
          </p:cNvSpPr>
          <p:nvPr>
            <p:ph type="body" sz="quarter" idx="10" hasCustomPrompt="1"/>
          </p:nvPr>
        </p:nvSpPr>
        <p:spPr>
          <a:xfrm>
            <a:off x="715495" y="3833787"/>
            <a:ext cx="2455544" cy="332365"/>
          </a:xfrm>
        </p:spPr>
        <p:txBody>
          <a:bodyPr/>
          <a:lstStyle>
            <a:lvl1pPr>
              <a:defRPr lang="en-US" sz="1000" b="1" kern="1200" smtClean="0">
                <a:solidFill>
                  <a:srgbClr val="000000"/>
                </a:solidFill>
                <a:latin typeface="Arial"/>
                <a:ea typeface="ＭＳ Ｐゴシック"/>
                <a:cs typeface="ＭＳ Ｐゴシック"/>
              </a:defRPr>
            </a:lvl1pPr>
          </a:lstStyle>
          <a:p>
            <a:pPr marL="0" indent="0"/>
            <a:r>
              <a:rPr lang="en-US" sz="1200" dirty="0"/>
              <a:t>Global Institutional Solutions</a:t>
            </a:r>
            <a:br>
              <a:rPr lang="en-US" sz="1200" dirty="0"/>
            </a:br>
            <a:endParaRPr lang="en-US" sz="1200" dirty="0"/>
          </a:p>
        </p:txBody>
      </p:sp>
      <p:sp>
        <p:nvSpPr>
          <p:cNvPr id="53" name="Content Placeholder 52"/>
          <p:cNvSpPr>
            <a:spLocks noGrp="1"/>
          </p:cNvSpPr>
          <p:nvPr>
            <p:ph sz="quarter" idx="12"/>
          </p:nvPr>
        </p:nvSpPr>
        <p:spPr>
          <a:xfrm>
            <a:off x="6280150" y="3842381"/>
            <a:ext cx="2487613" cy="165226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72" name="Rectangle 6"/>
          <p:cNvSpPr>
            <a:spLocks noGrp="1" noChangeArrowheads="1"/>
          </p:cNvSpPr>
          <p:nvPr>
            <p:ph type="subTitle" idx="1"/>
          </p:nvPr>
        </p:nvSpPr>
        <p:spPr>
          <a:xfrm>
            <a:off x="685251" y="2091765"/>
            <a:ext cx="7805762" cy="563076"/>
          </a:xfrm>
        </p:spPr>
        <p:txBody>
          <a:bodyPr lIns="100584" rIns="100584"/>
          <a:lstStyle>
            <a:lvl1pPr marL="0" indent="0">
              <a:spcBef>
                <a:spcPts val="0"/>
              </a:spcBef>
              <a:defRPr sz="2600" b="0">
                <a:solidFill>
                  <a:srgbClr val="7A9B3D"/>
                </a:solidFill>
              </a:defRPr>
            </a:lvl1pPr>
          </a:lstStyle>
          <a:p>
            <a:r>
              <a:rPr lang="en-US"/>
              <a:t>Click to edit Master subtitle style</a:t>
            </a:r>
            <a:endParaRPr lang="en-US" dirty="0"/>
          </a:p>
        </p:txBody>
      </p:sp>
      <p:sp>
        <p:nvSpPr>
          <p:cNvPr id="74" name="Text Placeholder 43"/>
          <p:cNvSpPr>
            <a:spLocks noGrp="1"/>
          </p:cNvSpPr>
          <p:nvPr>
            <p:ph type="body" sz="quarter" idx="14" hasCustomPrompt="1"/>
          </p:nvPr>
        </p:nvSpPr>
        <p:spPr>
          <a:xfrm>
            <a:off x="685251" y="2581276"/>
            <a:ext cx="7805762" cy="266850"/>
          </a:xfrm>
        </p:spPr>
        <p:txBody>
          <a:bodyPr lIns="100584" rIns="100584"/>
          <a:lstStyle>
            <a:lvl1pPr>
              <a:spcBef>
                <a:spcPts val="0"/>
              </a:spcBef>
              <a:defRPr lang="en-US" sz="1200" b="0" kern="1200" dirty="0" smtClean="0">
                <a:solidFill>
                  <a:srgbClr val="333F48"/>
                </a:solidFill>
                <a:latin typeface="Arial"/>
                <a:ea typeface="ＭＳ Ｐゴシック" pitchFamily="34" charset="-128"/>
                <a:cs typeface="+mn-cs"/>
              </a:defRPr>
            </a:lvl1pPr>
          </a:lstStyle>
          <a:p>
            <a:pPr lvl="0"/>
            <a:r>
              <a:rPr lang="en-US" dirty="0"/>
              <a:t>Date</a:t>
            </a:r>
          </a:p>
        </p:txBody>
      </p:sp>
      <p:sp>
        <p:nvSpPr>
          <p:cNvPr id="50" name="Rectangle 176"/>
          <p:cNvSpPr>
            <a:spLocks noGrp="1" noChangeArrowheads="1"/>
          </p:cNvSpPr>
          <p:nvPr>
            <p:ph type="ftr" sz="quarter" idx="13"/>
          </p:nvPr>
        </p:nvSpPr>
        <p:spPr>
          <a:xfrm>
            <a:off x="272775" y="5877558"/>
            <a:ext cx="6014623" cy="260350"/>
          </a:xfrm>
        </p:spPr>
        <p:txBody>
          <a:bodyPr anchor="b" anchorCtr="0"/>
          <a:lstStyle>
            <a:lvl1pPr algn="l">
              <a:defRPr sz="800" b="0" smtClean="0">
                <a:solidFill>
                  <a:srgbClr val="000000"/>
                </a:solidFill>
              </a:defRPr>
            </a:lvl1pPr>
          </a:lstStyle>
          <a:p>
            <a:pPr>
              <a:defRPr/>
            </a:pPr>
            <a:r>
              <a:rPr lang="en-US" b="1"/>
              <a:t>For institutional use only.</a:t>
            </a:r>
            <a:endParaRPr lang="en-US" b="1" dirty="0"/>
          </a:p>
        </p:txBody>
      </p:sp>
      <p:sp>
        <p:nvSpPr>
          <p:cNvPr id="3" name="Rectangle 2"/>
          <p:cNvSpPr/>
          <p:nvPr userDrawn="1"/>
        </p:nvSpPr>
        <p:spPr>
          <a:xfrm>
            <a:off x="709199" y="1901645"/>
            <a:ext cx="1356462" cy="276999"/>
          </a:xfrm>
          <a:prstGeom prst="rect">
            <a:avLst/>
          </a:prstGeom>
        </p:spPr>
        <p:txBody>
          <a:bodyPr wrap="none">
            <a:spAutoFit/>
          </a:bodyPr>
          <a:lstStyle/>
          <a:p>
            <a:r>
              <a:rPr lang="en-US" b="1" dirty="0">
                <a:solidFill>
                  <a:srgbClr val="333F48"/>
                </a:solidFill>
                <a:latin typeface="Arial"/>
                <a:cs typeface="+mn-cs"/>
              </a:rPr>
              <a:t>Presentation to:</a:t>
            </a:r>
            <a:endParaRPr lang="en-US" dirty="0">
              <a:solidFill>
                <a:srgbClr val="000000"/>
              </a:solidFill>
              <a:latin typeface="Arial"/>
              <a:cs typeface="+mn-cs"/>
            </a:endParaRPr>
          </a:p>
        </p:txBody>
      </p:sp>
      <p:grpSp>
        <p:nvGrpSpPr>
          <p:cNvPr id="43" name="Group 42"/>
          <p:cNvGrpSpPr/>
          <p:nvPr userDrawn="1"/>
        </p:nvGrpSpPr>
        <p:grpSpPr>
          <a:xfrm>
            <a:off x="371883" y="6327145"/>
            <a:ext cx="4006611" cy="174407"/>
            <a:chOff x="371883" y="6327145"/>
            <a:chExt cx="4006611" cy="174407"/>
          </a:xfrm>
        </p:grpSpPr>
        <p:grpSp>
          <p:nvGrpSpPr>
            <p:cNvPr id="47" name="Group 46"/>
            <p:cNvGrpSpPr/>
            <p:nvPr userDrawn="1"/>
          </p:nvGrpSpPr>
          <p:grpSpPr>
            <a:xfrm>
              <a:off x="371883" y="6359447"/>
              <a:ext cx="3947551" cy="100654"/>
              <a:chOff x="362358" y="6368972"/>
              <a:chExt cx="3947551" cy="100654"/>
            </a:xfrm>
          </p:grpSpPr>
          <p:pic>
            <p:nvPicPr>
              <p:cNvPr id="51" name="Picture 5"/>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r="1439" b="-2834"/>
              <a:stretch/>
            </p:blipFill>
            <p:spPr bwMode="auto">
              <a:xfrm>
                <a:off x="362358" y="6368972"/>
                <a:ext cx="3848307" cy="100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2" name="AutoShape 4"/>
              <p:cNvSpPr>
                <a:spLocks noChangeAspect="1" noChangeArrowheads="1" noTextEdit="1"/>
              </p:cNvSpPr>
              <p:nvPr userDrawn="1"/>
            </p:nvSpPr>
            <p:spPr bwMode="auto">
              <a:xfrm>
                <a:off x="4213072" y="6374683"/>
                <a:ext cx="96837"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49" name="TextBox 48"/>
            <p:cNvSpPr txBox="1"/>
            <p:nvPr userDrawn="1"/>
          </p:nvSpPr>
          <p:spPr>
            <a:xfrm>
              <a:off x="4144134" y="6327145"/>
              <a:ext cx="234360" cy="174407"/>
            </a:xfrm>
            <a:prstGeom prst="rect">
              <a:avLst/>
            </a:prstGeom>
            <a:noFill/>
          </p:spPr>
          <p:txBody>
            <a:bodyPr wrap="none" rtlCol="0">
              <a:spAutoFit/>
            </a:bodyPr>
            <a:lstStyle/>
            <a:p>
              <a:r>
                <a:rPr lang="en-US" sz="800" b="1" baseline="30000" dirty="0">
                  <a:solidFill>
                    <a:srgbClr val="000000"/>
                  </a:solidFill>
                  <a:latin typeface="Arial"/>
                  <a:cs typeface="+mn-cs"/>
                </a:rPr>
                <a:t>®</a:t>
              </a:r>
            </a:p>
          </p:txBody>
        </p:sp>
      </p:grpSp>
    </p:spTree>
    <p:extLst>
      <p:ext uri="{BB962C8B-B14F-4D97-AF65-F5344CB8AC3E}">
        <p14:creationId xmlns:p14="http://schemas.microsoft.com/office/powerpoint/2010/main" val="33103121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73742" cy="838200"/>
          </a:xfrm>
        </p:spPr>
        <p:txBody>
          <a:bodyPr/>
          <a:lstStyle/>
          <a:p>
            <a:r>
              <a:rPr lang="en-US"/>
              <a:t>Click to edit Master title style</a:t>
            </a:r>
            <a:endParaRPr lang="en-US" dirty="0"/>
          </a:p>
        </p:txBody>
      </p:sp>
      <p:sp>
        <p:nvSpPr>
          <p:cNvPr id="3" name="Content Placeholder 2"/>
          <p:cNvSpPr>
            <a:spLocks noGrp="1"/>
          </p:cNvSpPr>
          <p:nvPr>
            <p:ph sz="half" idx="1"/>
          </p:nvPr>
        </p:nvSpPr>
        <p:spPr>
          <a:xfrm>
            <a:off x="317115" y="1339850"/>
            <a:ext cx="3878262" cy="4878388"/>
          </a:xfrm>
        </p:spPr>
        <p:txBody>
          <a:bodyPr lIns="91440"/>
          <a:lstStyle>
            <a:lvl1pPr>
              <a:spcBef>
                <a:spcPts val="600"/>
              </a:spcBef>
              <a:defRPr sz="1400">
                <a:solidFill>
                  <a:srgbClr val="7A9B3D"/>
                </a:solidFill>
              </a:defRPr>
            </a:lvl1pPr>
            <a:lvl2pPr marL="114300" indent="-114300">
              <a:spcBef>
                <a:spcPts val="600"/>
              </a:spcBef>
              <a:buClr>
                <a:srgbClr val="7A9B3D"/>
              </a:buClr>
              <a:defRPr sz="1200">
                <a:solidFill>
                  <a:srgbClr val="000000"/>
                </a:solidFill>
              </a:defRPr>
            </a:lvl2pPr>
            <a:lvl3pPr marL="228600" indent="-114300">
              <a:spcBef>
                <a:spcPts val="600"/>
              </a:spcBef>
              <a:buClr>
                <a:srgbClr val="768692"/>
              </a:buClr>
              <a:defRPr sz="1100">
                <a:solidFill>
                  <a:srgbClr val="000000"/>
                </a:solidFill>
              </a:defRPr>
            </a:lvl3pPr>
            <a:lvl4pPr marL="342900" indent="-114300">
              <a:spcBef>
                <a:spcPts val="600"/>
              </a:spcBef>
              <a:buClr>
                <a:srgbClr val="000000"/>
              </a:buClr>
              <a:defRPr sz="1050">
                <a:solidFill>
                  <a:srgbClr val="000000"/>
                </a:solidFill>
              </a:defRPr>
            </a:lvl4pPr>
            <a:lvl5pPr>
              <a:defRPr sz="105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2"/>
          <p:cNvSpPr>
            <a:spLocks noGrp="1"/>
          </p:cNvSpPr>
          <p:nvPr>
            <p:ph sz="half" idx="13"/>
          </p:nvPr>
        </p:nvSpPr>
        <p:spPr>
          <a:xfrm>
            <a:off x="4611450" y="1339850"/>
            <a:ext cx="3878262" cy="4878388"/>
          </a:xfrm>
        </p:spPr>
        <p:txBody>
          <a:bodyPr lIns="91440"/>
          <a:lstStyle>
            <a:lvl1pPr>
              <a:spcBef>
                <a:spcPts val="600"/>
              </a:spcBef>
              <a:defRPr sz="1400">
                <a:solidFill>
                  <a:srgbClr val="7A9B3D"/>
                </a:solidFill>
              </a:defRPr>
            </a:lvl1pPr>
            <a:lvl2pPr marL="114300" indent="-114300">
              <a:spcBef>
                <a:spcPts val="600"/>
              </a:spcBef>
              <a:buClr>
                <a:srgbClr val="7A9B3D"/>
              </a:buClr>
              <a:defRPr sz="1200">
                <a:solidFill>
                  <a:srgbClr val="000000"/>
                </a:solidFill>
              </a:defRPr>
            </a:lvl2pPr>
            <a:lvl3pPr marL="228600" indent="-114300">
              <a:spcBef>
                <a:spcPts val="600"/>
              </a:spcBef>
              <a:buClr>
                <a:srgbClr val="768692"/>
              </a:buClr>
              <a:defRPr sz="1100">
                <a:solidFill>
                  <a:srgbClr val="000000"/>
                </a:solidFill>
              </a:defRPr>
            </a:lvl3pPr>
            <a:lvl4pPr marL="342900" indent="-114300">
              <a:spcBef>
                <a:spcPts val="600"/>
              </a:spcBef>
              <a:buClr>
                <a:srgbClr val="000000"/>
              </a:buClr>
              <a:defRPr sz="1050">
                <a:solidFill>
                  <a:srgbClr val="000000"/>
                </a:solidFill>
              </a:defRPr>
            </a:lvl4pPr>
            <a:lvl5pPr>
              <a:defRPr sz="105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12"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a:t>201607-20094</a:t>
            </a:r>
            <a:endParaRPr lang="en-US" dirty="0"/>
          </a:p>
        </p:txBody>
      </p:sp>
      <p:grpSp>
        <p:nvGrpSpPr>
          <p:cNvPr id="13" name="Group 12"/>
          <p:cNvGrpSpPr/>
          <p:nvPr userDrawn="1"/>
        </p:nvGrpSpPr>
        <p:grpSpPr>
          <a:xfrm>
            <a:off x="7364320" y="6412511"/>
            <a:ext cx="1371600" cy="283464"/>
            <a:chOff x="4291013" y="3178175"/>
            <a:chExt cx="3197225" cy="688975"/>
          </a:xfrm>
        </p:grpSpPr>
        <p:sp>
          <p:nvSpPr>
            <p:cNvPr id="14"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9"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192206383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5_TOC/Agenda">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a:noFill/>
          <a:ln w="9525">
            <a:noFill/>
            <a:miter lim="800000"/>
            <a:headEnd/>
            <a:tailEnd/>
          </a:ln>
          <a:effectLst/>
        </p:spPr>
        <p:txBody>
          <a:bodyPr tIns="45720" anchor="t" anchorCtr="0"/>
          <a:lstStyle>
            <a:lvl1pPr>
              <a:defRPr kumimoji="0" lang="en-US" sz="2400" b="0" i="0" u="none" strike="noStrike" kern="0" cap="none" spc="0" normalizeH="0" baseline="0" noProof="0" dirty="0">
                <a:ln>
                  <a:noFill/>
                </a:ln>
                <a:solidFill>
                  <a:srgbClr val="333F48"/>
                </a:solidFill>
                <a:effectLst/>
                <a:uLnTx/>
                <a:uFillTx/>
                <a:latin typeface="+mj-lt"/>
                <a:ea typeface="+mj-ea"/>
                <a:cs typeface="+mj-cs"/>
              </a:defRPr>
            </a:lvl1pPr>
          </a:lstStyle>
          <a:p>
            <a:pPr lvl="0"/>
            <a:r>
              <a:rPr lang="en-US"/>
              <a:t>Click to edit Master title style</a:t>
            </a:r>
            <a:endParaRPr lang="en-US" dirty="0"/>
          </a:p>
        </p:txBody>
      </p:sp>
      <p:sp>
        <p:nvSpPr>
          <p:cNvPr id="10" name="Content Placeholder 9"/>
          <p:cNvSpPr>
            <a:spLocks noGrp="1"/>
          </p:cNvSpPr>
          <p:nvPr>
            <p:ph sz="quarter" idx="13"/>
          </p:nvPr>
        </p:nvSpPr>
        <p:spPr>
          <a:xfrm>
            <a:off x="317115" y="1339850"/>
            <a:ext cx="8188710" cy="3879131"/>
          </a:xfrm>
        </p:spPr>
        <p:txBody>
          <a:bodyPr/>
          <a:lstStyle>
            <a:lvl1pPr marL="227013" indent="-227013">
              <a:spcBef>
                <a:spcPts val="600"/>
              </a:spcBef>
              <a:buClr>
                <a:srgbClr val="7A9B3D"/>
              </a:buClr>
              <a:buSzPct val="100000"/>
              <a:buFont typeface="+mj-lt"/>
              <a:buAutoNum type="arabicPeriod"/>
              <a:defRPr sz="1400" b="0" i="0" baseline="0">
                <a:solidFill>
                  <a:srgbClr val="000000"/>
                </a:solidFill>
                <a:latin typeface="Arial" pitchFamily="34" charset="0"/>
              </a:defRPr>
            </a:lvl1pPr>
            <a:lvl2pPr marL="461963" indent="-217488">
              <a:spcBef>
                <a:spcPts val="600"/>
              </a:spcBef>
              <a:buClr>
                <a:srgbClr val="768692"/>
              </a:buClr>
              <a:buFont typeface="+mj-lt"/>
              <a:buAutoNum type="alphaUcPeriod"/>
              <a:defRPr sz="1200" baseline="0">
                <a:solidFill>
                  <a:srgbClr val="000000"/>
                </a:solidFill>
                <a:latin typeface="Arial" pitchFamily="34" charset="0"/>
              </a:defRPr>
            </a:lvl2pPr>
            <a:lvl3pPr>
              <a:spcBef>
                <a:spcPts val="600"/>
              </a:spcBef>
              <a:buClr>
                <a:srgbClr val="000000"/>
              </a:buClr>
              <a:defRPr baseline="0">
                <a:solidFill>
                  <a:srgbClr val="000000"/>
                </a:solidFill>
              </a:defRPr>
            </a:lvl3pPr>
          </a:lstStyle>
          <a:p>
            <a:pPr lvl="0"/>
            <a:r>
              <a:rPr lang="en-US"/>
              <a:t>Click to edit Master text styles</a:t>
            </a:r>
          </a:p>
          <a:p>
            <a:pPr lvl="1"/>
            <a:r>
              <a:rPr lang="en-US"/>
              <a:t>Second level</a:t>
            </a:r>
          </a:p>
          <a:p>
            <a:pPr lvl="2"/>
            <a:r>
              <a:rPr lang="en-US"/>
              <a:t>Third level</a:t>
            </a:r>
          </a:p>
        </p:txBody>
      </p:sp>
      <p:sp>
        <p:nvSpPr>
          <p:cNvPr id="5"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7"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a:t>201907-26031</a:t>
            </a:r>
            <a:endParaRPr lang="en-US" dirty="0"/>
          </a:p>
        </p:txBody>
      </p:sp>
      <p:grpSp>
        <p:nvGrpSpPr>
          <p:cNvPr id="8" name="Group 7"/>
          <p:cNvGrpSpPr/>
          <p:nvPr userDrawn="1"/>
        </p:nvGrpSpPr>
        <p:grpSpPr>
          <a:xfrm>
            <a:off x="7364320" y="6412511"/>
            <a:ext cx="1371600" cy="283464"/>
            <a:chOff x="4291013" y="3178175"/>
            <a:chExt cx="3197225" cy="688975"/>
          </a:xfrm>
        </p:grpSpPr>
        <p:sp>
          <p:nvSpPr>
            <p:cNvPr id="9"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1"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2"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3"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4"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5"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6"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7"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8"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9"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0"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1"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2"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3"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4"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5"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6"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7"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8"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9"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0"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1"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2"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3"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4"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35" name="Text Box 5"/>
          <p:cNvSpPr txBox="1">
            <a:spLocks noChangeArrowheads="1"/>
          </p:cNvSpPr>
          <p:nvPr userDrawn="1"/>
        </p:nvSpPr>
        <p:spPr bwMode="auto">
          <a:xfrm>
            <a:off x="320039" y="6336792"/>
            <a:ext cx="6828247" cy="219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anchor="b"/>
          <a:lstStyle>
            <a:lvl1pPr eaLnBrk="0" hangingPunct="0">
              <a:spcBef>
                <a:spcPct val="20000"/>
              </a:spcBef>
              <a:buSzPct val="40000"/>
              <a:defRPr sz="1600" b="1">
                <a:solidFill>
                  <a:schemeClr val="accent1"/>
                </a:solidFill>
                <a:latin typeface="Arial" charset="0"/>
              </a:defRPr>
            </a:lvl1pPr>
            <a:lvl2pPr marL="742950" indent="-285750" eaLnBrk="0" hangingPunct="0">
              <a:spcBef>
                <a:spcPct val="20000"/>
              </a:spcBef>
              <a:buClr>
                <a:srgbClr val="978981"/>
              </a:buClr>
              <a:buChar char="•"/>
              <a:defRPr sz="1400">
                <a:solidFill>
                  <a:schemeClr val="tx1"/>
                </a:solidFill>
                <a:latin typeface="Arial" charset="0"/>
              </a:defRPr>
            </a:lvl2pPr>
            <a:lvl3pPr marL="1143000" indent="-228600" eaLnBrk="0" hangingPunct="0">
              <a:spcBef>
                <a:spcPct val="20000"/>
              </a:spcBef>
              <a:buClr>
                <a:schemeClr val="accent1"/>
              </a:buClr>
              <a:buFont typeface="Arial" charset="0"/>
              <a:buChar char="–"/>
              <a:defRPr sz="1200">
                <a:solidFill>
                  <a:schemeClr val="accent1"/>
                </a:solidFill>
                <a:latin typeface="Arial" charset="0"/>
              </a:defRPr>
            </a:lvl3pPr>
            <a:lvl4pPr marL="1600200" indent="-228600" eaLnBrk="0" hangingPunct="0">
              <a:spcBef>
                <a:spcPct val="20000"/>
              </a:spcBef>
              <a:buFont typeface="Arial" charset="0"/>
              <a:buChar char="•"/>
              <a:defRPr sz="1200">
                <a:solidFill>
                  <a:srgbClr val="4C5F6C"/>
                </a:solidFill>
                <a:latin typeface="Arial" charset="0"/>
              </a:defRPr>
            </a:lvl4pPr>
            <a:lvl5pPr marL="2057400" indent="-228600" eaLnBrk="0" hangingPunct="0">
              <a:lnSpc>
                <a:spcPts val="2400"/>
              </a:lnSpc>
              <a:defRPr sz="1400">
                <a:solidFill>
                  <a:schemeClr val="tx1"/>
                </a:solidFill>
                <a:latin typeface="Arial" charset="0"/>
              </a:defRPr>
            </a:lvl5pPr>
            <a:lvl6pPr marL="2514600" indent="-228600" eaLnBrk="0" fontAlgn="base" hangingPunct="0">
              <a:lnSpc>
                <a:spcPts val="2400"/>
              </a:lnSpc>
              <a:spcBef>
                <a:spcPct val="0"/>
              </a:spcBef>
              <a:spcAft>
                <a:spcPct val="0"/>
              </a:spcAft>
              <a:defRPr sz="1400">
                <a:solidFill>
                  <a:schemeClr val="tx1"/>
                </a:solidFill>
                <a:latin typeface="Arial" charset="0"/>
              </a:defRPr>
            </a:lvl6pPr>
            <a:lvl7pPr marL="2971800" indent="-228600" eaLnBrk="0" fontAlgn="base" hangingPunct="0">
              <a:lnSpc>
                <a:spcPts val="2400"/>
              </a:lnSpc>
              <a:spcBef>
                <a:spcPct val="0"/>
              </a:spcBef>
              <a:spcAft>
                <a:spcPct val="0"/>
              </a:spcAft>
              <a:defRPr sz="1400">
                <a:solidFill>
                  <a:schemeClr val="tx1"/>
                </a:solidFill>
                <a:latin typeface="Arial" charset="0"/>
              </a:defRPr>
            </a:lvl7pPr>
            <a:lvl8pPr marL="3429000" indent="-228600" eaLnBrk="0" fontAlgn="base" hangingPunct="0">
              <a:lnSpc>
                <a:spcPts val="2400"/>
              </a:lnSpc>
              <a:spcBef>
                <a:spcPct val="0"/>
              </a:spcBef>
              <a:spcAft>
                <a:spcPct val="0"/>
              </a:spcAft>
              <a:defRPr sz="1400">
                <a:solidFill>
                  <a:schemeClr val="tx1"/>
                </a:solidFill>
                <a:latin typeface="Arial" charset="0"/>
              </a:defRPr>
            </a:lvl8pPr>
            <a:lvl9pPr marL="3886200" indent="-228600" eaLnBrk="0" fontAlgn="base" hangingPunct="0">
              <a:lnSpc>
                <a:spcPts val="2400"/>
              </a:lnSpc>
              <a:spcBef>
                <a:spcPct val="0"/>
              </a:spcBef>
              <a:spcAft>
                <a:spcPct val="0"/>
              </a:spcAft>
              <a:defRPr sz="1400">
                <a:solidFill>
                  <a:schemeClr val="tx1"/>
                </a:solidFill>
                <a:latin typeface="Arial" charset="0"/>
              </a:defRPr>
            </a:lvl9pPr>
          </a:lstStyle>
          <a:p>
            <a:pPr eaLnBrk="1" hangingPunct="1">
              <a:spcBef>
                <a:spcPct val="0"/>
              </a:spcBef>
              <a:spcAft>
                <a:spcPts val="300"/>
              </a:spcAft>
              <a:buSzTx/>
              <a:defRPr/>
            </a:pPr>
            <a:r>
              <a:rPr lang="en-US" altLang="en-US" sz="800" b="0" i="1" kern="0" dirty="0">
                <a:solidFill>
                  <a:srgbClr val="000000"/>
                </a:solidFill>
                <a:latin typeface="Arial"/>
                <a:cs typeface="+mn-cs"/>
              </a:rPr>
              <a:t>This document does not make an offer or solicitation to buy or sell any securities or services, and is not investment advice. FIAM does not provide legal or tax advice and we encourage you to consult your own lawyer, accountant, or other advisor before making an investment.</a:t>
            </a:r>
          </a:p>
          <a:p>
            <a:pPr eaLnBrk="1" hangingPunct="1">
              <a:spcBef>
                <a:spcPct val="0"/>
              </a:spcBef>
              <a:spcAft>
                <a:spcPts val="300"/>
              </a:spcAft>
              <a:buSzTx/>
              <a:defRPr/>
            </a:pPr>
            <a:r>
              <a:rPr lang="en-US" altLang="en-US" sz="800" b="0" i="1" kern="0" dirty="0">
                <a:solidFill>
                  <a:srgbClr val="000000"/>
                </a:solidFill>
                <a:latin typeface="Arial"/>
                <a:cs typeface="+mn-cs"/>
              </a:rPr>
              <a:t>Information provided in this document is for informational and educational purposes only. To the extent any investment information in this material is deemed to be a recommendation, it is not meant to be impartial investment advice or advice in a fiduciary capacity and is not intended to be used as a primary basis for you or your client’s investment decisions. Fidelity and its representatives may have a conflict of interest in the products or services mentioned in this material because they have a financial interest in them, and receive compensation, directly or indirectly, in connection with the management, distribution and/or servicing of these products or services including Fidelity funds, certain third-party funds and products, and certain investment services. </a:t>
            </a:r>
          </a:p>
          <a:p>
            <a:pPr>
              <a:lnSpc>
                <a:spcPts val="1000"/>
              </a:lnSpc>
              <a:spcBef>
                <a:spcPct val="0"/>
              </a:spcBef>
              <a:spcAft>
                <a:spcPts val="300"/>
              </a:spcAft>
              <a:buSzTx/>
            </a:pPr>
            <a:r>
              <a:rPr lang="en-US" altLang="en-US" sz="800" b="0" dirty="0">
                <a:solidFill>
                  <a:srgbClr val="000000"/>
                </a:solidFill>
                <a:latin typeface="Arial"/>
                <a:cs typeface="+mn-cs"/>
              </a:rPr>
              <a:t>See “Important Information” for a discussion of performance data, some of the principal risks related to any of the investment strategies referred to in this presentation and other information related to this presentation.</a:t>
            </a:r>
          </a:p>
        </p:txBody>
      </p:sp>
    </p:spTree>
    <p:extLst>
      <p:ext uri="{BB962C8B-B14F-4D97-AF65-F5344CB8AC3E}">
        <p14:creationId xmlns:p14="http://schemas.microsoft.com/office/powerpoint/2010/main" val="197213596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_TOC/Agenda_CFA">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a:noFill/>
          <a:ln w="9525">
            <a:noFill/>
            <a:miter lim="800000"/>
            <a:headEnd/>
            <a:tailEnd/>
          </a:ln>
          <a:effectLst/>
        </p:spPr>
        <p:txBody>
          <a:bodyPr tIns="45720" anchor="t" anchorCtr="0"/>
          <a:lstStyle>
            <a:lvl1pPr>
              <a:defRPr kumimoji="0" lang="en-US" sz="2400" b="0" i="0" u="none" strike="noStrike" kern="0" cap="none" spc="0" normalizeH="0" baseline="0" noProof="0" dirty="0">
                <a:ln>
                  <a:noFill/>
                </a:ln>
                <a:solidFill>
                  <a:srgbClr val="333F48"/>
                </a:solidFill>
                <a:effectLst/>
                <a:uLnTx/>
                <a:uFillTx/>
                <a:latin typeface="+mj-lt"/>
                <a:ea typeface="+mj-ea"/>
                <a:cs typeface="+mj-cs"/>
              </a:defRPr>
            </a:lvl1pPr>
          </a:lstStyle>
          <a:p>
            <a:pPr lvl="0"/>
            <a:r>
              <a:rPr lang="en-US"/>
              <a:t>Click to edit Master title style</a:t>
            </a:r>
            <a:endParaRPr lang="en-US" dirty="0"/>
          </a:p>
        </p:txBody>
      </p:sp>
      <p:sp>
        <p:nvSpPr>
          <p:cNvPr id="10" name="Content Placeholder 9"/>
          <p:cNvSpPr>
            <a:spLocks noGrp="1"/>
          </p:cNvSpPr>
          <p:nvPr>
            <p:ph sz="quarter" idx="13"/>
          </p:nvPr>
        </p:nvSpPr>
        <p:spPr>
          <a:xfrm>
            <a:off x="317115" y="1339850"/>
            <a:ext cx="8188710" cy="3879131"/>
          </a:xfrm>
        </p:spPr>
        <p:txBody>
          <a:bodyPr/>
          <a:lstStyle>
            <a:lvl1pPr marL="227013" indent="-227013">
              <a:spcBef>
                <a:spcPts val="600"/>
              </a:spcBef>
              <a:buClr>
                <a:srgbClr val="7A9B3D"/>
              </a:buClr>
              <a:buSzPct val="100000"/>
              <a:buFont typeface="+mj-lt"/>
              <a:buAutoNum type="arabicPeriod"/>
              <a:defRPr sz="1400" b="0" i="0" baseline="0">
                <a:solidFill>
                  <a:srgbClr val="000000"/>
                </a:solidFill>
                <a:latin typeface="Arial" pitchFamily="34" charset="0"/>
              </a:defRPr>
            </a:lvl1pPr>
            <a:lvl2pPr marL="461963" indent="-217488">
              <a:spcBef>
                <a:spcPts val="600"/>
              </a:spcBef>
              <a:buClr>
                <a:srgbClr val="768692"/>
              </a:buClr>
              <a:buFont typeface="+mj-lt"/>
              <a:buAutoNum type="alphaUcPeriod"/>
              <a:defRPr sz="1200" baseline="0">
                <a:solidFill>
                  <a:srgbClr val="000000"/>
                </a:solidFill>
                <a:latin typeface="Arial" pitchFamily="34" charset="0"/>
              </a:defRPr>
            </a:lvl2pPr>
            <a:lvl3pPr>
              <a:spcBef>
                <a:spcPts val="600"/>
              </a:spcBef>
              <a:buClr>
                <a:srgbClr val="000000"/>
              </a:buClr>
              <a:defRPr baseline="0">
                <a:solidFill>
                  <a:srgbClr val="000000"/>
                </a:solidFill>
              </a:defRPr>
            </a:lvl3pPr>
          </a:lstStyle>
          <a:p>
            <a:pPr lvl="0"/>
            <a:r>
              <a:rPr lang="en-US"/>
              <a:t>Click to edit Master text styles</a:t>
            </a:r>
          </a:p>
          <a:p>
            <a:pPr lvl="1"/>
            <a:r>
              <a:rPr lang="en-US"/>
              <a:t>Second level</a:t>
            </a:r>
          </a:p>
          <a:p>
            <a:pPr lvl="2"/>
            <a:r>
              <a:rPr lang="en-US"/>
              <a:t>Third level</a:t>
            </a:r>
          </a:p>
        </p:txBody>
      </p:sp>
      <p:sp>
        <p:nvSpPr>
          <p:cNvPr id="5"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7"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a:t>201907-26031</a:t>
            </a:r>
            <a:endParaRPr lang="en-US" dirty="0"/>
          </a:p>
        </p:txBody>
      </p:sp>
      <p:grpSp>
        <p:nvGrpSpPr>
          <p:cNvPr id="8" name="Group 7"/>
          <p:cNvGrpSpPr/>
          <p:nvPr userDrawn="1"/>
        </p:nvGrpSpPr>
        <p:grpSpPr>
          <a:xfrm>
            <a:off x="7364320" y="6412511"/>
            <a:ext cx="1371600" cy="283464"/>
            <a:chOff x="4291013" y="3178175"/>
            <a:chExt cx="3197225" cy="688975"/>
          </a:xfrm>
        </p:grpSpPr>
        <p:sp>
          <p:nvSpPr>
            <p:cNvPr id="9"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1"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2"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3"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4"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5"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6"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7"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8"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9"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0"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1"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2"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3"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4"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5"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6"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7"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8"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9"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0"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1"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2"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3"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4"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36" name="Text Box 5"/>
          <p:cNvSpPr txBox="1">
            <a:spLocks noChangeArrowheads="1"/>
          </p:cNvSpPr>
          <p:nvPr userDrawn="1"/>
        </p:nvSpPr>
        <p:spPr bwMode="auto">
          <a:xfrm>
            <a:off x="320040" y="6336792"/>
            <a:ext cx="6820990" cy="219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anchor="b"/>
          <a:lstStyle>
            <a:lvl1pPr eaLnBrk="0" hangingPunct="0">
              <a:spcBef>
                <a:spcPct val="20000"/>
              </a:spcBef>
              <a:buSzPct val="40000"/>
              <a:defRPr sz="1600" b="1">
                <a:solidFill>
                  <a:schemeClr val="accent1"/>
                </a:solidFill>
                <a:latin typeface="Arial" charset="0"/>
              </a:defRPr>
            </a:lvl1pPr>
            <a:lvl2pPr marL="742950" indent="-285750" eaLnBrk="0" hangingPunct="0">
              <a:spcBef>
                <a:spcPct val="20000"/>
              </a:spcBef>
              <a:buClr>
                <a:srgbClr val="978981"/>
              </a:buClr>
              <a:buChar char="•"/>
              <a:defRPr sz="1400">
                <a:solidFill>
                  <a:schemeClr val="tx1"/>
                </a:solidFill>
                <a:latin typeface="Arial" charset="0"/>
              </a:defRPr>
            </a:lvl2pPr>
            <a:lvl3pPr marL="1143000" indent="-228600" eaLnBrk="0" hangingPunct="0">
              <a:spcBef>
                <a:spcPct val="20000"/>
              </a:spcBef>
              <a:buClr>
                <a:schemeClr val="accent1"/>
              </a:buClr>
              <a:buFont typeface="Arial" charset="0"/>
              <a:buChar char="–"/>
              <a:defRPr sz="1200">
                <a:solidFill>
                  <a:schemeClr val="accent1"/>
                </a:solidFill>
                <a:latin typeface="Arial" charset="0"/>
              </a:defRPr>
            </a:lvl3pPr>
            <a:lvl4pPr marL="1600200" indent="-228600" eaLnBrk="0" hangingPunct="0">
              <a:spcBef>
                <a:spcPct val="20000"/>
              </a:spcBef>
              <a:buFont typeface="Arial" charset="0"/>
              <a:buChar char="•"/>
              <a:defRPr sz="1200">
                <a:solidFill>
                  <a:srgbClr val="4C5F6C"/>
                </a:solidFill>
                <a:latin typeface="Arial" charset="0"/>
              </a:defRPr>
            </a:lvl4pPr>
            <a:lvl5pPr marL="2057400" indent="-228600" eaLnBrk="0" hangingPunct="0">
              <a:lnSpc>
                <a:spcPts val="2400"/>
              </a:lnSpc>
              <a:defRPr sz="1400">
                <a:solidFill>
                  <a:schemeClr val="tx1"/>
                </a:solidFill>
                <a:latin typeface="Arial" charset="0"/>
              </a:defRPr>
            </a:lvl5pPr>
            <a:lvl6pPr marL="2514600" indent="-228600" eaLnBrk="0" fontAlgn="base" hangingPunct="0">
              <a:lnSpc>
                <a:spcPts val="2400"/>
              </a:lnSpc>
              <a:spcBef>
                <a:spcPct val="0"/>
              </a:spcBef>
              <a:spcAft>
                <a:spcPct val="0"/>
              </a:spcAft>
              <a:defRPr sz="1400">
                <a:solidFill>
                  <a:schemeClr val="tx1"/>
                </a:solidFill>
                <a:latin typeface="Arial" charset="0"/>
              </a:defRPr>
            </a:lvl6pPr>
            <a:lvl7pPr marL="2971800" indent="-228600" eaLnBrk="0" fontAlgn="base" hangingPunct="0">
              <a:lnSpc>
                <a:spcPts val="2400"/>
              </a:lnSpc>
              <a:spcBef>
                <a:spcPct val="0"/>
              </a:spcBef>
              <a:spcAft>
                <a:spcPct val="0"/>
              </a:spcAft>
              <a:defRPr sz="1400">
                <a:solidFill>
                  <a:schemeClr val="tx1"/>
                </a:solidFill>
                <a:latin typeface="Arial" charset="0"/>
              </a:defRPr>
            </a:lvl7pPr>
            <a:lvl8pPr marL="3429000" indent="-228600" eaLnBrk="0" fontAlgn="base" hangingPunct="0">
              <a:lnSpc>
                <a:spcPts val="2400"/>
              </a:lnSpc>
              <a:spcBef>
                <a:spcPct val="0"/>
              </a:spcBef>
              <a:spcAft>
                <a:spcPct val="0"/>
              </a:spcAft>
              <a:defRPr sz="1400">
                <a:solidFill>
                  <a:schemeClr val="tx1"/>
                </a:solidFill>
                <a:latin typeface="Arial" charset="0"/>
              </a:defRPr>
            </a:lvl8pPr>
            <a:lvl9pPr marL="3886200" indent="-228600" eaLnBrk="0" fontAlgn="base" hangingPunct="0">
              <a:lnSpc>
                <a:spcPts val="2400"/>
              </a:lnSpc>
              <a:spcBef>
                <a:spcPct val="0"/>
              </a:spcBef>
              <a:spcAft>
                <a:spcPct val="0"/>
              </a:spcAft>
              <a:defRPr sz="1400">
                <a:solidFill>
                  <a:schemeClr val="tx1"/>
                </a:solidFill>
                <a:latin typeface="Arial" charset="0"/>
              </a:defRPr>
            </a:lvl9pPr>
          </a:lstStyle>
          <a:p>
            <a:pPr eaLnBrk="1" hangingPunct="1">
              <a:spcBef>
                <a:spcPct val="0"/>
              </a:spcBef>
              <a:spcAft>
                <a:spcPts val="300"/>
              </a:spcAft>
              <a:buSzTx/>
              <a:defRPr/>
            </a:pPr>
            <a:r>
              <a:rPr lang="en-US" altLang="en-US" sz="800" b="0" i="1" kern="0" dirty="0">
                <a:solidFill>
                  <a:srgbClr val="000000"/>
                </a:solidFill>
                <a:latin typeface="Arial"/>
                <a:cs typeface="+mn-cs"/>
              </a:rPr>
              <a:t>This document does not make an offer or solicitation to buy or sell any securities or services, and is not investment advice. FIAM does not provide legal or tax advice and we encourage you to consult your own lawyer, accountant, or other advisor before making an investment.</a:t>
            </a:r>
          </a:p>
          <a:p>
            <a:pPr eaLnBrk="1" hangingPunct="1">
              <a:spcBef>
                <a:spcPct val="0"/>
              </a:spcBef>
              <a:spcAft>
                <a:spcPts val="300"/>
              </a:spcAft>
              <a:buSzTx/>
              <a:defRPr/>
            </a:pPr>
            <a:r>
              <a:rPr lang="en-US" altLang="en-US" sz="800" b="0" i="1" kern="0" dirty="0">
                <a:solidFill>
                  <a:srgbClr val="000000"/>
                </a:solidFill>
                <a:latin typeface="Arial"/>
                <a:cs typeface="+mn-cs"/>
              </a:rPr>
              <a:t>Information provided in this document is for informational and educational purposes only. To the extent any investment information in this material is deemed to be a recommendation, it is not meant to be impartial investment advice or advice in a fiduciary capacity and is not intended to be used as a primary basis for you or your client’s investment decisions. Fidelity and its representatives may have a conflict of interest in the products or services mentioned in this material because they have a financial interest in them, and receive compensation, directly or indirectly, in connection with the management, distribution and/or servicing of these products or services including Fidelity funds, certain third-party funds and products, and certain investment services. </a:t>
            </a:r>
          </a:p>
          <a:p>
            <a:pPr>
              <a:lnSpc>
                <a:spcPts val="1000"/>
              </a:lnSpc>
              <a:spcBef>
                <a:spcPct val="0"/>
              </a:spcBef>
              <a:spcAft>
                <a:spcPts val="300"/>
              </a:spcAft>
              <a:buSzTx/>
            </a:pPr>
            <a:r>
              <a:rPr lang="en-US" altLang="en-US" sz="800" b="0" dirty="0">
                <a:solidFill>
                  <a:srgbClr val="000000"/>
                </a:solidFill>
                <a:latin typeface="Arial"/>
                <a:cs typeface="+mn-cs"/>
              </a:rPr>
              <a:t>See “Important Information” for a discussion of performance data, some of the principal risks related to any of the investment strategies referred to in this presentation, professional designations and how they are obtained, and other information related to this presentation.</a:t>
            </a:r>
          </a:p>
        </p:txBody>
      </p:sp>
    </p:spTree>
    <p:extLst>
      <p:ext uri="{BB962C8B-B14F-4D97-AF65-F5344CB8AC3E}">
        <p14:creationId xmlns:p14="http://schemas.microsoft.com/office/powerpoint/2010/main" val="304708137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lvl1pPr>
              <a:defRPr>
                <a:solidFill>
                  <a:srgbClr val="333F48"/>
                </a:solidFill>
              </a:defRPr>
            </a:lvl1pPr>
          </a:lstStyle>
          <a:p>
            <a:r>
              <a:rPr lang="en-US"/>
              <a:t>Click to edit Master title style</a:t>
            </a:r>
            <a:endParaRPr lang="en-US" dirty="0"/>
          </a:p>
        </p:txBody>
      </p:sp>
      <p:sp>
        <p:nvSpPr>
          <p:cNvPr id="8"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9"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a:t>201907-26031</a:t>
            </a:r>
            <a:endParaRPr lang="en-US" dirty="0"/>
          </a:p>
        </p:txBody>
      </p:sp>
      <p:grpSp>
        <p:nvGrpSpPr>
          <p:cNvPr id="10" name="Group 9"/>
          <p:cNvGrpSpPr/>
          <p:nvPr userDrawn="1"/>
        </p:nvGrpSpPr>
        <p:grpSpPr>
          <a:xfrm>
            <a:off x="7364320" y="6412511"/>
            <a:ext cx="1371600" cy="283464"/>
            <a:chOff x="4291013" y="3178175"/>
            <a:chExt cx="3197225" cy="688975"/>
          </a:xfrm>
        </p:grpSpPr>
        <p:sp>
          <p:nvSpPr>
            <p:cNvPr id="11"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2"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3"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4"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5"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6"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7"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8"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9"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0"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1"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2"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3"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4"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5"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6"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7"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8"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9"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0"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1"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2"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3"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4"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5"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36"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2118343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p>
            <a:r>
              <a:rPr lang="en-US"/>
              <a:t>Click to edit Master title style</a:t>
            </a:r>
            <a:endParaRPr lang="en-US" dirty="0"/>
          </a:p>
        </p:txBody>
      </p:sp>
      <p:sp>
        <p:nvSpPr>
          <p:cNvPr id="7" name="Content Placeholder 2"/>
          <p:cNvSpPr>
            <a:spLocks noGrp="1"/>
          </p:cNvSpPr>
          <p:nvPr>
            <p:ph idx="13"/>
          </p:nvPr>
        </p:nvSpPr>
        <p:spPr>
          <a:xfrm>
            <a:off x="317115" y="1339850"/>
            <a:ext cx="8188710" cy="4878388"/>
          </a:xfrm>
        </p:spPr>
        <p:txBody>
          <a:bodyPr lIns="91440"/>
          <a:lstStyle>
            <a:lvl1pPr marL="0" indent="0" algn="l" rtl="0" fontAlgn="base">
              <a:spcBef>
                <a:spcPts val="480"/>
              </a:spcBef>
              <a:spcAft>
                <a:spcPct val="0"/>
              </a:spcAft>
              <a:buSzPct val="40000"/>
              <a:defRPr lang="en-US" sz="1600" b="1" dirty="0" smtClean="0">
                <a:solidFill>
                  <a:schemeClr val="accent3"/>
                </a:solidFill>
                <a:latin typeface="+mn-lt"/>
                <a:ea typeface="+mn-ea"/>
                <a:cs typeface="+mn-cs"/>
              </a:defRPr>
            </a:lvl1pPr>
            <a:lvl2pPr>
              <a:spcBef>
                <a:spcPts val="2000"/>
              </a:spcBef>
              <a:defRPr lang="en-US" dirty="0" smtClean="0">
                <a:solidFill>
                  <a:schemeClr val="tx1"/>
                </a:solidFill>
                <a:latin typeface="+mn-lt"/>
              </a:defRPr>
            </a:lvl2pPr>
            <a:lvl3pPr>
              <a:defRPr lang="en-US" sz="1600" dirty="0" smtClean="0">
                <a:solidFill>
                  <a:schemeClr val="accent1"/>
                </a:solidFill>
                <a:latin typeface="+mn-lt"/>
              </a:defRPr>
            </a:lvl3pPr>
            <a:lvl4pPr>
              <a:buClr>
                <a:schemeClr val="bg2"/>
              </a:buClr>
              <a:buSzPct val="80000"/>
              <a:buFont typeface="Arial" pitchFamily="34" charset="0"/>
              <a:buChar char="•"/>
              <a:defRPr sz="1400">
                <a:solidFill>
                  <a:schemeClr val="accent1"/>
                </a:solidFill>
              </a:defRPr>
            </a:lvl4pPr>
          </a:lstStyle>
          <a:p>
            <a:pPr lvl="0"/>
            <a:r>
              <a:rPr lang="en-US"/>
              <a:t>Click to edit Master text styles</a:t>
            </a:r>
          </a:p>
        </p:txBody>
      </p:sp>
      <p:sp>
        <p:nvSpPr>
          <p:cNvPr id="10"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11"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a:t>201907-26031</a:t>
            </a:r>
            <a:endParaRPr lang="en-US" dirty="0"/>
          </a:p>
        </p:txBody>
      </p:sp>
      <p:grpSp>
        <p:nvGrpSpPr>
          <p:cNvPr id="12" name="Group 11"/>
          <p:cNvGrpSpPr/>
          <p:nvPr userDrawn="1"/>
        </p:nvGrpSpPr>
        <p:grpSpPr>
          <a:xfrm>
            <a:off x="7364320" y="6412511"/>
            <a:ext cx="1371600" cy="283464"/>
            <a:chOff x="4291013" y="3178175"/>
            <a:chExt cx="3197225" cy="688975"/>
          </a:xfrm>
        </p:grpSpPr>
        <p:sp>
          <p:nvSpPr>
            <p:cNvPr id="13"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4"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5"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6"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7"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8"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9"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0"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1"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2"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3"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4"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5"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6"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7"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8"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9"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0"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1"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2"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3"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4"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5"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6"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7"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38"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402129483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7_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41248"/>
          </a:xfrm>
        </p:spPr>
        <p:txBody>
          <a:bodyPr/>
          <a:lstStyle>
            <a:lvl1pPr>
              <a:defRPr>
                <a:solidFill>
                  <a:srgbClr val="333F48"/>
                </a:solidFill>
              </a:defRPr>
            </a:lvl1pPr>
          </a:lstStyle>
          <a:p>
            <a:r>
              <a:rPr lang="en-US"/>
              <a:t>Click to edit Master title style</a:t>
            </a:r>
            <a:endParaRPr lang="en-US" dirty="0"/>
          </a:p>
        </p:txBody>
      </p:sp>
      <p:sp>
        <p:nvSpPr>
          <p:cNvPr id="11" name="Content Placeholder 2"/>
          <p:cNvSpPr>
            <a:spLocks noGrp="1"/>
          </p:cNvSpPr>
          <p:nvPr>
            <p:ph idx="12"/>
          </p:nvPr>
        </p:nvSpPr>
        <p:spPr>
          <a:xfrm>
            <a:off x="317115" y="1339850"/>
            <a:ext cx="8188710" cy="4878388"/>
          </a:xfrm>
        </p:spPr>
        <p:txBody>
          <a:bodyPr lIns="91440"/>
          <a:lstStyle>
            <a:lvl1pPr marL="0" indent="0" algn="l" rtl="0" fontAlgn="base">
              <a:spcBef>
                <a:spcPts val="480"/>
              </a:spcBef>
              <a:spcAft>
                <a:spcPct val="0"/>
              </a:spcAft>
              <a:buSzPct val="40000"/>
              <a:defRPr lang="en-US" sz="1600" b="1" dirty="0" smtClean="0">
                <a:solidFill>
                  <a:srgbClr val="7A9B3D"/>
                </a:solidFill>
                <a:latin typeface="+mn-lt"/>
                <a:ea typeface="+mn-ea"/>
                <a:cs typeface="+mn-cs"/>
              </a:defRPr>
            </a:lvl1pPr>
            <a:lvl2pPr marL="114300" indent="-114300">
              <a:spcBef>
                <a:spcPts val="288"/>
              </a:spcBef>
              <a:buClr>
                <a:srgbClr val="7A9B3D"/>
              </a:buClr>
              <a:defRPr lang="en-US" dirty="0" smtClean="0">
                <a:solidFill>
                  <a:srgbClr val="000000"/>
                </a:solidFill>
                <a:latin typeface="+mn-lt"/>
              </a:defRPr>
            </a:lvl2pPr>
            <a:lvl3pPr marL="228600" indent="-114300">
              <a:buClr>
                <a:srgbClr val="768692"/>
              </a:buClr>
              <a:defRPr lang="en-US" sz="1200" dirty="0" smtClean="0">
                <a:solidFill>
                  <a:srgbClr val="000000"/>
                </a:solidFill>
                <a:latin typeface="+mn-lt"/>
              </a:defRPr>
            </a:lvl3pPr>
            <a:lvl4pPr marL="342900" indent="-114300">
              <a:buClr>
                <a:srgbClr val="000000"/>
              </a:buClr>
              <a:buSzPct val="100000"/>
              <a:buFont typeface="Arial" pitchFamily="34" charset="0"/>
              <a:buChar char="•"/>
              <a:defRPr sz="1200">
                <a:solidFill>
                  <a:srgbClr val="000000"/>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13"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a:t>201907-26031</a:t>
            </a:r>
            <a:endParaRPr lang="en-US" dirty="0"/>
          </a:p>
        </p:txBody>
      </p:sp>
      <p:grpSp>
        <p:nvGrpSpPr>
          <p:cNvPr id="14" name="Group 13"/>
          <p:cNvGrpSpPr/>
          <p:nvPr userDrawn="1"/>
        </p:nvGrpSpPr>
        <p:grpSpPr>
          <a:xfrm>
            <a:off x="7364320" y="6412511"/>
            <a:ext cx="1371600" cy="283464"/>
            <a:chOff x="4291013" y="3178175"/>
            <a:chExt cx="3197225" cy="688975"/>
          </a:xfrm>
        </p:grpSpPr>
        <p:sp>
          <p:nvSpPr>
            <p:cNvPr id="15"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6"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7"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8"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9"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0"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1"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2"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3"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4"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5"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6"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7"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8"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9"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0"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1"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2"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3"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4"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5"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6"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7"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8"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9"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40"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22880901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5_Bulleted List - with subhead">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41248"/>
          </a:xfrm>
        </p:spPr>
        <p:txBody>
          <a:bodyPr/>
          <a:lstStyle/>
          <a:p>
            <a:r>
              <a:rPr lang="en-US"/>
              <a:t>Click to edit Master title style</a:t>
            </a:r>
            <a:endParaRPr lang="en-US" dirty="0"/>
          </a:p>
        </p:txBody>
      </p:sp>
      <p:sp>
        <p:nvSpPr>
          <p:cNvPr id="11" name="Content Placeholder 2"/>
          <p:cNvSpPr>
            <a:spLocks noGrp="1"/>
          </p:cNvSpPr>
          <p:nvPr>
            <p:ph idx="12"/>
          </p:nvPr>
        </p:nvSpPr>
        <p:spPr>
          <a:xfrm>
            <a:off x="317115" y="1339850"/>
            <a:ext cx="8188710" cy="4878388"/>
          </a:xfrm>
        </p:spPr>
        <p:txBody>
          <a:bodyPr lIns="91440"/>
          <a:lstStyle>
            <a:lvl1pPr marL="0" indent="0" algn="l" rtl="0" fontAlgn="base">
              <a:spcBef>
                <a:spcPts val="480"/>
              </a:spcBef>
              <a:spcAft>
                <a:spcPct val="0"/>
              </a:spcAft>
              <a:buSzPct val="40000"/>
              <a:defRPr lang="en-US" sz="1600" b="1" dirty="0" smtClean="0">
                <a:solidFill>
                  <a:srgbClr val="7A9B3D"/>
                </a:solidFill>
                <a:latin typeface="+mn-lt"/>
                <a:ea typeface="+mn-ea"/>
                <a:cs typeface="+mn-cs"/>
              </a:defRPr>
            </a:lvl1pPr>
            <a:lvl2pPr marL="114300" indent="-114300">
              <a:spcBef>
                <a:spcPts val="288"/>
              </a:spcBef>
              <a:buClr>
                <a:srgbClr val="7A9B3D"/>
              </a:buClr>
              <a:defRPr lang="en-US" dirty="0" smtClean="0">
                <a:solidFill>
                  <a:srgbClr val="000000"/>
                </a:solidFill>
                <a:latin typeface="+mn-lt"/>
              </a:defRPr>
            </a:lvl2pPr>
            <a:lvl3pPr marL="228600" indent="-114300">
              <a:buClr>
                <a:srgbClr val="768692"/>
              </a:buClr>
              <a:defRPr lang="en-US" sz="1200" dirty="0" smtClean="0">
                <a:solidFill>
                  <a:srgbClr val="000000"/>
                </a:solidFill>
                <a:latin typeface="+mn-lt"/>
              </a:defRPr>
            </a:lvl3pPr>
            <a:lvl4pPr marL="342900" indent="-114300">
              <a:buClr>
                <a:srgbClr val="000000"/>
              </a:buClr>
              <a:buSzPct val="100000"/>
              <a:buFont typeface="Arial" pitchFamily="34" charset="0"/>
              <a:buChar char="•"/>
              <a:defRPr sz="1200">
                <a:solidFill>
                  <a:srgbClr val="000000"/>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13"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a:t>201907-26031</a:t>
            </a:r>
            <a:endParaRPr lang="en-US" dirty="0"/>
          </a:p>
        </p:txBody>
      </p:sp>
      <p:grpSp>
        <p:nvGrpSpPr>
          <p:cNvPr id="14" name="Group 13"/>
          <p:cNvGrpSpPr/>
          <p:nvPr userDrawn="1"/>
        </p:nvGrpSpPr>
        <p:grpSpPr>
          <a:xfrm>
            <a:off x="7364320" y="6412511"/>
            <a:ext cx="1371600" cy="283464"/>
            <a:chOff x="4291013" y="3178175"/>
            <a:chExt cx="3197225" cy="688975"/>
          </a:xfrm>
        </p:grpSpPr>
        <p:sp>
          <p:nvSpPr>
            <p:cNvPr id="15"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6"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7"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8"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9"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0"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1"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2"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3"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4"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5"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6"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7"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8"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9"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0"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1"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2"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3"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4"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5"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6"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7"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8"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9"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40"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324624059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5_Important Information">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lvl1pPr>
              <a:defRPr>
                <a:solidFill>
                  <a:srgbClr val="333F48"/>
                </a:solidFill>
              </a:defRPr>
            </a:lvl1pPr>
          </a:lstStyle>
          <a:p>
            <a:r>
              <a:rPr lang="en-US"/>
              <a:t>Click to edit Master title style</a:t>
            </a:r>
            <a:endParaRPr lang="en-US" dirty="0"/>
          </a:p>
        </p:txBody>
      </p:sp>
      <p:sp>
        <p:nvSpPr>
          <p:cNvPr id="3" name="Content Placeholder 2"/>
          <p:cNvSpPr>
            <a:spLocks noGrp="1"/>
          </p:cNvSpPr>
          <p:nvPr>
            <p:ph idx="1"/>
          </p:nvPr>
        </p:nvSpPr>
        <p:spPr>
          <a:xfrm>
            <a:off x="317115" y="1076325"/>
            <a:ext cx="8188710" cy="4808538"/>
          </a:xfrm>
          <a:noFill/>
          <a:ln w="9525">
            <a:noFill/>
            <a:miter lim="800000"/>
            <a:headEnd/>
            <a:tailEnd/>
          </a:ln>
          <a:effectLst/>
        </p:spPr>
        <p:txBody>
          <a:bodyPr lIns="91440"/>
          <a:lstStyle>
            <a:lvl1pPr marL="0" indent="0" algn="l" rtl="0" eaLnBrk="1" fontAlgn="base" hangingPunct="1">
              <a:spcAft>
                <a:spcPct val="0"/>
              </a:spcAft>
              <a:buSzPct val="40000"/>
              <a:defRPr lang="en-US" sz="1000" b="0" dirty="0" smtClean="0">
                <a:solidFill>
                  <a:srgbClr val="000000"/>
                </a:solidFill>
                <a:latin typeface="+mn-lt"/>
                <a:ea typeface="+mn-ea"/>
                <a:cs typeface="+mn-cs"/>
              </a:defRPr>
            </a:lvl1pPr>
            <a:lvl2pPr marL="0" indent="0" algn="l" rtl="0" eaLnBrk="1" fontAlgn="base" hangingPunct="1">
              <a:spcBef>
                <a:spcPts val="600"/>
              </a:spcBef>
              <a:spcAft>
                <a:spcPct val="0"/>
              </a:spcAft>
              <a:buSzPct val="40000"/>
              <a:buNone/>
              <a:defRPr lang="en-US" sz="1000" b="1" dirty="0">
                <a:solidFill>
                  <a:srgbClr val="000000"/>
                </a:solidFill>
                <a:latin typeface="+mn-lt"/>
                <a:ea typeface="+mn-ea"/>
                <a:cs typeface="+mn-cs"/>
              </a:defRPr>
            </a:lvl2pPr>
          </a:lstStyle>
          <a:p>
            <a:pPr lvl="0"/>
            <a:r>
              <a:rPr lang="en-US"/>
              <a:t>Click to edit Master text styles</a:t>
            </a:r>
          </a:p>
          <a:p>
            <a:pPr lvl="1"/>
            <a:r>
              <a:rPr lang="en-US"/>
              <a:t>Second level</a:t>
            </a:r>
          </a:p>
        </p:txBody>
      </p:sp>
      <p:sp>
        <p:nvSpPr>
          <p:cNvPr id="9"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10"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a:t>201907-26031</a:t>
            </a:r>
            <a:endParaRPr lang="en-US" dirty="0"/>
          </a:p>
        </p:txBody>
      </p:sp>
      <p:grpSp>
        <p:nvGrpSpPr>
          <p:cNvPr id="11" name="Group 10"/>
          <p:cNvGrpSpPr/>
          <p:nvPr userDrawn="1"/>
        </p:nvGrpSpPr>
        <p:grpSpPr>
          <a:xfrm>
            <a:off x="7364320" y="6412511"/>
            <a:ext cx="1371600" cy="283464"/>
            <a:chOff x="4291013" y="3178175"/>
            <a:chExt cx="3197225" cy="688975"/>
          </a:xfrm>
        </p:grpSpPr>
        <p:sp>
          <p:nvSpPr>
            <p:cNvPr id="12"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3"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4"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5"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6"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7"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8"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9"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0"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1"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2"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3"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4"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5"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6"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7"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8"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9"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0"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1"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2"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3"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4"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5"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6"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37"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148259259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5_Biography">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p>
            <a:r>
              <a:rPr lang="en-US"/>
              <a:t>Click to edit Master title style</a:t>
            </a:r>
            <a:endParaRPr lang="en-US" dirty="0"/>
          </a:p>
        </p:txBody>
      </p:sp>
      <p:sp>
        <p:nvSpPr>
          <p:cNvPr id="3" name="Content Placeholder 2"/>
          <p:cNvSpPr>
            <a:spLocks noGrp="1"/>
          </p:cNvSpPr>
          <p:nvPr>
            <p:ph idx="1"/>
          </p:nvPr>
        </p:nvSpPr>
        <p:spPr>
          <a:xfrm>
            <a:off x="317115" y="1073258"/>
            <a:ext cx="8188710" cy="439305"/>
          </a:xfrm>
        </p:spPr>
        <p:txBody>
          <a:bodyPr lIns="91440"/>
          <a:lstStyle>
            <a:lvl1pPr marL="0" indent="0">
              <a:spcBef>
                <a:spcPts val="0"/>
              </a:spcBef>
              <a:defRPr lang="en-US" sz="1200" b="1" dirty="0" smtClean="0">
                <a:solidFill>
                  <a:srgbClr val="7A9B3D"/>
                </a:solidFill>
                <a:latin typeface="+mn-lt"/>
                <a:ea typeface="+mn-ea"/>
                <a:cs typeface="+mn-cs"/>
              </a:defRPr>
            </a:lvl1pPr>
            <a:lvl2pPr marL="0" indent="0">
              <a:spcBef>
                <a:spcPts val="0"/>
              </a:spcBef>
              <a:buNone/>
              <a:defRPr sz="1200" b="0" i="1">
                <a:solidFill>
                  <a:srgbClr val="7A9B3D"/>
                </a:solidFill>
              </a:defRPr>
            </a:lvl2pPr>
          </a:lstStyle>
          <a:p>
            <a:pPr lvl="0"/>
            <a:r>
              <a:rPr lang="en-US"/>
              <a:t>Click to edit Master text styles</a:t>
            </a:r>
          </a:p>
          <a:p>
            <a:pPr lvl="1"/>
            <a:r>
              <a:rPr lang="en-US"/>
              <a:t>Second level</a:t>
            </a:r>
          </a:p>
        </p:txBody>
      </p:sp>
      <p:sp>
        <p:nvSpPr>
          <p:cNvPr id="10" name="Content Placeholder 9"/>
          <p:cNvSpPr>
            <a:spLocks noGrp="1"/>
          </p:cNvSpPr>
          <p:nvPr>
            <p:ph sz="quarter" idx="13"/>
          </p:nvPr>
        </p:nvSpPr>
        <p:spPr>
          <a:xfrm>
            <a:off x="317115" y="1526850"/>
            <a:ext cx="8188710" cy="4691387"/>
          </a:xfrm>
        </p:spPr>
        <p:txBody>
          <a:bodyPr lIns="91440"/>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12"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a:t>201907-26031</a:t>
            </a:r>
            <a:endParaRPr lang="en-US" dirty="0"/>
          </a:p>
        </p:txBody>
      </p:sp>
      <p:grpSp>
        <p:nvGrpSpPr>
          <p:cNvPr id="13" name="Group 12"/>
          <p:cNvGrpSpPr/>
          <p:nvPr userDrawn="1"/>
        </p:nvGrpSpPr>
        <p:grpSpPr>
          <a:xfrm>
            <a:off x="7364320" y="6412511"/>
            <a:ext cx="1371600" cy="283464"/>
            <a:chOff x="4291013" y="3178175"/>
            <a:chExt cx="3197225" cy="688975"/>
          </a:xfrm>
        </p:grpSpPr>
        <p:sp>
          <p:nvSpPr>
            <p:cNvPr id="14"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5"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6"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7"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8"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9"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0"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1"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2"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3"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4"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5"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6"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7"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8"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9"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0"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1"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2"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3"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4"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5"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6"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7"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8"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39"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402162666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5_Biography 2">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7948" cy="838200"/>
          </a:xfrm>
        </p:spPr>
        <p:txBody>
          <a:bodyPr/>
          <a:lstStyle/>
          <a:p>
            <a:r>
              <a:rPr lang="en-US"/>
              <a:t>Click to edit Master title style</a:t>
            </a:r>
            <a:endParaRPr lang="en-US" dirty="0"/>
          </a:p>
        </p:txBody>
      </p:sp>
      <p:sp>
        <p:nvSpPr>
          <p:cNvPr id="3" name="Content Placeholder 2"/>
          <p:cNvSpPr>
            <a:spLocks noGrp="1"/>
          </p:cNvSpPr>
          <p:nvPr>
            <p:ph idx="1"/>
          </p:nvPr>
        </p:nvSpPr>
        <p:spPr>
          <a:xfrm>
            <a:off x="317115" y="1073258"/>
            <a:ext cx="8187948" cy="439305"/>
          </a:xfrm>
        </p:spPr>
        <p:txBody>
          <a:bodyPr lIns="91440"/>
          <a:lstStyle>
            <a:lvl1pPr marL="0" indent="0">
              <a:spcBef>
                <a:spcPts val="0"/>
              </a:spcBef>
              <a:defRPr lang="en-US" sz="1200" b="1" dirty="0" smtClean="0">
                <a:solidFill>
                  <a:srgbClr val="7A9B3D"/>
                </a:solidFill>
                <a:latin typeface="+mn-lt"/>
                <a:ea typeface="+mn-ea"/>
                <a:cs typeface="+mn-cs"/>
              </a:defRPr>
            </a:lvl1pPr>
            <a:lvl2pPr marL="0" indent="0">
              <a:spcBef>
                <a:spcPts val="0"/>
              </a:spcBef>
              <a:buNone/>
              <a:defRPr sz="1200" b="0" i="1">
                <a:solidFill>
                  <a:srgbClr val="7A9B3D"/>
                </a:solidFill>
              </a:defRPr>
            </a:lvl2pPr>
          </a:lstStyle>
          <a:p>
            <a:pPr lvl="0"/>
            <a:r>
              <a:rPr lang="en-US"/>
              <a:t>Click to edit Master text styles</a:t>
            </a:r>
          </a:p>
          <a:p>
            <a:pPr lvl="1"/>
            <a:r>
              <a:rPr lang="en-US"/>
              <a:t>Second level</a:t>
            </a:r>
          </a:p>
        </p:txBody>
      </p:sp>
      <p:sp>
        <p:nvSpPr>
          <p:cNvPr id="10" name="Content Placeholder 9"/>
          <p:cNvSpPr>
            <a:spLocks noGrp="1"/>
          </p:cNvSpPr>
          <p:nvPr>
            <p:ph sz="quarter" idx="13"/>
          </p:nvPr>
        </p:nvSpPr>
        <p:spPr>
          <a:xfrm>
            <a:off x="317115" y="1526851"/>
            <a:ext cx="8188710" cy="1902149"/>
          </a:xfrm>
        </p:spPr>
        <p:txBody>
          <a:bodyPr lIns="91440"/>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p:cNvSpPr>
            <a:spLocks noGrp="1"/>
          </p:cNvSpPr>
          <p:nvPr>
            <p:ph idx="17"/>
          </p:nvPr>
        </p:nvSpPr>
        <p:spPr>
          <a:xfrm>
            <a:off x="317115" y="3666458"/>
            <a:ext cx="8188710" cy="439305"/>
          </a:xfrm>
        </p:spPr>
        <p:txBody>
          <a:bodyPr lIns="91440"/>
          <a:lstStyle>
            <a:lvl1pPr marL="0" indent="0">
              <a:spcBef>
                <a:spcPts val="0"/>
              </a:spcBef>
              <a:defRPr lang="en-US" sz="1200" b="1" dirty="0" smtClean="0">
                <a:solidFill>
                  <a:srgbClr val="7A9B3D"/>
                </a:solidFill>
                <a:latin typeface="+mn-lt"/>
                <a:ea typeface="+mn-ea"/>
                <a:cs typeface="+mn-cs"/>
              </a:defRPr>
            </a:lvl1pPr>
            <a:lvl2pPr marL="0" indent="0">
              <a:spcBef>
                <a:spcPts val="0"/>
              </a:spcBef>
              <a:buNone/>
              <a:defRPr sz="1200" b="0" i="1">
                <a:solidFill>
                  <a:srgbClr val="7A9B3D"/>
                </a:solidFill>
              </a:defRPr>
            </a:lvl2pPr>
          </a:lstStyle>
          <a:p>
            <a:pPr lvl="0"/>
            <a:r>
              <a:rPr lang="en-US"/>
              <a:t>Click to edit Master text styles</a:t>
            </a:r>
          </a:p>
          <a:p>
            <a:pPr lvl="1"/>
            <a:r>
              <a:rPr lang="en-US"/>
              <a:t>Second level</a:t>
            </a:r>
          </a:p>
        </p:txBody>
      </p:sp>
      <p:sp>
        <p:nvSpPr>
          <p:cNvPr id="9" name="Content Placeholder 9"/>
          <p:cNvSpPr>
            <a:spLocks noGrp="1"/>
          </p:cNvSpPr>
          <p:nvPr>
            <p:ph sz="quarter" idx="18"/>
          </p:nvPr>
        </p:nvSpPr>
        <p:spPr>
          <a:xfrm>
            <a:off x="317115" y="4120051"/>
            <a:ext cx="8188710" cy="1902149"/>
          </a:xfrm>
        </p:spPr>
        <p:txBody>
          <a:bodyPr lIns="91440"/>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14"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a:t>201907-26031</a:t>
            </a:r>
            <a:endParaRPr lang="en-US" dirty="0"/>
          </a:p>
        </p:txBody>
      </p:sp>
      <p:grpSp>
        <p:nvGrpSpPr>
          <p:cNvPr id="15" name="Group 14"/>
          <p:cNvGrpSpPr/>
          <p:nvPr userDrawn="1"/>
        </p:nvGrpSpPr>
        <p:grpSpPr>
          <a:xfrm>
            <a:off x="7364320" y="6412511"/>
            <a:ext cx="1371600" cy="283464"/>
            <a:chOff x="4291013" y="3178175"/>
            <a:chExt cx="3197225" cy="688975"/>
          </a:xfrm>
        </p:grpSpPr>
        <p:sp>
          <p:nvSpPr>
            <p:cNvPr id="16"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7"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8"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9"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0"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1"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2"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3"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4"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5"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6"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7"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8"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9"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0"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1"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2"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3"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4"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5"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6"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7"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8"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9"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0"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41"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138589585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5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73742" cy="838200"/>
          </a:xfrm>
        </p:spPr>
        <p:txBody>
          <a:bodyPr/>
          <a:lstStyle/>
          <a:p>
            <a:r>
              <a:rPr lang="en-US"/>
              <a:t>Click to edit Master title style</a:t>
            </a:r>
            <a:endParaRPr lang="en-US" dirty="0"/>
          </a:p>
        </p:txBody>
      </p:sp>
      <p:sp>
        <p:nvSpPr>
          <p:cNvPr id="3" name="Content Placeholder 2"/>
          <p:cNvSpPr>
            <a:spLocks noGrp="1"/>
          </p:cNvSpPr>
          <p:nvPr>
            <p:ph sz="half" idx="1"/>
          </p:nvPr>
        </p:nvSpPr>
        <p:spPr>
          <a:xfrm>
            <a:off x="317115" y="1339850"/>
            <a:ext cx="3878262" cy="4878388"/>
          </a:xfrm>
        </p:spPr>
        <p:txBody>
          <a:bodyPr lIns="91440"/>
          <a:lstStyle>
            <a:lvl1pPr>
              <a:spcBef>
                <a:spcPts val="600"/>
              </a:spcBef>
              <a:defRPr sz="1400">
                <a:solidFill>
                  <a:srgbClr val="7A9B3D"/>
                </a:solidFill>
              </a:defRPr>
            </a:lvl1pPr>
            <a:lvl2pPr marL="114300" indent="-114300">
              <a:spcBef>
                <a:spcPts val="600"/>
              </a:spcBef>
              <a:buClr>
                <a:srgbClr val="7A9B3D"/>
              </a:buClr>
              <a:defRPr sz="1200">
                <a:solidFill>
                  <a:srgbClr val="000000"/>
                </a:solidFill>
              </a:defRPr>
            </a:lvl2pPr>
            <a:lvl3pPr marL="228600" indent="-114300">
              <a:spcBef>
                <a:spcPts val="600"/>
              </a:spcBef>
              <a:buClr>
                <a:srgbClr val="768692"/>
              </a:buClr>
              <a:defRPr sz="1100">
                <a:solidFill>
                  <a:srgbClr val="000000"/>
                </a:solidFill>
              </a:defRPr>
            </a:lvl3pPr>
            <a:lvl4pPr marL="342900" indent="-114300">
              <a:spcBef>
                <a:spcPts val="600"/>
              </a:spcBef>
              <a:buClr>
                <a:srgbClr val="000000"/>
              </a:buClr>
              <a:defRPr sz="1050">
                <a:solidFill>
                  <a:srgbClr val="000000"/>
                </a:solidFill>
              </a:defRPr>
            </a:lvl4pPr>
            <a:lvl5pPr>
              <a:defRPr sz="105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2"/>
          <p:cNvSpPr>
            <a:spLocks noGrp="1"/>
          </p:cNvSpPr>
          <p:nvPr>
            <p:ph sz="half" idx="13"/>
          </p:nvPr>
        </p:nvSpPr>
        <p:spPr>
          <a:xfrm>
            <a:off x="4611450" y="1339850"/>
            <a:ext cx="3878262" cy="4878388"/>
          </a:xfrm>
        </p:spPr>
        <p:txBody>
          <a:bodyPr lIns="91440"/>
          <a:lstStyle>
            <a:lvl1pPr>
              <a:spcBef>
                <a:spcPts val="600"/>
              </a:spcBef>
              <a:defRPr sz="1400">
                <a:solidFill>
                  <a:srgbClr val="7A9B3D"/>
                </a:solidFill>
              </a:defRPr>
            </a:lvl1pPr>
            <a:lvl2pPr marL="114300" indent="-114300">
              <a:spcBef>
                <a:spcPts val="600"/>
              </a:spcBef>
              <a:buClr>
                <a:srgbClr val="7A9B3D"/>
              </a:buClr>
              <a:defRPr sz="1200">
                <a:solidFill>
                  <a:srgbClr val="000000"/>
                </a:solidFill>
              </a:defRPr>
            </a:lvl2pPr>
            <a:lvl3pPr marL="228600" indent="-114300">
              <a:spcBef>
                <a:spcPts val="600"/>
              </a:spcBef>
              <a:buClr>
                <a:srgbClr val="768692"/>
              </a:buClr>
              <a:defRPr sz="1100">
                <a:solidFill>
                  <a:srgbClr val="000000"/>
                </a:solidFill>
              </a:defRPr>
            </a:lvl3pPr>
            <a:lvl4pPr marL="342900" indent="-114300">
              <a:spcBef>
                <a:spcPts val="600"/>
              </a:spcBef>
              <a:buClr>
                <a:srgbClr val="000000"/>
              </a:buClr>
              <a:defRPr sz="1050">
                <a:solidFill>
                  <a:srgbClr val="000000"/>
                </a:solidFill>
              </a:defRPr>
            </a:lvl4pPr>
            <a:lvl5pPr>
              <a:defRPr sz="105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12"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a:t>201907-26031</a:t>
            </a:r>
            <a:endParaRPr lang="en-US" dirty="0"/>
          </a:p>
        </p:txBody>
      </p:sp>
      <p:grpSp>
        <p:nvGrpSpPr>
          <p:cNvPr id="13" name="Group 12"/>
          <p:cNvGrpSpPr/>
          <p:nvPr userDrawn="1"/>
        </p:nvGrpSpPr>
        <p:grpSpPr>
          <a:xfrm>
            <a:off x="7364320" y="6412511"/>
            <a:ext cx="1371600" cy="283464"/>
            <a:chOff x="4291013" y="3178175"/>
            <a:chExt cx="3197225" cy="688975"/>
          </a:xfrm>
        </p:grpSpPr>
        <p:sp>
          <p:nvSpPr>
            <p:cNvPr id="14"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5"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6"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7"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8"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9"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0"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1"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2"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3"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4"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5"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6"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7"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8"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9"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0"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1"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2"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3"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4"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5"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6"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7"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8"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39"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40078774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6868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hasCustomPrompt="1"/>
          </p:nvPr>
        </p:nvSpPr>
        <p:spPr>
          <a:xfrm>
            <a:off x="317115" y="1004757"/>
            <a:ext cx="4040188" cy="639762"/>
          </a:xfrm>
        </p:spPr>
        <p:txBody>
          <a:bodyPr lIns="91440" anchor="b"/>
          <a:lstStyle>
            <a:lvl1pPr marL="0" indent="0">
              <a:buNone/>
              <a:defRPr sz="14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5" name="Text Placeholder 4"/>
          <p:cNvSpPr>
            <a:spLocks noGrp="1"/>
          </p:cNvSpPr>
          <p:nvPr>
            <p:ph type="body" sz="quarter" idx="3" hasCustomPrompt="1"/>
          </p:nvPr>
        </p:nvSpPr>
        <p:spPr>
          <a:xfrm>
            <a:off x="4449057" y="1004757"/>
            <a:ext cx="4041775" cy="639762"/>
          </a:xfrm>
        </p:spPr>
        <p:txBody>
          <a:bodyPr lIns="91440" anchor="b"/>
          <a:lstStyle>
            <a:lvl1pPr marL="0" indent="0">
              <a:buNone/>
              <a:defRPr sz="14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0" name="Content Placeholder 2"/>
          <p:cNvSpPr>
            <a:spLocks noGrp="1"/>
          </p:cNvSpPr>
          <p:nvPr>
            <p:ph sz="half" idx="13"/>
          </p:nvPr>
        </p:nvSpPr>
        <p:spPr>
          <a:xfrm>
            <a:off x="317115" y="1664594"/>
            <a:ext cx="4041648" cy="4553643"/>
          </a:xfrm>
        </p:spPr>
        <p:txBody>
          <a:bodyPr lIns="91440"/>
          <a:lstStyle>
            <a:lvl1pPr>
              <a:spcBef>
                <a:spcPts val="600"/>
              </a:spcBef>
              <a:defRPr sz="1400">
                <a:solidFill>
                  <a:srgbClr val="7A9B3D"/>
                </a:solidFill>
              </a:defRPr>
            </a:lvl1pPr>
            <a:lvl2pPr marL="114300" indent="-114300">
              <a:spcBef>
                <a:spcPts val="600"/>
              </a:spcBef>
              <a:buClr>
                <a:srgbClr val="7A9B3D"/>
              </a:buClr>
              <a:defRPr sz="1200">
                <a:solidFill>
                  <a:srgbClr val="000000"/>
                </a:solidFill>
              </a:defRPr>
            </a:lvl2pPr>
            <a:lvl3pPr marL="228600" indent="-114300">
              <a:spcBef>
                <a:spcPts val="600"/>
              </a:spcBef>
              <a:defRPr sz="1100">
                <a:solidFill>
                  <a:srgbClr val="000000"/>
                </a:solidFill>
              </a:defRPr>
            </a:lvl3pPr>
            <a:lvl4pPr marL="342900" indent="-114300">
              <a:spcBef>
                <a:spcPts val="600"/>
              </a:spcBef>
              <a:buClr>
                <a:srgbClr val="000000"/>
              </a:buClr>
              <a:defRPr sz="1050">
                <a:solidFill>
                  <a:srgbClr val="000000"/>
                </a:solidFill>
              </a:defRPr>
            </a:lvl4pPr>
            <a:lvl5pPr>
              <a:defRPr sz="105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2"/>
          <p:cNvSpPr>
            <a:spLocks noGrp="1"/>
          </p:cNvSpPr>
          <p:nvPr>
            <p:ph sz="half" idx="14"/>
          </p:nvPr>
        </p:nvSpPr>
        <p:spPr>
          <a:xfrm>
            <a:off x="4449057" y="1665794"/>
            <a:ext cx="4041648" cy="4552443"/>
          </a:xfrm>
        </p:spPr>
        <p:txBody>
          <a:bodyPr lIns="91440"/>
          <a:lstStyle>
            <a:lvl1pPr>
              <a:spcBef>
                <a:spcPts val="600"/>
              </a:spcBef>
              <a:defRPr sz="1400">
                <a:solidFill>
                  <a:srgbClr val="7A9B3D"/>
                </a:solidFill>
              </a:defRPr>
            </a:lvl1pPr>
            <a:lvl2pPr marL="114300" indent="-114300">
              <a:spcBef>
                <a:spcPts val="600"/>
              </a:spcBef>
              <a:buClr>
                <a:srgbClr val="7A9B3D"/>
              </a:buClr>
              <a:defRPr sz="1200">
                <a:solidFill>
                  <a:srgbClr val="000000"/>
                </a:solidFill>
              </a:defRPr>
            </a:lvl2pPr>
            <a:lvl3pPr marL="228600" indent="-114300">
              <a:spcBef>
                <a:spcPts val="600"/>
              </a:spcBef>
              <a:defRPr sz="1100">
                <a:solidFill>
                  <a:srgbClr val="000000"/>
                </a:solidFill>
              </a:defRPr>
            </a:lvl3pPr>
            <a:lvl4pPr marL="342900" indent="-114300">
              <a:spcBef>
                <a:spcPts val="600"/>
              </a:spcBef>
              <a:buClr>
                <a:srgbClr val="000000"/>
              </a:buClr>
              <a:defRPr sz="1050">
                <a:solidFill>
                  <a:srgbClr val="000000"/>
                </a:solidFill>
              </a:defRPr>
            </a:lvl4pPr>
            <a:lvl5pPr>
              <a:defRPr sz="105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Footer Placeholder 4"/>
          <p:cNvSpPr>
            <a:spLocks noGrp="1"/>
          </p:cNvSpPr>
          <p:nvPr>
            <p:ph type="ftr" sz="quarter" idx="16"/>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15" name="Rectangle 155"/>
          <p:cNvSpPr>
            <a:spLocks noGrp="1" noChangeArrowheads="1"/>
          </p:cNvSpPr>
          <p:nvPr>
            <p:ph type="dt" sz="half" idx="17"/>
          </p:nvPr>
        </p:nvSpPr>
        <p:spPr>
          <a:xfrm>
            <a:off x="320040" y="6655654"/>
            <a:ext cx="1983958" cy="120649"/>
          </a:xfrm>
        </p:spPr>
        <p:txBody>
          <a:bodyPr/>
          <a:lstStyle>
            <a:lvl1pPr algn="l">
              <a:defRPr sz="700" smtClean="0">
                <a:solidFill>
                  <a:srgbClr val="000000"/>
                </a:solidFill>
              </a:defRPr>
            </a:lvl1pPr>
          </a:lstStyle>
          <a:p>
            <a:pPr>
              <a:defRPr/>
            </a:pPr>
            <a:r>
              <a:rPr lang="en-US"/>
              <a:t>201607-20094</a:t>
            </a:r>
            <a:endParaRPr lang="en-US" dirty="0"/>
          </a:p>
        </p:txBody>
      </p:sp>
      <p:grpSp>
        <p:nvGrpSpPr>
          <p:cNvPr id="16" name="Group 15"/>
          <p:cNvGrpSpPr/>
          <p:nvPr userDrawn="1"/>
        </p:nvGrpSpPr>
        <p:grpSpPr>
          <a:xfrm>
            <a:off x="7364320" y="6412511"/>
            <a:ext cx="1371600" cy="283464"/>
            <a:chOff x="4291013" y="3178175"/>
            <a:chExt cx="3197225" cy="688975"/>
          </a:xfrm>
        </p:grpSpPr>
        <p:sp>
          <p:nvSpPr>
            <p:cNvPr id="17"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42" name="Slide Number Placeholder 3"/>
          <p:cNvSpPr>
            <a:spLocks noGrp="1"/>
          </p:cNvSpPr>
          <p:nvPr>
            <p:ph type="sldNum" sz="quarter" idx="18"/>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81370270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4_Comparison">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6868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hasCustomPrompt="1"/>
          </p:nvPr>
        </p:nvSpPr>
        <p:spPr>
          <a:xfrm>
            <a:off x="317115" y="1004757"/>
            <a:ext cx="4040188" cy="639762"/>
          </a:xfrm>
        </p:spPr>
        <p:txBody>
          <a:bodyPr lIns="91440" anchor="b"/>
          <a:lstStyle>
            <a:lvl1pPr marL="0" indent="0">
              <a:buNone/>
              <a:defRPr sz="14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5" name="Text Placeholder 4"/>
          <p:cNvSpPr>
            <a:spLocks noGrp="1"/>
          </p:cNvSpPr>
          <p:nvPr>
            <p:ph type="body" sz="quarter" idx="3" hasCustomPrompt="1"/>
          </p:nvPr>
        </p:nvSpPr>
        <p:spPr>
          <a:xfrm>
            <a:off x="4449057" y="1004757"/>
            <a:ext cx="4041775" cy="639762"/>
          </a:xfrm>
        </p:spPr>
        <p:txBody>
          <a:bodyPr lIns="91440" anchor="b"/>
          <a:lstStyle>
            <a:lvl1pPr marL="0" indent="0">
              <a:buNone/>
              <a:defRPr sz="14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0" name="Content Placeholder 2"/>
          <p:cNvSpPr>
            <a:spLocks noGrp="1"/>
          </p:cNvSpPr>
          <p:nvPr>
            <p:ph sz="half" idx="13"/>
          </p:nvPr>
        </p:nvSpPr>
        <p:spPr>
          <a:xfrm>
            <a:off x="317115" y="1664594"/>
            <a:ext cx="4041648" cy="4553643"/>
          </a:xfrm>
        </p:spPr>
        <p:txBody>
          <a:bodyPr lIns="91440"/>
          <a:lstStyle>
            <a:lvl1pPr>
              <a:spcBef>
                <a:spcPts val="600"/>
              </a:spcBef>
              <a:defRPr sz="1400">
                <a:solidFill>
                  <a:srgbClr val="7A9B3D"/>
                </a:solidFill>
              </a:defRPr>
            </a:lvl1pPr>
            <a:lvl2pPr marL="114300" indent="-114300">
              <a:spcBef>
                <a:spcPts val="600"/>
              </a:spcBef>
              <a:buClr>
                <a:srgbClr val="7A9B3D"/>
              </a:buClr>
              <a:defRPr sz="1200">
                <a:solidFill>
                  <a:srgbClr val="000000"/>
                </a:solidFill>
              </a:defRPr>
            </a:lvl2pPr>
            <a:lvl3pPr marL="228600" indent="-114300">
              <a:spcBef>
                <a:spcPts val="600"/>
              </a:spcBef>
              <a:defRPr sz="1100">
                <a:solidFill>
                  <a:srgbClr val="000000"/>
                </a:solidFill>
              </a:defRPr>
            </a:lvl3pPr>
            <a:lvl4pPr marL="342900" indent="-114300">
              <a:spcBef>
                <a:spcPts val="600"/>
              </a:spcBef>
              <a:buClr>
                <a:srgbClr val="000000"/>
              </a:buClr>
              <a:defRPr sz="1050">
                <a:solidFill>
                  <a:srgbClr val="000000"/>
                </a:solidFill>
              </a:defRPr>
            </a:lvl4pPr>
            <a:lvl5pPr>
              <a:defRPr sz="105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2"/>
          <p:cNvSpPr>
            <a:spLocks noGrp="1"/>
          </p:cNvSpPr>
          <p:nvPr>
            <p:ph sz="half" idx="14"/>
          </p:nvPr>
        </p:nvSpPr>
        <p:spPr>
          <a:xfrm>
            <a:off x="4449057" y="1665794"/>
            <a:ext cx="4041648" cy="4552443"/>
          </a:xfrm>
        </p:spPr>
        <p:txBody>
          <a:bodyPr lIns="91440"/>
          <a:lstStyle>
            <a:lvl1pPr>
              <a:spcBef>
                <a:spcPts val="600"/>
              </a:spcBef>
              <a:defRPr sz="1400">
                <a:solidFill>
                  <a:srgbClr val="7A9B3D"/>
                </a:solidFill>
              </a:defRPr>
            </a:lvl1pPr>
            <a:lvl2pPr marL="114300" indent="-114300">
              <a:spcBef>
                <a:spcPts val="600"/>
              </a:spcBef>
              <a:buClr>
                <a:srgbClr val="7A9B3D"/>
              </a:buClr>
              <a:defRPr sz="1200">
                <a:solidFill>
                  <a:srgbClr val="000000"/>
                </a:solidFill>
              </a:defRPr>
            </a:lvl2pPr>
            <a:lvl3pPr marL="228600" indent="-114300">
              <a:spcBef>
                <a:spcPts val="600"/>
              </a:spcBef>
              <a:defRPr sz="1100">
                <a:solidFill>
                  <a:srgbClr val="000000"/>
                </a:solidFill>
              </a:defRPr>
            </a:lvl3pPr>
            <a:lvl4pPr marL="342900" indent="-114300">
              <a:spcBef>
                <a:spcPts val="600"/>
              </a:spcBef>
              <a:buClr>
                <a:srgbClr val="000000"/>
              </a:buClr>
              <a:defRPr sz="1050">
                <a:solidFill>
                  <a:srgbClr val="000000"/>
                </a:solidFill>
              </a:defRPr>
            </a:lvl4pPr>
            <a:lvl5pPr>
              <a:defRPr sz="105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Footer Placeholder 4"/>
          <p:cNvSpPr>
            <a:spLocks noGrp="1"/>
          </p:cNvSpPr>
          <p:nvPr>
            <p:ph type="ftr" sz="quarter" idx="16"/>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15" name="Rectangle 155"/>
          <p:cNvSpPr>
            <a:spLocks noGrp="1" noChangeArrowheads="1"/>
          </p:cNvSpPr>
          <p:nvPr>
            <p:ph type="dt" sz="half" idx="17"/>
          </p:nvPr>
        </p:nvSpPr>
        <p:spPr>
          <a:xfrm>
            <a:off x="320040" y="6655654"/>
            <a:ext cx="1983958" cy="120649"/>
          </a:xfrm>
        </p:spPr>
        <p:txBody>
          <a:bodyPr/>
          <a:lstStyle>
            <a:lvl1pPr algn="l">
              <a:defRPr sz="700" smtClean="0">
                <a:solidFill>
                  <a:srgbClr val="000000"/>
                </a:solidFill>
              </a:defRPr>
            </a:lvl1pPr>
          </a:lstStyle>
          <a:p>
            <a:pPr>
              <a:defRPr/>
            </a:pPr>
            <a:r>
              <a:rPr lang="en-US"/>
              <a:t>201907-26031</a:t>
            </a:r>
            <a:endParaRPr lang="en-US" dirty="0"/>
          </a:p>
        </p:txBody>
      </p:sp>
      <p:grpSp>
        <p:nvGrpSpPr>
          <p:cNvPr id="16" name="Group 15"/>
          <p:cNvGrpSpPr/>
          <p:nvPr userDrawn="1"/>
        </p:nvGrpSpPr>
        <p:grpSpPr>
          <a:xfrm>
            <a:off x="7364320" y="6412511"/>
            <a:ext cx="1371600" cy="283464"/>
            <a:chOff x="4291013" y="3178175"/>
            <a:chExt cx="3197225" cy="688975"/>
          </a:xfrm>
        </p:grpSpPr>
        <p:sp>
          <p:nvSpPr>
            <p:cNvPr id="17"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8"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9"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0"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1"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2"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3"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4"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5"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6"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7"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8"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9"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0"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1"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2"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3"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4"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5"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6"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7"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8"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9"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0"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1"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42" name="Slide Number Placeholder 3"/>
          <p:cNvSpPr>
            <a:spLocks noGrp="1"/>
          </p:cNvSpPr>
          <p:nvPr>
            <p:ph type="sldNum" sz="quarter" idx="18"/>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98780095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_Back_Cover_BD">
    <p:spTree>
      <p:nvGrpSpPr>
        <p:cNvPr id="1" name=""/>
        <p:cNvGrpSpPr/>
        <p:nvPr/>
      </p:nvGrpSpPr>
      <p:grpSpPr>
        <a:xfrm>
          <a:off x="0" y="0"/>
          <a:ext cx="0" cy="0"/>
          <a:chOff x="0" y="0"/>
          <a:chExt cx="0" cy="0"/>
        </a:xfrm>
      </p:grpSpPr>
      <p:sp>
        <p:nvSpPr>
          <p:cNvPr id="5" name="TextBox 4"/>
          <p:cNvSpPr txBox="1"/>
          <p:nvPr userDrawn="1"/>
        </p:nvSpPr>
        <p:spPr>
          <a:xfrm>
            <a:off x="1338943" y="6473360"/>
            <a:ext cx="6466114" cy="353943"/>
          </a:xfrm>
          <a:prstGeom prst="rect">
            <a:avLst/>
          </a:prstGeom>
          <a:noFill/>
        </p:spPr>
        <p:txBody>
          <a:bodyPr wrap="square" rtlCol="0">
            <a:spAutoFit/>
          </a:bodyPr>
          <a:lstStyle/>
          <a:p>
            <a:pPr algn="ctr">
              <a:spcBef>
                <a:spcPts val="200"/>
              </a:spcBef>
              <a:defRPr/>
            </a:pPr>
            <a:r>
              <a:rPr lang="en-US" altLang="en-US" sz="900" dirty="0">
                <a:solidFill>
                  <a:srgbClr val="000000"/>
                </a:solidFill>
                <a:latin typeface="Arial"/>
                <a:cs typeface="+mn-cs"/>
              </a:rPr>
              <a:t>FIDELITY INVESTMENTS INSTITUTIONAL SERVICES COMPANY, INC., 500 SALEM STREET, SMITHFIELD, RI  02917</a:t>
            </a:r>
            <a:br>
              <a:rPr lang="en-US" altLang="en-US" dirty="0">
                <a:solidFill>
                  <a:srgbClr val="000000"/>
                </a:solidFill>
                <a:latin typeface="Arial"/>
                <a:cs typeface="+mn-cs"/>
              </a:rPr>
            </a:br>
            <a:r>
              <a:rPr lang="en-US" sz="800" dirty="0">
                <a:solidFill>
                  <a:srgbClr val="000000"/>
                </a:solidFill>
                <a:latin typeface="Arial"/>
                <a:cs typeface="+mn-cs"/>
              </a:rPr>
              <a:t>© 2019 FMR LLC. All rights reserved.</a:t>
            </a:r>
          </a:p>
        </p:txBody>
      </p:sp>
      <p:grpSp>
        <p:nvGrpSpPr>
          <p:cNvPr id="32" name="Group 31"/>
          <p:cNvGrpSpPr/>
          <p:nvPr userDrawn="1"/>
        </p:nvGrpSpPr>
        <p:grpSpPr>
          <a:xfrm>
            <a:off x="360752" y="5158824"/>
            <a:ext cx="1890168" cy="396052"/>
            <a:chOff x="6871938" y="4475163"/>
            <a:chExt cx="1924401" cy="403225"/>
          </a:xfrm>
        </p:grpSpPr>
        <p:sp>
          <p:nvSpPr>
            <p:cNvPr id="33" name="AutoShape 4"/>
            <p:cNvSpPr>
              <a:spLocks noChangeAspect="1" noChangeArrowheads="1" noTextEdit="1"/>
            </p:cNvSpPr>
            <p:nvPr/>
          </p:nvSpPr>
          <p:spPr bwMode="auto">
            <a:xfrm>
              <a:off x="687193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34" name="Freeform 33"/>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35" name="Freeform 34"/>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36" name="Freeform 35"/>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39" name="Freeform 38"/>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8" name="Freeform 67"/>
            <p:cNvSpPr>
              <a:spLocks/>
            </p:cNvSpPr>
            <p:nvPr/>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9" name="Freeform 68"/>
            <p:cNvSpPr>
              <a:spLocks noEditPoints="1"/>
            </p:cNvSpPr>
            <p:nvPr/>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0" name="Freeform 69"/>
            <p:cNvSpPr>
              <a:spLocks noEditPoints="1"/>
            </p:cNvSpPr>
            <p:nvPr/>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1" name="Freeform 70"/>
            <p:cNvSpPr>
              <a:spLocks noEditPoints="1"/>
            </p:cNvSpPr>
            <p:nvPr/>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2" name="Freeform 71"/>
            <p:cNvSpPr>
              <a:spLocks/>
            </p:cNvSpPr>
            <p:nvPr/>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3" name="Freeform 72"/>
            <p:cNvSpPr>
              <a:spLocks noEditPoints="1"/>
            </p:cNvSpPr>
            <p:nvPr/>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4" name="Freeform 73"/>
            <p:cNvSpPr>
              <a:spLocks/>
            </p:cNvSpPr>
            <p:nvPr/>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5" name="Freeform 74"/>
            <p:cNvSpPr>
              <a:spLocks/>
            </p:cNvSpPr>
            <p:nvPr/>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6" name="Freeform 75"/>
            <p:cNvSpPr>
              <a:spLocks/>
            </p:cNvSpPr>
            <p:nvPr/>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7" name="Freeform 76"/>
            <p:cNvSpPr>
              <a:spLocks/>
            </p:cNvSpPr>
            <p:nvPr/>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8" name="Freeform 77"/>
            <p:cNvSpPr>
              <a:spLocks/>
            </p:cNvSpPr>
            <p:nvPr/>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9" name="Freeform 78"/>
            <p:cNvSpPr>
              <a:spLocks/>
            </p:cNvSpPr>
            <p:nvPr/>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0" name="Freeform 79"/>
            <p:cNvSpPr>
              <a:spLocks/>
            </p:cNvSpPr>
            <p:nvPr/>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1" name="Freeform 80"/>
            <p:cNvSpPr>
              <a:spLocks/>
            </p:cNvSpPr>
            <p:nvPr/>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2" name="Freeform 81"/>
            <p:cNvSpPr>
              <a:spLocks/>
            </p:cNvSpPr>
            <p:nvPr/>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3" name="Freeform 82"/>
            <p:cNvSpPr>
              <a:spLocks noEditPoints="1"/>
            </p:cNvSpPr>
            <p:nvPr/>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4" name="Freeform 83"/>
            <p:cNvSpPr>
              <a:spLocks noEditPoints="1"/>
            </p:cNvSpPr>
            <p:nvPr/>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5" name="Freeform 84"/>
            <p:cNvSpPr>
              <a:spLocks/>
            </p:cNvSpPr>
            <p:nvPr/>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6" name="Freeform 85"/>
            <p:cNvSpPr>
              <a:spLocks/>
            </p:cNvSpPr>
            <p:nvPr/>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7" name="Freeform 86"/>
            <p:cNvSpPr>
              <a:spLocks/>
            </p:cNvSpPr>
            <p:nvPr/>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8" name="Freeform 87"/>
            <p:cNvSpPr>
              <a:spLocks/>
            </p:cNvSpPr>
            <p:nvPr/>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grpSp>
      <p:sp>
        <p:nvSpPr>
          <p:cNvPr id="91" name="Content Placeholder 12"/>
          <p:cNvSpPr>
            <a:spLocks noGrp="1"/>
          </p:cNvSpPr>
          <p:nvPr>
            <p:ph sz="quarter" idx="16" hasCustomPrompt="1"/>
          </p:nvPr>
        </p:nvSpPr>
        <p:spPr>
          <a:xfrm>
            <a:off x="7991475" y="6332082"/>
            <a:ext cx="908050" cy="377825"/>
          </a:xfrm>
        </p:spPr>
        <p:txBody>
          <a:bodyPr anchor="b"/>
          <a:lstStyle>
            <a:lvl1pPr marL="0" indent="0" algn="r">
              <a:spcBef>
                <a:spcPts val="0"/>
              </a:spcBef>
              <a:defRPr sz="700" b="0">
                <a:solidFill>
                  <a:schemeClr val="tx1"/>
                </a:solidFill>
              </a:defRPr>
            </a:lvl1pPr>
            <a:lvl2pPr algn="r">
              <a:defRPr sz="700" b="0">
                <a:solidFill>
                  <a:schemeClr val="tx1"/>
                </a:solidFill>
              </a:defRPr>
            </a:lvl2pPr>
            <a:lvl3pPr algn="r">
              <a:defRPr sz="700" b="0">
                <a:solidFill>
                  <a:schemeClr val="tx1"/>
                </a:solidFill>
              </a:defRPr>
            </a:lvl3pPr>
            <a:lvl4pPr algn="r">
              <a:defRPr sz="700" b="0">
                <a:solidFill>
                  <a:schemeClr val="tx1"/>
                </a:solidFill>
              </a:defRPr>
            </a:lvl4pPr>
            <a:lvl5pPr algn="r">
              <a:defRPr sz="700" b="0">
                <a:solidFill>
                  <a:schemeClr val="tx1"/>
                </a:solidFill>
              </a:defRPr>
            </a:lvl5pPr>
          </a:lstStyle>
          <a:p>
            <a:pPr lvl="0"/>
            <a:r>
              <a:rPr lang="en-US" dirty="0"/>
              <a:t>1.000000.100</a:t>
            </a:r>
          </a:p>
          <a:p>
            <a:pPr lvl="0"/>
            <a:r>
              <a:rPr lang="en-US" dirty="0"/>
              <a:t>MMYY</a:t>
            </a:r>
          </a:p>
        </p:txBody>
      </p:sp>
      <p:pic>
        <p:nvPicPr>
          <p:cNvPr id="37"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9646" y="4359385"/>
            <a:ext cx="4941925" cy="539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 name="Content Placeholder 10"/>
          <p:cNvSpPr>
            <a:spLocks noGrp="1"/>
          </p:cNvSpPr>
          <p:nvPr>
            <p:ph sz="quarter" idx="15" hasCustomPrompt="1"/>
          </p:nvPr>
        </p:nvSpPr>
        <p:spPr>
          <a:xfrm>
            <a:off x="312963" y="6289468"/>
            <a:ext cx="964293" cy="420439"/>
          </a:xfrm>
        </p:spPr>
        <p:txBody>
          <a:bodyPr/>
          <a:lstStyle>
            <a:lvl1pPr marL="0" indent="0">
              <a:spcBef>
                <a:spcPts val="0"/>
              </a:spcBef>
              <a:defRPr sz="700" b="0">
                <a:solidFill>
                  <a:schemeClr val="tx1"/>
                </a:solidFill>
              </a:defRPr>
            </a:lvl1pPr>
            <a:lvl2pPr>
              <a:defRPr sz="700" b="0">
                <a:solidFill>
                  <a:schemeClr val="tx1"/>
                </a:solidFill>
              </a:defRPr>
            </a:lvl2pPr>
            <a:lvl3pPr>
              <a:defRPr sz="700" b="0">
                <a:solidFill>
                  <a:schemeClr val="tx1"/>
                </a:solidFill>
              </a:defRPr>
            </a:lvl3pPr>
            <a:lvl4pPr>
              <a:defRPr sz="700" b="0">
                <a:solidFill>
                  <a:schemeClr val="tx1"/>
                </a:solidFill>
              </a:defRPr>
            </a:lvl4pPr>
            <a:lvl5pPr>
              <a:defRPr sz="700" b="0">
                <a:solidFill>
                  <a:schemeClr val="tx1"/>
                </a:solidFill>
              </a:defRPr>
            </a:lvl5pPr>
          </a:lstStyle>
          <a:p>
            <a:pPr lvl="0"/>
            <a:r>
              <a:rPr lang="en-US" dirty="0"/>
              <a:t>XXXXXX.1.0</a:t>
            </a:r>
          </a:p>
          <a:p>
            <a:pPr lvl="0"/>
            <a:r>
              <a:rPr lang="en-US" dirty="0"/>
              <a:t>FIAM-BD</a:t>
            </a:r>
          </a:p>
          <a:p>
            <a:pPr lvl="0"/>
            <a:r>
              <a:rPr lang="en-US" dirty="0"/>
              <a:t>EXPIRES: 00/00/00</a:t>
            </a:r>
          </a:p>
        </p:txBody>
      </p:sp>
    </p:spTree>
    <p:extLst>
      <p:ext uri="{BB962C8B-B14F-4D97-AF65-F5344CB8AC3E}">
        <p14:creationId xmlns:p14="http://schemas.microsoft.com/office/powerpoint/2010/main" val="135236634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Back_Cover_IA">
    <p:spTree>
      <p:nvGrpSpPr>
        <p:cNvPr id="1" name=""/>
        <p:cNvGrpSpPr/>
        <p:nvPr/>
      </p:nvGrpSpPr>
      <p:grpSpPr>
        <a:xfrm>
          <a:off x="0" y="0"/>
          <a:ext cx="0" cy="0"/>
          <a:chOff x="0" y="0"/>
          <a:chExt cx="0" cy="0"/>
        </a:xfrm>
      </p:grpSpPr>
      <p:sp>
        <p:nvSpPr>
          <p:cNvPr id="2" name="Rectangle 1"/>
          <p:cNvSpPr/>
          <p:nvPr userDrawn="1"/>
        </p:nvSpPr>
        <p:spPr>
          <a:xfrm>
            <a:off x="1277183" y="6483639"/>
            <a:ext cx="6446759" cy="215444"/>
          </a:xfrm>
          <a:prstGeom prst="rect">
            <a:avLst/>
          </a:prstGeom>
        </p:spPr>
        <p:txBody>
          <a:bodyPr wrap="square">
            <a:spAutoFit/>
          </a:bodyPr>
          <a:lstStyle/>
          <a:p>
            <a:pPr algn="ctr">
              <a:spcBef>
                <a:spcPts val="200"/>
              </a:spcBef>
              <a:defRPr/>
            </a:pPr>
            <a:r>
              <a:rPr lang="en-US" sz="800" dirty="0">
                <a:solidFill>
                  <a:srgbClr val="000000"/>
                </a:solidFill>
                <a:latin typeface="Arial"/>
                <a:cs typeface="+mn-cs"/>
              </a:rPr>
              <a:t>© 2019 FMR LLC. All rights reserved.</a:t>
            </a:r>
            <a:endParaRPr lang="en-US" altLang="en-US" sz="800" dirty="0">
              <a:solidFill>
                <a:srgbClr val="000000"/>
              </a:solidFill>
              <a:latin typeface="Arial"/>
              <a:cs typeface="+mn-cs"/>
            </a:endParaRPr>
          </a:p>
        </p:txBody>
      </p:sp>
      <p:grpSp>
        <p:nvGrpSpPr>
          <p:cNvPr id="37" name="Group 36"/>
          <p:cNvGrpSpPr/>
          <p:nvPr userDrawn="1"/>
        </p:nvGrpSpPr>
        <p:grpSpPr>
          <a:xfrm>
            <a:off x="360752" y="5158824"/>
            <a:ext cx="1890168" cy="396052"/>
            <a:chOff x="6871938" y="4475163"/>
            <a:chExt cx="1924401" cy="403225"/>
          </a:xfrm>
        </p:grpSpPr>
        <p:sp>
          <p:nvSpPr>
            <p:cNvPr id="38" name="AutoShape 4"/>
            <p:cNvSpPr>
              <a:spLocks noChangeAspect="1" noChangeArrowheads="1" noTextEdit="1"/>
            </p:cNvSpPr>
            <p:nvPr/>
          </p:nvSpPr>
          <p:spPr bwMode="auto">
            <a:xfrm>
              <a:off x="687193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39" name="Freeform 38"/>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0" name="Freeform 39"/>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1" name="Freeform 40"/>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2" name="Freeform 41"/>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3" name="Freeform 42"/>
            <p:cNvSpPr>
              <a:spLocks/>
            </p:cNvSpPr>
            <p:nvPr/>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4" name="Freeform 43"/>
            <p:cNvSpPr>
              <a:spLocks noEditPoints="1"/>
            </p:cNvSpPr>
            <p:nvPr/>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5" name="Freeform 44"/>
            <p:cNvSpPr>
              <a:spLocks noEditPoints="1"/>
            </p:cNvSpPr>
            <p:nvPr/>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6" name="Freeform 45"/>
            <p:cNvSpPr>
              <a:spLocks noEditPoints="1"/>
            </p:cNvSpPr>
            <p:nvPr/>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7" name="Freeform 46"/>
            <p:cNvSpPr>
              <a:spLocks/>
            </p:cNvSpPr>
            <p:nvPr/>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8" name="Freeform 47"/>
            <p:cNvSpPr>
              <a:spLocks noEditPoints="1"/>
            </p:cNvSpPr>
            <p:nvPr/>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9" name="Freeform 48"/>
            <p:cNvSpPr>
              <a:spLocks/>
            </p:cNvSpPr>
            <p:nvPr/>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0" name="Freeform 49"/>
            <p:cNvSpPr>
              <a:spLocks/>
            </p:cNvSpPr>
            <p:nvPr/>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1" name="Freeform 50"/>
            <p:cNvSpPr>
              <a:spLocks/>
            </p:cNvSpPr>
            <p:nvPr/>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2" name="Freeform 51"/>
            <p:cNvSpPr>
              <a:spLocks/>
            </p:cNvSpPr>
            <p:nvPr/>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3" name="Freeform 52"/>
            <p:cNvSpPr>
              <a:spLocks/>
            </p:cNvSpPr>
            <p:nvPr/>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4" name="Freeform 53"/>
            <p:cNvSpPr>
              <a:spLocks/>
            </p:cNvSpPr>
            <p:nvPr/>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5" name="Freeform 54"/>
            <p:cNvSpPr>
              <a:spLocks/>
            </p:cNvSpPr>
            <p:nvPr/>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6" name="Freeform 55"/>
            <p:cNvSpPr>
              <a:spLocks/>
            </p:cNvSpPr>
            <p:nvPr/>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7" name="Freeform 56"/>
            <p:cNvSpPr>
              <a:spLocks/>
            </p:cNvSpPr>
            <p:nvPr/>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8" name="Freeform 57"/>
            <p:cNvSpPr>
              <a:spLocks noEditPoints="1"/>
            </p:cNvSpPr>
            <p:nvPr/>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9" name="Freeform 58"/>
            <p:cNvSpPr>
              <a:spLocks noEditPoints="1"/>
            </p:cNvSpPr>
            <p:nvPr/>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0" name="Freeform 59"/>
            <p:cNvSpPr>
              <a:spLocks/>
            </p:cNvSpPr>
            <p:nvPr/>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1" name="Freeform 60"/>
            <p:cNvSpPr>
              <a:spLocks/>
            </p:cNvSpPr>
            <p:nvPr/>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2" name="Freeform 61"/>
            <p:cNvSpPr>
              <a:spLocks/>
            </p:cNvSpPr>
            <p:nvPr/>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3" name="Freeform 62"/>
            <p:cNvSpPr>
              <a:spLocks/>
            </p:cNvSpPr>
            <p:nvPr/>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grpSp>
      <p:sp>
        <p:nvSpPr>
          <p:cNvPr id="65" name="Content Placeholder 10"/>
          <p:cNvSpPr>
            <a:spLocks noGrp="1"/>
          </p:cNvSpPr>
          <p:nvPr>
            <p:ph sz="quarter" idx="15" hasCustomPrompt="1"/>
          </p:nvPr>
        </p:nvSpPr>
        <p:spPr>
          <a:xfrm>
            <a:off x="312963" y="6289468"/>
            <a:ext cx="964293" cy="420439"/>
          </a:xfrm>
        </p:spPr>
        <p:txBody>
          <a:bodyPr/>
          <a:lstStyle>
            <a:lvl1pPr marL="0" indent="0">
              <a:spcBef>
                <a:spcPts val="0"/>
              </a:spcBef>
              <a:defRPr sz="700" b="0">
                <a:solidFill>
                  <a:schemeClr val="tx1"/>
                </a:solidFill>
              </a:defRPr>
            </a:lvl1pPr>
            <a:lvl2pPr>
              <a:defRPr sz="700" b="0">
                <a:solidFill>
                  <a:schemeClr val="tx1"/>
                </a:solidFill>
              </a:defRPr>
            </a:lvl2pPr>
            <a:lvl3pPr>
              <a:defRPr sz="700" b="0">
                <a:solidFill>
                  <a:schemeClr val="tx1"/>
                </a:solidFill>
              </a:defRPr>
            </a:lvl3pPr>
            <a:lvl4pPr>
              <a:defRPr sz="700" b="0">
                <a:solidFill>
                  <a:schemeClr val="tx1"/>
                </a:solidFill>
              </a:defRPr>
            </a:lvl4pPr>
            <a:lvl5pPr>
              <a:defRPr sz="700" b="0">
                <a:solidFill>
                  <a:schemeClr val="tx1"/>
                </a:solidFill>
              </a:defRPr>
            </a:lvl5pPr>
          </a:lstStyle>
          <a:p>
            <a:pPr lvl="0"/>
            <a:r>
              <a:rPr lang="en-US" dirty="0"/>
              <a:t>XXXXXX.1.0</a:t>
            </a:r>
          </a:p>
          <a:p>
            <a:pPr lvl="0"/>
            <a:r>
              <a:rPr lang="en-US" dirty="0"/>
              <a:t>FIAM-IA</a:t>
            </a:r>
          </a:p>
          <a:p>
            <a:pPr lvl="0"/>
            <a:r>
              <a:rPr lang="en-US" dirty="0"/>
              <a:t>EXPIRES: 00/00/00</a:t>
            </a:r>
          </a:p>
        </p:txBody>
      </p:sp>
      <p:pic>
        <p:nvPicPr>
          <p:cNvPr id="32"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9646" y="4359385"/>
            <a:ext cx="4941925" cy="539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940042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Back_Cover_IA_Item_Code">
    <p:spTree>
      <p:nvGrpSpPr>
        <p:cNvPr id="1" name=""/>
        <p:cNvGrpSpPr/>
        <p:nvPr/>
      </p:nvGrpSpPr>
      <p:grpSpPr>
        <a:xfrm>
          <a:off x="0" y="0"/>
          <a:ext cx="0" cy="0"/>
          <a:chOff x="0" y="0"/>
          <a:chExt cx="0" cy="0"/>
        </a:xfrm>
      </p:grpSpPr>
      <p:sp>
        <p:nvSpPr>
          <p:cNvPr id="2" name="Rectangle 1"/>
          <p:cNvSpPr/>
          <p:nvPr userDrawn="1"/>
        </p:nvSpPr>
        <p:spPr>
          <a:xfrm>
            <a:off x="1277183" y="6483639"/>
            <a:ext cx="6446759" cy="215444"/>
          </a:xfrm>
          <a:prstGeom prst="rect">
            <a:avLst/>
          </a:prstGeom>
        </p:spPr>
        <p:txBody>
          <a:bodyPr wrap="square">
            <a:spAutoFit/>
          </a:bodyPr>
          <a:lstStyle/>
          <a:p>
            <a:pPr algn="ctr">
              <a:spcBef>
                <a:spcPts val="200"/>
              </a:spcBef>
              <a:defRPr/>
            </a:pPr>
            <a:r>
              <a:rPr lang="en-US" sz="800" dirty="0">
                <a:solidFill>
                  <a:srgbClr val="000000"/>
                </a:solidFill>
                <a:latin typeface="Arial"/>
                <a:cs typeface="+mn-cs"/>
              </a:rPr>
              <a:t>© 2019 FMR LLC. All rights reserved.</a:t>
            </a:r>
            <a:endParaRPr lang="en-US" altLang="en-US" sz="800" dirty="0">
              <a:solidFill>
                <a:srgbClr val="000000"/>
              </a:solidFill>
              <a:latin typeface="Arial"/>
              <a:cs typeface="+mn-cs"/>
            </a:endParaRPr>
          </a:p>
        </p:txBody>
      </p:sp>
      <p:grpSp>
        <p:nvGrpSpPr>
          <p:cNvPr id="37" name="Group 36"/>
          <p:cNvGrpSpPr/>
          <p:nvPr userDrawn="1"/>
        </p:nvGrpSpPr>
        <p:grpSpPr>
          <a:xfrm>
            <a:off x="360752" y="5158824"/>
            <a:ext cx="1890168" cy="396052"/>
            <a:chOff x="6871938" y="4475163"/>
            <a:chExt cx="1924401" cy="403225"/>
          </a:xfrm>
        </p:grpSpPr>
        <p:sp>
          <p:nvSpPr>
            <p:cNvPr id="38" name="AutoShape 4"/>
            <p:cNvSpPr>
              <a:spLocks noChangeAspect="1" noChangeArrowheads="1" noTextEdit="1"/>
            </p:cNvSpPr>
            <p:nvPr/>
          </p:nvSpPr>
          <p:spPr bwMode="auto">
            <a:xfrm>
              <a:off x="687193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39" name="Freeform 38"/>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0" name="Freeform 39"/>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1" name="Freeform 40"/>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2" name="Freeform 41"/>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3" name="Freeform 42"/>
            <p:cNvSpPr>
              <a:spLocks/>
            </p:cNvSpPr>
            <p:nvPr/>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4" name="Freeform 43"/>
            <p:cNvSpPr>
              <a:spLocks noEditPoints="1"/>
            </p:cNvSpPr>
            <p:nvPr/>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5" name="Freeform 44"/>
            <p:cNvSpPr>
              <a:spLocks noEditPoints="1"/>
            </p:cNvSpPr>
            <p:nvPr/>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6" name="Freeform 45"/>
            <p:cNvSpPr>
              <a:spLocks noEditPoints="1"/>
            </p:cNvSpPr>
            <p:nvPr/>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7" name="Freeform 46"/>
            <p:cNvSpPr>
              <a:spLocks/>
            </p:cNvSpPr>
            <p:nvPr/>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8" name="Freeform 47"/>
            <p:cNvSpPr>
              <a:spLocks noEditPoints="1"/>
            </p:cNvSpPr>
            <p:nvPr/>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9" name="Freeform 48"/>
            <p:cNvSpPr>
              <a:spLocks/>
            </p:cNvSpPr>
            <p:nvPr/>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0" name="Freeform 49"/>
            <p:cNvSpPr>
              <a:spLocks/>
            </p:cNvSpPr>
            <p:nvPr/>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1" name="Freeform 50"/>
            <p:cNvSpPr>
              <a:spLocks/>
            </p:cNvSpPr>
            <p:nvPr/>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2" name="Freeform 51"/>
            <p:cNvSpPr>
              <a:spLocks/>
            </p:cNvSpPr>
            <p:nvPr/>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3" name="Freeform 52"/>
            <p:cNvSpPr>
              <a:spLocks/>
            </p:cNvSpPr>
            <p:nvPr/>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4" name="Freeform 53"/>
            <p:cNvSpPr>
              <a:spLocks/>
            </p:cNvSpPr>
            <p:nvPr/>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5" name="Freeform 54"/>
            <p:cNvSpPr>
              <a:spLocks/>
            </p:cNvSpPr>
            <p:nvPr/>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6" name="Freeform 55"/>
            <p:cNvSpPr>
              <a:spLocks/>
            </p:cNvSpPr>
            <p:nvPr/>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7" name="Freeform 56"/>
            <p:cNvSpPr>
              <a:spLocks/>
            </p:cNvSpPr>
            <p:nvPr/>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8" name="Freeform 57"/>
            <p:cNvSpPr>
              <a:spLocks noEditPoints="1"/>
            </p:cNvSpPr>
            <p:nvPr/>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9" name="Freeform 58"/>
            <p:cNvSpPr>
              <a:spLocks noEditPoints="1"/>
            </p:cNvSpPr>
            <p:nvPr/>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0" name="Freeform 59"/>
            <p:cNvSpPr>
              <a:spLocks/>
            </p:cNvSpPr>
            <p:nvPr/>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1" name="Freeform 60"/>
            <p:cNvSpPr>
              <a:spLocks/>
            </p:cNvSpPr>
            <p:nvPr/>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2" name="Freeform 61"/>
            <p:cNvSpPr>
              <a:spLocks/>
            </p:cNvSpPr>
            <p:nvPr/>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3" name="Freeform 62"/>
            <p:cNvSpPr>
              <a:spLocks/>
            </p:cNvSpPr>
            <p:nvPr/>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grpSp>
      <p:sp>
        <p:nvSpPr>
          <p:cNvPr id="65" name="Content Placeholder 10"/>
          <p:cNvSpPr>
            <a:spLocks noGrp="1"/>
          </p:cNvSpPr>
          <p:nvPr>
            <p:ph sz="quarter" idx="15" hasCustomPrompt="1"/>
          </p:nvPr>
        </p:nvSpPr>
        <p:spPr>
          <a:xfrm>
            <a:off x="312963" y="6289468"/>
            <a:ext cx="964293" cy="420439"/>
          </a:xfrm>
        </p:spPr>
        <p:txBody>
          <a:bodyPr/>
          <a:lstStyle>
            <a:lvl1pPr marL="0" indent="0">
              <a:spcBef>
                <a:spcPts val="0"/>
              </a:spcBef>
              <a:defRPr sz="700" b="0">
                <a:solidFill>
                  <a:schemeClr val="tx1"/>
                </a:solidFill>
              </a:defRPr>
            </a:lvl1pPr>
            <a:lvl2pPr>
              <a:defRPr sz="700" b="0">
                <a:solidFill>
                  <a:schemeClr val="tx1"/>
                </a:solidFill>
              </a:defRPr>
            </a:lvl2pPr>
            <a:lvl3pPr>
              <a:defRPr sz="700" b="0">
                <a:solidFill>
                  <a:schemeClr val="tx1"/>
                </a:solidFill>
              </a:defRPr>
            </a:lvl3pPr>
            <a:lvl4pPr>
              <a:defRPr sz="700" b="0">
                <a:solidFill>
                  <a:schemeClr val="tx1"/>
                </a:solidFill>
              </a:defRPr>
            </a:lvl4pPr>
            <a:lvl5pPr>
              <a:defRPr sz="700" b="0">
                <a:solidFill>
                  <a:schemeClr val="tx1"/>
                </a:solidFill>
              </a:defRPr>
            </a:lvl5pPr>
          </a:lstStyle>
          <a:p>
            <a:pPr lvl="0"/>
            <a:r>
              <a:rPr lang="en-US" dirty="0"/>
              <a:t>XXXXXX.1.0</a:t>
            </a:r>
          </a:p>
          <a:p>
            <a:pPr lvl="0"/>
            <a:r>
              <a:rPr lang="en-US" dirty="0"/>
              <a:t>FIAM-IA</a:t>
            </a:r>
          </a:p>
          <a:p>
            <a:pPr lvl="0"/>
            <a:r>
              <a:rPr lang="en-US" dirty="0"/>
              <a:t>EXPIRES: 00/00/00</a:t>
            </a:r>
          </a:p>
        </p:txBody>
      </p:sp>
      <p:pic>
        <p:nvPicPr>
          <p:cNvPr id="32"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9646" y="4359385"/>
            <a:ext cx="4941925" cy="539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Content Placeholder 12"/>
          <p:cNvSpPr>
            <a:spLocks noGrp="1"/>
          </p:cNvSpPr>
          <p:nvPr>
            <p:ph sz="quarter" idx="16" hasCustomPrompt="1"/>
          </p:nvPr>
        </p:nvSpPr>
        <p:spPr>
          <a:xfrm>
            <a:off x="7991475" y="6322558"/>
            <a:ext cx="908050" cy="377825"/>
          </a:xfrm>
        </p:spPr>
        <p:txBody>
          <a:bodyPr anchor="b"/>
          <a:lstStyle>
            <a:lvl1pPr marL="0" indent="0" algn="r">
              <a:spcBef>
                <a:spcPts val="0"/>
              </a:spcBef>
              <a:defRPr sz="700" b="0">
                <a:solidFill>
                  <a:schemeClr val="tx1"/>
                </a:solidFill>
              </a:defRPr>
            </a:lvl1pPr>
            <a:lvl2pPr algn="r">
              <a:defRPr sz="700" b="0">
                <a:solidFill>
                  <a:schemeClr val="tx1"/>
                </a:solidFill>
              </a:defRPr>
            </a:lvl2pPr>
            <a:lvl3pPr algn="r">
              <a:defRPr sz="700" b="0">
                <a:solidFill>
                  <a:schemeClr val="tx1"/>
                </a:solidFill>
              </a:defRPr>
            </a:lvl3pPr>
            <a:lvl4pPr algn="r">
              <a:defRPr sz="700" b="0">
                <a:solidFill>
                  <a:schemeClr val="tx1"/>
                </a:solidFill>
              </a:defRPr>
            </a:lvl4pPr>
            <a:lvl5pPr algn="r">
              <a:defRPr sz="700" b="0">
                <a:solidFill>
                  <a:schemeClr val="tx1"/>
                </a:solidFill>
              </a:defRPr>
            </a:lvl5pPr>
          </a:lstStyle>
          <a:p>
            <a:pPr lvl="0"/>
            <a:r>
              <a:rPr lang="en-US" dirty="0"/>
              <a:t>1.000000.100</a:t>
            </a:r>
          </a:p>
        </p:txBody>
      </p:sp>
    </p:spTree>
    <p:extLst>
      <p:ext uri="{BB962C8B-B14F-4D97-AF65-F5344CB8AC3E}">
        <p14:creationId xmlns:p14="http://schemas.microsoft.com/office/powerpoint/2010/main" val="383104365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8"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9"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a:t>201907-26031</a:t>
            </a:r>
            <a:endParaRPr lang="en-US" dirty="0"/>
          </a:p>
        </p:txBody>
      </p:sp>
      <p:grpSp>
        <p:nvGrpSpPr>
          <p:cNvPr id="10" name="Group 9"/>
          <p:cNvGrpSpPr/>
          <p:nvPr userDrawn="1"/>
        </p:nvGrpSpPr>
        <p:grpSpPr>
          <a:xfrm>
            <a:off x="7364320" y="6412511"/>
            <a:ext cx="1371600" cy="283464"/>
            <a:chOff x="4291013" y="3178175"/>
            <a:chExt cx="3197225" cy="688975"/>
          </a:xfrm>
        </p:grpSpPr>
        <p:sp>
          <p:nvSpPr>
            <p:cNvPr id="11"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2"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3"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4"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5"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6"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7"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8"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9"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0"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1"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2"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3"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4"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5"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6"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7"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8"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9"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0"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1"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2"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3"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4"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5"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36"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150349674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FIAM_External_Print_Cover_IA">
    <p:spTree>
      <p:nvGrpSpPr>
        <p:cNvPr id="1" name=""/>
        <p:cNvGrpSpPr/>
        <p:nvPr/>
      </p:nvGrpSpPr>
      <p:grpSpPr>
        <a:xfrm>
          <a:off x="0" y="0"/>
          <a:ext cx="0" cy="0"/>
          <a:chOff x="0" y="0"/>
          <a:chExt cx="0" cy="0"/>
        </a:xfrm>
      </p:grpSpPr>
      <p:pic>
        <p:nvPicPr>
          <p:cNvPr id="43" name="Picture 42">
            <a:extLst>
              <a:ext uri="{FF2B5EF4-FFF2-40B4-BE49-F238E27FC236}">
                <a16:creationId xmlns:a16="http://schemas.microsoft.com/office/drawing/2014/main" id="{0D1BD863-8CD3-49D0-A43A-5F0CDC35B02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47" name="Rectangle 176"/>
          <p:cNvSpPr>
            <a:spLocks noGrp="1" noChangeArrowheads="1"/>
          </p:cNvSpPr>
          <p:nvPr>
            <p:ph type="ftr" sz="quarter" idx="13"/>
          </p:nvPr>
        </p:nvSpPr>
        <p:spPr>
          <a:xfrm>
            <a:off x="281401" y="6421008"/>
            <a:ext cx="6014623" cy="260350"/>
          </a:xfrm>
        </p:spPr>
        <p:txBody>
          <a:bodyPr anchor="b" anchorCtr="0"/>
          <a:lstStyle>
            <a:lvl1pPr algn="l">
              <a:defRPr sz="800" b="0" smtClean="0">
                <a:solidFill>
                  <a:srgbClr val="000000"/>
                </a:solidFill>
              </a:defRPr>
            </a:lvl1pPr>
          </a:lstStyle>
          <a:p>
            <a:pPr>
              <a:defRPr/>
            </a:pPr>
            <a:r>
              <a:rPr lang="en-US" b="1" dirty="0"/>
              <a:t>Page footer.  </a:t>
            </a:r>
          </a:p>
        </p:txBody>
      </p:sp>
      <p:sp>
        <p:nvSpPr>
          <p:cNvPr id="44" name="Text Placeholder 43"/>
          <p:cNvSpPr>
            <a:spLocks noGrp="1"/>
          </p:cNvSpPr>
          <p:nvPr>
            <p:ph type="body" sz="quarter" idx="10"/>
          </p:nvPr>
        </p:nvSpPr>
        <p:spPr>
          <a:xfrm>
            <a:off x="715495" y="3833787"/>
            <a:ext cx="2455544" cy="332365"/>
          </a:xfrm>
        </p:spPr>
        <p:txBody>
          <a:bodyPr/>
          <a:lstStyle>
            <a:lvl1pPr>
              <a:defRPr lang="en-US" sz="1000" b="0" kern="1200" smtClean="0">
                <a:solidFill>
                  <a:srgbClr val="000000"/>
                </a:solidFill>
                <a:latin typeface="Arial"/>
                <a:ea typeface="ＭＳ Ｐゴシック"/>
                <a:cs typeface="ＭＳ Ｐゴシック"/>
              </a:defRPr>
            </a:lvl1pPr>
          </a:lstStyle>
          <a:p>
            <a:pPr lvl="0"/>
            <a:r>
              <a:rPr lang="en-US"/>
              <a:t>Click to edit Master text styles</a:t>
            </a:r>
          </a:p>
        </p:txBody>
      </p:sp>
      <p:sp>
        <p:nvSpPr>
          <p:cNvPr id="53" name="Content Placeholder 52"/>
          <p:cNvSpPr>
            <a:spLocks noGrp="1"/>
          </p:cNvSpPr>
          <p:nvPr>
            <p:ph sz="quarter" idx="12"/>
          </p:nvPr>
        </p:nvSpPr>
        <p:spPr>
          <a:xfrm>
            <a:off x="6280150" y="3842381"/>
            <a:ext cx="2487613" cy="165226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72" name="Rectangle 6"/>
          <p:cNvSpPr>
            <a:spLocks noGrp="1" noChangeArrowheads="1"/>
          </p:cNvSpPr>
          <p:nvPr>
            <p:ph type="subTitle" idx="1"/>
          </p:nvPr>
        </p:nvSpPr>
        <p:spPr>
          <a:xfrm>
            <a:off x="685251" y="2091765"/>
            <a:ext cx="7805762" cy="563076"/>
          </a:xfrm>
        </p:spPr>
        <p:txBody>
          <a:bodyPr lIns="100584" rIns="100584"/>
          <a:lstStyle>
            <a:lvl1pPr marL="0" indent="0">
              <a:spcBef>
                <a:spcPts val="0"/>
              </a:spcBef>
              <a:defRPr sz="2000" b="0">
                <a:solidFill>
                  <a:srgbClr val="7A9A3D"/>
                </a:solidFill>
              </a:defRPr>
            </a:lvl1pPr>
          </a:lstStyle>
          <a:p>
            <a:r>
              <a:rPr lang="en-US"/>
              <a:t>Click to edit Master subtitle style</a:t>
            </a:r>
            <a:endParaRPr lang="en-US" dirty="0"/>
          </a:p>
        </p:txBody>
      </p:sp>
      <p:sp>
        <p:nvSpPr>
          <p:cNvPr id="74" name="Text Placeholder 43"/>
          <p:cNvSpPr>
            <a:spLocks noGrp="1"/>
          </p:cNvSpPr>
          <p:nvPr>
            <p:ph type="body" sz="quarter" idx="14" hasCustomPrompt="1"/>
          </p:nvPr>
        </p:nvSpPr>
        <p:spPr>
          <a:xfrm>
            <a:off x="685251" y="2581276"/>
            <a:ext cx="7805762" cy="266850"/>
          </a:xfrm>
        </p:spPr>
        <p:txBody>
          <a:bodyPr lIns="100584" rIns="100584"/>
          <a:lstStyle>
            <a:lvl1pPr>
              <a:spcBef>
                <a:spcPts val="0"/>
              </a:spcBef>
              <a:defRPr lang="en-US" sz="1200" b="0" kern="1200" dirty="0" smtClean="0">
                <a:solidFill>
                  <a:srgbClr val="333F48"/>
                </a:solidFill>
                <a:latin typeface="Arial"/>
                <a:ea typeface="ＭＳ Ｐゴシック" pitchFamily="34" charset="-128"/>
                <a:cs typeface="+mn-cs"/>
              </a:defRPr>
            </a:lvl1pPr>
          </a:lstStyle>
          <a:p>
            <a:pPr lvl="0"/>
            <a:r>
              <a:rPr lang="en-US" dirty="0"/>
              <a:t>Date</a:t>
            </a:r>
          </a:p>
        </p:txBody>
      </p:sp>
      <p:sp>
        <p:nvSpPr>
          <p:cNvPr id="39" name="Rectangle 9"/>
          <p:cNvSpPr>
            <a:spLocks noGrp="1" noChangeArrowheads="1"/>
          </p:cNvSpPr>
          <p:nvPr>
            <p:ph type="title" hasCustomPrompt="1"/>
          </p:nvPr>
        </p:nvSpPr>
        <p:spPr bwMode="auto">
          <a:xfrm>
            <a:off x="685252" y="1581072"/>
            <a:ext cx="7820573" cy="5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b" anchorCtr="0" compatLnSpc="1">
            <a:prstTxWarp prst="textNoShape">
              <a:avLst/>
            </a:prstTxWarp>
          </a:bodyPr>
          <a:lstStyle>
            <a:lvl1pPr>
              <a:defRPr sz="3000">
                <a:solidFill>
                  <a:srgbClr val="333F48"/>
                </a:solidFill>
              </a:defRPr>
            </a:lvl1pPr>
          </a:lstStyle>
          <a:p>
            <a:pPr lvl="0"/>
            <a:r>
              <a:rPr lang="en-US" altLang="en-US" dirty="0"/>
              <a:t>Click To Edit Master Title Style</a:t>
            </a:r>
          </a:p>
        </p:txBody>
      </p:sp>
      <p:grpSp>
        <p:nvGrpSpPr>
          <p:cNvPr id="128" name="Group 127">
            <a:extLst>
              <a:ext uri="{FF2B5EF4-FFF2-40B4-BE49-F238E27FC236}">
                <a16:creationId xmlns:a16="http://schemas.microsoft.com/office/drawing/2014/main" id="{D2D227AE-CAFE-4AB3-AB1C-89F3B55E0722}"/>
              </a:ext>
            </a:extLst>
          </p:cNvPr>
          <p:cNvGrpSpPr/>
          <p:nvPr userDrawn="1"/>
        </p:nvGrpSpPr>
        <p:grpSpPr>
          <a:xfrm>
            <a:off x="7358173" y="6361974"/>
            <a:ext cx="1382376" cy="297562"/>
            <a:chOff x="6923088" y="4475163"/>
            <a:chExt cx="1873251" cy="403225"/>
          </a:xfrm>
        </p:grpSpPr>
        <p:sp>
          <p:nvSpPr>
            <p:cNvPr id="129" name="AutoShape 4">
              <a:extLst>
                <a:ext uri="{FF2B5EF4-FFF2-40B4-BE49-F238E27FC236}">
                  <a16:creationId xmlns:a16="http://schemas.microsoft.com/office/drawing/2014/main" id="{5E120DEF-B40A-4CE9-B26D-8060E8DBACDF}"/>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30" name="Freeform 6">
              <a:extLst>
                <a:ext uri="{FF2B5EF4-FFF2-40B4-BE49-F238E27FC236}">
                  <a16:creationId xmlns:a16="http://schemas.microsoft.com/office/drawing/2014/main" id="{CCFDE2C2-B48C-42C3-BC30-68C0ADC9DB16}"/>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31" name="Freeform 7">
              <a:extLst>
                <a:ext uri="{FF2B5EF4-FFF2-40B4-BE49-F238E27FC236}">
                  <a16:creationId xmlns:a16="http://schemas.microsoft.com/office/drawing/2014/main" id="{E148C66A-8C56-404E-B3CA-D463A4690B60}"/>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32" name="Freeform 83">
              <a:extLst>
                <a:ext uri="{FF2B5EF4-FFF2-40B4-BE49-F238E27FC236}">
                  <a16:creationId xmlns:a16="http://schemas.microsoft.com/office/drawing/2014/main" id="{B286DFDF-9604-49BE-8835-296DA52725C2}"/>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33" name="Freeform 84">
              <a:extLst>
                <a:ext uri="{FF2B5EF4-FFF2-40B4-BE49-F238E27FC236}">
                  <a16:creationId xmlns:a16="http://schemas.microsoft.com/office/drawing/2014/main" id="{536F82F0-C9F0-44DB-92D0-AD081D722539}"/>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34" name="Freeform 85">
              <a:extLst>
                <a:ext uri="{FF2B5EF4-FFF2-40B4-BE49-F238E27FC236}">
                  <a16:creationId xmlns:a16="http://schemas.microsoft.com/office/drawing/2014/main" id="{FA2B1132-6E1E-42BE-841F-6DB6DA058216}"/>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35" name="Freeform 86">
              <a:extLst>
                <a:ext uri="{FF2B5EF4-FFF2-40B4-BE49-F238E27FC236}">
                  <a16:creationId xmlns:a16="http://schemas.microsoft.com/office/drawing/2014/main" id="{1605D23B-3245-4081-A709-BC2936596163}"/>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36" name="Freeform 87">
              <a:extLst>
                <a:ext uri="{FF2B5EF4-FFF2-40B4-BE49-F238E27FC236}">
                  <a16:creationId xmlns:a16="http://schemas.microsoft.com/office/drawing/2014/main" id="{DD1011A3-8CCE-477C-88EA-2174C0DC1BE3}"/>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37" name="Freeform 88">
              <a:extLst>
                <a:ext uri="{FF2B5EF4-FFF2-40B4-BE49-F238E27FC236}">
                  <a16:creationId xmlns:a16="http://schemas.microsoft.com/office/drawing/2014/main" id="{F11F5921-88A4-48C1-B4F6-EA6717F32F9C}"/>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38" name="Freeform 89">
              <a:extLst>
                <a:ext uri="{FF2B5EF4-FFF2-40B4-BE49-F238E27FC236}">
                  <a16:creationId xmlns:a16="http://schemas.microsoft.com/office/drawing/2014/main" id="{CA718F0A-66A1-4570-9BE3-D9F9EC9750B7}"/>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39" name="Freeform 90">
              <a:extLst>
                <a:ext uri="{FF2B5EF4-FFF2-40B4-BE49-F238E27FC236}">
                  <a16:creationId xmlns:a16="http://schemas.microsoft.com/office/drawing/2014/main" id="{F6EAF93E-D2E6-4C24-B453-AAEAFC13E3D3}"/>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40" name="Freeform 91">
              <a:extLst>
                <a:ext uri="{FF2B5EF4-FFF2-40B4-BE49-F238E27FC236}">
                  <a16:creationId xmlns:a16="http://schemas.microsoft.com/office/drawing/2014/main" id="{8D652D86-C2B9-4E83-9167-23634BE72EDC}"/>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41" name="Freeform 92">
              <a:extLst>
                <a:ext uri="{FF2B5EF4-FFF2-40B4-BE49-F238E27FC236}">
                  <a16:creationId xmlns:a16="http://schemas.microsoft.com/office/drawing/2014/main" id="{92B43175-B9D1-455D-8FAE-3D2BF6571276}"/>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42" name="Freeform 93">
              <a:extLst>
                <a:ext uri="{FF2B5EF4-FFF2-40B4-BE49-F238E27FC236}">
                  <a16:creationId xmlns:a16="http://schemas.microsoft.com/office/drawing/2014/main" id="{76879D52-1795-452B-AD79-74CF3084E9B6}"/>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43" name="Freeform 94">
              <a:extLst>
                <a:ext uri="{FF2B5EF4-FFF2-40B4-BE49-F238E27FC236}">
                  <a16:creationId xmlns:a16="http://schemas.microsoft.com/office/drawing/2014/main" id="{C74CCD1A-A742-473F-8636-72B0E8B205FB}"/>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44" name="Freeform 95">
              <a:extLst>
                <a:ext uri="{FF2B5EF4-FFF2-40B4-BE49-F238E27FC236}">
                  <a16:creationId xmlns:a16="http://schemas.microsoft.com/office/drawing/2014/main" id="{312AF483-E8B8-41EE-ABBD-CBDC6A4CA5E7}"/>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45" name="Freeform 96">
              <a:extLst>
                <a:ext uri="{FF2B5EF4-FFF2-40B4-BE49-F238E27FC236}">
                  <a16:creationId xmlns:a16="http://schemas.microsoft.com/office/drawing/2014/main" id="{A6466488-2DBE-4B8B-B63D-1B2D019DF36C}"/>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46" name="Freeform 97">
              <a:extLst>
                <a:ext uri="{FF2B5EF4-FFF2-40B4-BE49-F238E27FC236}">
                  <a16:creationId xmlns:a16="http://schemas.microsoft.com/office/drawing/2014/main" id="{BD5F4D07-DCEA-41C3-AE5B-B7271E672936}"/>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47" name="Freeform 98">
              <a:extLst>
                <a:ext uri="{FF2B5EF4-FFF2-40B4-BE49-F238E27FC236}">
                  <a16:creationId xmlns:a16="http://schemas.microsoft.com/office/drawing/2014/main" id="{42EEE7BD-DCD2-49F7-8A7C-C0D0601C37FD}"/>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48" name="Freeform 99">
              <a:extLst>
                <a:ext uri="{FF2B5EF4-FFF2-40B4-BE49-F238E27FC236}">
                  <a16:creationId xmlns:a16="http://schemas.microsoft.com/office/drawing/2014/main" id="{5CFD22A1-E673-4B23-9D36-3B74DE70ECE2}"/>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49" name="Freeform 100">
              <a:extLst>
                <a:ext uri="{FF2B5EF4-FFF2-40B4-BE49-F238E27FC236}">
                  <a16:creationId xmlns:a16="http://schemas.microsoft.com/office/drawing/2014/main" id="{7C20FD0C-F35B-4F21-AF3B-81530E295BEB}"/>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50" name="Freeform 101">
              <a:extLst>
                <a:ext uri="{FF2B5EF4-FFF2-40B4-BE49-F238E27FC236}">
                  <a16:creationId xmlns:a16="http://schemas.microsoft.com/office/drawing/2014/main" id="{C68C6C2F-09B5-4244-BEBB-F85457E11A54}"/>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51" name="Freeform 102">
              <a:extLst>
                <a:ext uri="{FF2B5EF4-FFF2-40B4-BE49-F238E27FC236}">
                  <a16:creationId xmlns:a16="http://schemas.microsoft.com/office/drawing/2014/main" id="{6C7F753E-CE23-4F01-9F10-DCE622C71ABB}"/>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52" name="Freeform 103">
              <a:extLst>
                <a:ext uri="{FF2B5EF4-FFF2-40B4-BE49-F238E27FC236}">
                  <a16:creationId xmlns:a16="http://schemas.microsoft.com/office/drawing/2014/main" id="{12385579-35FD-4613-ABF4-9392759FFF98}"/>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53" name="Freeform 104">
              <a:extLst>
                <a:ext uri="{FF2B5EF4-FFF2-40B4-BE49-F238E27FC236}">
                  <a16:creationId xmlns:a16="http://schemas.microsoft.com/office/drawing/2014/main" id="{2BB633EA-47EC-47FB-AFB9-0C8E97548B32}"/>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54" name="Freeform 105">
              <a:extLst>
                <a:ext uri="{FF2B5EF4-FFF2-40B4-BE49-F238E27FC236}">
                  <a16:creationId xmlns:a16="http://schemas.microsoft.com/office/drawing/2014/main" id="{D9F0450F-CF35-40ED-BB19-255159FDD4F0}"/>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41" name="Picture Placeholder 47">
            <a:extLst>
              <a:ext uri="{FF2B5EF4-FFF2-40B4-BE49-F238E27FC236}">
                <a16:creationId xmlns:a16="http://schemas.microsoft.com/office/drawing/2014/main" id="{6C52F923-6647-4E5F-AF1F-9539EA63609B}"/>
              </a:ext>
            </a:extLst>
          </p:cNvPr>
          <p:cNvSpPr>
            <a:spLocks noGrp="1"/>
          </p:cNvSpPr>
          <p:nvPr>
            <p:ph type="pic" sz="quarter" idx="11" hasCustomPrompt="1"/>
          </p:nvPr>
        </p:nvSpPr>
        <p:spPr>
          <a:xfrm>
            <a:off x="804672" y="4105656"/>
            <a:ext cx="2424112" cy="609600"/>
          </a:xfrm>
          <a:noFill/>
        </p:spPr>
        <p:txBody>
          <a:bodyPr anchor="ctr"/>
          <a:lstStyle>
            <a:lvl1pPr>
              <a:defRPr sz="1000" b="0"/>
            </a:lvl1pPr>
          </a:lstStyle>
          <a:p>
            <a:pPr lvl="0"/>
            <a:r>
              <a:rPr lang="en-US" noProof="0" dirty="0"/>
              <a:t>Click icon to add logo</a:t>
            </a:r>
          </a:p>
        </p:txBody>
      </p:sp>
    </p:spTree>
    <p:extLst>
      <p:ext uri="{BB962C8B-B14F-4D97-AF65-F5344CB8AC3E}">
        <p14:creationId xmlns:p14="http://schemas.microsoft.com/office/powerpoint/2010/main" val="3550053768"/>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FIAM_External_Print_Cover_BD">
    <p:spTree>
      <p:nvGrpSpPr>
        <p:cNvPr id="1" name=""/>
        <p:cNvGrpSpPr/>
        <p:nvPr/>
      </p:nvGrpSpPr>
      <p:grpSpPr>
        <a:xfrm>
          <a:off x="0" y="0"/>
          <a:ext cx="0" cy="0"/>
          <a:chOff x="0" y="0"/>
          <a:chExt cx="0" cy="0"/>
        </a:xfrm>
      </p:grpSpPr>
      <p:pic>
        <p:nvPicPr>
          <p:cNvPr id="43" name="Picture 42">
            <a:extLst>
              <a:ext uri="{FF2B5EF4-FFF2-40B4-BE49-F238E27FC236}">
                <a16:creationId xmlns:a16="http://schemas.microsoft.com/office/drawing/2014/main" id="{0D1BD863-8CD3-49D0-A43A-5F0CDC35B02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47" name="Rectangle 176"/>
          <p:cNvSpPr>
            <a:spLocks noGrp="1" noChangeArrowheads="1"/>
          </p:cNvSpPr>
          <p:nvPr>
            <p:ph type="ftr" sz="quarter" idx="13"/>
          </p:nvPr>
        </p:nvSpPr>
        <p:spPr>
          <a:xfrm>
            <a:off x="281401" y="6421008"/>
            <a:ext cx="6014623" cy="260350"/>
          </a:xfrm>
        </p:spPr>
        <p:txBody>
          <a:bodyPr anchor="b" anchorCtr="0"/>
          <a:lstStyle>
            <a:lvl1pPr algn="l">
              <a:defRPr sz="800" b="0" smtClean="0">
                <a:solidFill>
                  <a:srgbClr val="000000"/>
                </a:solidFill>
              </a:defRPr>
            </a:lvl1pPr>
          </a:lstStyle>
          <a:p>
            <a:pPr>
              <a:defRPr/>
            </a:pPr>
            <a:r>
              <a:rPr lang="en-US" b="1" dirty="0"/>
              <a:t>Page footer.  </a:t>
            </a:r>
          </a:p>
        </p:txBody>
      </p:sp>
      <p:sp>
        <p:nvSpPr>
          <p:cNvPr id="44" name="Text Placeholder 43"/>
          <p:cNvSpPr>
            <a:spLocks noGrp="1"/>
          </p:cNvSpPr>
          <p:nvPr>
            <p:ph type="body" sz="quarter" idx="10"/>
          </p:nvPr>
        </p:nvSpPr>
        <p:spPr>
          <a:xfrm>
            <a:off x="715495" y="3833787"/>
            <a:ext cx="2455544" cy="332365"/>
          </a:xfrm>
        </p:spPr>
        <p:txBody>
          <a:bodyPr/>
          <a:lstStyle>
            <a:lvl1pPr>
              <a:defRPr lang="en-US" sz="1000" b="0" kern="1200" smtClean="0">
                <a:solidFill>
                  <a:srgbClr val="000000"/>
                </a:solidFill>
                <a:latin typeface="Arial"/>
                <a:ea typeface="ＭＳ Ｐゴシック"/>
                <a:cs typeface="ＭＳ Ｐゴシック"/>
              </a:defRPr>
            </a:lvl1pPr>
          </a:lstStyle>
          <a:p>
            <a:pPr lvl="0"/>
            <a:r>
              <a:rPr lang="en-US"/>
              <a:t>Click to edit Master text styles</a:t>
            </a:r>
          </a:p>
        </p:txBody>
      </p:sp>
      <p:sp>
        <p:nvSpPr>
          <p:cNvPr id="53" name="Content Placeholder 52"/>
          <p:cNvSpPr>
            <a:spLocks noGrp="1"/>
          </p:cNvSpPr>
          <p:nvPr>
            <p:ph sz="quarter" idx="12"/>
          </p:nvPr>
        </p:nvSpPr>
        <p:spPr>
          <a:xfrm>
            <a:off x="6280150" y="3842381"/>
            <a:ext cx="2487613" cy="165226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72" name="Rectangle 6"/>
          <p:cNvSpPr>
            <a:spLocks noGrp="1" noChangeArrowheads="1"/>
          </p:cNvSpPr>
          <p:nvPr>
            <p:ph type="subTitle" idx="1"/>
          </p:nvPr>
        </p:nvSpPr>
        <p:spPr>
          <a:xfrm>
            <a:off x="685251" y="2091765"/>
            <a:ext cx="7805762" cy="563076"/>
          </a:xfrm>
        </p:spPr>
        <p:txBody>
          <a:bodyPr lIns="100584" rIns="100584"/>
          <a:lstStyle>
            <a:lvl1pPr marL="0" indent="0">
              <a:spcBef>
                <a:spcPts val="0"/>
              </a:spcBef>
              <a:defRPr sz="2000" b="0">
                <a:solidFill>
                  <a:srgbClr val="7A9A3D"/>
                </a:solidFill>
              </a:defRPr>
            </a:lvl1pPr>
          </a:lstStyle>
          <a:p>
            <a:r>
              <a:rPr lang="en-US"/>
              <a:t>Click to edit Master subtitle style</a:t>
            </a:r>
            <a:endParaRPr lang="en-US" dirty="0"/>
          </a:p>
        </p:txBody>
      </p:sp>
      <p:sp>
        <p:nvSpPr>
          <p:cNvPr id="74" name="Text Placeholder 43"/>
          <p:cNvSpPr>
            <a:spLocks noGrp="1"/>
          </p:cNvSpPr>
          <p:nvPr>
            <p:ph type="body" sz="quarter" idx="14" hasCustomPrompt="1"/>
          </p:nvPr>
        </p:nvSpPr>
        <p:spPr>
          <a:xfrm>
            <a:off x="685251" y="2581276"/>
            <a:ext cx="7805762" cy="266850"/>
          </a:xfrm>
        </p:spPr>
        <p:txBody>
          <a:bodyPr lIns="100584" rIns="100584"/>
          <a:lstStyle>
            <a:lvl1pPr>
              <a:spcBef>
                <a:spcPts val="0"/>
              </a:spcBef>
              <a:defRPr lang="en-US" sz="1200" b="0" kern="1200" dirty="0" smtClean="0">
                <a:solidFill>
                  <a:srgbClr val="333F48"/>
                </a:solidFill>
                <a:latin typeface="Arial"/>
                <a:ea typeface="ＭＳ Ｐゴシック" pitchFamily="34" charset="-128"/>
                <a:cs typeface="+mn-cs"/>
              </a:defRPr>
            </a:lvl1pPr>
          </a:lstStyle>
          <a:p>
            <a:pPr lvl="0"/>
            <a:r>
              <a:rPr lang="en-US" dirty="0"/>
              <a:t>Date</a:t>
            </a:r>
          </a:p>
        </p:txBody>
      </p:sp>
      <p:sp>
        <p:nvSpPr>
          <p:cNvPr id="39" name="Rectangle 9"/>
          <p:cNvSpPr>
            <a:spLocks noGrp="1" noChangeArrowheads="1"/>
          </p:cNvSpPr>
          <p:nvPr>
            <p:ph type="title" hasCustomPrompt="1"/>
          </p:nvPr>
        </p:nvSpPr>
        <p:spPr bwMode="auto">
          <a:xfrm>
            <a:off x="685252" y="1581072"/>
            <a:ext cx="7820573" cy="5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b" anchorCtr="0" compatLnSpc="1">
            <a:prstTxWarp prst="textNoShape">
              <a:avLst/>
            </a:prstTxWarp>
          </a:bodyPr>
          <a:lstStyle>
            <a:lvl1pPr>
              <a:defRPr sz="3000">
                <a:solidFill>
                  <a:srgbClr val="333F48"/>
                </a:solidFill>
              </a:defRPr>
            </a:lvl1pPr>
          </a:lstStyle>
          <a:p>
            <a:pPr lvl="0"/>
            <a:r>
              <a:rPr lang="en-US" altLang="en-US" dirty="0"/>
              <a:t>Click To Edit Master Title Style</a:t>
            </a:r>
          </a:p>
        </p:txBody>
      </p:sp>
      <p:grpSp>
        <p:nvGrpSpPr>
          <p:cNvPr id="128" name="Group 127">
            <a:extLst>
              <a:ext uri="{FF2B5EF4-FFF2-40B4-BE49-F238E27FC236}">
                <a16:creationId xmlns:a16="http://schemas.microsoft.com/office/drawing/2014/main" id="{D2D227AE-CAFE-4AB3-AB1C-89F3B55E0722}"/>
              </a:ext>
            </a:extLst>
          </p:cNvPr>
          <p:cNvGrpSpPr/>
          <p:nvPr userDrawn="1"/>
        </p:nvGrpSpPr>
        <p:grpSpPr>
          <a:xfrm>
            <a:off x="7358173" y="6361974"/>
            <a:ext cx="1382376" cy="297562"/>
            <a:chOff x="6923088" y="4475163"/>
            <a:chExt cx="1873251" cy="403225"/>
          </a:xfrm>
        </p:grpSpPr>
        <p:sp>
          <p:nvSpPr>
            <p:cNvPr id="129" name="AutoShape 4">
              <a:extLst>
                <a:ext uri="{FF2B5EF4-FFF2-40B4-BE49-F238E27FC236}">
                  <a16:creationId xmlns:a16="http://schemas.microsoft.com/office/drawing/2014/main" id="{5E120DEF-B40A-4CE9-B26D-8060E8DBACDF}"/>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30" name="Freeform 6">
              <a:extLst>
                <a:ext uri="{FF2B5EF4-FFF2-40B4-BE49-F238E27FC236}">
                  <a16:creationId xmlns:a16="http://schemas.microsoft.com/office/drawing/2014/main" id="{CCFDE2C2-B48C-42C3-BC30-68C0ADC9DB16}"/>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31" name="Freeform 7">
              <a:extLst>
                <a:ext uri="{FF2B5EF4-FFF2-40B4-BE49-F238E27FC236}">
                  <a16:creationId xmlns:a16="http://schemas.microsoft.com/office/drawing/2014/main" id="{E148C66A-8C56-404E-B3CA-D463A4690B60}"/>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32" name="Freeform 83">
              <a:extLst>
                <a:ext uri="{FF2B5EF4-FFF2-40B4-BE49-F238E27FC236}">
                  <a16:creationId xmlns:a16="http://schemas.microsoft.com/office/drawing/2014/main" id="{B286DFDF-9604-49BE-8835-296DA52725C2}"/>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33" name="Freeform 84">
              <a:extLst>
                <a:ext uri="{FF2B5EF4-FFF2-40B4-BE49-F238E27FC236}">
                  <a16:creationId xmlns:a16="http://schemas.microsoft.com/office/drawing/2014/main" id="{536F82F0-C9F0-44DB-92D0-AD081D722539}"/>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34" name="Freeform 85">
              <a:extLst>
                <a:ext uri="{FF2B5EF4-FFF2-40B4-BE49-F238E27FC236}">
                  <a16:creationId xmlns:a16="http://schemas.microsoft.com/office/drawing/2014/main" id="{FA2B1132-6E1E-42BE-841F-6DB6DA058216}"/>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35" name="Freeform 86">
              <a:extLst>
                <a:ext uri="{FF2B5EF4-FFF2-40B4-BE49-F238E27FC236}">
                  <a16:creationId xmlns:a16="http://schemas.microsoft.com/office/drawing/2014/main" id="{1605D23B-3245-4081-A709-BC2936596163}"/>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36" name="Freeform 87">
              <a:extLst>
                <a:ext uri="{FF2B5EF4-FFF2-40B4-BE49-F238E27FC236}">
                  <a16:creationId xmlns:a16="http://schemas.microsoft.com/office/drawing/2014/main" id="{DD1011A3-8CCE-477C-88EA-2174C0DC1BE3}"/>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37" name="Freeform 88">
              <a:extLst>
                <a:ext uri="{FF2B5EF4-FFF2-40B4-BE49-F238E27FC236}">
                  <a16:creationId xmlns:a16="http://schemas.microsoft.com/office/drawing/2014/main" id="{F11F5921-88A4-48C1-B4F6-EA6717F32F9C}"/>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38" name="Freeform 89">
              <a:extLst>
                <a:ext uri="{FF2B5EF4-FFF2-40B4-BE49-F238E27FC236}">
                  <a16:creationId xmlns:a16="http://schemas.microsoft.com/office/drawing/2014/main" id="{CA718F0A-66A1-4570-9BE3-D9F9EC9750B7}"/>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39" name="Freeform 90">
              <a:extLst>
                <a:ext uri="{FF2B5EF4-FFF2-40B4-BE49-F238E27FC236}">
                  <a16:creationId xmlns:a16="http://schemas.microsoft.com/office/drawing/2014/main" id="{F6EAF93E-D2E6-4C24-B453-AAEAFC13E3D3}"/>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40" name="Freeform 91">
              <a:extLst>
                <a:ext uri="{FF2B5EF4-FFF2-40B4-BE49-F238E27FC236}">
                  <a16:creationId xmlns:a16="http://schemas.microsoft.com/office/drawing/2014/main" id="{8D652D86-C2B9-4E83-9167-23634BE72EDC}"/>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41" name="Freeform 92">
              <a:extLst>
                <a:ext uri="{FF2B5EF4-FFF2-40B4-BE49-F238E27FC236}">
                  <a16:creationId xmlns:a16="http://schemas.microsoft.com/office/drawing/2014/main" id="{92B43175-B9D1-455D-8FAE-3D2BF6571276}"/>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42" name="Freeform 93">
              <a:extLst>
                <a:ext uri="{FF2B5EF4-FFF2-40B4-BE49-F238E27FC236}">
                  <a16:creationId xmlns:a16="http://schemas.microsoft.com/office/drawing/2014/main" id="{76879D52-1795-452B-AD79-74CF3084E9B6}"/>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43" name="Freeform 94">
              <a:extLst>
                <a:ext uri="{FF2B5EF4-FFF2-40B4-BE49-F238E27FC236}">
                  <a16:creationId xmlns:a16="http://schemas.microsoft.com/office/drawing/2014/main" id="{C74CCD1A-A742-473F-8636-72B0E8B205FB}"/>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44" name="Freeform 95">
              <a:extLst>
                <a:ext uri="{FF2B5EF4-FFF2-40B4-BE49-F238E27FC236}">
                  <a16:creationId xmlns:a16="http://schemas.microsoft.com/office/drawing/2014/main" id="{312AF483-E8B8-41EE-ABBD-CBDC6A4CA5E7}"/>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45" name="Freeform 96">
              <a:extLst>
                <a:ext uri="{FF2B5EF4-FFF2-40B4-BE49-F238E27FC236}">
                  <a16:creationId xmlns:a16="http://schemas.microsoft.com/office/drawing/2014/main" id="{A6466488-2DBE-4B8B-B63D-1B2D019DF36C}"/>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46" name="Freeform 97">
              <a:extLst>
                <a:ext uri="{FF2B5EF4-FFF2-40B4-BE49-F238E27FC236}">
                  <a16:creationId xmlns:a16="http://schemas.microsoft.com/office/drawing/2014/main" id="{BD5F4D07-DCEA-41C3-AE5B-B7271E672936}"/>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47" name="Freeform 98">
              <a:extLst>
                <a:ext uri="{FF2B5EF4-FFF2-40B4-BE49-F238E27FC236}">
                  <a16:creationId xmlns:a16="http://schemas.microsoft.com/office/drawing/2014/main" id="{42EEE7BD-DCD2-49F7-8A7C-C0D0601C37FD}"/>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48" name="Freeform 99">
              <a:extLst>
                <a:ext uri="{FF2B5EF4-FFF2-40B4-BE49-F238E27FC236}">
                  <a16:creationId xmlns:a16="http://schemas.microsoft.com/office/drawing/2014/main" id="{5CFD22A1-E673-4B23-9D36-3B74DE70ECE2}"/>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49" name="Freeform 100">
              <a:extLst>
                <a:ext uri="{FF2B5EF4-FFF2-40B4-BE49-F238E27FC236}">
                  <a16:creationId xmlns:a16="http://schemas.microsoft.com/office/drawing/2014/main" id="{7C20FD0C-F35B-4F21-AF3B-81530E295BEB}"/>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50" name="Freeform 101">
              <a:extLst>
                <a:ext uri="{FF2B5EF4-FFF2-40B4-BE49-F238E27FC236}">
                  <a16:creationId xmlns:a16="http://schemas.microsoft.com/office/drawing/2014/main" id="{C68C6C2F-09B5-4244-BEBB-F85457E11A54}"/>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51" name="Freeform 102">
              <a:extLst>
                <a:ext uri="{FF2B5EF4-FFF2-40B4-BE49-F238E27FC236}">
                  <a16:creationId xmlns:a16="http://schemas.microsoft.com/office/drawing/2014/main" id="{6C7F753E-CE23-4F01-9F10-DCE622C71ABB}"/>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52" name="Freeform 103">
              <a:extLst>
                <a:ext uri="{FF2B5EF4-FFF2-40B4-BE49-F238E27FC236}">
                  <a16:creationId xmlns:a16="http://schemas.microsoft.com/office/drawing/2014/main" id="{12385579-35FD-4613-ABF4-9392759FFF98}"/>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53" name="Freeform 104">
              <a:extLst>
                <a:ext uri="{FF2B5EF4-FFF2-40B4-BE49-F238E27FC236}">
                  <a16:creationId xmlns:a16="http://schemas.microsoft.com/office/drawing/2014/main" id="{2BB633EA-47EC-47FB-AFB9-0C8E97548B32}"/>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54" name="Freeform 105">
              <a:extLst>
                <a:ext uri="{FF2B5EF4-FFF2-40B4-BE49-F238E27FC236}">
                  <a16:creationId xmlns:a16="http://schemas.microsoft.com/office/drawing/2014/main" id="{D9F0450F-CF35-40ED-BB19-255159FDD4F0}"/>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40" name="Text Box 15">
            <a:extLst>
              <a:ext uri="{FF2B5EF4-FFF2-40B4-BE49-F238E27FC236}">
                <a16:creationId xmlns:a16="http://schemas.microsoft.com/office/drawing/2014/main" id="{0A048701-0B3B-4484-8FA4-71B513212D10}"/>
              </a:ext>
            </a:extLst>
          </p:cNvPr>
          <p:cNvSpPr txBox="1">
            <a:spLocks noChangeArrowheads="1"/>
          </p:cNvSpPr>
          <p:nvPr userDrawn="1"/>
        </p:nvSpPr>
        <p:spPr bwMode="ltGray">
          <a:xfrm>
            <a:off x="353273" y="6275679"/>
            <a:ext cx="2868716" cy="184652"/>
          </a:xfrm>
          <a:prstGeom prst="rect">
            <a:avLst/>
          </a:prstGeom>
          <a:noFill/>
          <a:ln w="9525">
            <a:solidFill>
              <a:srgbClr val="000000"/>
            </a:solidFill>
            <a:miter lim="800000"/>
            <a:headEnd/>
            <a:tailEnd/>
          </a:ln>
        </p:spPr>
        <p:txBody>
          <a:bodyPr wrap="none" lIns="45711" tIns="45711" rIns="45711" bIns="27427" anchor="ctr">
            <a:spAutoFit/>
          </a:bodyP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nSpc>
                <a:spcPct val="90000"/>
              </a:lnSpc>
              <a:defRPr/>
            </a:pPr>
            <a:r>
              <a:rPr lang="en-US" sz="800" b="1" kern="0" dirty="0">
                <a:solidFill>
                  <a:srgbClr val="000000"/>
                </a:solidFill>
                <a:latin typeface="Arial"/>
              </a:rPr>
              <a:t>Not FDIC Insured </a:t>
            </a:r>
            <a:r>
              <a:rPr lang="en-US" sz="800" b="1" kern="0" dirty="0">
                <a:solidFill>
                  <a:srgbClr val="000000"/>
                </a:solidFill>
                <a:latin typeface="Arial"/>
                <a:sym typeface="Wingdings" pitchFamily="2" charset="2"/>
              </a:rPr>
              <a:t> May Lose Value  No Bank Guarantee</a:t>
            </a:r>
          </a:p>
        </p:txBody>
      </p:sp>
      <p:sp>
        <p:nvSpPr>
          <p:cNvPr id="41" name="Picture Placeholder 47">
            <a:extLst>
              <a:ext uri="{FF2B5EF4-FFF2-40B4-BE49-F238E27FC236}">
                <a16:creationId xmlns:a16="http://schemas.microsoft.com/office/drawing/2014/main" id="{C468ECCA-D6CD-4381-A8CA-63E89EBEB43A}"/>
              </a:ext>
            </a:extLst>
          </p:cNvPr>
          <p:cNvSpPr>
            <a:spLocks noGrp="1"/>
          </p:cNvSpPr>
          <p:nvPr>
            <p:ph type="pic" sz="quarter" idx="11" hasCustomPrompt="1"/>
          </p:nvPr>
        </p:nvSpPr>
        <p:spPr>
          <a:xfrm>
            <a:off x="804672" y="4105656"/>
            <a:ext cx="2424112" cy="609600"/>
          </a:xfrm>
          <a:noFill/>
        </p:spPr>
        <p:txBody>
          <a:bodyPr anchor="ctr"/>
          <a:lstStyle>
            <a:lvl1pPr>
              <a:defRPr sz="1000" b="0"/>
            </a:lvl1pPr>
          </a:lstStyle>
          <a:p>
            <a:pPr lvl="0"/>
            <a:r>
              <a:rPr lang="en-US" noProof="0" dirty="0"/>
              <a:t>Click icon to add logo</a:t>
            </a:r>
          </a:p>
        </p:txBody>
      </p:sp>
    </p:spTree>
    <p:extLst>
      <p:ext uri="{BB962C8B-B14F-4D97-AF65-F5344CB8AC3E}">
        <p14:creationId xmlns:p14="http://schemas.microsoft.com/office/powerpoint/2010/main" val="4286122211"/>
      </p:ext>
    </p:extLst>
  </p:cSld>
  <p:clrMapOvr>
    <a:masterClrMapping/>
  </p:clrMapOvr>
  <p:extLst>
    <p:ext uri="{DCECCB84-F9BA-43D5-87BE-67443E8EF086}">
      <p15:sldGuideLst xmlns:p15="http://schemas.microsoft.com/office/powerpoint/2012/main">
        <p15:guide id="1" orient="horz" pos="4200">
          <p15:clr>
            <a:srgbClr val="FBAE40"/>
          </p15:clr>
        </p15:guide>
        <p15:guide id="2" pos="504">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GIS Cover">
    <p:spTree>
      <p:nvGrpSpPr>
        <p:cNvPr id="1" name=""/>
        <p:cNvGrpSpPr/>
        <p:nvPr/>
      </p:nvGrpSpPr>
      <p:grpSpPr>
        <a:xfrm>
          <a:off x="0" y="0"/>
          <a:ext cx="0" cy="0"/>
          <a:chOff x="0" y="0"/>
          <a:chExt cx="0" cy="0"/>
        </a:xfrm>
      </p:grpSpPr>
      <p:pic>
        <p:nvPicPr>
          <p:cNvPr id="43" name="Picture 42">
            <a:extLst>
              <a:ext uri="{FF2B5EF4-FFF2-40B4-BE49-F238E27FC236}">
                <a16:creationId xmlns:a16="http://schemas.microsoft.com/office/drawing/2014/main" id="{0D1BD863-8CD3-49D0-A43A-5F0CDC35B02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38" name="Picture 37">
            <a:extLst>
              <a:ext uri="{FF2B5EF4-FFF2-40B4-BE49-F238E27FC236}">
                <a16:creationId xmlns:a16="http://schemas.microsoft.com/office/drawing/2014/main" id="{92EE3B39-64EE-4DDC-A575-0B2059D644D3}"/>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62741"/>
          <a:stretch/>
        </p:blipFill>
        <p:spPr>
          <a:xfrm>
            <a:off x="802002" y="532741"/>
            <a:ext cx="2987046" cy="134009"/>
          </a:xfrm>
          <a:prstGeom prst="rect">
            <a:avLst/>
          </a:prstGeom>
        </p:spPr>
      </p:pic>
      <p:sp>
        <p:nvSpPr>
          <p:cNvPr id="47" name="Rectangle 176"/>
          <p:cNvSpPr>
            <a:spLocks noGrp="1" noChangeArrowheads="1"/>
          </p:cNvSpPr>
          <p:nvPr>
            <p:ph type="ftr" sz="quarter" idx="13"/>
          </p:nvPr>
        </p:nvSpPr>
        <p:spPr>
          <a:xfrm>
            <a:off x="281401" y="6421008"/>
            <a:ext cx="6014623" cy="260350"/>
          </a:xfrm>
        </p:spPr>
        <p:txBody>
          <a:bodyPr anchor="b" anchorCtr="0"/>
          <a:lstStyle>
            <a:lvl1pPr algn="l">
              <a:defRPr sz="800" b="0" smtClean="0">
                <a:solidFill>
                  <a:srgbClr val="000000"/>
                </a:solidFill>
              </a:defRPr>
            </a:lvl1pPr>
          </a:lstStyle>
          <a:p>
            <a:pPr>
              <a:defRPr/>
            </a:pPr>
            <a:r>
              <a:rPr lang="en-US" b="1" dirty="0"/>
              <a:t>Page footer.  </a:t>
            </a:r>
          </a:p>
        </p:txBody>
      </p:sp>
      <p:sp>
        <p:nvSpPr>
          <p:cNvPr id="53" name="Content Placeholder 52"/>
          <p:cNvSpPr>
            <a:spLocks noGrp="1"/>
          </p:cNvSpPr>
          <p:nvPr>
            <p:ph sz="quarter" idx="12"/>
          </p:nvPr>
        </p:nvSpPr>
        <p:spPr>
          <a:xfrm>
            <a:off x="6280150" y="3842381"/>
            <a:ext cx="2487613" cy="165226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a:t>Click to edit Master text styles</a:t>
            </a:r>
          </a:p>
          <a:p>
            <a:pPr lvl="1"/>
            <a:r>
              <a:rPr lang="en-US"/>
              <a:t>Second level</a:t>
            </a:r>
          </a:p>
        </p:txBody>
      </p:sp>
      <p:grpSp>
        <p:nvGrpSpPr>
          <p:cNvPr id="128" name="Group 127">
            <a:extLst>
              <a:ext uri="{FF2B5EF4-FFF2-40B4-BE49-F238E27FC236}">
                <a16:creationId xmlns:a16="http://schemas.microsoft.com/office/drawing/2014/main" id="{D2D227AE-CAFE-4AB3-AB1C-89F3B55E0722}"/>
              </a:ext>
            </a:extLst>
          </p:cNvPr>
          <p:cNvGrpSpPr/>
          <p:nvPr userDrawn="1"/>
        </p:nvGrpSpPr>
        <p:grpSpPr>
          <a:xfrm>
            <a:off x="7358173" y="6361974"/>
            <a:ext cx="1382376" cy="297562"/>
            <a:chOff x="6923088" y="4475163"/>
            <a:chExt cx="1873251" cy="403225"/>
          </a:xfrm>
        </p:grpSpPr>
        <p:sp>
          <p:nvSpPr>
            <p:cNvPr id="129" name="AutoShape 4">
              <a:extLst>
                <a:ext uri="{FF2B5EF4-FFF2-40B4-BE49-F238E27FC236}">
                  <a16:creationId xmlns:a16="http://schemas.microsoft.com/office/drawing/2014/main" id="{5E120DEF-B40A-4CE9-B26D-8060E8DBACDF}"/>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30" name="Freeform 6">
              <a:extLst>
                <a:ext uri="{FF2B5EF4-FFF2-40B4-BE49-F238E27FC236}">
                  <a16:creationId xmlns:a16="http://schemas.microsoft.com/office/drawing/2014/main" id="{CCFDE2C2-B48C-42C3-BC30-68C0ADC9DB16}"/>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31" name="Freeform 7">
              <a:extLst>
                <a:ext uri="{FF2B5EF4-FFF2-40B4-BE49-F238E27FC236}">
                  <a16:creationId xmlns:a16="http://schemas.microsoft.com/office/drawing/2014/main" id="{E148C66A-8C56-404E-B3CA-D463A4690B60}"/>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32" name="Freeform 83">
              <a:extLst>
                <a:ext uri="{FF2B5EF4-FFF2-40B4-BE49-F238E27FC236}">
                  <a16:creationId xmlns:a16="http://schemas.microsoft.com/office/drawing/2014/main" id="{B286DFDF-9604-49BE-8835-296DA52725C2}"/>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33" name="Freeform 84">
              <a:extLst>
                <a:ext uri="{FF2B5EF4-FFF2-40B4-BE49-F238E27FC236}">
                  <a16:creationId xmlns:a16="http://schemas.microsoft.com/office/drawing/2014/main" id="{536F82F0-C9F0-44DB-92D0-AD081D722539}"/>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34" name="Freeform 85">
              <a:extLst>
                <a:ext uri="{FF2B5EF4-FFF2-40B4-BE49-F238E27FC236}">
                  <a16:creationId xmlns:a16="http://schemas.microsoft.com/office/drawing/2014/main" id="{FA2B1132-6E1E-42BE-841F-6DB6DA058216}"/>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35" name="Freeform 86">
              <a:extLst>
                <a:ext uri="{FF2B5EF4-FFF2-40B4-BE49-F238E27FC236}">
                  <a16:creationId xmlns:a16="http://schemas.microsoft.com/office/drawing/2014/main" id="{1605D23B-3245-4081-A709-BC2936596163}"/>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36" name="Freeform 87">
              <a:extLst>
                <a:ext uri="{FF2B5EF4-FFF2-40B4-BE49-F238E27FC236}">
                  <a16:creationId xmlns:a16="http://schemas.microsoft.com/office/drawing/2014/main" id="{DD1011A3-8CCE-477C-88EA-2174C0DC1BE3}"/>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37" name="Freeform 88">
              <a:extLst>
                <a:ext uri="{FF2B5EF4-FFF2-40B4-BE49-F238E27FC236}">
                  <a16:creationId xmlns:a16="http://schemas.microsoft.com/office/drawing/2014/main" id="{F11F5921-88A4-48C1-B4F6-EA6717F32F9C}"/>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38" name="Freeform 89">
              <a:extLst>
                <a:ext uri="{FF2B5EF4-FFF2-40B4-BE49-F238E27FC236}">
                  <a16:creationId xmlns:a16="http://schemas.microsoft.com/office/drawing/2014/main" id="{CA718F0A-66A1-4570-9BE3-D9F9EC9750B7}"/>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39" name="Freeform 90">
              <a:extLst>
                <a:ext uri="{FF2B5EF4-FFF2-40B4-BE49-F238E27FC236}">
                  <a16:creationId xmlns:a16="http://schemas.microsoft.com/office/drawing/2014/main" id="{F6EAF93E-D2E6-4C24-B453-AAEAFC13E3D3}"/>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40" name="Freeform 91">
              <a:extLst>
                <a:ext uri="{FF2B5EF4-FFF2-40B4-BE49-F238E27FC236}">
                  <a16:creationId xmlns:a16="http://schemas.microsoft.com/office/drawing/2014/main" id="{8D652D86-C2B9-4E83-9167-23634BE72EDC}"/>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41" name="Freeform 92">
              <a:extLst>
                <a:ext uri="{FF2B5EF4-FFF2-40B4-BE49-F238E27FC236}">
                  <a16:creationId xmlns:a16="http://schemas.microsoft.com/office/drawing/2014/main" id="{92B43175-B9D1-455D-8FAE-3D2BF6571276}"/>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42" name="Freeform 93">
              <a:extLst>
                <a:ext uri="{FF2B5EF4-FFF2-40B4-BE49-F238E27FC236}">
                  <a16:creationId xmlns:a16="http://schemas.microsoft.com/office/drawing/2014/main" id="{76879D52-1795-452B-AD79-74CF3084E9B6}"/>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43" name="Freeform 94">
              <a:extLst>
                <a:ext uri="{FF2B5EF4-FFF2-40B4-BE49-F238E27FC236}">
                  <a16:creationId xmlns:a16="http://schemas.microsoft.com/office/drawing/2014/main" id="{C74CCD1A-A742-473F-8636-72B0E8B205FB}"/>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44" name="Freeform 95">
              <a:extLst>
                <a:ext uri="{FF2B5EF4-FFF2-40B4-BE49-F238E27FC236}">
                  <a16:creationId xmlns:a16="http://schemas.microsoft.com/office/drawing/2014/main" id="{312AF483-E8B8-41EE-ABBD-CBDC6A4CA5E7}"/>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45" name="Freeform 96">
              <a:extLst>
                <a:ext uri="{FF2B5EF4-FFF2-40B4-BE49-F238E27FC236}">
                  <a16:creationId xmlns:a16="http://schemas.microsoft.com/office/drawing/2014/main" id="{A6466488-2DBE-4B8B-B63D-1B2D019DF36C}"/>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46" name="Freeform 97">
              <a:extLst>
                <a:ext uri="{FF2B5EF4-FFF2-40B4-BE49-F238E27FC236}">
                  <a16:creationId xmlns:a16="http://schemas.microsoft.com/office/drawing/2014/main" id="{BD5F4D07-DCEA-41C3-AE5B-B7271E672936}"/>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47" name="Freeform 98">
              <a:extLst>
                <a:ext uri="{FF2B5EF4-FFF2-40B4-BE49-F238E27FC236}">
                  <a16:creationId xmlns:a16="http://schemas.microsoft.com/office/drawing/2014/main" id="{42EEE7BD-DCD2-49F7-8A7C-C0D0601C37FD}"/>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48" name="Freeform 99">
              <a:extLst>
                <a:ext uri="{FF2B5EF4-FFF2-40B4-BE49-F238E27FC236}">
                  <a16:creationId xmlns:a16="http://schemas.microsoft.com/office/drawing/2014/main" id="{5CFD22A1-E673-4B23-9D36-3B74DE70ECE2}"/>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49" name="Freeform 100">
              <a:extLst>
                <a:ext uri="{FF2B5EF4-FFF2-40B4-BE49-F238E27FC236}">
                  <a16:creationId xmlns:a16="http://schemas.microsoft.com/office/drawing/2014/main" id="{7C20FD0C-F35B-4F21-AF3B-81530E295BEB}"/>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50" name="Freeform 101">
              <a:extLst>
                <a:ext uri="{FF2B5EF4-FFF2-40B4-BE49-F238E27FC236}">
                  <a16:creationId xmlns:a16="http://schemas.microsoft.com/office/drawing/2014/main" id="{C68C6C2F-09B5-4244-BEBB-F85457E11A54}"/>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51" name="Freeform 102">
              <a:extLst>
                <a:ext uri="{FF2B5EF4-FFF2-40B4-BE49-F238E27FC236}">
                  <a16:creationId xmlns:a16="http://schemas.microsoft.com/office/drawing/2014/main" id="{6C7F753E-CE23-4F01-9F10-DCE622C71ABB}"/>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52" name="Freeform 103">
              <a:extLst>
                <a:ext uri="{FF2B5EF4-FFF2-40B4-BE49-F238E27FC236}">
                  <a16:creationId xmlns:a16="http://schemas.microsoft.com/office/drawing/2014/main" id="{12385579-35FD-4613-ABF4-9392759FFF98}"/>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53" name="Freeform 104">
              <a:extLst>
                <a:ext uri="{FF2B5EF4-FFF2-40B4-BE49-F238E27FC236}">
                  <a16:creationId xmlns:a16="http://schemas.microsoft.com/office/drawing/2014/main" id="{2BB633EA-47EC-47FB-AFB9-0C8E97548B32}"/>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54" name="Freeform 105">
              <a:extLst>
                <a:ext uri="{FF2B5EF4-FFF2-40B4-BE49-F238E27FC236}">
                  <a16:creationId xmlns:a16="http://schemas.microsoft.com/office/drawing/2014/main" id="{D9F0450F-CF35-40ED-BB19-255159FDD4F0}"/>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48" name="Text Placeholder 43">
            <a:extLst>
              <a:ext uri="{FF2B5EF4-FFF2-40B4-BE49-F238E27FC236}">
                <a16:creationId xmlns:a16="http://schemas.microsoft.com/office/drawing/2014/main" id="{05F790A2-A05C-4359-BF8D-44DB6E962950}"/>
              </a:ext>
            </a:extLst>
          </p:cNvPr>
          <p:cNvSpPr>
            <a:spLocks noGrp="1"/>
          </p:cNvSpPr>
          <p:nvPr>
            <p:ph type="body" sz="quarter" idx="10" hasCustomPrompt="1"/>
          </p:nvPr>
        </p:nvSpPr>
        <p:spPr>
          <a:xfrm>
            <a:off x="715495" y="3833787"/>
            <a:ext cx="2455544" cy="332365"/>
          </a:xfrm>
        </p:spPr>
        <p:txBody>
          <a:bodyPr/>
          <a:lstStyle>
            <a:lvl1pPr>
              <a:defRPr lang="en-US" sz="1000" b="1" kern="1200" smtClean="0">
                <a:solidFill>
                  <a:srgbClr val="000000"/>
                </a:solidFill>
                <a:latin typeface="Arial"/>
                <a:ea typeface="ＭＳ Ｐゴシック"/>
                <a:cs typeface="ＭＳ Ｐゴシック"/>
              </a:defRPr>
            </a:lvl1pPr>
          </a:lstStyle>
          <a:p>
            <a:pPr marL="0" indent="0"/>
            <a:r>
              <a:rPr lang="en-US" sz="1200" dirty="0"/>
              <a:t>Global Institutional Solutions</a:t>
            </a:r>
            <a:br>
              <a:rPr lang="en-US" sz="1200" dirty="0"/>
            </a:br>
            <a:endParaRPr lang="en-US" sz="1200" dirty="0"/>
          </a:p>
        </p:txBody>
      </p:sp>
      <p:sp>
        <p:nvSpPr>
          <p:cNvPr id="49" name="Rectangle 6">
            <a:extLst>
              <a:ext uri="{FF2B5EF4-FFF2-40B4-BE49-F238E27FC236}">
                <a16:creationId xmlns:a16="http://schemas.microsoft.com/office/drawing/2014/main" id="{6726F523-A941-4D12-A72D-5434A48C82B7}"/>
              </a:ext>
            </a:extLst>
          </p:cNvPr>
          <p:cNvSpPr>
            <a:spLocks noGrp="1" noChangeArrowheads="1"/>
          </p:cNvSpPr>
          <p:nvPr>
            <p:ph type="subTitle" idx="1"/>
          </p:nvPr>
        </p:nvSpPr>
        <p:spPr>
          <a:xfrm>
            <a:off x="685251" y="2091765"/>
            <a:ext cx="7805762" cy="563076"/>
          </a:xfrm>
        </p:spPr>
        <p:txBody>
          <a:bodyPr lIns="100584" rIns="100584"/>
          <a:lstStyle>
            <a:lvl1pPr marL="0" indent="0">
              <a:spcBef>
                <a:spcPts val="0"/>
              </a:spcBef>
              <a:defRPr sz="2600" b="0">
                <a:solidFill>
                  <a:srgbClr val="7A9B3D"/>
                </a:solidFill>
              </a:defRPr>
            </a:lvl1pPr>
          </a:lstStyle>
          <a:p>
            <a:r>
              <a:rPr lang="en-US"/>
              <a:t>Click to edit Master subtitle style</a:t>
            </a:r>
            <a:endParaRPr lang="en-US" dirty="0"/>
          </a:p>
        </p:txBody>
      </p:sp>
      <p:sp>
        <p:nvSpPr>
          <p:cNvPr id="50" name="Text Placeholder 43">
            <a:extLst>
              <a:ext uri="{FF2B5EF4-FFF2-40B4-BE49-F238E27FC236}">
                <a16:creationId xmlns:a16="http://schemas.microsoft.com/office/drawing/2014/main" id="{B313B328-7802-487D-8859-99EFDE1A2DEF}"/>
              </a:ext>
            </a:extLst>
          </p:cNvPr>
          <p:cNvSpPr>
            <a:spLocks noGrp="1"/>
          </p:cNvSpPr>
          <p:nvPr>
            <p:ph type="body" sz="quarter" idx="14" hasCustomPrompt="1"/>
          </p:nvPr>
        </p:nvSpPr>
        <p:spPr>
          <a:xfrm>
            <a:off x="685251" y="2581276"/>
            <a:ext cx="7805762" cy="266850"/>
          </a:xfrm>
        </p:spPr>
        <p:txBody>
          <a:bodyPr lIns="100584" rIns="100584"/>
          <a:lstStyle>
            <a:lvl1pPr>
              <a:spcBef>
                <a:spcPts val="0"/>
              </a:spcBef>
              <a:defRPr lang="en-US" sz="1200" b="0" kern="1200" dirty="0" smtClean="0">
                <a:solidFill>
                  <a:srgbClr val="333F48"/>
                </a:solidFill>
                <a:latin typeface="Arial"/>
                <a:ea typeface="ＭＳ Ｐゴシック" pitchFamily="34" charset="-128"/>
                <a:cs typeface="+mn-cs"/>
              </a:defRPr>
            </a:lvl1pPr>
          </a:lstStyle>
          <a:p>
            <a:pPr lvl="0"/>
            <a:r>
              <a:rPr lang="en-US" dirty="0"/>
              <a:t>Date</a:t>
            </a:r>
          </a:p>
        </p:txBody>
      </p:sp>
      <p:sp>
        <p:nvSpPr>
          <p:cNvPr id="51" name="Rectangle 50">
            <a:extLst>
              <a:ext uri="{FF2B5EF4-FFF2-40B4-BE49-F238E27FC236}">
                <a16:creationId xmlns:a16="http://schemas.microsoft.com/office/drawing/2014/main" id="{69C0C95F-7139-44A8-BB4A-2C3AFC1DC2CD}"/>
              </a:ext>
            </a:extLst>
          </p:cNvPr>
          <p:cNvSpPr/>
          <p:nvPr userDrawn="1"/>
        </p:nvSpPr>
        <p:spPr>
          <a:xfrm>
            <a:off x="700490" y="1901645"/>
            <a:ext cx="1356462" cy="276999"/>
          </a:xfrm>
          <a:prstGeom prst="rect">
            <a:avLst/>
          </a:prstGeom>
        </p:spPr>
        <p:txBody>
          <a:bodyPr wrap="none">
            <a:spAutoFit/>
          </a:bodyPr>
          <a:lstStyle/>
          <a:p>
            <a:pPr fontAlgn="base">
              <a:spcBef>
                <a:spcPct val="0"/>
              </a:spcBef>
              <a:spcAft>
                <a:spcPct val="0"/>
              </a:spcAft>
            </a:pPr>
            <a:r>
              <a:rPr lang="en-US" sz="1200" b="1" dirty="0">
                <a:solidFill>
                  <a:srgbClr val="333F48"/>
                </a:solidFill>
                <a:ea typeface="ＭＳ Ｐゴシック"/>
              </a:rPr>
              <a:t>Presentation to:</a:t>
            </a:r>
            <a:endParaRPr lang="en-US" sz="1200" dirty="0">
              <a:solidFill>
                <a:srgbClr val="000000"/>
              </a:solidFill>
              <a:ea typeface="ＭＳ Ｐゴシック"/>
            </a:endParaRPr>
          </a:p>
        </p:txBody>
      </p:sp>
    </p:spTree>
    <p:extLst>
      <p:ext uri="{BB962C8B-B14F-4D97-AF65-F5344CB8AC3E}">
        <p14:creationId xmlns:p14="http://schemas.microsoft.com/office/powerpoint/2010/main" val="1741454809"/>
      </p:ext>
    </p:extLst>
  </p:cSld>
  <p:clrMapOvr>
    <a:masterClrMapping/>
  </p:clrMapOvr>
  <p:extLst>
    <p:ext uri="{DCECCB84-F9BA-43D5-87BE-67443E8EF086}">
      <p15:sldGuideLst xmlns:p15="http://schemas.microsoft.com/office/powerpoint/2012/main">
        <p15:guide id="1" orient="horz" pos="4200">
          <p15:clr>
            <a:srgbClr val="FBAE40"/>
          </p15:clr>
        </p15:guide>
        <p15:guide id="2" pos="504">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FIAM_Internal_Print_Cover_Presenters-Left">
    <p:spTree>
      <p:nvGrpSpPr>
        <p:cNvPr id="1" name=""/>
        <p:cNvGrpSpPr/>
        <p:nvPr/>
      </p:nvGrpSpPr>
      <p:grpSpPr>
        <a:xfrm>
          <a:off x="0" y="0"/>
          <a:ext cx="0" cy="0"/>
          <a:chOff x="0" y="0"/>
          <a:chExt cx="0" cy="0"/>
        </a:xfrm>
      </p:grpSpPr>
      <p:pic>
        <p:nvPicPr>
          <p:cNvPr id="48" name="Picture 47">
            <a:extLst>
              <a:ext uri="{FF2B5EF4-FFF2-40B4-BE49-F238E27FC236}">
                <a16:creationId xmlns:a16="http://schemas.microsoft.com/office/drawing/2014/main" id="{2E9F67E0-69E9-49A7-9178-F37F20AB25C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pSp>
        <p:nvGrpSpPr>
          <p:cNvPr id="56" name="Group 55">
            <a:extLst>
              <a:ext uri="{FF2B5EF4-FFF2-40B4-BE49-F238E27FC236}">
                <a16:creationId xmlns:a16="http://schemas.microsoft.com/office/drawing/2014/main" id="{37D2BAC2-4174-47A3-A306-325A697F4BF5}"/>
              </a:ext>
            </a:extLst>
          </p:cNvPr>
          <p:cNvGrpSpPr/>
          <p:nvPr userDrawn="1"/>
        </p:nvGrpSpPr>
        <p:grpSpPr>
          <a:xfrm>
            <a:off x="7358173" y="6361974"/>
            <a:ext cx="1382376" cy="297562"/>
            <a:chOff x="6923088" y="4475163"/>
            <a:chExt cx="1873251" cy="403225"/>
          </a:xfrm>
        </p:grpSpPr>
        <p:sp>
          <p:nvSpPr>
            <p:cNvPr id="57" name="AutoShape 4">
              <a:extLst>
                <a:ext uri="{FF2B5EF4-FFF2-40B4-BE49-F238E27FC236}">
                  <a16:creationId xmlns:a16="http://schemas.microsoft.com/office/drawing/2014/main" id="{8B8236BF-A1F4-4AF9-AF18-B1725EEDF1C8}"/>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8" name="Freeform 6">
              <a:extLst>
                <a:ext uri="{FF2B5EF4-FFF2-40B4-BE49-F238E27FC236}">
                  <a16:creationId xmlns:a16="http://schemas.microsoft.com/office/drawing/2014/main" id="{750D2FF4-4FB3-4AB3-A41E-E8F7B6FF1D93}"/>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9" name="Freeform 7">
              <a:extLst>
                <a:ext uri="{FF2B5EF4-FFF2-40B4-BE49-F238E27FC236}">
                  <a16:creationId xmlns:a16="http://schemas.microsoft.com/office/drawing/2014/main" id="{339F89E1-6D2A-4D59-9D15-DDA82073D3F2}"/>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0" name="Freeform 83">
              <a:extLst>
                <a:ext uri="{FF2B5EF4-FFF2-40B4-BE49-F238E27FC236}">
                  <a16:creationId xmlns:a16="http://schemas.microsoft.com/office/drawing/2014/main" id="{C511B55F-F6BE-4366-A189-8653E79F4D87}"/>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1" name="Freeform 84">
              <a:extLst>
                <a:ext uri="{FF2B5EF4-FFF2-40B4-BE49-F238E27FC236}">
                  <a16:creationId xmlns:a16="http://schemas.microsoft.com/office/drawing/2014/main" id="{22F2FBBD-701B-46B3-83EF-8B19041B6FBE}"/>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2" name="Freeform 85">
              <a:extLst>
                <a:ext uri="{FF2B5EF4-FFF2-40B4-BE49-F238E27FC236}">
                  <a16:creationId xmlns:a16="http://schemas.microsoft.com/office/drawing/2014/main" id="{1C9FA1AB-8487-4725-A349-64581318AE58}"/>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3" name="Freeform 86">
              <a:extLst>
                <a:ext uri="{FF2B5EF4-FFF2-40B4-BE49-F238E27FC236}">
                  <a16:creationId xmlns:a16="http://schemas.microsoft.com/office/drawing/2014/main" id="{DDEE2F38-BDFA-4F6B-B054-31F282493519}"/>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4" name="Freeform 87">
              <a:extLst>
                <a:ext uri="{FF2B5EF4-FFF2-40B4-BE49-F238E27FC236}">
                  <a16:creationId xmlns:a16="http://schemas.microsoft.com/office/drawing/2014/main" id="{FF2EE765-ADCA-4144-9632-87914858CDA9}"/>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5" name="Freeform 88">
              <a:extLst>
                <a:ext uri="{FF2B5EF4-FFF2-40B4-BE49-F238E27FC236}">
                  <a16:creationId xmlns:a16="http://schemas.microsoft.com/office/drawing/2014/main" id="{AE8A08AC-A834-4F8E-BFA2-4C3D9F65AA10}"/>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6" name="Freeform 89">
              <a:extLst>
                <a:ext uri="{FF2B5EF4-FFF2-40B4-BE49-F238E27FC236}">
                  <a16:creationId xmlns:a16="http://schemas.microsoft.com/office/drawing/2014/main" id="{D248C4F7-CE2E-4578-A6E8-EF557C69ABF7}"/>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7" name="Freeform 90">
              <a:extLst>
                <a:ext uri="{FF2B5EF4-FFF2-40B4-BE49-F238E27FC236}">
                  <a16:creationId xmlns:a16="http://schemas.microsoft.com/office/drawing/2014/main" id="{E67C1FF2-C9E1-4CBC-8BE3-D014A754AADD}"/>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8" name="Freeform 91">
              <a:extLst>
                <a:ext uri="{FF2B5EF4-FFF2-40B4-BE49-F238E27FC236}">
                  <a16:creationId xmlns:a16="http://schemas.microsoft.com/office/drawing/2014/main" id="{B77330CD-CDAF-4CF3-AAF0-65FD6D02A9EE}"/>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9" name="Freeform 92">
              <a:extLst>
                <a:ext uri="{FF2B5EF4-FFF2-40B4-BE49-F238E27FC236}">
                  <a16:creationId xmlns:a16="http://schemas.microsoft.com/office/drawing/2014/main" id="{85F23BA4-F5B5-4F7F-A050-CE2D4025A9A9}"/>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70" name="Freeform 93">
              <a:extLst>
                <a:ext uri="{FF2B5EF4-FFF2-40B4-BE49-F238E27FC236}">
                  <a16:creationId xmlns:a16="http://schemas.microsoft.com/office/drawing/2014/main" id="{9D41893C-D348-40DE-AE84-781201483138}"/>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71" name="Freeform 94">
              <a:extLst>
                <a:ext uri="{FF2B5EF4-FFF2-40B4-BE49-F238E27FC236}">
                  <a16:creationId xmlns:a16="http://schemas.microsoft.com/office/drawing/2014/main" id="{673A8E7B-EBAD-42F6-BBFB-1973AEFF0B8B}"/>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72" name="Freeform 95">
              <a:extLst>
                <a:ext uri="{FF2B5EF4-FFF2-40B4-BE49-F238E27FC236}">
                  <a16:creationId xmlns:a16="http://schemas.microsoft.com/office/drawing/2014/main" id="{0C1A8A7E-F3D7-42C1-9012-D3E027942538}"/>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73" name="Freeform 96">
              <a:extLst>
                <a:ext uri="{FF2B5EF4-FFF2-40B4-BE49-F238E27FC236}">
                  <a16:creationId xmlns:a16="http://schemas.microsoft.com/office/drawing/2014/main" id="{C113B37C-5692-4452-A175-B8689A633FA8}"/>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74" name="Freeform 97">
              <a:extLst>
                <a:ext uri="{FF2B5EF4-FFF2-40B4-BE49-F238E27FC236}">
                  <a16:creationId xmlns:a16="http://schemas.microsoft.com/office/drawing/2014/main" id="{BD37DD38-8B53-4B9C-B71B-8DCCFC03F476}"/>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75" name="Freeform 98">
              <a:extLst>
                <a:ext uri="{FF2B5EF4-FFF2-40B4-BE49-F238E27FC236}">
                  <a16:creationId xmlns:a16="http://schemas.microsoft.com/office/drawing/2014/main" id="{9B806109-D094-439B-97DB-E46F96FA6F54}"/>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76" name="Freeform 99">
              <a:extLst>
                <a:ext uri="{FF2B5EF4-FFF2-40B4-BE49-F238E27FC236}">
                  <a16:creationId xmlns:a16="http://schemas.microsoft.com/office/drawing/2014/main" id="{2491E5E4-E154-41B2-B1ED-85C42453C70C}"/>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77" name="Freeform 100">
              <a:extLst>
                <a:ext uri="{FF2B5EF4-FFF2-40B4-BE49-F238E27FC236}">
                  <a16:creationId xmlns:a16="http://schemas.microsoft.com/office/drawing/2014/main" id="{765C1F64-02AD-4525-9057-89EB9ED335B3}"/>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78" name="Freeform 101">
              <a:extLst>
                <a:ext uri="{FF2B5EF4-FFF2-40B4-BE49-F238E27FC236}">
                  <a16:creationId xmlns:a16="http://schemas.microsoft.com/office/drawing/2014/main" id="{76E0FCE8-B1BC-4233-9199-D9673FFC3841}"/>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79" name="Freeform 102">
              <a:extLst>
                <a:ext uri="{FF2B5EF4-FFF2-40B4-BE49-F238E27FC236}">
                  <a16:creationId xmlns:a16="http://schemas.microsoft.com/office/drawing/2014/main" id="{CA807538-407E-462D-9681-CA1A524E5702}"/>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0" name="Freeform 103">
              <a:extLst>
                <a:ext uri="{FF2B5EF4-FFF2-40B4-BE49-F238E27FC236}">
                  <a16:creationId xmlns:a16="http://schemas.microsoft.com/office/drawing/2014/main" id="{7FAF642D-5B9B-4AB7-A44A-A52E96B83A55}"/>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2" name="Freeform 104">
              <a:extLst>
                <a:ext uri="{FF2B5EF4-FFF2-40B4-BE49-F238E27FC236}">
                  <a16:creationId xmlns:a16="http://schemas.microsoft.com/office/drawing/2014/main" id="{C07E4C1C-7FC4-4366-A26F-A5D4C78C3275}"/>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3" name="Freeform 105">
              <a:extLst>
                <a:ext uri="{FF2B5EF4-FFF2-40B4-BE49-F238E27FC236}">
                  <a16:creationId xmlns:a16="http://schemas.microsoft.com/office/drawing/2014/main" id="{0C982428-9F7B-45D4-B837-95EC646E7C60}"/>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43" name="Rectangle 6"/>
          <p:cNvSpPr>
            <a:spLocks noGrp="1" noChangeArrowheads="1"/>
          </p:cNvSpPr>
          <p:nvPr>
            <p:ph type="subTitle" idx="1"/>
          </p:nvPr>
        </p:nvSpPr>
        <p:spPr>
          <a:xfrm>
            <a:off x="685251" y="2091765"/>
            <a:ext cx="7805762" cy="563076"/>
          </a:xfrm>
        </p:spPr>
        <p:txBody>
          <a:bodyPr lIns="100584" rIns="100584"/>
          <a:lstStyle>
            <a:lvl1pPr marL="0" indent="0">
              <a:spcBef>
                <a:spcPts val="0"/>
              </a:spcBef>
              <a:defRPr sz="2000" b="0">
                <a:solidFill>
                  <a:srgbClr val="7A9B3D"/>
                </a:solidFill>
              </a:defRPr>
            </a:lvl1pPr>
          </a:lstStyle>
          <a:p>
            <a:r>
              <a:rPr lang="en-US"/>
              <a:t>Click to edit Master subtitle style</a:t>
            </a:r>
            <a:endParaRPr lang="en-US" dirty="0"/>
          </a:p>
        </p:txBody>
      </p:sp>
      <p:sp>
        <p:nvSpPr>
          <p:cNvPr id="42" name="Text Placeholder 43"/>
          <p:cNvSpPr>
            <a:spLocks noGrp="1"/>
          </p:cNvSpPr>
          <p:nvPr>
            <p:ph type="body" sz="quarter" idx="14" hasCustomPrompt="1"/>
          </p:nvPr>
        </p:nvSpPr>
        <p:spPr>
          <a:xfrm>
            <a:off x="685251" y="2581276"/>
            <a:ext cx="7805762" cy="266850"/>
          </a:xfrm>
        </p:spPr>
        <p:txBody>
          <a:bodyPr lIns="100584" rIns="100584"/>
          <a:lstStyle>
            <a:lvl1pPr>
              <a:spcBef>
                <a:spcPts val="0"/>
              </a:spcBef>
              <a:defRPr lang="en-US" sz="1200" b="0" kern="1200" dirty="0" smtClean="0">
                <a:solidFill>
                  <a:srgbClr val="333F48"/>
                </a:solidFill>
                <a:latin typeface="Arial"/>
                <a:ea typeface="ＭＳ Ｐゴシック" pitchFamily="34" charset="-128"/>
                <a:cs typeface="+mn-cs"/>
              </a:defRPr>
            </a:lvl1pPr>
          </a:lstStyle>
          <a:p>
            <a:pPr lvl="0"/>
            <a:r>
              <a:rPr lang="en-US" dirty="0"/>
              <a:t>Date</a:t>
            </a:r>
          </a:p>
        </p:txBody>
      </p:sp>
      <p:sp>
        <p:nvSpPr>
          <p:cNvPr id="81" name="Content Placeholder 52"/>
          <p:cNvSpPr txBox="1">
            <a:spLocks/>
          </p:cNvSpPr>
          <p:nvPr userDrawn="1"/>
        </p:nvSpPr>
        <p:spPr>
          <a:xfrm>
            <a:off x="704301" y="3842381"/>
            <a:ext cx="2487613" cy="1652265"/>
          </a:xfrm>
          <a:prstGeom prst="rect">
            <a:avLst/>
          </a:prstGeom>
        </p:spPr>
        <p:txBody>
          <a:bodyPr lIns="100584" rIns="100584"/>
          <a:lstStyle>
            <a:lvl1pPr marL="0" indent="0" algn="l" rtl="0" eaLnBrk="0" fontAlgn="base" hangingPunct="0">
              <a:spcBef>
                <a:spcPts val="1200"/>
              </a:spcBef>
              <a:spcAft>
                <a:spcPct val="0"/>
              </a:spcAft>
              <a:buClr>
                <a:schemeClr val="bg1"/>
              </a:buClr>
              <a:buNone/>
              <a:tabLst>
                <a:tab pos="120626" algn="l"/>
                <a:tab pos="299978" algn="l"/>
                <a:tab pos="1034844" algn="l"/>
              </a:tabLst>
              <a:defRPr lang="en-US" sz="1000" b="1" kern="1200" dirty="0" smtClean="0">
                <a:solidFill>
                  <a:schemeClr val="tx1"/>
                </a:solidFill>
                <a:latin typeface="Arial" charset="0"/>
                <a:ea typeface="ＭＳ Ｐゴシック" charset="-128"/>
                <a:cs typeface="+mn-cs"/>
              </a:defRPr>
            </a:lvl1pPr>
            <a:lvl2pPr marL="0" indent="0" algn="l" rtl="0" eaLnBrk="0" fontAlgn="base" hangingPunct="0">
              <a:spcBef>
                <a:spcPct val="20000"/>
              </a:spcBef>
              <a:spcAft>
                <a:spcPct val="0"/>
              </a:spcAft>
              <a:buClr>
                <a:schemeClr val="bg1"/>
              </a:buClr>
              <a:buFontTx/>
              <a:buNone/>
              <a:tabLst>
                <a:tab pos="120626" algn="l"/>
                <a:tab pos="299978" algn="l"/>
                <a:tab pos="1034844" algn="l"/>
              </a:tabLst>
              <a:defRPr lang="en-US" sz="1000" b="1" i="1" kern="1200" dirty="0" smtClean="0">
                <a:solidFill>
                  <a:schemeClr val="tx1"/>
                </a:solidFill>
                <a:latin typeface="Arial" charset="0"/>
                <a:ea typeface="ＭＳ Ｐゴシック" charset="-128"/>
                <a:cs typeface="+mn-cs"/>
              </a:defRPr>
            </a:lvl2pPr>
            <a:lvl3pPr marL="326960" indent="0" algn="l" rtl="0" eaLnBrk="0" fontAlgn="base" hangingPunct="0">
              <a:spcBef>
                <a:spcPct val="20000"/>
              </a:spcBef>
              <a:spcAft>
                <a:spcPct val="0"/>
              </a:spcAft>
              <a:buClr>
                <a:schemeClr val="bg1"/>
              </a:buClr>
              <a:buNone/>
              <a:tabLst>
                <a:tab pos="120626" algn="l"/>
                <a:tab pos="299978" algn="l"/>
                <a:tab pos="1034844" algn="l"/>
              </a:tabLst>
              <a:defRPr sz="1200" b="1">
                <a:solidFill>
                  <a:schemeClr val="accent2"/>
                </a:solidFill>
                <a:latin typeface="+mn-lt"/>
              </a:defRPr>
            </a:lvl3pPr>
            <a:lvl4pPr marL="914218" indent="-114277" algn="l" rtl="0" eaLnBrk="0" fontAlgn="base" hangingPunct="0">
              <a:spcBef>
                <a:spcPct val="20000"/>
              </a:spcBef>
              <a:spcAft>
                <a:spcPct val="0"/>
              </a:spcAft>
              <a:buClr>
                <a:schemeClr val="accent1"/>
              </a:buClr>
              <a:buChar char="•"/>
              <a:tabLst>
                <a:tab pos="120626" algn="l"/>
                <a:tab pos="299978" algn="l"/>
                <a:tab pos="1034844" algn="l"/>
              </a:tabLst>
              <a:defRPr sz="1600" b="1">
                <a:solidFill>
                  <a:schemeClr val="tx1"/>
                </a:solidFill>
                <a:latin typeface="+mn-lt"/>
              </a:defRPr>
            </a:lvl4pPr>
            <a:lvl5pPr marL="1142772" indent="-114277" algn="l" rtl="0" eaLnBrk="0" fontAlgn="base" hangingPunct="0">
              <a:spcBef>
                <a:spcPct val="20000"/>
              </a:spcBef>
              <a:spcAft>
                <a:spcPct val="0"/>
              </a:spcAft>
              <a:buClr>
                <a:schemeClr val="accent1"/>
              </a:buClr>
              <a:buChar char="•"/>
              <a:tabLst>
                <a:tab pos="120626" algn="l"/>
                <a:tab pos="299978" algn="l"/>
                <a:tab pos="1034844" algn="l"/>
              </a:tabLst>
              <a:defRPr sz="1600" b="1">
                <a:solidFill>
                  <a:schemeClr val="tx1"/>
                </a:solidFill>
                <a:latin typeface="+mn-lt"/>
              </a:defRPr>
            </a:lvl5pPr>
            <a:lvl6pPr marL="2514096" indent="-228554" algn="l" rtl="0" fontAlgn="base">
              <a:spcBef>
                <a:spcPct val="20000"/>
              </a:spcBef>
              <a:spcAft>
                <a:spcPct val="0"/>
              </a:spcAft>
              <a:buChar char="»"/>
              <a:defRPr sz="2000">
                <a:solidFill>
                  <a:schemeClr val="tx1"/>
                </a:solidFill>
                <a:latin typeface="+mn-lt"/>
              </a:defRPr>
            </a:lvl6pPr>
            <a:lvl7pPr marL="2971205" indent="-228554" algn="l" rtl="0" fontAlgn="base">
              <a:spcBef>
                <a:spcPct val="20000"/>
              </a:spcBef>
              <a:spcAft>
                <a:spcPct val="0"/>
              </a:spcAft>
              <a:buChar char="»"/>
              <a:defRPr sz="2000">
                <a:solidFill>
                  <a:schemeClr val="tx1"/>
                </a:solidFill>
                <a:latin typeface="+mn-lt"/>
              </a:defRPr>
            </a:lvl7pPr>
            <a:lvl8pPr marL="3428314" indent="-228554" algn="l" rtl="0" fontAlgn="base">
              <a:spcBef>
                <a:spcPct val="20000"/>
              </a:spcBef>
              <a:spcAft>
                <a:spcPct val="0"/>
              </a:spcAft>
              <a:buChar char="»"/>
              <a:defRPr sz="2000">
                <a:solidFill>
                  <a:schemeClr val="tx1"/>
                </a:solidFill>
                <a:latin typeface="+mn-lt"/>
              </a:defRPr>
            </a:lvl8pPr>
            <a:lvl9pPr marL="3885423" indent="-228554" algn="l" rtl="0" fontAlgn="base">
              <a:spcBef>
                <a:spcPct val="20000"/>
              </a:spcBef>
              <a:spcAft>
                <a:spcPct val="0"/>
              </a:spcAft>
              <a:buChar char="»"/>
              <a:defRPr sz="2000">
                <a:solidFill>
                  <a:schemeClr val="tx1"/>
                </a:solidFill>
                <a:latin typeface="+mn-lt"/>
              </a:defRPr>
            </a:lvl9pPr>
          </a:lstStyle>
          <a:p>
            <a:pPr>
              <a:buClr>
                <a:srgbClr val="FFFFFF"/>
              </a:buClr>
            </a:pPr>
            <a:endParaRPr b="0">
              <a:solidFill>
                <a:srgbClr val="000000"/>
              </a:solidFill>
              <a:latin typeface="Arial"/>
            </a:endParaRPr>
          </a:p>
        </p:txBody>
      </p:sp>
      <p:sp>
        <p:nvSpPr>
          <p:cNvPr id="120" name="Content Placeholder 52"/>
          <p:cNvSpPr>
            <a:spLocks noGrp="1"/>
          </p:cNvSpPr>
          <p:nvPr>
            <p:ph sz="quarter" idx="12"/>
          </p:nvPr>
        </p:nvSpPr>
        <p:spPr>
          <a:xfrm>
            <a:off x="704301" y="3978275"/>
            <a:ext cx="2576513" cy="178752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121" name="Content Placeholder 52"/>
          <p:cNvSpPr>
            <a:spLocks noGrp="1"/>
          </p:cNvSpPr>
          <p:nvPr>
            <p:ph sz="quarter" idx="15"/>
          </p:nvPr>
        </p:nvSpPr>
        <p:spPr>
          <a:xfrm>
            <a:off x="3396990" y="3978275"/>
            <a:ext cx="2576513" cy="178752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41" name="Rectangle 9"/>
          <p:cNvSpPr>
            <a:spLocks noGrp="1" noChangeArrowheads="1"/>
          </p:cNvSpPr>
          <p:nvPr>
            <p:ph type="title" hasCustomPrompt="1"/>
          </p:nvPr>
        </p:nvSpPr>
        <p:spPr bwMode="auto">
          <a:xfrm>
            <a:off x="685251" y="1581072"/>
            <a:ext cx="7805762" cy="5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b" anchorCtr="0" compatLnSpc="1">
            <a:prstTxWarp prst="textNoShape">
              <a:avLst/>
            </a:prstTxWarp>
          </a:bodyPr>
          <a:lstStyle>
            <a:lvl1pPr>
              <a:defRPr sz="3000">
                <a:solidFill>
                  <a:schemeClr val="bg2"/>
                </a:solidFill>
              </a:defRPr>
            </a:lvl1pPr>
          </a:lstStyle>
          <a:p>
            <a:pPr lvl="0"/>
            <a:r>
              <a:rPr lang="en-US" altLang="en-US" dirty="0"/>
              <a:t>Click To Edit Master Title Style</a:t>
            </a:r>
          </a:p>
        </p:txBody>
      </p:sp>
      <p:sp>
        <p:nvSpPr>
          <p:cNvPr id="84" name="Rectangle 176">
            <a:extLst>
              <a:ext uri="{FF2B5EF4-FFF2-40B4-BE49-F238E27FC236}">
                <a16:creationId xmlns:a16="http://schemas.microsoft.com/office/drawing/2014/main" id="{BC09911A-462B-46F7-AD5F-24FAF02F2217}"/>
              </a:ext>
            </a:extLst>
          </p:cNvPr>
          <p:cNvSpPr>
            <a:spLocks noGrp="1" noChangeArrowheads="1"/>
          </p:cNvSpPr>
          <p:nvPr>
            <p:ph type="ftr" sz="quarter" idx="13"/>
          </p:nvPr>
        </p:nvSpPr>
        <p:spPr>
          <a:xfrm>
            <a:off x="281401" y="6421008"/>
            <a:ext cx="6014623" cy="260350"/>
          </a:xfrm>
        </p:spPr>
        <p:txBody>
          <a:bodyPr anchor="b" anchorCtr="0"/>
          <a:lstStyle>
            <a:lvl1pPr algn="l">
              <a:defRPr sz="800" b="0" smtClean="0">
                <a:solidFill>
                  <a:srgbClr val="000000"/>
                </a:solidFill>
              </a:defRPr>
            </a:lvl1pPr>
          </a:lstStyle>
          <a:p>
            <a:pPr>
              <a:defRPr/>
            </a:pPr>
            <a:endParaRPr lang="en-US" dirty="0"/>
          </a:p>
          <a:p>
            <a:pPr>
              <a:defRPr/>
            </a:pPr>
            <a:r>
              <a:rPr lang="en-US" b="1" dirty="0"/>
              <a:t>Page footer.  </a:t>
            </a:r>
            <a:r>
              <a:rPr lang="en-US" dirty="0"/>
              <a:t>l  © 20XX FMR LLC. All rights reserved.</a:t>
            </a:r>
            <a:endParaRPr lang="en-US" b="1" dirty="0"/>
          </a:p>
        </p:txBody>
      </p:sp>
      <p:pic>
        <p:nvPicPr>
          <p:cNvPr id="39" name="Picture 38">
            <a:extLst>
              <a:ext uri="{FF2B5EF4-FFF2-40B4-BE49-F238E27FC236}">
                <a16:creationId xmlns:a16="http://schemas.microsoft.com/office/drawing/2014/main" id="{19EEFCD7-37DE-4E1C-9841-147079ACF1C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62741"/>
          <a:stretch/>
        </p:blipFill>
        <p:spPr>
          <a:xfrm>
            <a:off x="802002" y="532741"/>
            <a:ext cx="2987046" cy="134009"/>
          </a:xfrm>
          <a:prstGeom prst="rect">
            <a:avLst/>
          </a:prstGeom>
        </p:spPr>
      </p:pic>
    </p:spTree>
    <p:extLst>
      <p:ext uri="{BB962C8B-B14F-4D97-AF65-F5344CB8AC3E}">
        <p14:creationId xmlns:p14="http://schemas.microsoft.com/office/powerpoint/2010/main" val="179450963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title" preserve="1">
  <p:cSld name="Print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58488" name="Rectangle 56"/>
          <p:cNvSpPr>
            <a:spLocks noGrp="1" noChangeArrowheads="1"/>
          </p:cNvSpPr>
          <p:nvPr>
            <p:ph type="ctrTitle"/>
          </p:nvPr>
        </p:nvSpPr>
        <p:spPr>
          <a:xfrm>
            <a:off x="679879" y="2040360"/>
            <a:ext cx="7825945" cy="608013"/>
          </a:xfrm>
          <a:ln algn="ctr"/>
        </p:spPr>
        <p:txBody>
          <a:bodyPr lIns="91440" tIns="45720" anchor="b"/>
          <a:lstStyle>
            <a:lvl1pPr>
              <a:defRPr sz="2800">
                <a:solidFill>
                  <a:srgbClr val="333F48"/>
                </a:solidFill>
              </a:defRPr>
            </a:lvl1pPr>
          </a:lstStyle>
          <a:p>
            <a:r>
              <a:rPr lang="en-US"/>
              <a:t>Click to edit Master title style</a:t>
            </a:r>
            <a:endParaRPr lang="en-US" dirty="0"/>
          </a:p>
        </p:txBody>
      </p:sp>
      <p:sp>
        <p:nvSpPr>
          <p:cNvPr id="658489" name="Rectangle 57"/>
          <p:cNvSpPr>
            <a:spLocks noGrp="1" noChangeArrowheads="1"/>
          </p:cNvSpPr>
          <p:nvPr>
            <p:ph type="subTitle" idx="1"/>
          </p:nvPr>
        </p:nvSpPr>
        <p:spPr>
          <a:xfrm>
            <a:off x="679880" y="2752344"/>
            <a:ext cx="7825946" cy="283464"/>
          </a:xfrm>
          <a:ln algn="ctr"/>
        </p:spPr>
        <p:txBody>
          <a:bodyPr tIns="0"/>
          <a:lstStyle>
            <a:lvl1pPr marL="0" indent="0" algn="l" rtl="0" fontAlgn="base">
              <a:lnSpc>
                <a:spcPct val="100000"/>
              </a:lnSpc>
              <a:spcBef>
                <a:spcPct val="0"/>
              </a:spcBef>
              <a:spcAft>
                <a:spcPct val="0"/>
              </a:spcAft>
              <a:defRPr lang="en-US" sz="2000" b="0" kern="1200" dirty="0">
                <a:solidFill>
                  <a:srgbClr val="768692"/>
                </a:solidFill>
                <a:latin typeface="Arial"/>
                <a:ea typeface="ＭＳ Ｐゴシック" pitchFamily="34" charset="-128"/>
                <a:cs typeface="+mn-cs"/>
              </a:defRPr>
            </a:lvl1pPr>
          </a:lstStyle>
          <a:p>
            <a:r>
              <a:rPr lang="en-US"/>
              <a:t>Click to edit Master subtitle style</a:t>
            </a:r>
            <a:endParaRPr lang="en-US" dirty="0"/>
          </a:p>
        </p:txBody>
      </p:sp>
      <p:sp>
        <p:nvSpPr>
          <p:cNvPr id="60" name="Rectangle 176"/>
          <p:cNvSpPr>
            <a:spLocks noGrp="1" noChangeArrowheads="1"/>
          </p:cNvSpPr>
          <p:nvPr>
            <p:ph type="ftr" sz="quarter" idx="13"/>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cxnSp>
        <p:nvCxnSpPr>
          <p:cNvPr id="6" name="Straight Connector 5"/>
          <p:cNvCxnSpPr/>
          <p:nvPr userDrawn="1"/>
        </p:nvCxnSpPr>
        <p:spPr bwMode="auto">
          <a:xfrm>
            <a:off x="791746" y="2642460"/>
            <a:ext cx="8352254" cy="0"/>
          </a:xfrm>
          <a:prstGeom prst="line">
            <a:avLst/>
          </a:prstGeom>
          <a:solidFill>
            <a:srgbClr val="009681"/>
          </a:solidFill>
          <a:ln w="9525" cap="flat" cmpd="sng" algn="ctr">
            <a:solidFill>
              <a:srgbClr val="768692"/>
            </a:solidFill>
            <a:prstDash val="solid"/>
            <a:round/>
            <a:headEnd type="none" w="med" len="med"/>
            <a:tailEnd type="none" w="med" len="med"/>
          </a:ln>
          <a:effectLst/>
        </p:spPr>
      </p:cxnSp>
      <p:grpSp>
        <p:nvGrpSpPr>
          <p:cNvPr id="89" name="Group 88">
            <a:extLst>
              <a:ext uri="{FF2B5EF4-FFF2-40B4-BE49-F238E27FC236}">
                <a16:creationId xmlns:a16="http://schemas.microsoft.com/office/drawing/2014/main" id="{991DE967-0F82-408F-B89A-AE232A778E53}"/>
              </a:ext>
            </a:extLst>
          </p:cNvPr>
          <p:cNvGrpSpPr/>
          <p:nvPr userDrawn="1"/>
        </p:nvGrpSpPr>
        <p:grpSpPr>
          <a:xfrm>
            <a:off x="7358173" y="6361974"/>
            <a:ext cx="1382376" cy="297562"/>
            <a:chOff x="6923088" y="4475163"/>
            <a:chExt cx="1873251" cy="403225"/>
          </a:xfrm>
        </p:grpSpPr>
        <p:sp>
          <p:nvSpPr>
            <p:cNvPr id="90" name="AutoShape 4">
              <a:extLst>
                <a:ext uri="{FF2B5EF4-FFF2-40B4-BE49-F238E27FC236}">
                  <a16:creationId xmlns:a16="http://schemas.microsoft.com/office/drawing/2014/main" id="{C79E7ACA-A263-4539-87E6-BB3032A565AA}"/>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1" name="Freeform 6">
              <a:extLst>
                <a:ext uri="{FF2B5EF4-FFF2-40B4-BE49-F238E27FC236}">
                  <a16:creationId xmlns:a16="http://schemas.microsoft.com/office/drawing/2014/main" id="{3CD4FC34-780F-4C6A-9C1E-6E2EEF836D95}"/>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2" name="Freeform 7">
              <a:extLst>
                <a:ext uri="{FF2B5EF4-FFF2-40B4-BE49-F238E27FC236}">
                  <a16:creationId xmlns:a16="http://schemas.microsoft.com/office/drawing/2014/main" id="{AC5BB2A0-5794-42B6-9410-3747DA00DA15}"/>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3" name="Freeform 83">
              <a:extLst>
                <a:ext uri="{FF2B5EF4-FFF2-40B4-BE49-F238E27FC236}">
                  <a16:creationId xmlns:a16="http://schemas.microsoft.com/office/drawing/2014/main" id="{C6E5C4C3-0AB4-4023-8682-F0AD227294CB}"/>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4" name="Freeform 84">
              <a:extLst>
                <a:ext uri="{FF2B5EF4-FFF2-40B4-BE49-F238E27FC236}">
                  <a16:creationId xmlns:a16="http://schemas.microsoft.com/office/drawing/2014/main" id="{B97EA17F-E820-4EFF-8C60-95A06BCDF11D}"/>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5" name="Freeform 85">
              <a:extLst>
                <a:ext uri="{FF2B5EF4-FFF2-40B4-BE49-F238E27FC236}">
                  <a16:creationId xmlns:a16="http://schemas.microsoft.com/office/drawing/2014/main" id="{131E540F-55D2-4006-8834-0F1FD1907314}"/>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6" name="Freeform 86">
              <a:extLst>
                <a:ext uri="{FF2B5EF4-FFF2-40B4-BE49-F238E27FC236}">
                  <a16:creationId xmlns:a16="http://schemas.microsoft.com/office/drawing/2014/main" id="{7D987961-3243-40A6-90CA-00D9AD162875}"/>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7" name="Freeform 87">
              <a:extLst>
                <a:ext uri="{FF2B5EF4-FFF2-40B4-BE49-F238E27FC236}">
                  <a16:creationId xmlns:a16="http://schemas.microsoft.com/office/drawing/2014/main" id="{ABD33F16-3509-4F80-988B-665950CB0ABC}"/>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8" name="Freeform 88">
              <a:extLst>
                <a:ext uri="{FF2B5EF4-FFF2-40B4-BE49-F238E27FC236}">
                  <a16:creationId xmlns:a16="http://schemas.microsoft.com/office/drawing/2014/main" id="{DB1ED5A2-3B59-4AF0-AAE6-0501EDDB26AC}"/>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9" name="Freeform 89">
              <a:extLst>
                <a:ext uri="{FF2B5EF4-FFF2-40B4-BE49-F238E27FC236}">
                  <a16:creationId xmlns:a16="http://schemas.microsoft.com/office/drawing/2014/main" id="{2106603A-8F39-42D6-B1DE-070FA0889A24}"/>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0" name="Freeform 90">
              <a:extLst>
                <a:ext uri="{FF2B5EF4-FFF2-40B4-BE49-F238E27FC236}">
                  <a16:creationId xmlns:a16="http://schemas.microsoft.com/office/drawing/2014/main" id="{D72B8D90-A6D2-4469-AD0F-753A37590509}"/>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1" name="Freeform 91">
              <a:extLst>
                <a:ext uri="{FF2B5EF4-FFF2-40B4-BE49-F238E27FC236}">
                  <a16:creationId xmlns:a16="http://schemas.microsoft.com/office/drawing/2014/main" id="{4086A718-DC10-4ABD-9A39-16979BFA7BC5}"/>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2" name="Freeform 92">
              <a:extLst>
                <a:ext uri="{FF2B5EF4-FFF2-40B4-BE49-F238E27FC236}">
                  <a16:creationId xmlns:a16="http://schemas.microsoft.com/office/drawing/2014/main" id="{1812FAEA-94DB-40EC-9B4F-B679C51A0EC6}"/>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3" name="Freeform 93">
              <a:extLst>
                <a:ext uri="{FF2B5EF4-FFF2-40B4-BE49-F238E27FC236}">
                  <a16:creationId xmlns:a16="http://schemas.microsoft.com/office/drawing/2014/main" id="{BA5E2700-F933-47D2-862C-A932A805ACB4}"/>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4" name="Freeform 94">
              <a:extLst>
                <a:ext uri="{FF2B5EF4-FFF2-40B4-BE49-F238E27FC236}">
                  <a16:creationId xmlns:a16="http://schemas.microsoft.com/office/drawing/2014/main" id="{0847955D-0A8E-45C2-8997-36D1499E7884}"/>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5" name="Freeform 95">
              <a:extLst>
                <a:ext uri="{FF2B5EF4-FFF2-40B4-BE49-F238E27FC236}">
                  <a16:creationId xmlns:a16="http://schemas.microsoft.com/office/drawing/2014/main" id="{17A8DFA0-F304-4C63-84BD-624306BBB1D6}"/>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6" name="Freeform 96">
              <a:extLst>
                <a:ext uri="{FF2B5EF4-FFF2-40B4-BE49-F238E27FC236}">
                  <a16:creationId xmlns:a16="http://schemas.microsoft.com/office/drawing/2014/main" id="{B95E7678-6DD0-4442-98C6-25A0965E8677}"/>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7" name="Freeform 97">
              <a:extLst>
                <a:ext uri="{FF2B5EF4-FFF2-40B4-BE49-F238E27FC236}">
                  <a16:creationId xmlns:a16="http://schemas.microsoft.com/office/drawing/2014/main" id="{2BCDC77B-2728-463D-82CF-73C96D77BFDF}"/>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8" name="Freeform 98">
              <a:extLst>
                <a:ext uri="{FF2B5EF4-FFF2-40B4-BE49-F238E27FC236}">
                  <a16:creationId xmlns:a16="http://schemas.microsoft.com/office/drawing/2014/main" id="{00173041-5C5E-4364-A960-B9F14DF6920E}"/>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9" name="Freeform 99">
              <a:extLst>
                <a:ext uri="{FF2B5EF4-FFF2-40B4-BE49-F238E27FC236}">
                  <a16:creationId xmlns:a16="http://schemas.microsoft.com/office/drawing/2014/main" id="{5B0A6D3D-9806-4EF1-8579-E41C636148B4}"/>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10" name="Freeform 100">
              <a:extLst>
                <a:ext uri="{FF2B5EF4-FFF2-40B4-BE49-F238E27FC236}">
                  <a16:creationId xmlns:a16="http://schemas.microsoft.com/office/drawing/2014/main" id="{8D4ADC7B-2D9B-4B07-A90D-211BD4DCB60F}"/>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11" name="Freeform 101">
              <a:extLst>
                <a:ext uri="{FF2B5EF4-FFF2-40B4-BE49-F238E27FC236}">
                  <a16:creationId xmlns:a16="http://schemas.microsoft.com/office/drawing/2014/main" id="{9965128A-520F-4D47-831E-7C40AC7A83C6}"/>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12" name="Freeform 102">
              <a:extLst>
                <a:ext uri="{FF2B5EF4-FFF2-40B4-BE49-F238E27FC236}">
                  <a16:creationId xmlns:a16="http://schemas.microsoft.com/office/drawing/2014/main" id="{A4DD5B32-4303-4B40-BE62-DD6157C9CE62}"/>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13" name="Freeform 103">
              <a:extLst>
                <a:ext uri="{FF2B5EF4-FFF2-40B4-BE49-F238E27FC236}">
                  <a16:creationId xmlns:a16="http://schemas.microsoft.com/office/drawing/2014/main" id="{40ED94EA-2D3E-4BDC-8C6C-75AD6879FA04}"/>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14" name="Freeform 104">
              <a:extLst>
                <a:ext uri="{FF2B5EF4-FFF2-40B4-BE49-F238E27FC236}">
                  <a16:creationId xmlns:a16="http://schemas.microsoft.com/office/drawing/2014/main" id="{54780562-5C1B-44EA-BDBB-F1B15F1C136B}"/>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15" name="Freeform 105">
              <a:extLst>
                <a:ext uri="{FF2B5EF4-FFF2-40B4-BE49-F238E27FC236}">
                  <a16:creationId xmlns:a16="http://schemas.microsoft.com/office/drawing/2014/main" id="{50AA1CE6-E207-402A-B793-294ED2A09D42}"/>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Tree>
    <p:extLst>
      <p:ext uri="{BB962C8B-B14F-4D97-AF65-F5344CB8AC3E}">
        <p14:creationId xmlns:p14="http://schemas.microsoft.com/office/powerpoint/2010/main" val="1001751304"/>
      </p:ext>
    </p:extLst>
  </p:cSld>
  <p:clrMapOvr>
    <a:masterClrMapping/>
  </p:clrMapOvr>
  <p:extLst>
    <p:ext uri="{DCECCB84-F9BA-43D5-87BE-67443E8EF086}">
      <p15:sldGuideLst xmlns:p15="http://schemas.microsoft.com/office/powerpoint/2012/main">
        <p15:guide id="1" orient="horz" pos="4200">
          <p15:clr>
            <a:srgbClr val="FBAE40"/>
          </p15:clr>
        </p15:guide>
        <p15:guide id="4" pos="549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Back_Cover_BD">
    <p:spTree>
      <p:nvGrpSpPr>
        <p:cNvPr id="1" name=""/>
        <p:cNvGrpSpPr/>
        <p:nvPr/>
      </p:nvGrpSpPr>
      <p:grpSpPr>
        <a:xfrm>
          <a:off x="0" y="0"/>
          <a:ext cx="0" cy="0"/>
          <a:chOff x="0" y="0"/>
          <a:chExt cx="0" cy="0"/>
        </a:xfrm>
      </p:grpSpPr>
      <p:sp>
        <p:nvSpPr>
          <p:cNvPr id="5" name="TextBox 4"/>
          <p:cNvSpPr txBox="1"/>
          <p:nvPr userDrawn="1"/>
        </p:nvSpPr>
        <p:spPr>
          <a:xfrm>
            <a:off x="1267505" y="6473360"/>
            <a:ext cx="6466114" cy="353943"/>
          </a:xfrm>
          <a:prstGeom prst="rect">
            <a:avLst/>
          </a:prstGeom>
          <a:noFill/>
        </p:spPr>
        <p:txBody>
          <a:bodyPr wrap="square" rtlCol="0">
            <a:spAutoFit/>
          </a:bodyPr>
          <a:lstStyle/>
          <a:p>
            <a:pPr algn="ctr">
              <a:spcBef>
                <a:spcPts val="200"/>
              </a:spcBef>
              <a:defRPr/>
            </a:pPr>
            <a:r>
              <a:rPr lang="en-US" altLang="en-US" sz="900" dirty="0">
                <a:solidFill>
                  <a:srgbClr val="000000"/>
                </a:solidFill>
              </a:rPr>
              <a:t>FIDELITY INVESTMENTS INSTITUTIONAL SERVICES COMPANY, INC., 500 SALEM STREET, SMITHFIELD, RI  02917</a:t>
            </a:r>
            <a:br>
              <a:rPr lang="en-US" altLang="en-US" dirty="0">
                <a:solidFill>
                  <a:srgbClr val="000000"/>
                </a:solidFill>
              </a:rPr>
            </a:br>
            <a:r>
              <a:rPr lang="en-US" sz="800" dirty="0">
                <a:solidFill>
                  <a:srgbClr val="000000"/>
                </a:solidFill>
              </a:rPr>
              <a:t>© 2016 FMR LLC. All rights reserved.</a:t>
            </a:r>
          </a:p>
        </p:txBody>
      </p:sp>
      <p:grpSp>
        <p:nvGrpSpPr>
          <p:cNvPr id="32" name="Group 31"/>
          <p:cNvGrpSpPr/>
          <p:nvPr userDrawn="1"/>
        </p:nvGrpSpPr>
        <p:grpSpPr>
          <a:xfrm>
            <a:off x="360752" y="5158824"/>
            <a:ext cx="1890168" cy="396052"/>
            <a:chOff x="6871938" y="4475163"/>
            <a:chExt cx="1924401" cy="403225"/>
          </a:xfrm>
        </p:grpSpPr>
        <p:sp>
          <p:nvSpPr>
            <p:cNvPr id="33" name="AutoShape 4"/>
            <p:cNvSpPr>
              <a:spLocks noChangeAspect="1" noChangeArrowheads="1" noTextEdit="1"/>
            </p:cNvSpPr>
            <p:nvPr/>
          </p:nvSpPr>
          <p:spPr bwMode="auto">
            <a:xfrm>
              <a:off x="687193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34" name="Freeform 33"/>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35" name="Freeform 34"/>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36" name="Freeform 35"/>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39" name="Freeform 38"/>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8" name="Freeform 67"/>
            <p:cNvSpPr>
              <a:spLocks/>
            </p:cNvSpPr>
            <p:nvPr/>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9" name="Freeform 68"/>
            <p:cNvSpPr>
              <a:spLocks noEditPoints="1"/>
            </p:cNvSpPr>
            <p:nvPr/>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0" name="Freeform 69"/>
            <p:cNvSpPr>
              <a:spLocks noEditPoints="1"/>
            </p:cNvSpPr>
            <p:nvPr/>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1" name="Freeform 70"/>
            <p:cNvSpPr>
              <a:spLocks noEditPoints="1"/>
            </p:cNvSpPr>
            <p:nvPr/>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2" name="Freeform 71"/>
            <p:cNvSpPr>
              <a:spLocks/>
            </p:cNvSpPr>
            <p:nvPr/>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3" name="Freeform 72"/>
            <p:cNvSpPr>
              <a:spLocks noEditPoints="1"/>
            </p:cNvSpPr>
            <p:nvPr/>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4" name="Freeform 73"/>
            <p:cNvSpPr>
              <a:spLocks/>
            </p:cNvSpPr>
            <p:nvPr/>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5" name="Freeform 74"/>
            <p:cNvSpPr>
              <a:spLocks/>
            </p:cNvSpPr>
            <p:nvPr/>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6" name="Freeform 75"/>
            <p:cNvSpPr>
              <a:spLocks/>
            </p:cNvSpPr>
            <p:nvPr/>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7" name="Freeform 76"/>
            <p:cNvSpPr>
              <a:spLocks/>
            </p:cNvSpPr>
            <p:nvPr/>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8" name="Freeform 77"/>
            <p:cNvSpPr>
              <a:spLocks/>
            </p:cNvSpPr>
            <p:nvPr/>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9" name="Freeform 78"/>
            <p:cNvSpPr>
              <a:spLocks/>
            </p:cNvSpPr>
            <p:nvPr/>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0" name="Freeform 79"/>
            <p:cNvSpPr>
              <a:spLocks/>
            </p:cNvSpPr>
            <p:nvPr/>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1" name="Freeform 80"/>
            <p:cNvSpPr>
              <a:spLocks/>
            </p:cNvSpPr>
            <p:nvPr/>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2" name="Freeform 81"/>
            <p:cNvSpPr>
              <a:spLocks/>
            </p:cNvSpPr>
            <p:nvPr/>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3" name="Freeform 82"/>
            <p:cNvSpPr>
              <a:spLocks noEditPoints="1"/>
            </p:cNvSpPr>
            <p:nvPr/>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4" name="Freeform 83"/>
            <p:cNvSpPr>
              <a:spLocks noEditPoints="1"/>
            </p:cNvSpPr>
            <p:nvPr/>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5" name="Freeform 84"/>
            <p:cNvSpPr>
              <a:spLocks/>
            </p:cNvSpPr>
            <p:nvPr/>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6" name="Freeform 85"/>
            <p:cNvSpPr>
              <a:spLocks/>
            </p:cNvSpPr>
            <p:nvPr/>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7" name="Freeform 86"/>
            <p:cNvSpPr>
              <a:spLocks/>
            </p:cNvSpPr>
            <p:nvPr/>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8" name="Freeform 87"/>
            <p:cNvSpPr>
              <a:spLocks/>
            </p:cNvSpPr>
            <p:nvPr/>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grpSp>
      <p:pic>
        <p:nvPicPr>
          <p:cNvPr id="89"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0868" y="4359356"/>
            <a:ext cx="4907979" cy="5357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0" name="Content Placeholder 10"/>
          <p:cNvSpPr>
            <a:spLocks noGrp="1"/>
          </p:cNvSpPr>
          <p:nvPr>
            <p:ph sz="quarter" idx="15" hasCustomPrompt="1"/>
          </p:nvPr>
        </p:nvSpPr>
        <p:spPr>
          <a:xfrm>
            <a:off x="298450" y="6499922"/>
            <a:ext cx="711200" cy="277116"/>
          </a:xfrm>
        </p:spPr>
        <p:txBody>
          <a:bodyPr/>
          <a:lstStyle>
            <a:lvl1pPr marL="0" indent="0">
              <a:spcBef>
                <a:spcPts val="0"/>
              </a:spcBef>
              <a:defRPr sz="700" b="0">
                <a:solidFill>
                  <a:schemeClr val="tx1"/>
                </a:solidFill>
              </a:defRPr>
            </a:lvl1pPr>
            <a:lvl2pPr>
              <a:defRPr sz="700" b="0">
                <a:solidFill>
                  <a:schemeClr val="tx1"/>
                </a:solidFill>
              </a:defRPr>
            </a:lvl2pPr>
            <a:lvl3pPr>
              <a:defRPr sz="700" b="0">
                <a:solidFill>
                  <a:schemeClr val="tx1"/>
                </a:solidFill>
              </a:defRPr>
            </a:lvl3pPr>
            <a:lvl4pPr>
              <a:defRPr sz="700" b="0">
                <a:solidFill>
                  <a:schemeClr val="tx1"/>
                </a:solidFill>
              </a:defRPr>
            </a:lvl4pPr>
            <a:lvl5pPr>
              <a:defRPr sz="700" b="0">
                <a:solidFill>
                  <a:schemeClr val="tx1"/>
                </a:solidFill>
              </a:defRPr>
            </a:lvl5pPr>
          </a:lstStyle>
          <a:p>
            <a:pPr lvl="0"/>
            <a:r>
              <a:rPr lang="en-US" dirty="0"/>
              <a:t>XXXXXX.1.0</a:t>
            </a:r>
          </a:p>
          <a:p>
            <a:pPr lvl="0"/>
            <a:r>
              <a:rPr lang="en-US" dirty="0"/>
              <a:t>FIAM-BD </a:t>
            </a:r>
          </a:p>
        </p:txBody>
      </p:sp>
      <p:sp>
        <p:nvSpPr>
          <p:cNvPr id="91" name="Content Placeholder 12"/>
          <p:cNvSpPr>
            <a:spLocks noGrp="1"/>
          </p:cNvSpPr>
          <p:nvPr>
            <p:ph sz="quarter" idx="16" hasCustomPrompt="1"/>
          </p:nvPr>
        </p:nvSpPr>
        <p:spPr>
          <a:xfrm>
            <a:off x="7991475" y="6420624"/>
            <a:ext cx="908050" cy="377825"/>
          </a:xfrm>
        </p:spPr>
        <p:txBody>
          <a:bodyPr anchor="b"/>
          <a:lstStyle>
            <a:lvl1pPr marL="0" indent="0" algn="r">
              <a:spcBef>
                <a:spcPts val="0"/>
              </a:spcBef>
              <a:defRPr sz="700" b="0">
                <a:solidFill>
                  <a:schemeClr val="tx1"/>
                </a:solidFill>
              </a:defRPr>
            </a:lvl1pPr>
            <a:lvl2pPr algn="r">
              <a:defRPr sz="700" b="0">
                <a:solidFill>
                  <a:schemeClr val="tx1"/>
                </a:solidFill>
              </a:defRPr>
            </a:lvl2pPr>
            <a:lvl3pPr algn="r">
              <a:defRPr sz="700" b="0">
                <a:solidFill>
                  <a:schemeClr val="tx1"/>
                </a:solidFill>
              </a:defRPr>
            </a:lvl3pPr>
            <a:lvl4pPr algn="r">
              <a:defRPr sz="700" b="0">
                <a:solidFill>
                  <a:schemeClr val="tx1"/>
                </a:solidFill>
              </a:defRPr>
            </a:lvl4pPr>
            <a:lvl5pPr algn="r">
              <a:defRPr sz="700" b="0">
                <a:solidFill>
                  <a:schemeClr val="tx1"/>
                </a:solidFill>
              </a:defRPr>
            </a:lvl5pPr>
          </a:lstStyle>
          <a:p>
            <a:pPr lvl="0"/>
            <a:r>
              <a:rPr lang="en-US" dirty="0"/>
              <a:t>1.000000.100</a:t>
            </a:r>
          </a:p>
          <a:p>
            <a:pPr lvl="0"/>
            <a:r>
              <a:rPr lang="en-US" dirty="0"/>
              <a:t>MMYY</a:t>
            </a:r>
          </a:p>
        </p:txBody>
      </p:sp>
    </p:spTree>
    <p:extLst>
      <p:ext uri="{BB962C8B-B14F-4D97-AF65-F5344CB8AC3E}">
        <p14:creationId xmlns:p14="http://schemas.microsoft.com/office/powerpoint/2010/main" val="67306358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title" preserve="1">
  <p:cSld name="Print Divider Speaker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58488" name="Rectangle 56"/>
          <p:cNvSpPr>
            <a:spLocks noGrp="1" noChangeArrowheads="1"/>
          </p:cNvSpPr>
          <p:nvPr>
            <p:ph type="ctrTitle"/>
          </p:nvPr>
        </p:nvSpPr>
        <p:spPr>
          <a:xfrm>
            <a:off x="679879" y="2040360"/>
            <a:ext cx="7825945" cy="608013"/>
          </a:xfrm>
          <a:ln algn="ctr"/>
        </p:spPr>
        <p:txBody>
          <a:bodyPr lIns="91440" tIns="45720" anchor="b"/>
          <a:lstStyle>
            <a:lvl1pPr>
              <a:defRPr sz="2800">
                <a:solidFill>
                  <a:srgbClr val="333F48"/>
                </a:solidFill>
              </a:defRPr>
            </a:lvl1pPr>
          </a:lstStyle>
          <a:p>
            <a:r>
              <a:rPr lang="en-US"/>
              <a:t>Click to edit Master title style</a:t>
            </a:r>
            <a:endParaRPr lang="en-US" dirty="0"/>
          </a:p>
        </p:txBody>
      </p:sp>
      <p:sp>
        <p:nvSpPr>
          <p:cNvPr id="658489" name="Rectangle 57"/>
          <p:cNvSpPr>
            <a:spLocks noGrp="1" noChangeArrowheads="1"/>
          </p:cNvSpPr>
          <p:nvPr>
            <p:ph type="subTitle" idx="1"/>
          </p:nvPr>
        </p:nvSpPr>
        <p:spPr>
          <a:xfrm>
            <a:off x="679880" y="2819387"/>
            <a:ext cx="7825945" cy="282925"/>
          </a:xfrm>
          <a:ln algn="ctr"/>
        </p:spPr>
        <p:txBody>
          <a:bodyPr tIns="0"/>
          <a:lstStyle>
            <a:lvl1pPr marL="0" indent="0" algn="l" rtl="0" fontAlgn="base">
              <a:lnSpc>
                <a:spcPct val="100000"/>
              </a:lnSpc>
              <a:spcBef>
                <a:spcPts val="600"/>
              </a:spcBef>
              <a:spcAft>
                <a:spcPct val="0"/>
              </a:spcAft>
              <a:defRPr lang="en-US" sz="1600" b="1" kern="1200" baseline="0" dirty="0">
                <a:solidFill>
                  <a:srgbClr val="768692"/>
                </a:solidFill>
                <a:latin typeface="Arial"/>
                <a:ea typeface="ＭＳ Ｐゴシック" pitchFamily="34" charset="-128"/>
                <a:cs typeface="+mn-cs"/>
              </a:defRPr>
            </a:lvl1pPr>
          </a:lstStyle>
          <a:p>
            <a:r>
              <a:rPr lang="en-US"/>
              <a:t>Click to edit Master subtitle style</a:t>
            </a:r>
            <a:endParaRPr lang="en-US" dirty="0"/>
          </a:p>
        </p:txBody>
      </p:sp>
      <p:cxnSp>
        <p:nvCxnSpPr>
          <p:cNvPr id="6" name="Straight Connector 5"/>
          <p:cNvCxnSpPr/>
          <p:nvPr userDrawn="1"/>
        </p:nvCxnSpPr>
        <p:spPr bwMode="auto">
          <a:xfrm>
            <a:off x="791746" y="2642460"/>
            <a:ext cx="8352254" cy="0"/>
          </a:xfrm>
          <a:prstGeom prst="line">
            <a:avLst/>
          </a:prstGeom>
          <a:solidFill>
            <a:srgbClr val="009681"/>
          </a:solidFill>
          <a:ln w="9525" cap="flat" cmpd="sng" algn="ctr">
            <a:solidFill>
              <a:srgbClr val="768692"/>
            </a:solidFill>
            <a:prstDash val="solid"/>
            <a:round/>
            <a:headEnd type="none" w="med" len="med"/>
            <a:tailEnd type="none" w="med" len="med"/>
          </a:ln>
          <a:effectLst/>
        </p:spPr>
      </p:cxnSp>
      <p:grpSp>
        <p:nvGrpSpPr>
          <p:cNvPr id="61" name="Group 60">
            <a:extLst>
              <a:ext uri="{FF2B5EF4-FFF2-40B4-BE49-F238E27FC236}">
                <a16:creationId xmlns:a16="http://schemas.microsoft.com/office/drawing/2014/main" id="{3EF48CAB-2355-427D-924E-A3C73D558CC0}"/>
              </a:ext>
            </a:extLst>
          </p:cNvPr>
          <p:cNvGrpSpPr/>
          <p:nvPr userDrawn="1"/>
        </p:nvGrpSpPr>
        <p:grpSpPr>
          <a:xfrm>
            <a:off x="7358173" y="6361974"/>
            <a:ext cx="1382376" cy="297562"/>
            <a:chOff x="6923088" y="4475163"/>
            <a:chExt cx="1873251" cy="403225"/>
          </a:xfrm>
        </p:grpSpPr>
        <p:sp>
          <p:nvSpPr>
            <p:cNvPr id="62" name="AutoShape 4">
              <a:extLst>
                <a:ext uri="{FF2B5EF4-FFF2-40B4-BE49-F238E27FC236}">
                  <a16:creationId xmlns:a16="http://schemas.microsoft.com/office/drawing/2014/main" id="{88F61506-36CF-4E28-A2C9-50C6F1D3E7EA}"/>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3" name="Freeform 6">
              <a:extLst>
                <a:ext uri="{FF2B5EF4-FFF2-40B4-BE49-F238E27FC236}">
                  <a16:creationId xmlns:a16="http://schemas.microsoft.com/office/drawing/2014/main" id="{73C51A6E-0D3D-4E49-962B-03B20A133E87}"/>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4" name="Freeform 7">
              <a:extLst>
                <a:ext uri="{FF2B5EF4-FFF2-40B4-BE49-F238E27FC236}">
                  <a16:creationId xmlns:a16="http://schemas.microsoft.com/office/drawing/2014/main" id="{BFBB4A40-9F9E-492F-A7C4-F537841EF997}"/>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5" name="Freeform 83">
              <a:extLst>
                <a:ext uri="{FF2B5EF4-FFF2-40B4-BE49-F238E27FC236}">
                  <a16:creationId xmlns:a16="http://schemas.microsoft.com/office/drawing/2014/main" id="{E0757797-0F34-4362-9192-0FE6E5D5173E}"/>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6" name="Freeform 84">
              <a:extLst>
                <a:ext uri="{FF2B5EF4-FFF2-40B4-BE49-F238E27FC236}">
                  <a16:creationId xmlns:a16="http://schemas.microsoft.com/office/drawing/2014/main" id="{D3A178E0-80C8-403E-B76D-F2AFD23DC598}"/>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7" name="Freeform 85">
              <a:extLst>
                <a:ext uri="{FF2B5EF4-FFF2-40B4-BE49-F238E27FC236}">
                  <a16:creationId xmlns:a16="http://schemas.microsoft.com/office/drawing/2014/main" id="{A421C42C-F506-4D4F-AA27-AC6649BA3F01}"/>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8" name="Freeform 86">
              <a:extLst>
                <a:ext uri="{FF2B5EF4-FFF2-40B4-BE49-F238E27FC236}">
                  <a16:creationId xmlns:a16="http://schemas.microsoft.com/office/drawing/2014/main" id="{729B0490-C9D6-4DBB-903A-C2F59D882E77}"/>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9" name="Freeform 87">
              <a:extLst>
                <a:ext uri="{FF2B5EF4-FFF2-40B4-BE49-F238E27FC236}">
                  <a16:creationId xmlns:a16="http://schemas.microsoft.com/office/drawing/2014/main" id="{062DA5E6-2BC9-4B3D-8269-FC39B0A87F02}"/>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70" name="Freeform 88">
              <a:extLst>
                <a:ext uri="{FF2B5EF4-FFF2-40B4-BE49-F238E27FC236}">
                  <a16:creationId xmlns:a16="http://schemas.microsoft.com/office/drawing/2014/main" id="{B62BD2CA-35DA-43EC-ADD6-9A7645ACAF0F}"/>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71" name="Freeform 89">
              <a:extLst>
                <a:ext uri="{FF2B5EF4-FFF2-40B4-BE49-F238E27FC236}">
                  <a16:creationId xmlns:a16="http://schemas.microsoft.com/office/drawing/2014/main" id="{7AEC0B98-C6CD-4FAF-A048-2B9D584D113F}"/>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72" name="Freeform 90">
              <a:extLst>
                <a:ext uri="{FF2B5EF4-FFF2-40B4-BE49-F238E27FC236}">
                  <a16:creationId xmlns:a16="http://schemas.microsoft.com/office/drawing/2014/main" id="{A89FA9C4-A3F0-4CBC-A3C7-1383AB133D89}"/>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73" name="Freeform 91">
              <a:extLst>
                <a:ext uri="{FF2B5EF4-FFF2-40B4-BE49-F238E27FC236}">
                  <a16:creationId xmlns:a16="http://schemas.microsoft.com/office/drawing/2014/main" id="{7E22A295-35E8-46A8-AE0D-0B878370A1E5}"/>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74" name="Freeform 92">
              <a:extLst>
                <a:ext uri="{FF2B5EF4-FFF2-40B4-BE49-F238E27FC236}">
                  <a16:creationId xmlns:a16="http://schemas.microsoft.com/office/drawing/2014/main" id="{04507016-C573-4138-968A-8C0096A114BE}"/>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75" name="Freeform 93">
              <a:extLst>
                <a:ext uri="{FF2B5EF4-FFF2-40B4-BE49-F238E27FC236}">
                  <a16:creationId xmlns:a16="http://schemas.microsoft.com/office/drawing/2014/main" id="{B2E70FFA-0DA9-40E1-9E0F-7C78D061FB05}"/>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76" name="Freeform 94">
              <a:extLst>
                <a:ext uri="{FF2B5EF4-FFF2-40B4-BE49-F238E27FC236}">
                  <a16:creationId xmlns:a16="http://schemas.microsoft.com/office/drawing/2014/main" id="{984CCE0A-9A73-4F22-9558-658EB334C6C6}"/>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77" name="Freeform 95">
              <a:extLst>
                <a:ext uri="{FF2B5EF4-FFF2-40B4-BE49-F238E27FC236}">
                  <a16:creationId xmlns:a16="http://schemas.microsoft.com/office/drawing/2014/main" id="{F951CC34-18E7-4AF8-9426-5F72C121F696}"/>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78" name="Freeform 96">
              <a:extLst>
                <a:ext uri="{FF2B5EF4-FFF2-40B4-BE49-F238E27FC236}">
                  <a16:creationId xmlns:a16="http://schemas.microsoft.com/office/drawing/2014/main" id="{6F2985CA-8E29-4063-8731-E5F2BD1D8B53}"/>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79" name="Freeform 97">
              <a:extLst>
                <a:ext uri="{FF2B5EF4-FFF2-40B4-BE49-F238E27FC236}">
                  <a16:creationId xmlns:a16="http://schemas.microsoft.com/office/drawing/2014/main" id="{5780A8E9-9129-4E4F-A3D0-4CAEEC8200EC}"/>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0" name="Freeform 98">
              <a:extLst>
                <a:ext uri="{FF2B5EF4-FFF2-40B4-BE49-F238E27FC236}">
                  <a16:creationId xmlns:a16="http://schemas.microsoft.com/office/drawing/2014/main" id="{137BAF9B-4A9F-4CD8-B122-71BCB60C9215}"/>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1" name="Freeform 99">
              <a:extLst>
                <a:ext uri="{FF2B5EF4-FFF2-40B4-BE49-F238E27FC236}">
                  <a16:creationId xmlns:a16="http://schemas.microsoft.com/office/drawing/2014/main" id="{0C1228B8-0324-4403-AEF6-FCC4AB492C1C}"/>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2" name="Freeform 100">
              <a:extLst>
                <a:ext uri="{FF2B5EF4-FFF2-40B4-BE49-F238E27FC236}">
                  <a16:creationId xmlns:a16="http://schemas.microsoft.com/office/drawing/2014/main" id="{B181299C-0CF4-44EA-97F9-852F64FEAEC9}"/>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3" name="Freeform 101">
              <a:extLst>
                <a:ext uri="{FF2B5EF4-FFF2-40B4-BE49-F238E27FC236}">
                  <a16:creationId xmlns:a16="http://schemas.microsoft.com/office/drawing/2014/main" id="{0F5CD9DF-80B7-459E-BDE7-37FB8B95C2C7}"/>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4" name="Freeform 102">
              <a:extLst>
                <a:ext uri="{FF2B5EF4-FFF2-40B4-BE49-F238E27FC236}">
                  <a16:creationId xmlns:a16="http://schemas.microsoft.com/office/drawing/2014/main" id="{E5CE1E15-24A0-4D9A-A134-E24CABC9C586}"/>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5" name="Freeform 103">
              <a:extLst>
                <a:ext uri="{FF2B5EF4-FFF2-40B4-BE49-F238E27FC236}">
                  <a16:creationId xmlns:a16="http://schemas.microsoft.com/office/drawing/2014/main" id="{D022E516-EE17-4E1A-91D7-26798C179342}"/>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6" name="Freeform 104">
              <a:extLst>
                <a:ext uri="{FF2B5EF4-FFF2-40B4-BE49-F238E27FC236}">
                  <a16:creationId xmlns:a16="http://schemas.microsoft.com/office/drawing/2014/main" id="{99FC2710-29FD-4CB1-A61F-B17E55A42D26}"/>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7" name="Freeform 105">
              <a:extLst>
                <a:ext uri="{FF2B5EF4-FFF2-40B4-BE49-F238E27FC236}">
                  <a16:creationId xmlns:a16="http://schemas.microsoft.com/office/drawing/2014/main" id="{CA07087F-3570-4D22-B714-C015539D263C}"/>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88" name="Rectangle 176">
            <a:extLst>
              <a:ext uri="{FF2B5EF4-FFF2-40B4-BE49-F238E27FC236}">
                <a16:creationId xmlns:a16="http://schemas.microsoft.com/office/drawing/2014/main" id="{F63D2447-968D-4391-82CF-99220D3851CF}"/>
              </a:ext>
            </a:extLst>
          </p:cNvPr>
          <p:cNvSpPr>
            <a:spLocks noGrp="1" noChangeArrowheads="1"/>
          </p:cNvSpPr>
          <p:nvPr>
            <p:ph type="ftr" sz="quarter" idx="13"/>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891133374"/>
      </p:ext>
    </p:extLst>
  </p:cSld>
  <p:clrMapOvr>
    <a:masterClrMapping/>
  </p:clrMapOvr>
  <p:extLst>
    <p:ext uri="{DCECCB84-F9BA-43D5-87BE-67443E8EF086}">
      <p15:sldGuideLst xmlns:p15="http://schemas.microsoft.com/office/powerpoint/2012/main">
        <p15:guide id="1" orient="horz" pos="4200">
          <p15:clr>
            <a:srgbClr val="FBAE40"/>
          </p15:clr>
        </p15:guide>
        <p15:guide id="2" pos="288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OC/Agenda">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a:noFill/>
          <a:ln w="9525">
            <a:noFill/>
            <a:miter lim="800000"/>
            <a:headEnd/>
            <a:tailEnd/>
          </a:ln>
          <a:effectLst/>
        </p:spPr>
        <p:txBody>
          <a:bodyPr tIns="45720" anchor="t" anchorCtr="0"/>
          <a:lstStyle>
            <a:lvl1pPr>
              <a:defRPr kumimoji="0" lang="en-US" sz="2400" b="0" i="0" u="none" strike="noStrike" kern="0" cap="none" spc="0" normalizeH="0" baseline="0" noProof="0" dirty="0">
                <a:ln>
                  <a:noFill/>
                </a:ln>
                <a:solidFill>
                  <a:srgbClr val="333F48"/>
                </a:solidFill>
                <a:effectLst/>
                <a:uLnTx/>
                <a:uFillTx/>
                <a:latin typeface="+mj-lt"/>
                <a:ea typeface="+mj-ea"/>
                <a:cs typeface="+mj-cs"/>
              </a:defRPr>
            </a:lvl1pPr>
          </a:lstStyle>
          <a:p>
            <a:pPr lvl="0"/>
            <a:r>
              <a:rPr lang="en-US"/>
              <a:t>Click to edit Master title style</a:t>
            </a:r>
            <a:endParaRPr lang="en-US" dirty="0"/>
          </a:p>
        </p:txBody>
      </p:sp>
      <p:sp>
        <p:nvSpPr>
          <p:cNvPr id="10" name="Content Placeholder 9"/>
          <p:cNvSpPr>
            <a:spLocks noGrp="1"/>
          </p:cNvSpPr>
          <p:nvPr>
            <p:ph sz="quarter" idx="13"/>
          </p:nvPr>
        </p:nvSpPr>
        <p:spPr>
          <a:xfrm>
            <a:off x="317115" y="1264280"/>
            <a:ext cx="8188710" cy="3602443"/>
          </a:xfrm>
        </p:spPr>
        <p:txBody>
          <a:bodyPr/>
          <a:lstStyle>
            <a:lvl1pPr marL="227013" indent="-227013">
              <a:spcBef>
                <a:spcPts val="600"/>
              </a:spcBef>
              <a:buClr>
                <a:srgbClr val="7A9B3D"/>
              </a:buClr>
              <a:buSzPct val="100000"/>
              <a:buFont typeface="+mj-lt"/>
              <a:buAutoNum type="arabicPeriod"/>
              <a:defRPr sz="1400" b="0" i="0" baseline="0">
                <a:solidFill>
                  <a:srgbClr val="000000"/>
                </a:solidFill>
                <a:latin typeface="Arial" pitchFamily="34" charset="0"/>
              </a:defRPr>
            </a:lvl1pPr>
            <a:lvl2pPr marL="461963" indent="-217488">
              <a:spcBef>
                <a:spcPts val="600"/>
              </a:spcBef>
              <a:buClr>
                <a:srgbClr val="768692"/>
              </a:buClr>
              <a:buFont typeface="+mj-lt"/>
              <a:buAutoNum type="alphaUcPeriod"/>
              <a:defRPr sz="1200" baseline="0">
                <a:solidFill>
                  <a:srgbClr val="000000"/>
                </a:solidFill>
                <a:latin typeface="Arial" pitchFamily="34" charset="0"/>
              </a:defRPr>
            </a:lvl2pPr>
            <a:lvl3pPr>
              <a:spcBef>
                <a:spcPts val="600"/>
              </a:spcBef>
              <a:buClr>
                <a:srgbClr val="000000"/>
              </a:buClr>
              <a:defRPr baseline="0">
                <a:solidFill>
                  <a:srgbClr val="000000"/>
                </a:solidFill>
              </a:defRPr>
            </a:lvl3pPr>
          </a:lstStyle>
          <a:p>
            <a:pPr lvl="0"/>
            <a:r>
              <a:rPr lang="en-US"/>
              <a:t>Click to edit Master text styles</a:t>
            </a:r>
          </a:p>
          <a:p>
            <a:pPr lvl="1"/>
            <a:r>
              <a:rPr lang="en-US"/>
              <a:t>Second level</a:t>
            </a:r>
          </a:p>
          <a:p>
            <a:pPr lvl="2"/>
            <a:r>
              <a:rPr lang="en-US"/>
              <a:t>Third level</a:t>
            </a:r>
          </a:p>
        </p:txBody>
      </p:sp>
      <p:sp>
        <p:nvSpPr>
          <p:cNvPr id="5"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dirty="0"/>
              <a:t>Page footer, i.e., For institutional use only.</a:t>
            </a:r>
          </a:p>
        </p:txBody>
      </p:sp>
      <p:sp>
        <p:nvSpPr>
          <p:cNvPr id="7"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dirty="0"/>
              <a:t>Production code #</a:t>
            </a:r>
          </a:p>
        </p:txBody>
      </p:sp>
      <p:sp>
        <p:nvSpPr>
          <p:cNvPr id="36" name="Text Box 5">
            <a:extLst>
              <a:ext uri="{FF2B5EF4-FFF2-40B4-BE49-F238E27FC236}">
                <a16:creationId xmlns:a16="http://schemas.microsoft.com/office/drawing/2014/main" id="{7B9E22C7-D90B-4DA1-A370-85A989E67D69}"/>
              </a:ext>
            </a:extLst>
          </p:cNvPr>
          <p:cNvSpPr txBox="1">
            <a:spLocks noChangeArrowheads="1"/>
          </p:cNvSpPr>
          <p:nvPr userDrawn="1"/>
        </p:nvSpPr>
        <p:spPr bwMode="auto">
          <a:xfrm>
            <a:off x="320038" y="6336792"/>
            <a:ext cx="6844022" cy="219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anchor="b"/>
          <a:lstStyle>
            <a:lvl1pPr eaLnBrk="0" hangingPunct="0">
              <a:spcBef>
                <a:spcPct val="20000"/>
              </a:spcBef>
              <a:buSzPct val="40000"/>
              <a:defRPr sz="1600" b="1">
                <a:solidFill>
                  <a:schemeClr val="accent1"/>
                </a:solidFill>
                <a:latin typeface="Arial" charset="0"/>
              </a:defRPr>
            </a:lvl1pPr>
            <a:lvl2pPr marL="742950" indent="-285750" eaLnBrk="0" hangingPunct="0">
              <a:spcBef>
                <a:spcPct val="20000"/>
              </a:spcBef>
              <a:buClr>
                <a:srgbClr val="978981"/>
              </a:buClr>
              <a:buChar char="•"/>
              <a:defRPr sz="1400">
                <a:solidFill>
                  <a:schemeClr val="tx1"/>
                </a:solidFill>
                <a:latin typeface="Arial" charset="0"/>
              </a:defRPr>
            </a:lvl2pPr>
            <a:lvl3pPr marL="1143000" indent="-228600" eaLnBrk="0" hangingPunct="0">
              <a:spcBef>
                <a:spcPct val="20000"/>
              </a:spcBef>
              <a:buClr>
                <a:schemeClr val="accent1"/>
              </a:buClr>
              <a:buFont typeface="Arial" charset="0"/>
              <a:buChar char="–"/>
              <a:defRPr sz="1200">
                <a:solidFill>
                  <a:schemeClr val="accent1"/>
                </a:solidFill>
                <a:latin typeface="Arial" charset="0"/>
              </a:defRPr>
            </a:lvl3pPr>
            <a:lvl4pPr marL="1600200" indent="-228600" eaLnBrk="0" hangingPunct="0">
              <a:spcBef>
                <a:spcPct val="20000"/>
              </a:spcBef>
              <a:buFont typeface="Arial" charset="0"/>
              <a:buChar char="•"/>
              <a:defRPr sz="1200">
                <a:solidFill>
                  <a:srgbClr val="4C5F6C"/>
                </a:solidFill>
                <a:latin typeface="Arial" charset="0"/>
              </a:defRPr>
            </a:lvl4pPr>
            <a:lvl5pPr marL="2057400" indent="-228600" eaLnBrk="0" hangingPunct="0">
              <a:lnSpc>
                <a:spcPts val="2400"/>
              </a:lnSpc>
              <a:defRPr sz="1400">
                <a:solidFill>
                  <a:schemeClr val="tx1"/>
                </a:solidFill>
                <a:latin typeface="Arial" charset="0"/>
              </a:defRPr>
            </a:lvl5pPr>
            <a:lvl6pPr marL="2514600" indent="-228600" eaLnBrk="0" fontAlgn="base" hangingPunct="0">
              <a:lnSpc>
                <a:spcPts val="2400"/>
              </a:lnSpc>
              <a:spcBef>
                <a:spcPct val="0"/>
              </a:spcBef>
              <a:spcAft>
                <a:spcPct val="0"/>
              </a:spcAft>
              <a:defRPr sz="1400">
                <a:solidFill>
                  <a:schemeClr val="tx1"/>
                </a:solidFill>
                <a:latin typeface="Arial" charset="0"/>
              </a:defRPr>
            </a:lvl6pPr>
            <a:lvl7pPr marL="2971800" indent="-228600" eaLnBrk="0" fontAlgn="base" hangingPunct="0">
              <a:lnSpc>
                <a:spcPts val="2400"/>
              </a:lnSpc>
              <a:spcBef>
                <a:spcPct val="0"/>
              </a:spcBef>
              <a:spcAft>
                <a:spcPct val="0"/>
              </a:spcAft>
              <a:defRPr sz="1400">
                <a:solidFill>
                  <a:schemeClr val="tx1"/>
                </a:solidFill>
                <a:latin typeface="Arial" charset="0"/>
              </a:defRPr>
            </a:lvl7pPr>
            <a:lvl8pPr marL="3429000" indent="-228600" eaLnBrk="0" fontAlgn="base" hangingPunct="0">
              <a:lnSpc>
                <a:spcPts val="2400"/>
              </a:lnSpc>
              <a:spcBef>
                <a:spcPct val="0"/>
              </a:spcBef>
              <a:spcAft>
                <a:spcPct val="0"/>
              </a:spcAft>
              <a:defRPr sz="1400">
                <a:solidFill>
                  <a:schemeClr val="tx1"/>
                </a:solidFill>
                <a:latin typeface="Arial" charset="0"/>
              </a:defRPr>
            </a:lvl8pPr>
            <a:lvl9pPr marL="3886200" indent="-228600" eaLnBrk="0" fontAlgn="base" hangingPunct="0">
              <a:lnSpc>
                <a:spcPts val="2400"/>
              </a:lnSpc>
              <a:spcBef>
                <a:spcPct val="0"/>
              </a:spcBef>
              <a:spcAft>
                <a:spcPct val="0"/>
              </a:spcAft>
              <a:defRPr sz="1400">
                <a:solidFill>
                  <a:schemeClr val="tx1"/>
                </a:solidFill>
                <a:latin typeface="Arial" charset="0"/>
              </a:defRPr>
            </a:lvl9pPr>
          </a:lstStyle>
          <a:p>
            <a:pPr eaLnBrk="1" fontAlgn="base" hangingPunct="1">
              <a:spcBef>
                <a:spcPct val="0"/>
              </a:spcBef>
              <a:spcAft>
                <a:spcPts val="300"/>
              </a:spcAft>
              <a:buSzTx/>
              <a:defRPr/>
            </a:pPr>
            <a:r>
              <a:rPr lang="en-US" sz="800" b="0" i="1" kern="0" dirty="0">
                <a:solidFill>
                  <a:srgbClr val="000000"/>
                </a:solidFill>
                <a:latin typeface="Arial" panose="020B0604020202020204" pitchFamily="34" charset="0"/>
                <a:ea typeface="ＭＳ Ｐゴシック"/>
              </a:rPr>
              <a:t>Current performance may substantially differ from, and could be significantly lower than, performance shown due to recent significant market volatility. Please contact FIAM for updated performance numbers after the tenth business day following quarter end.</a:t>
            </a:r>
          </a:p>
          <a:p>
            <a:pPr eaLnBrk="1" fontAlgn="base" hangingPunct="1">
              <a:spcBef>
                <a:spcPct val="0"/>
              </a:spcBef>
              <a:spcAft>
                <a:spcPts val="300"/>
              </a:spcAft>
              <a:buSzTx/>
              <a:defRPr/>
            </a:pPr>
            <a:r>
              <a:rPr lang="en-US" altLang="en-US" sz="800" b="0" i="1" kern="0" dirty="0">
                <a:solidFill>
                  <a:srgbClr val="000000"/>
                </a:solidFill>
                <a:latin typeface="Arial" panose="020B0604020202020204" pitchFamily="34" charset="0"/>
                <a:ea typeface="ＭＳ Ｐゴシック"/>
              </a:rPr>
              <a:t>This document does not make an offer or solicitation to buy or sell any securities or services, and is not investment advice. FIAM does not provide legal or tax advice and we encourage you to consult your own lawyer, accountant, or other advisor before making an investment.</a:t>
            </a:r>
          </a:p>
          <a:p>
            <a:pPr eaLnBrk="1" fontAlgn="base" hangingPunct="1">
              <a:spcBef>
                <a:spcPct val="0"/>
              </a:spcBef>
              <a:spcAft>
                <a:spcPts val="300"/>
              </a:spcAft>
              <a:buSzTx/>
              <a:defRPr/>
            </a:pPr>
            <a:r>
              <a:rPr lang="en-US" altLang="en-US" sz="800" b="0" i="1" kern="0" dirty="0">
                <a:solidFill>
                  <a:srgbClr val="000000"/>
                </a:solidFill>
                <a:latin typeface="Arial" panose="020B0604020202020204" pitchFamily="34" charset="0"/>
                <a:ea typeface="ＭＳ Ｐゴシック"/>
              </a:rPr>
              <a:t>Information provided in this document is for informational and educational purposes only. To the extent any investment information in this material is deemed to be a recommendation, it is not meant to be impartial investment advice or advice in a fiduciary capacity and is not intended to be used as a primary basis for you or your client’s investment decisions. Fidelity and its representatives may have a conflict of interest in the products or services mentioned in this material because they have a financial interest in them, and receive compensation, directly or indirectly, in connection with the management, distribution, and/or servicing of these products or services, including Fidelity funds, certain third-party funds and products, and certain investment services. </a:t>
            </a:r>
          </a:p>
          <a:p>
            <a:pPr fontAlgn="base">
              <a:lnSpc>
                <a:spcPts val="1000"/>
              </a:lnSpc>
              <a:spcBef>
                <a:spcPct val="0"/>
              </a:spcBef>
              <a:spcAft>
                <a:spcPts val="300"/>
              </a:spcAft>
              <a:buSzTx/>
            </a:pPr>
            <a:r>
              <a:rPr lang="en-US" altLang="en-US" sz="800" b="0" dirty="0">
                <a:solidFill>
                  <a:srgbClr val="000000"/>
                </a:solidFill>
                <a:latin typeface="Arial" panose="020B0604020202020204" pitchFamily="34" charset="0"/>
                <a:ea typeface="ＭＳ Ｐゴシック"/>
              </a:rPr>
              <a:t>See “Important Information” for a discussion of performance data, some of the principal risks related to any of the investment strategies </a:t>
            </a:r>
            <a:br>
              <a:rPr lang="en-US" altLang="en-US" sz="800" b="0" dirty="0">
                <a:solidFill>
                  <a:srgbClr val="000000"/>
                </a:solidFill>
                <a:latin typeface="Arial" panose="020B0604020202020204" pitchFamily="34" charset="0"/>
                <a:ea typeface="ＭＳ Ｐゴシック"/>
              </a:rPr>
            </a:br>
            <a:r>
              <a:rPr lang="en-US" altLang="en-US" sz="800" b="0" dirty="0">
                <a:solidFill>
                  <a:srgbClr val="000000"/>
                </a:solidFill>
                <a:latin typeface="Arial" panose="020B0604020202020204" pitchFamily="34" charset="0"/>
                <a:ea typeface="ＭＳ Ｐゴシック"/>
              </a:rPr>
              <a:t>referred to in this presentation, and other information related to this presentation.</a:t>
            </a:r>
          </a:p>
        </p:txBody>
      </p:sp>
      <p:grpSp>
        <p:nvGrpSpPr>
          <p:cNvPr id="35" name="Group 34">
            <a:extLst>
              <a:ext uri="{FF2B5EF4-FFF2-40B4-BE49-F238E27FC236}">
                <a16:creationId xmlns:a16="http://schemas.microsoft.com/office/drawing/2014/main" id="{B525258B-2348-4903-9B4F-BE4C6EF94DEB}"/>
              </a:ext>
            </a:extLst>
          </p:cNvPr>
          <p:cNvGrpSpPr/>
          <p:nvPr userDrawn="1"/>
        </p:nvGrpSpPr>
        <p:grpSpPr>
          <a:xfrm>
            <a:off x="7358173" y="6361974"/>
            <a:ext cx="1382376" cy="297562"/>
            <a:chOff x="6923088" y="4475163"/>
            <a:chExt cx="1873251" cy="403225"/>
          </a:xfrm>
        </p:grpSpPr>
        <p:sp>
          <p:nvSpPr>
            <p:cNvPr id="37" name="AutoShape 4">
              <a:extLst>
                <a:ext uri="{FF2B5EF4-FFF2-40B4-BE49-F238E27FC236}">
                  <a16:creationId xmlns:a16="http://schemas.microsoft.com/office/drawing/2014/main" id="{FC4144FC-C037-499B-8A95-5F0B44B0FEB7}"/>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8" name="Freeform 6">
              <a:extLst>
                <a:ext uri="{FF2B5EF4-FFF2-40B4-BE49-F238E27FC236}">
                  <a16:creationId xmlns:a16="http://schemas.microsoft.com/office/drawing/2014/main" id="{6B2ACA95-5637-488E-85A5-1732CCB24885}"/>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9" name="Freeform 7">
              <a:extLst>
                <a:ext uri="{FF2B5EF4-FFF2-40B4-BE49-F238E27FC236}">
                  <a16:creationId xmlns:a16="http://schemas.microsoft.com/office/drawing/2014/main" id="{C77C09E5-AC02-47A1-AFAF-3EEE9D22EAC4}"/>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0" name="Freeform 83">
              <a:extLst>
                <a:ext uri="{FF2B5EF4-FFF2-40B4-BE49-F238E27FC236}">
                  <a16:creationId xmlns:a16="http://schemas.microsoft.com/office/drawing/2014/main" id="{F281DB8F-02B0-4E7E-9CEA-91F763EA3C82}"/>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1" name="Freeform 84">
              <a:extLst>
                <a:ext uri="{FF2B5EF4-FFF2-40B4-BE49-F238E27FC236}">
                  <a16:creationId xmlns:a16="http://schemas.microsoft.com/office/drawing/2014/main" id="{923F942A-B607-4731-BF3F-24104CDAB12B}"/>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2" name="Freeform 85">
              <a:extLst>
                <a:ext uri="{FF2B5EF4-FFF2-40B4-BE49-F238E27FC236}">
                  <a16:creationId xmlns:a16="http://schemas.microsoft.com/office/drawing/2014/main" id="{5DF8A0F3-DEE1-4AEC-9A0D-23C1A8CEBDD5}"/>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3" name="Freeform 86">
              <a:extLst>
                <a:ext uri="{FF2B5EF4-FFF2-40B4-BE49-F238E27FC236}">
                  <a16:creationId xmlns:a16="http://schemas.microsoft.com/office/drawing/2014/main" id="{0459FFCA-840D-4211-B211-7C59287653FF}"/>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4" name="Freeform 87">
              <a:extLst>
                <a:ext uri="{FF2B5EF4-FFF2-40B4-BE49-F238E27FC236}">
                  <a16:creationId xmlns:a16="http://schemas.microsoft.com/office/drawing/2014/main" id="{41319F0C-F4AD-438F-B97A-3980E05A1B17}"/>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5" name="Freeform 88">
              <a:extLst>
                <a:ext uri="{FF2B5EF4-FFF2-40B4-BE49-F238E27FC236}">
                  <a16:creationId xmlns:a16="http://schemas.microsoft.com/office/drawing/2014/main" id="{A5D8392A-27E2-4989-8942-EE284BCD9820}"/>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6" name="Freeform 89">
              <a:extLst>
                <a:ext uri="{FF2B5EF4-FFF2-40B4-BE49-F238E27FC236}">
                  <a16:creationId xmlns:a16="http://schemas.microsoft.com/office/drawing/2014/main" id="{BE4CB943-0848-4D80-A244-C2DB4C491711}"/>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7" name="Freeform 90">
              <a:extLst>
                <a:ext uri="{FF2B5EF4-FFF2-40B4-BE49-F238E27FC236}">
                  <a16:creationId xmlns:a16="http://schemas.microsoft.com/office/drawing/2014/main" id="{1E015C79-2C79-4220-8420-629436D62394}"/>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8" name="Freeform 91">
              <a:extLst>
                <a:ext uri="{FF2B5EF4-FFF2-40B4-BE49-F238E27FC236}">
                  <a16:creationId xmlns:a16="http://schemas.microsoft.com/office/drawing/2014/main" id="{B17F6FBF-8DA0-45D5-9040-A8C6570FDF86}"/>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9" name="Freeform 92">
              <a:extLst>
                <a:ext uri="{FF2B5EF4-FFF2-40B4-BE49-F238E27FC236}">
                  <a16:creationId xmlns:a16="http://schemas.microsoft.com/office/drawing/2014/main" id="{9E026874-0653-4EAF-A72F-F609A8B73E2E}"/>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0" name="Freeform 93">
              <a:extLst>
                <a:ext uri="{FF2B5EF4-FFF2-40B4-BE49-F238E27FC236}">
                  <a16:creationId xmlns:a16="http://schemas.microsoft.com/office/drawing/2014/main" id="{D3E9F9FB-41CB-4DB8-8086-EB8467ED13AB}"/>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1" name="Freeform 94">
              <a:extLst>
                <a:ext uri="{FF2B5EF4-FFF2-40B4-BE49-F238E27FC236}">
                  <a16:creationId xmlns:a16="http://schemas.microsoft.com/office/drawing/2014/main" id="{FD982413-8F97-4A7D-82BD-A65DD9B3DB99}"/>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2" name="Freeform 95">
              <a:extLst>
                <a:ext uri="{FF2B5EF4-FFF2-40B4-BE49-F238E27FC236}">
                  <a16:creationId xmlns:a16="http://schemas.microsoft.com/office/drawing/2014/main" id="{D50CB561-8EF5-4308-A455-6D096E075268}"/>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3" name="Freeform 96">
              <a:extLst>
                <a:ext uri="{FF2B5EF4-FFF2-40B4-BE49-F238E27FC236}">
                  <a16:creationId xmlns:a16="http://schemas.microsoft.com/office/drawing/2014/main" id="{FFBC8FBE-606C-4CB3-91E1-ED06ECBB17D0}"/>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4" name="Freeform 97">
              <a:extLst>
                <a:ext uri="{FF2B5EF4-FFF2-40B4-BE49-F238E27FC236}">
                  <a16:creationId xmlns:a16="http://schemas.microsoft.com/office/drawing/2014/main" id="{36FE0ABF-E345-4E5D-8A63-70BAA6FEA256}"/>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5" name="Freeform 98">
              <a:extLst>
                <a:ext uri="{FF2B5EF4-FFF2-40B4-BE49-F238E27FC236}">
                  <a16:creationId xmlns:a16="http://schemas.microsoft.com/office/drawing/2014/main" id="{9267DB30-623D-42E8-92A2-BCF5C69429D3}"/>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6" name="Freeform 99">
              <a:extLst>
                <a:ext uri="{FF2B5EF4-FFF2-40B4-BE49-F238E27FC236}">
                  <a16:creationId xmlns:a16="http://schemas.microsoft.com/office/drawing/2014/main" id="{2E9CA577-8AA9-44EE-AB3E-82147EBFA5D6}"/>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7" name="Freeform 100">
              <a:extLst>
                <a:ext uri="{FF2B5EF4-FFF2-40B4-BE49-F238E27FC236}">
                  <a16:creationId xmlns:a16="http://schemas.microsoft.com/office/drawing/2014/main" id="{001D08BA-9184-4F00-A861-33F8C6DEDC89}"/>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8" name="Freeform 101">
              <a:extLst>
                <a:ext uri="{FF2B5EF4-FFF2-40B4-BE49-F238E27FC236}">
                  <a16:creationId xmlns:a16="http://schemas.microsoft.com/office/drawing/2014/main" id="{BA954CEC-7B7F-4CD7-9D37-D5FA9D58C0CF}"/>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9" name="Freeform 102">
              <a:extLst>
                <a:ext uri="{FF2B5EF4-FFF2-40B4-BE49-F238E27FC236}">
                  <a16:creationId xmlns:a16="http://schemas.microsoft.com/office/drawing/2014/main" id="{05817761-5784-4D7A-9010-24FD70B35031}"/>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0" name="Freeform 103">
              <a:extLst>
                <a:ext uri="{FF2B5EF4-FFF2-40B4-BE49-F238E27FC236}">
                  <a16:creationId xmlns:a16="http://schemas.microsoft.com/office/drawing/2014/main" id="{DC420559-C599-43E4-9F87-D5F7BF1439F6}"/>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1" name="Freeform 104">
              <a:extLst>
                <a:ext uri="{FF2B5EF4-FFF2-40B4-BE49-F238E27FC236}">
                  <a16:creationId xmlns:a16="http://schemas.microsoft.com/office/drawing/2014/main" id="{F8E5C600-936F-456C-A0F3-165AAD26D9E3}"/>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2" name="Freeform 105">
              <a:extLst>
                <a:ext uri="{FF2B5EF4-FFF2-40B4-BE49-F238E27FC236}">
                  <a16:creationId xmlns:a16="http://schemas.microsoft.com/office/drawing/2014/main" id="{D08DAE1D-ADBB-440D-9E07-7C279B157E9A}"/>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Tree>
    <p:extLst>
      <p:ext uri="{BB962C8B-B14F-4D97-AF65-F5344CB8AC3E}">
        <p14:creationId xmlns:p14="http://schemas.microsoft.com/office/powerpoint/2010/main" val="16521410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OC/Agenda_CFA">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a:noFill/>
          <a:ln w="9525">
            <a:noFill/>
            <a:miter lim="800000"/>
            <a:headEnd/>
            <a:tailEnd/>
          </a:ln>
          <a:effectLst/>
        </p:spPr>
        <p:txBody>
          <a:bodyPr tIns="45720" anchor="t" anchorCtr="0"/>
          <a:lstStyle>
            <a:lvl1pPr>
              <a:defRPr kumimoji="0" lang="en-US" sz="2400" b="0" i="0" u="none" strike="noStrike" kern="0" cap="none" spc="0" normalizeH="0" baseline="0" noProof="0" dirty="0">
                <a:ln>
                  <a:noFill/>
                </a:ln>
                <a:solidFill>
                  <a:srgbClr val="333F48"/>
                </a:solidFill>
                <a:effectLst/>
                <a:uLnTx/>
                <a:uFillTx/>
                <a:latin typeface="+mj-lt"/>
                <a:ea typeface="+mj-ea"/>
                <a:cs typeface="+mj-cs"/>
              </a:defRPr>
            </a:lvl1pPr>
          </a:lstStyle>
          <a:p>
            <a:pPr lvl="0"/>
            <a:r>
              <a:rPr lang="en-US"/>
              <a:t>Click to edit Master title style</a:t>
            </a:r>
            <a:endParaRPr lang="en-US" dirty="0"/>
          </a:p>
        </p:txBody>
      </p:sp>
      <p:sp>
        <p:nvSpPr>
          <p:cNvPr id="10" name="Content Placeholder 9"/>
          <p:cNvSpPr>
            <a:spLocks noGrp="1"/>
          </p:cNvSpPr>
          <p:nvPr>
            <p:ph sz="quarter" idx="13"/>
          </p:nvPr>
        </p:nvSpPr>
        <p:spPr>
          <a:xfrm>
            <a:off x="317115" y="1264280"/>
            <a:ext cx="8188710" cy="3670457"/>
          </a:xfrm>
        </p:spPr>
        <p:txBody>
          <a:bodyPr/>
          <a:lstStyle>
            <a:lvl1pPr marL="227013" indent="-227013">
              <a:spcBef>
                <a:spcPts val="600"/>
              </a:spcBef>
              <a:buClr>
                <a:srgbClr val="7A9B3D"/>
              </a:buClr>
              <a:buSzPct val="100000"/>
              <a:buFont typeface="+mj-lt"/>
              <a:buAutoNum type="arabicPeriod"/>
              <a:defRPr sz="1400" b="0" i="0" baseline="0">
                <a:solidFill>
                  <a:srgbClr val="000000"/>
                </a:solidFill>
                <a:latin typeface="Arial" pitchFamily="34" charset="0"/>
              </a:defRPr>
            </a:lvl1pPr>
            <a:lvl2pPr marL="461963" indent="-217488">
              <a:spcBef>
                <a:spcPts val="600"/>
              </a:spcBef>
              <a:buClr>
                <a:srgbClr val="768692"/>
              </a:buClr>
              <a:buFont typeface="+mj-lt"/>
              <a:buAutoNum type="alphaUcPeriod"/>
              <a:defRPr sz="1200" baseline="0">
                <a:solidFill>
                  <a:srgbClr val="000000"/>
                </a:solidFill>
                <a:latin typeface="Arial" pitchFamily="34" charset="0"/>
              </a:defRPr>
            </a:lvl2pPr>
            <a:lvl3pPr>
              <a:spcBef>
                <a:spcPts val="600"/>
              </a:spcBef>
              <a:buClr>
                <a:srgbClr val="000000"/>
              </a:buClr>
              <a:defRPr baseline="0">
                <a:solidFill>
                  <a:srgbClr val="000000"/>
                </a:solidFill>
              </a:defRPr>
            </a:lvl3pPr>
          </a:lstStyle>
          <a:p>
            <a:pPr lvl="0"/>
            <a:r>
              <a:rPr lang="en-US"/>
              <a:t>Click to edit Master text styles</a:t>
            </a:r>
          </a:p>
          <a:p>
            <a:pPr lvl="1"/>
            <a:r>
              <a:rPr lang="en-US"/>
              <a:t>Second level</a:t>
            </a:r>
          </a:p>
          <a:p>
            <a:pPr lvl="2"/>
            <a:r>
              <a:rPr lang="en-US"/>
              <a:t>Third level</a:t>
            </a:r>
          </a:p>
        </p:txBody>
      </p:sp>
      <p:sp>
        <p:nvSpPr>
          <p:cNvPr id="5"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dirty="0"/>
              <a:t>Page footer, i.e., For institutional use only.</a:t>
            </a:r>
          </a:p>
        </p:txBody>
      </p:sp>
      <p:sp>
        <p:nvSpPr>
          <p:cNvPr id="7"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dirty="0"/>
              <a:t>Production code #</a:t>
            </a:r>
          </a:p>
        </p:txBody>
      </p:sp>
      <p:grpSp>
        <p:nvGrpSpPr>
          <p:cNvPr id="35" name="Group 34">
            <a:extLst>
              <a:ext uri="{FF2B5EF4-FFF2-40B4-BE49-F238E27FC236}">
                <a16:creationId xmlns:a16="http://schemas.microsoft.com/office/drawing/2014/main" id="{5C89791D-B2CB-4A97-8110-87E045E85EE3}"/>
              </a:ext>
            </a:extLst>
          </p:cNvPr>
          <p:cNvGrpSpPr/>
          <p:nvPr userDrawn="1"/>
        </p:nvGrpSpPr>
        <p:grpSpPr>
          <a:xfrm>
            <a:off x="7358173" y="6361974"/>
            <a:ext cx="1382376" cy="297562"/>
            <a:chOff x="6923088" y="4475163"/>
            <a:chExt cx="1873251" cy="403225"/>
          </a:xfrm>
        </p:grpSpPr>
        <p:sp>
          <p:nvSpPr>
            <p:cNvPr id="37" name="AutoShape 4">
              <a:extLst>
                <a:ext uri="{FF2B5EF4-FFF2-40B4-BE49-F238E27FC236}">
                  <a16:creationId xmlns:a16="http://schemas.microsoft.com/office/drawing/2014/main" id="{256E42B7-8D40-456D-8837-CE990224176A}"/>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8" name="Freeform 6">
              <a:extLst>
                <a:ext uri="{FF2B5EF4-FFF2-40B4-BE49-F238E27FC236}">
                  <a16:creationId xmlns:a16="http://schemas.microsoft.com/office/drawing/2014/main" id="{CEC5AC92-1445-4A45-B5FA-35F1132B2086}"/>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9" name="Freeform 7">
              <a:extLst>
                <a:ext uri="{FF2B5EF4-FFF2-40B4-BE49-F238E27FC236}">
                  <a16:creationId xmlns:a16="http://schemas.microsoft.com/office/drawing/2014/main" id="{8D9ABD88-51F6-44D2-8638-4499CF72EB4F}"/>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0" name="Freeform 83">
              <a:extLst>
                <a:ext uri="{FF2B5EF4-FFF2-40B4-BE49-F238E27FC236}">
                  <a16:creationId xmlns:a16="http://schemas.microsoft.com/office/drawing/2014/main" id="{AB894C49-45C2-4236-87FC-911492E384C7}"/>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1" name="Freeform 84">
              <a:extLst>
                <a:ext uri="{FF2B5EF4-FFF2-40B4-BE49-F238E27FC236}">
                  <a16:creationId xmlns:a16="http://schemas.microsoft.com/office/drawing/2014/main" id="{06413496-CFDB-4B8E-B601-04A8AE8379AE}"/>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2" name="Freeform 85">
              <a:extLst>
                <a:ext uri="{FF2B5EF4-FFF2-40B4-BE49-F238E27FC236}">
                  <a16:creationId xmlns:a16="http://schemas.microsoft.com/office/drawing/2014/main" id="{F6660DA9-6CF5-43A3-BDEB-61ED91AC4875}"/>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3" name="Freeform 86">
              <a:extLst>
                <a:ext uri="{FF2B5EF4-FFF2-40B4-BE49-F238E27FC236}">
                  <a16:creationId xmlns:a16="http://schemas.microsoft.com/office/drawing/2014/main" id="{517CC972-00A3-4A21-80CC-05D21668455A}"/>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4" name="Freeform 87">
              <a:extLst>
                <a:ext uri="{FF2B5EF4-FFF2-40B4-BE49-F238E27FC236}">
                  <a16:creationId xmlns:a16="http://schemas.microsoft.com/office/drawing/2014/main" id="{D67C55F2-0C06-4A38-867C-6CD74DA2F0E6}"/>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5" name="Freeform 88">
              <a:extLst>
                <a:ext uri="{FF2B5EF4-FFF2-40B4-BE49-F238E27FC236}">
                  <a16:creationId xmlns:a16="http://schemas.microsoft.com/office/drawing/2014/main" id="{0B2C50D3-2919-4B8E-9EE3-508C84B3F4C9}"/>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6" name="Freeform 89">
              <a:extLst>
                <a:ext uri="{FF2B5EF4-FFF2-40B4-BE49-F238E27FC236}">
                  <a16:creationId xmlns:a16="http://schemas.microsoft.com/office/drawing/2014/main" id="{464087C1-209E-4381-BB3E-9855B415D051}"/>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7" name="Freeform 90">
              <a:extLst>
                <a:ext uri="{FF2B5EF4-FFF2-40B4-BE49-F238E27FC236}">
                  <a16:creationId xmlns:a16="http://schemas.microsoft.com/office/drawing/2014/main" id="{9C5CC6E1-99CD-46AA-8EA8-66ECA3BB6743}"/>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8" name="Freeform 91">
              <a:extLst>
                <a:ext uri="{FF2B5EF4-FFF2-40B4-BE49-F238E27FC236}">
                  <a16:creationId xmlns:a16="http://schemas.microsoft.com/office/drawing/2014/main" id="{100564BC-C7D5-4130-8CA4-B74818772BB9}"/>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9" name="Freeform 92">
              <a:extLst>
                <a:ext uri="{FF2B5EF4-FFF2-40B4-BE49-F238E27FC236}">
                  <a16:creationId xmlns:a16="http://schemas.microsoft.com/office/drawing/2014/main" id="{3C5592C7-46B8-440B-9A9B-4BBA10E9A852}"/>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0" name="Freeform 93">
              <a:extLst>
                <a:ext uri="{FF2B5EF4-FFF2-40B4-BE49-F238E27FC236}">
                  <a16:creationId xmlns:a16="http://schemas.microsoft.com/office/drawing/2014/main" id="{B7ED3C6E-0450-46C4-B598-8CF656E61874}"/>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1" name="Freeform 94">
              <a:extLst>
                <a:ext uri="{FF2B5EF4-FFF2-40B4-BE49-F238E27FC236}">
                  <a16:creationId xmlns:a16="http://schemas.microsoft.com/office/drawing/2014/main" id="{AD2B1F3E-7445-4B4C-9528-DB5B631C9489}"/>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2" name="Freeform 95">
              <a:extLst>
                <a:ext uri="{FF2B5EF4-FFF2-40B4-BE49-F238E27FC236}">
                  <a16:creationId xmlns:a16="http://schemas.microsoft.com/office/drawing/2014/main" id="{6A229020-7EF4-44A6-A13C-EAEEBD8AA53D}"/>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3" name="Freeform 96">
              <a:extLst>
                <a:ext uri="{FF2B5EF4-FFF2-40B4-BE49-F238E27FC236}">
                  <a16:creationId xmlns:a16="http://schemas.microsoft.com/office/drawing/2014/main" id="{6A9AD9C9-D486-4508-8EBF-5607B6D0F060}"/>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4" name="Freeform 97">
              <a:extLst>
                <a:ext uri="{FF2B5EF4-FFF2-40B4-BE49-F238E27FC236}">
                  <a16:creationId xmlns:a16="http://schemas.microsoft.com/office/drawing/2014/main" id="{E7B98288-CFE9-4541-AE6E-E1AD9A387086}"/>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5" name="Freeform 98">
              <a:extLst>
                <a:ext uri="{FF2B5EF4-FFF2-40B4-BE49-F238E27FC236}">
                  <a16:creationId xmlns:a16="http://schemas.microsoft.com/office/drawing/2014/main" id="{EC441BBE-D691-48C4-8144-9252918CC3BB}"/>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6" name="Freeform 99">
              <a:extLst>
                <a:ext uri="{FF2B5EF4-FFF2-40B4-BE49-F238E27FC236}">
                  <a16:creationId xmlns:a16="http://schemas.microsoft.com/office/drawing/2014/main" id="{926F933F-6516-44DF-BD19-8DE4F4256134}"/>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7" name="Freeform 100">
              <a:extLst>
                <a:ext uri="{FF2B5EF4-FFF2-40B4-BE49-F238E27FC236}">
                  <a16:creationId xmlns:a16="http://schemas.microsoft.com/office/drawing/2014/main" id="{7D55741F-239C-4ACB-9617-839C2C76A953}"/>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8" name="Freeform 101">
              <a:extLst>
                <a:ext uri="{FF2B5EF4-FFF2-40B4-BE49-F238E27FC236}">
                  <a16:creationId xmlns:a16="http://schemas.microsoft.com/office/drawing/2014/main" id="{97BA2CBA-119F-417A-A3D5-615918135136}"/>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9" name="Freeform 102">
              <a:extLst>
                <a:ext uri="{FF2B5EF4-FFF2-40B4-BE49-F238E27FC236}">
                  <a16:creationId xmlns:a16="http://schemas.microsoft.com/office/drawing/2014/main" id="{25CE3DC2-26FB-4D97-9877-C6F95846336A}"/>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0" name="Freeform 103">
              <a:extLst>
                <a:ext uri="{FF2B5EF4-FFF2-40B4-BE49-F238E27FC236}">
                  <a16:creationId xmlns:a16="http://schemas.microsoft.com/office/drawing/2014/main" id="{7140E4E0-8622-4F41-8E64-43A97C658F97}"/>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1" name="Freeform 104">
              <a:extLst>
                <a:ext uri="{FF2B5EF4-FFF2-40B4-BE49-F238E27FC236}">
                  <a16:creationId xmlns:a16="http://schemas.microsoft.com/office/drawing/2014/main" id="{0C14C9C0-D305-4FCB-872A-AB351588739B}"/>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2" name="Freeform 105">
              <a:extLst>
                <a:ext uri="{FF2B5EF4-FFF2-40B4-BE49-F238E27FC236}">
                  <a16:creationId xmlns:a16="http://schemas.microsoft.com/office/drawing/2014/main" id="{E56ECF2C-32AC-43B5-B663-5A5BD09CDC3C}"/>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Tree>
    <p:extLst>
      <p:ext uri="{BB962C8B-B14F-4D97-AF65-F5344CB8AC3E}">
        <p14:creationId xmlns:p14="http://schemas.microsoft.com/office/powerpoint/2010/main" val="152932003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OC/Agenda_FIL">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a:noFill/>
          <a:ln w="9525">
            <a:noFill/>
            <a:miter lim="800000"/>
            <a:headEnd/>
            <a:tailEnd/>
          </a:ln>
          <a:effectLst/>
        </p:spPr>
        <p:txBody>
          <a:bodyPr tIns="45720" anchor="t" anchorCtr="0"/>
          <a:lstStyle>
            <a:lvl1pPr>
              <a:defRPr kumimoji="0" lang="en-US" sz="2400" b="0" i="0" u="none" strike="noStrike" kern="0" cap="none" spc="0" normalizeH="0" baseline="0" noProof="0" dirty="0">
                <a:ln>
                  <a:noFill/>
                </a:ln>
                <a:solidFill>
                  <a:srgbClr val="333F48"/>
                </a:solidFill>
                <a:effectLst/>
                <a:uLnTx/>
                <a:uFillTx/>
                <a:latin typeface="+mj-lt"/>
                <a:ea typeface="+mj-ea"/>
                <a:cs typeface="+mj-cs"/>
              </a:defRPr>
            </a:lvl1pPr>
          </a:lstStyle>
          <a:p>
            <a:pPr lvl="0"/>
            <a:r>
              <a:rPr lang="en-US"/>
              <a:t>Click to edit Master title style</a:t>
            </a:r>
            <a:endParaRPr lang="en-US" dirty="0"/>
          </a:p>
        </p:txBody>
      </p:sp>
      <p:sp>
        <p:nvSpPr>
          <p:cNvPr id="10" name="Content Placeholder 9"/>
          <p:cNvSpPr>
            <a:spLocks noGrp="1"/>
          </p:cNvSpPr>
          <p:nvPr>
            <p:ph sz="quarter" idx="13"/>
          </p:nvPr>
        </p:nvSpPr>
        <p:spPr>
          <a:xfrm>
            <a:off x="317115" y="1264280"/>
            <a:ext cx="8188710" cy="3879131"/>
          </a:xfrm>
        </p:spPr>
        <p:txBody>
          <a:bodyPr/>
          <a:lstStyle>
            <a:lvl1pPr marL="227013" indent="-227013">
              <a:spcBef>
                <a:spcPts val="600"/>
              </a:spcBef>
              <a:buClr>
                <a:srgbClr val="7A9B3D"/>
              </a:buClr>
              <a:buSzPct val="100000"/>
              <a:buFont typeface="+mj-lt"/>
              <a:buAutoNum type="arabicPeriod"/>
              <a:defRPr sz="1400" b="0" i="0" baseline="0">
                <a:solidFill>
                  <a:srgbClr val="000000"/>
                </a:solidFill>
                <a:latin typeface="Arial" pitchFamily="34" charset="0"/>
              </a:defRPr>
            </a:lvl1pPr>
            <a:lvl2pPr marL="461963" indent="-217488">
              <a:spcBef>
                <a:spcPts val="600"/>
              </a:spcBef>
              <a:buClr>
                <a:srgbClr val="768692"/>
              </a:buClr>
              <a:buFont typeface="+mj-lt"/>
              <a:buAutoNum type="alphaUcPeriod"/>
              <a:defRPr sz="1200" baseline="0">
                <a:solidFill>
                  <a:srgbClr val="000000"/>
                </a:solidFill>
                <a:latin typeface="Arial" pitchFamily="34" charset="0"/>
              </a:defRPr>
            </a:lvl2pPr>
            <a:lvl3pPr>
              <a:spcBef>
                <a:spcPts val="600"/>
              </a:spcBef>
              <a:buClr>
                <a:srgbClr val="000000"/>
              </a:buClr>
              <a:defRPr baseline="0">
                <a:solidFill>
                  <a:srgbClr val="000000"/>
                </a:solidFill>
              </a:defRPr>
            </a:lvl3pPr>
          </a:lstStyle>
          <a:p>
            <a:pPr lvl="0"/>
            <a:r>
              <a:rPr lang="en-US"/>
              <a:t>Click to edit Master text styles</a:t>
            </a:r>
          </a:p>
          <a:p>
            <a:pPr lvl="1"/>
            <a:r>
              <a:rPr lang="en-US"/>
              <a:t>Second level</a:t>
            </a:r>
          </a:p>
          <a:p>
            <a:pPr lvl="2"/>
            <a:r>
              <a:rPr lang="en-US"/>
              <a:t>Third level</a:t>
            </a:r>
          </a:p>
        </p:txBody>
      </p:sp>
      <p:sp>
        <p:nvSpPr>
          <p:cNvPr id="5"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dirty="0"/>
              <a:t>Page footer, i.e., For institutional use only.</a:t>
            </a:r>
          </a:p>
        </p:txBody>
      </p:sp>
      <p:sp>
        <p:nvSpPr>
          <p:cNvPr id="7"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dirty="0"/>
              <a:t>Production code #</a:t>
            </a:r>
          </a:p>
        </p:txBody>
      </p:sp>
      <p:sp>
        <p:nvSpPr>
          <p:cNvPr id="36" name="Text Box 5"/>
          <p:cNvSpPr txBox="1">
            <a:spLocks noChangeArrowheads="1"/>
          </p:cNvSpPr>
          <p:nvPr userDrawn="1"/>
        </p:nvSpPr>
        <p:spPr bwMode="auto">
          <a:xfrm>
            <a:off x="320040" y="6189203"/>
            <a:ext cx="6715550" cy="367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anchor="b"/>
          <a:lstStyle>
            <a:lvl1pPr eaLnBrk="0" hangingPunct="0">
              <a:spcBef>
                <a:spcPct val="20000"/>
              </a:spcBef>
              <a:buSzPct val="40000"/>
              <a:defRPr sz="1600" b="1">
                <a:solidFill>
                  <a:schemeClr val="accent1"/>
                </a:solidFill>
                <a:latin typeface="Arial" charset="0"/>
              </a:defRPr>
            </a:lvl1pPr>
            <a:lvl2pPr marL="742950" indent="-285750" eaLnBrk="0" hangingPunct="0">
              <a:spcBef>
                <a:spcPct val="20000"/>
              </a:spcBef>
              <a:buClr>
                <a:srgbClr val="978981"/>
              </a:buClr>
              <a:buChar char="•"/>
              <a:defRPr sz="1400">
                <a:solidFill>
                  <a:schemeClr val="tx1"/>
                </a:solidFill>
                <a:latin typeface="Arial" charset="0"/>
              </a:defRPr>
            </a:lvl2pPr>
            <a:lvl3pPr marL="1143000" indent="-228600" eaLnBrk="0" hangingPunct="0">
              <a:spcBef>
                <a:spcPct val="20000"/>
              </a:spcBef>
              <a:buClr>
                <a:schemeClr val="accent1"/>
              </a:buClr>
              <a:buFont typeface="Arial" charset="0"/>
              <a:buChar char="–"/>
              <a:defRPr sz="1200">
                <a:solidFill>
                  <a:schemeClr val="accent1"/>
                </a:solidFill>
                <a:latin typeface="Arial" charset="0"/>
              </a:defRPr>
            </a:lvl3pPr>
            <a:lvl4pPr marL="1600200" indent="-228600" eaLnBrk="0" hangingPunct="0">
              <a:spcBef>
                <a:spcPct val="20000"/>
              </a:spcBef>
              <a:buFont typeface="Arial" charset="0"/>
              <a:buChar char="•"/>
              <a:defRPr sz="1200">
                <a:solidFill>
                  <a:srgbClr val="4C5F6C"/>
                </a:solidFill>
                <a:latin typeface="Arial" charset="0"/>
              </a:defRPr>
            </a:lvl4pPr>
            <a:lvl5pPr marL="2057400" indent="-228600" eaLnBrk="0" hangingPunct="0">
              <a:lnSpc>
                <a:spcPts val="2400"/>
              </a:lnSpc>
              <a:defRPr sz="1400">
                <a:solidFill>
                  <a:schemeClr val="tx1"/>
                </a:solidFill>
                <a:latin typeface="Arial" charset="0"/>
              </a:defRPr>
            </a:lvl5pPr>
            <a:lvl6pPr marL="2514600" indent="-228600" eaLnBrk="0" fontAlgn="base" hangingPunct="0">
              <a:lnSpc>
                <a:spcPts val="2400"/>
              </a:lnSpc>
              <a:spcBef>
                <a:spcPct val="0"/>
              </a:spcBef>
              <a:spcAft>
                <a:spcPct val="0"/>
              </a:spcAft>
              <a:defRPr sz="1400">
                <a:solidFill>
                  <a:schemeClr val="tx1"/>
                </a:solidFill>
                <a:latin typeface="Arial" charset="0"/>
              </a:defRPr>
            </a:lvl6pPr>
            <a:lvl7pPr marL="2971800" indent="-228600" eaLnBrk="0" fontAlgn="base" hangingPunct="0">
              <a:lnSpc>
                <a:spcPts val="2400"/>
              </a:lnSpc>
              <a:spcBef>
                <a:spcPct val="0"/>
              </a:spcBef>
              <a:spcAft>
                <a:spcPct val="0"/>
              </a:spcAft>
              <a:defRPr sz="1400">
                <a:solidFill>
                  <a:schemeClr val="tx1"/>
                </a:solidFill>
                <a:latin typeface="Arial" charset="0"/>
              </a:defRPr>
            </a:lvl7pPr>
            <a:lvl8pPr marL="3429000" indent="-228600" eaLnBrk="0" fontAlgn="base" hangingPunct="0">
              <a:lnSpc>
                <a:spcPts val="2400"/>
              </a:lnSpc>
              <a:spcBef>
                <a:spcPct val="0"/>
              </a:spcBef>
              <a:spcAft>
                <a:spcPct val="0"/>
              </a:spcAft>
              <a:defRPr sz="1400">
                <a:solidFill>
                  <a:schemeClr val="tx1"/>
                </a:solidFill>
                <a:latin typeface="Arial" charset="0"/>
              </a:defRPr>
            </a:lvl8pPr>
            <a:lvl9pPr marL="3886200" indent="-228600" eaLnBrk="0" fontAlgn="base" hangingPunct="0">
              <a:lnSpc>
                <a:spcPts val="2400"/>
              </a:lnSpc>
              <a:spcBef>
                <a:spcPct val="0"/>
              </a:spcBef>
              <a:spcAft>
                <a:spcPct val="0"/>
              </a:spcAft>
              <a:defRPr sz="1400">
                <a:solidFill>
                  <a:schemeClr val="tx1"/>
                </a:solidFill>
                <a:latin typeface="Arial" charset="0"/>
              </a:defRPr>
            </a:lvl9pPr>
          </a:lstStyle>
          <a:p>
            <a:pPr fontAlgn="base">
              <a:lnSpc>
                <a:spcPts val="1000"/>
              </a:lnSpc>
              <a:spcBef>
                <a:spcPct val="0"/>
              </a:spcBef>
              <a:spcAft>
                <a:spcPts val="300"/>
              </a:spcAft>
              <a:buSzTx/>
              <a:defRPr/>
            </a:pPr>
            <a:r>
              <a:rPr lang="en-US" sz="800" b="0" i="1" kern="0" dirty="0">
                <a:solidFill>
                  <a:srgbClr val="000000"/>
                </a:solidFill>
                <a:latin typeface="Arial"/>
                <a:ea typeface="ＭＳ Ｐゴシック"/>
              </a:rPr>
              <a:t>Current performance may substantially differ from, and could be significantly lower than, performance shown due to recent significant market volatility. Please contact FIAM for updated performance numbers after the tenth business day following quarter end.</a:t>
            </a:r>
            <a:endParaRPr lang="en-US" altLang="en-US" sz="800" b="0" dirty="0">
              <a:solidFill>
                <a:srgbClr val="000000"/>
              </a:solidFill>
              <a:latin typeface="Arial"/>
              <a:ea typeface="ＭＳ Ｐゴシック"/>
            </a:endParaRPr>
          </a:p>
          <a:p>
            <a:pPr fontAlgn="base">
              <a:lnSpc>
                <a:spcPts val="1000"/>
              </a:lnSpc>
              <a:spcBef>
                <a:spcPct val="0"/>
              </a:spcBef>
              <a:spcAft>
                <a:spcPts val="300"/>
              </a:spcAft>
              <a:buSzTx/>
            </a:pPr>
            <a:r>
              <a:rPr lang="en-US" altLang="en-US" sz="800" b="0" dirty="0">
                <a:solidFill>
                  <a:srgbClr val="000000"/>
                </a:solidFill>
                <a:latin typeface="Arial"/>
                <a:ea typeface="ＭＳ Ｐゴシック"/>
              </a:rPr>
              <a:t>See “Important Information” for a discussion of performance data, some of the principal risks related to any of the investment strategies referred to in this presentation, </a:t>
            </a:r>
            <a:r>
              <a:rPr lang="en-US" altLang="en-US" sz="800" b="0" dirty="0">
                <a:solidFill>
                  <a:srgbClr val="FF0000"/>
                </a:solidFill>
                <a:latin typeface="Arial"/>
                <a:ea typeface="ＭＳ Ｐゴシック"/>
              </a:rPr>
              <a:t>professional designations and how they are obtained, </a:t>
            </a:r>
            <a:r>
              <a:rPr lang="en-US" altLang="en-US" sz="800" b="0" dirty="0">
                <a:solidFill>
                  <a:srgbClr val="000000"/>
                </a:solidFill>
                <a:latin typeface="Arial"/>
                <a:ea typeface="ＭＳ Ｐゴシック"/>
              </a:rPr>
              <a:t>and other information related to this presentation.</a:t>
            </a:r>
          </a:p>
        </p:txBody>
      </p:sp>
      <p:grpSp>
        <p:nvGrpSpPr>
          <p:cNvPr id="35" name="Group 34">
            <a:extLst>
              <a:ext uri="{FF2B5EF4-FFF2-40B4-BE49-F238E27FC236}">
                <a16:creationId xmlns:a16="http://schemas.microsoft.com/office/drawing/2014/main" id="{9B671028-E48D-40C5-8ACD-C05FDF7D449F}"/>
              </a:ext>
            </a:extLst>
          </p:cNvPr>
          <p:cNvGrpSpPr/>
          <p:nvPr userDrawn="1"/>
        </p:nvGrpSpPr>
        <p:grpSpPr>
          <a:xfrm>
            <a:off x="7358173" y="6361974"/>
            <a:ext cx="1382376" cy="297562"/>
            <a:chOff x="6923088" y="4475163"/>
            <a:chExt cx="1873251" cy="403225"/>
          </a:xfrm>
        </p:grpSpPr>
        <p:sp>
          <p:nvSpPr>
            <p:cNvPr id="37" name="AutoShape 4">
              <a:extLst>
                <a:ext uri="{FF2B5EF4-FFF2-40B4-BE49-F238E27FC236}">
                  <a16:creationId xmlns:a16="http://schemas.microsoft.com/office/drawing/2014/main" id="{41A0A4C3-79DD-40B6-8BC6-D9EE8117E164}"/>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8" name="Freeform 6">
              <a:extLst>
                <a:ext uri="{FF2B5EF4-FFF2-40B4-BE49-F238E27FC236}">
                  <a16:creationId xmlns:a16="http://schemas.microsoft.com/office/drawing/2014/main" id="{06A09DE6-1F7D-487C-89F5-0133C2811EF1}"/>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9" name="Freeform 7">
              <a:extLst>
                <a:ext uri="{FF2B5EF4-FFF2-40B4-BE49-F238E27FC236}">
                  <a16:creationId xmlns:a16="http://schemas.microsoft.com/office/drawing/2014/main" id="{BC537B18-1528-4582-A10A-FD2BFCA85C9B}"/>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0" name="Freeform 83">
              <a:extLst>
                <a:ext uri="{FF2B5EF4-FFF2-40B4-BE49-F238E27FC236}">
                  <a16:creationId xmlns:a16="http://schemas.microsoft.com/office/drawing/2014/main" id="{A763B7BA-5F06-45F4-B336-0D7F28991AC1}"/>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1" name="Freeform 84">
              <a:extLst>
                <a:ext uri="{FF2B5EF4-FFF2-40B4-BE49-F238E27FC236}">
                  <a16:creationId xmlns:a16="http://schemas.microsoft.com/office/drawing/2014/main" id="{B59244BE-4416-4E71-8CFD-E3148F4E65B4}"/>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2" name="Freeform 85">
              <a:extLst>
                <a:ext uri="{FF2B5EF4-FFF2-40B4-BE49-F238E27FC236}">
                  <a16:creationId xmlns:a16="http://schemas.microsoft.com/office/drawing/2014/main" id="{D7CB18BD-454C-4083-ACF8-08A15D7DE79D}"/>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3" name="Freeform 86">
              <a:extLst>
                <a:ext uri="{FF2B5EF4-FFF2-40B4-BE49-F238E27FC236}">
                  <a16:creationId xmlns:a16="http://schemas.microsoft.com/office/drawing/2014/main" id="{94B7FE36-E6D8-48D3-A920-E17EA9D8FF8A}"/>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4" name="Freeform 87">
              <a:extLst>
                <a:ext uri="{FF2B5EF4-FFF2-40B4-BE49-F238E27FC236}">
                  <a16:creationId xmlns:a16="http://schemas.microsoft.com/office/drawing/2014/main" id="{91500554-36B6-48B3-B52C-B65BB750F0AF}"/>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5" name="Freeform 88">
              <a:extLst>
                <a:ext uri="{FF2B5EF4-FFF2-40B4-BE49-F238E27FC236}">
                  <a16:creationId xmlns:a16="http://schemas.microsoft.com/office/drawing/2014/main" id="{242806E8-1993-4314-9125-9F718CD2463F}"/>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6" name="Freeform 89">
              <a:extLst>
                <a:ext uri="{FF2B5EF4-FFF2-40B4-BE49-F238E27FC236}">
                  <a16:creationId xmlns:a16="http://schemas.microsoft.com/office/drawing/2014/main" id="{D4AFA8A6-1EEC-415E-BB42-399FE44894EE}"/>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7" name="Freeform 90">
              <a:extLst>
                <a:ext uri="{FF2B5EF4-FFF2-40B4-BE49-F238E27FC236}">
                  <a16:creationId xmlns:a16="http://schemas.microsoft.com/office/drawing/2014/main" id="{99DC5ADB-9A49-4B3F-930C-28D84D6505AC}"/>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8" name="Freeform 91">
              <a:extLst>
                <a:ext uri="{FF2B5EF4-FFF2-40B4-BE49-F238E27FC236}">
                  <a16:creationId xmlns:a16="http://schemas.microsoft.com/office/drawing/2014/main" id="{AED2E847-3F3A-4514-BF00-2256431A212D}"/>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9" name="Freeform 92">
              <a:extLst>
                <a:ext uri="{FF2B5EF4-FFF2-40B4-BE49-F238E27FC236}">
                  <a16:creationId xmlns:a16="http://schemas.microsoft.com/office/drawing/2014/main" id="{5AD1B40E-46E6-4893-B807-94DA6F5E0C6B}"/>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0" name="Freeform 93">
              <a:extLst>
                <a:ext uri="{FF2B5EF4-FFF2-40B4-BE49-F238E27FC236}">
                  <a16:creationId xmlns:a16="http://schemas.microsoft.com/office/drawing/2014/main" id="{BAEC2E29-1A2F-4FB2-AEAC-2728E44A0D66}"/>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1" name="Freeform 94">
              <a:extLst>
                <a:ext uri="{FF2B5EF4-FFF2-40B4-BE49-F238E27FC236}">
                  <a16:creationId xmlns:a16="http://schemas.microsoft.com/office/drawing/2014/main" id="{2D42C520-E013-4E29-B604-496C5C1FF3FA}"/>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2" name="Freeform 95">
              <a:extLst>
                <a:ext uri="{FF2B5EF4-FFF2-40B4-BE49-F238E27FC236}">
                  <a16:creationId xmlns:a16="http://schemas.microsoft.com/office/drawing/2014/main" id="{B7DD14D4-C960-46FA-8A45-D56F5C19EAD4}"/>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3" name="Freeform 96">
              <a:extLst>
                <a:ext uri="{FF2B5EF4-FFF2-40B4-BE49-F238E27FC236}">
                  <a16:creationId xmlns:a16="http://schemas.microsoft.com/office/drawing/2014/main" id="{E16CF84E-5E30-4B1D-A884-C3C46A6FCD54}"/>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4" name="Freeform 97">
              <a:extLst>
                <a:ext uri="{FF2B5EF4-FFF2-40B4-BE49-F238E27FC236}">
                  <a16:creationId xmlns:a16="http://schemas.microsoft.com/office/drawing/2014/main" id="{FCAFF8C7-3F9F-4B5D-992B-894297B50B97}"/>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5" name="Freeform 98">
              <a:extLst>
                <a:ext uri="{FF2B5EF4-FFF2-40B4-BE49-F238E27FC236}">
                  <a16:creationId xmlns:a16="http://schemas.microsoft.com/office/drawing/2014/main" id="{3C7CE6E6-40FF-4BFB-AF55-B1ACB79E45B4}"/>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6" name="Freeform 99">
              <a:extLst>
                <a:ext uri="{FF2B5EF4-FFF2-40B4-BE49-F238E27FC236}">
                  <a16:creationId xmlns:a16="http://schemas.microsoft.com/office/drawing/2014/main" id="{9053C78C-E959-476C-B6BE-1F5CD9988B1D}"/>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7" name="Freeform 100">
              <a:extLst>
                <a:ext uri="{FF2B5EF4-FFF2-40B4-BE49-F238E27FC236}">
                  <a16:creationId xmlns:a16="http://schemas.microsoft.com/office/drawing/2014/main" id="{6B650DC3-F60E-4D00-B0B4-6826F061302A}"/>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8" name="Freeform 101">
              <a:extLst>
                <a:ext uri="{FF2B5EF4-FFF2-40B4-BE49-F238E27FC236}">
                  <a16:creationId xmlns:a16="http://schemas.microsoft.com/office/drawing/2014/main" id="{92A617C5-EA9A-4E5E-BCA5-D29DDB093EB1}"/>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9" name="Freeform 102">
              <a:extLst>
                <a:ext uri="{FF2B5EF4-FFF2-40B4-BE49-F238E27FC236}">
                  <a16:creationId xmlns:a16="http://schemas.microsoft.com/office/drawing/2014/main" id="{7664EE20-78C2-4457-88D7-0E7298C674FC}"/>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0" name="Freeform 103">
              <a:extLst>
                <a:ext uri="{FF2B5EF4-FFF2-40B4-BE49-F238E27FC236}">
                  <a16:creationId xmlns:a16="http://schemas.microsoft.com/office/drawing/2014/main" id="{33D15C1A-04E9-463A-8619-EDB39EBA46BB}"/>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1" name="Freeform 104">
              <a:extLst>
                <a:ext uri="{FF2B5EF4-FFF2-40B4-BE49-F238E27FC236}">
                  <a16:creationId xmlns:a16="http://schemas.microsoft.com/office/drawing/2014/main" id="{2AD3A8A6-2731-4BC1-B17D-F9165A963F23}"/>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2" name="Freeform 105">
              <a:extLst>
                <a:ext uri="{FF2B5EF4-FFF2-40B4-BE49-F238E27FC236}">
                  <a16:creationId xmlns:a16="http://schemas.microsoft.com/office/drawing/2014/main" id="{53B0DC82-B3F2-4112-B778-9F65A4293160}"/>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Tree>
    <p:extLst>
      <p:ext uri="{BB962C8B-B14F-4D97-AF65-F5344CB8AC3E}">
        <p14:creationId xmlns:p14="http://schemas.microsoft.com/office/powerpoint/2010/main" val="28537691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lvl1pPr>
              <a:defRPr>
                <a:solidFill>
                  <a:srgbClr val="333F48"/>
                </a:solidFill>
              </a:defRPr>
            </a:lvl1pPr>
          </a:lstStyle>
          <a:p>
            <a:r>
              <a:rPr lang="en-US"/>
              <a:t>Click to edit Master title style</a:t>
            </a:r>
            <a:endParaRPr lang="en-US" dirty="0"/>
          </a:p>
        </p:txBody>
      </p:sp>
      <p:grpSp>
        <p:nvGrpSpPr>
          <p:cNvPr id="33" name="Group 32">
            <a:extLst>
              <a:ext uri="{FF2B5EF4-FFF2-40B4-BE49-F238E27FC236}">
                <a16:creationId xmlns:a16="http://schemas.microsoft.com/office/drawing/2014/main" id="{0F62616B-A113-49C2-BCA3-32AFDB89CBE2}"/>
              </a:ext>
            </a:extLst>
          </p:cNvPr>
          <p:cNvGrpSpPr/>
          <p:nvPr userDrawn="1"/>
        </p:nvGrpSpPr>
        <p:grpSpPr>
          <a:xfrm>
            <a:off x="7358173" y="6361974"/>
            <a:ext cx="1382376" cy="297562"/>
            <a:chOff x="6923088" y="4475163"/>
            <a:chExt cx="1873251" cy="403225"/>
          </a:xfrm>
        </p:grpSpPr>
        <p:sp>
          <p:nvSpPr>
            <p:cNvPr id="34" name="AutoShape 4">
              <a:extLst>
                <a:ext uri="{FF2B5EF4-FFF2-40B4-BE49-F238E27FC236}">
                  <a16:creationId xmlns:a16="http://schemas.microsoft.com/office/drawing/2014/main" id="{49D58BA8-C307-41D7-A988-42E097D1EF76}"/>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5" name="Freeform 6">
              <a:extLst>
                <a:ext uri="{FF2B5EF4-FFF2-40B4-BE49-F238E27FC236}">
                  <a16:creationId xmlns:a16="http://schemas.microsoft.com/office/drawing/2014/main" id="{99E6BBF1-6900-43FC-B106-808C1203D52D}"/>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7" name="Freeform 7">
              <a:extLst>
                <a:ext uri="{FF2B5EF4-FFF2-40B4-BE49-F238E27FC236}">
                  <a16:creationId xmlns:a16="http://schemas.microsoft.com/office/drawing/2014/main" id="{1CAA1F79-AF27-468E-8586-71EF43CE357A}"/>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8" name="Freeform 83">
              <a:extLst>
                <a:ext uri="{FF2B5EF4-FFF2-40B4-BE49-F238E27FC236}">
                  <a16:creationId xmlns:a16="http://schemas.microsoft.com/office/drawing/2014/main" id="{25628C13-6D93-4F00-8ED8-90737568691A}"/>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9" name="Freeform 84">
              <a:extLst>
                <a:ext uri="{FF2B5EF4-FFF2-40B4-BE49-F238E27FC236}">
                  <a16:creationId xmlns:a16="http://schemas.microsoft.com/office/drawing/2014/main" id="{85C9C7A1-11FD-4D2C-8EDF-4833DE82B50F}"/>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0" name="Freeform 85">
              <a:extLst>
                <a:ext uri="{FF2B5EF4-FFF2-40B4-BE49-F238E27FC236}">
                  <a16:creationId xmlns:a16="http://schemas.microsoft.com/office/drawing/2014/main" id="{713E574F-4758-48CF-8C5C-4B0FEAD58DBC}"/>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1" name="Freeform 86">
              <a:extLst>
                <a:ext uri="{FF2B5EF4-FFF2-40B4-BE49-F238E27FC236}">
                  <a16:creationId xmlns:a16="http://schemas.microsoft.com/office/drawing/2014/main" id="{5095EFD8-8B78-4FEF-966C-2B785E288D2C}"/>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2" name="Freeform 87">
              <a:extLst>
                <a:ext uri="{FF2B5EF4-FFF2-40B4-BE49-F238E27FC236}">
                  <a16:creationId xmlns:a16="http://schemas.microsoft.com/office/drawing/2014/main" id="{E1B3AF36-9DB0-4539-A4AF-978F6A19D6B3}"/>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3" name="Freeform 88">
              <a:extLst>
                <a:ext uri="{FF2B5EF4-FFF2-40B4-BE49-F238E27FC236}">
                  <a16:creationId xmlns:a16="http://schemas.microsoft.com/office/drawing/2014/main" id="{F15062CC-7097-4E22-AE5F-F76A8333AC1D}"/>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4" name="Freeform 89">
              <a:extLst>
                <a:ext uri="{FF2B5EF4-FFF2-40B4-BE49-F238E27FC236}">
                  <a16:creationId xmlns:a16="http://schemas.microsoft.com/office/drawing/2014/main" id="{62041FF7-97A2-4A11-9271-8D11EF1B6F17}"/>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5" name="Freeform 90">
              <a:extLst>
                <a:ext uri="{FF2B5EF4-FFF2-40B4-BE49-F238E27FC236}">
                  <a16:creationId xmlns:a16="http://schemas.microsoft.com/office/drawing/2014/main" id="{866430AE-6669-4687-886A-98B81A7EF4AC}"/>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6" name="Freeform 91">
              <a:extLst>
                <a:ext uri="{FF2B5EF4-FFF2-40B4-BE49-F238E27FC236}">
                  <a16:creationId xmlns:a16="http://schemas.microsoft.com/office/drawing/2014/main" id="{57909145-25A0-4EAB-B40E-FBACBBFF5AE0}"/>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7" name="Freeform 92">
              <a:extLst>
                <a:ext uri="{FF2B5EF4-FFF2-40B4-BE49-F238E27FC236}">
                  <a16:creationId xmlns:a16="http://schemas.microsoft.com/office/drawing/2014/main" id="{62666816-D824-4ACC-8078-CCF01B95645F}"/>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8" name="Freeform 93">
              <a:extLst>
                <a:ext uri="{FF2B5EF4-FFF2-40B4-BE49-F238E27FC236}">
                  <a16:creationId xmlns:a16="http://schemas.microsoft.com/office/drawing/2014/main" id="{1F0724D1-2EFF-4A05-AA97-B428B60B54AA}"/>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9" name="Freeform 94">
              <a:extLst>
                <a:ext uri="{FF2B5EF4-FFF2-40B4-BE49-F238E27FC236}">
                  <a16:creationId xmlns:a16="http://schemas.microsoft.com/office/drawing/2014/main" id="{D34C7757-1028-46E7-A0FC-91415EC881CB}"/>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0" name="Freeform 95">
              <a:extLst>
                <a:ext uri="{FF2B5EF4-FFF2-40B4-BE49-F238E27FC236}">
                  <a16:creationId xmlns:a16="http://schemas.microsoft.com/office/drawing/2014/main" id="{36C1B6E4-AA6D-4CF5-B8E3-594DC6CE63A1}"/>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1" name="Freeform 96">
              <a:extLst>
                <a:ext uri="{FF2B5EF4-FFF2-40B4-BE49-F238E27FC236}">
                  <a16:creationId xmlns:a16="http://schemas.microsoft.com/office/drawing/2014/main" id="{DF1C8D13-DF52-4DA1-BA6C-7FDF9DC5423E}"/>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2" name="Freeform 97">
              <a:extLst>
                <a:ext uri="{FF2B5EF4-FFF2-40B4-BE49-F238E27FC236}">
                  <a16:creationId xmlns:a16="http://schemas.microsoft.com/office/drawing/2014/main" id="{0B1E1E0F-7A95-4895-BC4B-813467036ACD}"/>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3" name="Freeform 98">
              <a:extLst>
                <a:ext uri="{FF2B5EF4-FFF2-40B4-BE49-F238E27FC236}">
                  <a16:creationId xmlns:a16="http://schemas.microsoft.com/office/drawing/2014/main" id="{1724219D-3EC2-412F-BEDC-0B04B4D64F07}"/>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4" name="Freeform 99">
              <a:extLst>
                <a:ext uri="{FF2B5EF4-FFF2-40B4-BE49-F238E27FC236}">
                  <a16:creationId xmlns:a16="http://schemas.microsoft.com/office/drawing/2014/main" id="{66CE2863-34C9-4A02-9B77-AFA590051207}"/>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5" name="Freeform 100">
              <a:extLst>
                <a:ext uri="{FF2B5EF4-FFF2-40B4-BE49-F238E27FC236}">
                  <a16:creationId xmlns:a16="http://schemas.microsoft.com/office/drawing/2014/main" id="{80C1B223-C089-47E5-927C-E60A5CDCA764}"/>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6" name="Freeform 101">
              <a:extLst>
                <a:ext uri="{FF2B5EF4-FFF2-40B4-BE49-F238E27FC236}">
                  <a16:creationId xmlns:a16="http://schemas.microsoft.com/office/drawing/2014/main" id="{058054D3-04AE-4AA2-873C-35A5A9D314DF}"/>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7" name="Freeform 102">
              <a:extLst>
                <a:ext uri="{FF2B5EF4-FFF2-40B4-BE49-F238E27FC236}">
                  <a16:creationId xmlns:a16="http://schemas.microsoft.com/office/drawing/2014/main" id="{CC748DEB-C39E-42D7-937A-08EF61FC5D31}"/>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8" name="Freeform 103">
              <a:extLst>
                <a:ext uri="{FF2B5EF4-FFF2-40B4-BE49-F238E27FC236}">
                  <a16:creationId xmlns:a16="http://schemas.microsoft.com/office/drawing/2014/main" id="{B18D9B0F-C3B3-45D2-BAAC-62562A3321F1}"/>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9" name="Freeform 104">
              <a:extLst>
                <a:ext uri="{FF2B5EF4-FFF2-40B4-BE49-F238E27FC236}">
                  <a16:creationId xmlns:a16="http://schemas.microsoft.com/office/drawing/2014/main" id="{88CA10C9-6D49-426A-B008-08E0E8E944BC}"/>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0" name="Freeform 105">
              <a:extLst>
                <a:ext uri="{FF2B5EF4-FFF2-40B4-BE49-F238E27FC236}">
                  <a16:creationId xmlns:a16="http://schemas.microsoft.com/office/drawing/2014/main" id="{070CAC55-C633-45AA-A07A-C0957C583FFD}"/>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61" name="Slide Number Placeholder 3">
            <a:extLst>
              <a:ext uri="{FF2B5EF4-FFF2-40B4-BE49-F238E27FC236}">
                <a16:creationId xmlns:a16="http://schemas.microsoft.com/office/drawing/2014/main" id="{EF524037-F5D0-4428-9CA5-C04BEDCCDDDB}"/>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2" name="Rectangle 155">
            <a:extLst>
              <a:ext uri="{FF2B5EF4-FFF2-40B4-BE49-F238E27FC236}">
                <a16:creationId xmlns:a16="http://schemas.microsoft.com/office/drawing/2014/main" id="{2B1046A9-03EE-49D1-911F-F1D3C9D50387}"/>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dirty="0"/>
              <a:t>Production code #</a:t>
            </a:r>
          </a:p>
        </p:txBody>
      </p:sp>
      <p:sp>
        <p:nvSpPr>
          <p:cNvPr id="63" name="Rectangle 176">
            <a:extLst>
              <a:ext uri="{FF2B5EF4-FFF2-40B4-BE49-F238E27FC236}">
                <a16:creationId xmlns:a16="http://schemas.microsoft.com/office/drawing/2014/main" id="{3D2F4685-1C9C-46FB-9AD7-3D8BB399C73D}"/>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396020874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p>
            <a:r>
              <a:rPr lang="en-US"/>
              <a:t>Click to edit Master title style</a:t>
            </a:r>
            <a:endParaRPr lang="en-US" dirty="0"/>
          </a:p>
        </p:txBody>
      </p:sp>
      <p:sp>
        <p:nvSpPr>
          <p:cNvPr id="7" name="Content Placeholder 2"/>
          <p:cNvSpPr>
            <a:spLocks noGrp="1"/>
          </p:cNvSpPr>
          <p:nvPr>
            <p:ph idx="13"/>
          </p:nvPr>
        </p:nvSpPr>
        <p:spPr>
          <a:xfrm>
            <a:off x="325661" y="1339850"/>
            <a:ext cx="8188710" cy="4878388"/>
          </a:xfrm>
        </p:spPr>
        <p:txBody>
          <a:bodyPr lIns="91440"/>
          <a:lstStyle>
            <a:lvl1pPr marL="0" indent="0" algn="l" rtl="0" fontAlgn="base">
              <a:spcBef>
                <a:spcPts val="480"/>
              </a:spcBef>
              <a:spcAft>
                <a:spcPct val="0"/>
              </a:spcAft>
              <a:buSzPct val="40000"/>
              <a:defRPr lang="en-US" sz="1600" b="1" dirty="0" smtClean="0">
                <a:solidFill>
                  <a:srgbClr val="7A9A3D"/>
                </a:solidFill>
                <a:latin typeface="+mn-lt"/>
                <a:ea typeface="+mn-ea"/>
                <a:cs typeface="+mn-cs"/>
              </a:defRPr>
            </a:lvl1pPr>
            <a:lvl2pPr>
              <a:spcBef>
                <a:spcPts val="2000"/>
              </a:spcBef>
              <a:defRPr lang="en-US" dirty="0" smtClean="0">
                <a:solidFill>
                  <a:schemeClr val="tx1"/>
                </a:solidFill>
                <a:latin typeface="+mn-lt"/>
              </a:defRPr>
            </a:lvl2pPr>
            <a:lvl3pPr>
              <a:defRPr lang="en-US" sz="1600" dirty="0" smtClean="0">
                <a:solidFill>
                  <a:schemeClr val="accent1"/>
                </a:solidFill>
                <a:latin typeface="+mn-lt"/>
              </a:defRPr>
            </a:lvl3pPr>
            <a:lvl4pPr>
              <a:buClr>
                <a:schemeClr val="bg2"/>
              </a:buClr>
              <a:buSzPct val="80000"/>
              <a:buFont typeface="Arial" pitchFamily="34" charset="0"/>
              <a:buChar char="•"/>
              <a:defRPr sz="1400">
                <a:solidFill>
                  <a:schemeClr val="accent1"/>
                </a:solidFill>
              </a:defRPr>
            </a:lvl4pPr>
          </a:lstStyle>
          <a:p>
            <a:pPr lvl="0"/>
            <a:r>
              <a:rPr lang="en-US"/>
              <a:t>Click to edit Master text styles</a:t>
            </a:r>
          </a:p>
        </p:txBody>
      </p:sp>
      <p:grpSp>
        <p:nvGrpSpPr>
          <p:cNvPr id="34" name="Group 33">
            <a:extLst>
              <a:ext uri="{FF2B5EF4-FFF2-40B4-BE49-F238E27FC236}">
                <a16:creationId xmlns:a16="http://schemas.microsoft.com/office/drawing/2014/main" id="{7645B271-DC5A-455C-972F-184CD6F75FE1}"/>
              </a:ext>
            </a:extLst>
          </p:cNvPr>
          <p:cNvGrpSpPr/>
          <p:nvPr userDrawn="1"/>
        </p:nvGrpSpPr>
        <p:grpSpPr>
          <a:xfrm>
            <a:off x="7358173" y="6361974"/>
            <a:ext cx="1382376" cy="297562"/>
            <a:chOff x="6923088" y="4475163"/>
            <a:chExt cx="1873251" cy="403225"/>
          </a:xfrm>
        </p:grpSpPr>
        <p:sp>
          <p:nvSpPr>
            <p:cNvPr id="35" name="AutoShape 4">
              <a:extLst>
                <a:ext uri="{FF2B5EF4-FFF2-40B4-BE49-F238E27FC236}">
                  <a16:creationId xmlns:a16="http://schemas.microsoft.com/office/drawing/2014/main" id="{981F299B-B30A-4200-882E-A1DB110E54A1}"/>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6" name="Freeform 6">
              <a:extLst>
                <a:ext uri="{FF2B5EF4-FFF2-40B4-BE49-F238E27FC236}">
                  <a16:creationId xmlns:a16="http://schemas.microsoft.com/office/drawing/2014/main" id="{8CB19815-5037-45FC-9786-8C9AD1058016}"/>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7" name="Freeform 7">
              <a:extLst>
                <a:ext uri="{FF2B5EF4-FFF2-40B4-BE49-F238E27FC236}">
                  <a16:creationId xmlns:a16="http://schemas.microsoft.com/office/drawing/2014/main" id="{210663C0-C8F9-403A-8CD2-C1F7CF8FC2BF}"/>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9" name="Freeform 83">
              <a:extLst>
                <a:ext uri="{FF2B5EF4-FFF2-40B4-BE49-F238E27FC236}">
                  <a16:creationId xmlns:a16="http://schemas.microsoft.com/office/drawing/2014/main" id="{8158FE4D-784E-459F-A960-4E125DF0F251}"/>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0" name="Freeform 84">
              <a:extLst>
                <a:ext uri="{FF2B5EF4-FFF2-40B4-BE49-F238E27FC236}">
                  <a16:creationId xmlns:a16="http://schemas.microsoft.com/office/drawing/2014/main" id="{84E0C97A-D15D-41FF-A250-6C5D06F3172F}"/>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1" name="Freeform 85">
              <a:extLst>
                <a:ext uri="{FF2B5EF4-FFF2-40B4-BE49-F238E27FC236}">
                  <a16:creationId xmlns:a16="http://schemas.microsoft.com/office/drawing/2014/main" id="{9286D920-7349-4DA5-8098-FBBBA4142274}"/>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2" name="Freeform 86">
              <a:extLst>
                <a:ext uri="{FF2B5EF4-FFF2-40B4-BE49-F238E27FC236}">
                  <a16:creationId xmlns:a16="http://schemas.microsoft.com/office/drawing/2014/main" id="{C1B434F8-ADCA-4E47-AE1A-49F89DAFECC5}"/>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3" name="Freeform 87">
              <a:extLst>
                <a:ext uri="{FF2B5EF4-FFF2-40B4-BE49-F238E27FC236}">
                  <a16:creationId xmlns:a16="http://schemas.microsoft.com/office/drawing/2014/main" id="{282F5851-8545-4EE9-A625-19BE3095ACB6}"/>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4" name="Freeform 88">
              <a:extLst>
                <a:ext uri="{FF2B5EF4-FFF2-40B4-BE49-F238E27FC236}">
                  <a16:creationId xmlns:a16="http://schemas.microsoft.com/office/drawing/2014/main" id="{D6AB1CC1-1D24-4B74-A27D-D1B8A703D991}"/>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5" name="Freeform 89">
              <a:extLst>
                <a:ext uri="{FF2B5EF4-FFF2-40B4-BE49-F238E27FC236}">
                  <a16:creationId xmlns:a16="http://schemas.microsoft.com/office/drawing/2014/main" id="{3862B34B-4D7E-4367-ABFC-C70AAC34F925}"/>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6" name="Freeform 90">
              <a:extLst>
                <a:ext uri="{FF2B5EF4-FFF2-40B4-BE49-F238E27FC236}">
                  <a16:creationId xmlns:a16="http://schemas.microsoft.com/office/drawing/2014/main" id="{E5F1F9C5-A51C-4CC0-8DF0-465C55D60173}"/>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7" name="Freeform 91">
              <a:extLst>
                <a:ext uri="{FF2B5EF4-FFF2-40B4-BE49-F238E27FC236}">
                  <a16:creationId xmlns:a16="http://schemas.microsoft.com/office/drawing/2014/main" id="{569D52C3-EFFA-4F6C-88D6-95C2B8F81034}"/>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8" name="Freeform 92">
              <a:extLst>
                <a:ext uri="{FF2B5EF4-FFF2-40B4-BE49-F238E27FC236}">
                  <a16:creationId xmlns:a16="http://schemas.microsoft.com/office/drawing/2014/main" id="{42ED9E5F-C2B4-42A4-AA2A-AF48941C81EB}"/>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9" name="Freeform 93">
              <a:extLst>
                <a:ext uri="{FF2B5EF4-FFF2-40B4-BE49-F238E27FC236}">
                  <a16:creationId xmlns:a16="http://schemas.microsoft.com/office/drawing/2014/main" id="{CC43DE98-B858-4BA0-96D4-87DABB0B9042}"/>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0" name="Freeform 94">
              <a:extLst>
                <a:ext uri="{FF2B5EF4-FFF2-40B4-BE49-F238E27FC236}">
                  <a16:creationId xmlns:a16="http://schemas.microsoft.com/office/drawing/2014/main" id="{C77B781B-7A72-4CD0-B5D7-93667054DEC7}"/>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1" name="Freeform 95">
              <a:extLst>
                <a:ext uri="{FF2B5EF4-FFF2-40B4-BE49-F238E27FC236}">
                  <a16:creationId xmlns:a16="http://schemas.microsoft.com/office/drawing/2014/main" id="{65A1C4BE-A361-43C9-9F99-35D7D96B6351}"/>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2" name="Freeform 96">
              <a:extLst>
                <a:ext uri="{FF2B5EF4-FFF2-40B4-BE49-F238E27FC236}">
                  <a16:creationId xmlns:a16="http://schemas.microsoft.com/office/drawing/2014/main" id="{A0712A7E-616F-4D72-9D69-992C6EECD487}"/>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3" name="Freeform 97">
              <a:extLst>
                <a:ext uri="{FF2B5EF4-FFF2-40B4-BE49-F238E27FC236}">
                  <a16:creationId xmlns:a16="http://schemas.microsoft.com/office/drawing/2014/main" id="{622CAA9B-3BBB-4A0A-9F4F-A55FF6A4F70F}"/>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4" name="Freeform 98">
              <a:extLst>
                <a:ext uri="{FF2B5EF4-FFF2-40B4-BE49-F238E27FC236}">
                  <a16:creationId xmlns:a16="http://schemas.microsoft.com/office/drawing/2014/main" id="{05FA4D1B-0AF0-478D-9483-3C9AD781F457}"/>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5" name="Freeform 99">
              <a:extLst>
                <a:ext uri="{FF2B5EF4-FFF2-40B4-BE49-F238E27FC236}">
                  <a16:creationId xmlns:a16="http://schemas.microsoft.com/office/drawing/2014/main" id="{759E997B-853C-4C4C-A139-FCA7C81D155F}"/>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6" name="Freeform 100">
              <a:extLst>
                <a:ext uri="{FF2B5EF4-FFF2-40B4-BE49-F238E27FC236}">
                  <a16:creationId xmlns:a16="http://schemas.microsoft.com/office/drawing/2014/main" id="{986E164C-CF11-4423-93E0-CE6765080049}"/>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7" name="Freeform 101">
              <a:extLst>
                <a:ext uri="{FF2B5EF4-FFF2-40B4-BE49-F238E27FC236}">
                  <a16:creationId xmlns:a16="http://schemas.microsoft.com/office/drawing/2014/main" id="{2BA4917F-73B1-42C6-8A7A-BC93E1E70930}"/>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8" name="Freeform 102">
              <a:extLst>
                <a:ext uri="{FF2B5EF4-FFF2-40B4-BE49-F238E27FC236}">
                  <a16:creationId xmlns:a16="http://schemas.microsoft.com/office/drawing/2014/main" id="{5219F6E5-979C-417D-B1BC-F638E25EC2C3}"/>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9" name="Freeform 103">
              <a:extLst>
                <a:ext uri="{FF2B5EF4-FFF2-40B4-BE49-F238E27FC236}">
                  <a16:creationId xmlns:a16="http://schemas.microsoft.com/office/drawing/2014/main" id="{A50A41F6-9858-47F8-8C00-C523EFC2667E}"/>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0" name="Freeform 104">
              <a:extLst>
                <a:ext uri="{FF2B5EF4-FFF2-40B4-BE49-F238E27FC236}">
                  <a16:creationId xmlns:a16="http://schemas.microsoft.com/office/drawing/2014/main" id="{D34DAA34-328E-42B7-AEF3-A67AF79B1509}"/>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1" name="Freeform 105">
              <a:extLst>
                <a:ext uri="{FF2B5EF4-FFF2-40B4-BE49-F238E27FC236}">
                  <a16:creationId xmlns:a16="http://schemas.microsoft.com/office/drawing/2014/main" id="{09E02178-BC20-4656-8320-DBEE2C2D78BF}"/>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62" name="Slide Number Placeholder 3">
            <a:extLst>
              <a:ext uri="{FF2B5EF4-FFF2-40B4-BE49-F238E27FC236}">
                <a16:creationId xmlns:a16="http://schemas.microsoft.com/office/drawing/2014/main" id="{4BACBA7A-3B9C-4FA4-BE9B-2701ADADA166}"/>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3" name="Rectangle 155">
            <a:extLst>
              <a:ext uri="{FF2B5EF4-FFF2-40B4-BE49-F238E27FC236}">
                <a16:creationId xmlns:a16="http://schemas.microsoft.com/office/drawing/2014/main" id="{14E214B7-BB48-4178-B022-500F2BA5A5EF}"/>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dirty="0"/>
              <a:t>Production code #</a:t>
            </a:r>
          </a:p>
        </p:txBody>
      </p:sp>
      <p:sp>
        <p:nvSpPr>
          <p:cNvPr id="64" name="Rectangle 176">
            <a:extLst>
              <a:ext uri="{FF2B5EF4-FFF2-40B4-BE49-F238E27FC236}">
                <a16:creationId xmlns:a16="http://schemas.microsoft.com/office/drawing/2014/main" id="{1206BE26-E5C7-4ADA-8A9A-41BDC4C42A8A}"/>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2477460403"/>
      </p:ext>
    </p:extLst>
  </p:cSld>
  <p:clrMapOvr>
    <a:masterClrMapping/>
  </p:clrMapOvr>
  <p:extLst>
    <p:ext uri="{DCECCB84-F9BA-43D5-87BE-67443E8EF086}">
      <p15:sldGuideLst xmlns:p15="http://schemas.microsoft.com/office/powerpoint/2012/main">
        <p15:guide id="1" orient="horz" pos="2160">
          <p15:clr>
            <a:srgbClr val="FBAE40"/>
          </p15:clr>
        </p15:guide>
        <p15:guide id="2" pos="264">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41248"/>
          </a:xfrm>
        </p:spPr>
        <p:txBody>
          <a:bodyPr/>
          <a:lstStyle>
            <a:lvl1pPr>
              <a:defRPr>
                <a:solidFill>
                  <a:srgbClr val="333F48"/>
                </a:solidFill>
              </a:defRPr>
            </a:lvl1pPr>
          </a:lstStyle>
          <a:p>
            <a:r>
              <a:rPr lang="en-US"/>
              <a:t>Click to edit Master title style</a:t>
            </a:r>
            <a:endParaRPr lang="en-US" dirty="0"/>
          </a:p>
        </p:txBody>
      </p:sp>
      <p:sp>
        <p:nvSpPr>
          <p:cNvPr id="11" name="Content Placeholder 2"/>
          <p:cNvSpPr>
            <a:spLocks noGrp="1"/>
          </p:cNvSpPr>
          <p:nvPr>
            <p:ph idx="12"/>
          </p:nvPr>
        </p:nvSpPr>
        <p:spPr>
          <a:xfrm>
            <a:off x="325661" y="1339850"/>
            <a:ext cx="8188710" cy="4878388"/>
          </a:xfrm>
        </p:spPr>
        <p:txBody>
          <a:bodyPr lIns="91440"/>
          <a:lstStyle>
            <a:lvl1pPr marL="0" indent="0" algn="l" rtl="0" fontAlgn="base">
              <a:spcBef>
                <a:spcPts val="480"/>
              </a:spcBef>
              <a:spcAft>
                <a:spcPct val="0"/>
              </a:spcAft>
              <a:buSzPct val="40000"/>
              <a:defRPr lang="en-US" sz="1600" b="1" dirty="0" smtClean="0">
                <a:solidFill>
                  <a:srgbClr val="7A9B3D"/>
                </a:solidFill>
                <a:latin typeface="+mn-lt"/>
                <a:ea typeface="+mn-ea"/>
                <a:cs typeface="+mn-cs"/>
              </a:defRPr>
            </a:lvl1pPr>
            <a:lvl2pPr marL="114300" indent="-114300">
              <a:spcBef>
                <a:spcPts val="288"/>
              </a:spcBef>
              <a:buClr>
                <a:srgbClr val="7A9B3D"/>
              </a:buClr>
              <a:defRPr lang="en-US" dirty="0" smtClean="0">
                <a:solidFill>
                  <a:srgbClr val="000000"/>
                </a:solidFill>
                <a:latin typeface="+mn-lt"/>
              </a:defRPr>
            </a:lvl2pPr>
            <a:lvl3pPr marL="228600" indent="-114300">
              <a:buClr>
                <a:srgbClr val="768692"/>
              </a:buClr>
              <a:defRPr lang="en-US" sz="1200" dirty="0" smtClean="0">
                <a:solidFill>
                  <a:srgbClr val="000000"/>
                </a:solidFill>
                <a:latin typeface="+mn-lt"/>
              </a:defRPr>
            </a:lvl3pPr>
            <a:lvl4pPr marL="342900" indent="-114300">
              <a:buClr>
                <a:srgbClr val="000000"/>
              </a:buClr>
              <a:buSzPct val="100000"/>
              <a:buFont typeface="Arial" pitchFamily="34" charset="0"/>
              <a:buChar char="•"/>
              <a:defRPr sz="1200">
                <a:solidFill>
                  <a:srgbClr val="000000"/>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grpSp>
        <p:nvGrpSpPr>
          <p:cNvPr id="34" name="Group 33">
            <a:extLst>
              <a:ext uri="{FF2B5EF4-FFF2-40B4-BE49-F238E27FC236}">
                <a16:creationId xmlns:a16="http://schemas.microsoft.com/office/drawing/2014/main" id="{F35FDC46-FBEF-4D3A-824F-AA5527F6B538}"/>
              </a:ext>
            </a:extLst>
          </p:cNvPr>
          <p:cNvGrpSpPr/>
          <p:nvPr userDrawn="1"/>
        </p:nvGrpSpPr>
        <p:grpSpPr>
          <a:xfrm>
            <a:off x="7358173" y="6361974"/>
            <a:ext cx="1382376" cy="297562"/>
            <a:chOff x="6923088" y="4475163"/>
            <a:chExt cx="1873251" cy="403225"/>
          </a:xfrm>
        </p:grpSpPr>
        <p:sp>
          <p:nvSpPr>
            <p:cNvPr id="35" name="AutoShape 4">
              <a:extLst>
                <a:ext uri="{FF2B5EF4-FFF2-40B4-BE49-F238E27FC236}">
                  <a16:creationId xmlns:a16="http://schemas.microsoft.com/office/drawing/2014/main" id="{13B1E680-6021-422B-8A8E-1B306778B234}"/>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6" name="Freeform 6">
              <a:extLst>
                <a:ext uri="{FF2B5EF4-FFF2-40B4-BE49-F238E27FC236}">
                  <a16:creationId xmlns:a16="http://schemas.microsoft.com/office/drawing/2014/main" id="{E8025A2B-E398-4697-A9E2-8F0FC31A0D85}"/>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7" name="Freeform 7">
              <a:extLst>
                <a:ext uri="{FF2B5EF4-FFF2-40B4-BE49-F238E27FC236}">
                  <a16:creationId xmlns:a16="http://schemas.microsoft.com/office/drawing/2014/main" id="{C43F9FE8-4030-4823-AFFC-53EC41D610C8}"/>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8" name="Freeform 83">
              <a:extLst>
                <a:ext uri="{FF2B5EF4-FFF2-40B4-BE49-F238E27FC236}">
                  <a16:creationId xmlns:a16="http://schemas.microsoft.com/office/drawing/2014/main" id="{84CFA8D7-B7EA-4C49-8B7B-52F2EBD40D72}"/>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9" name="Freeform 84">
              <a:extLst>
                <a:ext uri="{FF2B5EF4-FFF2-40B4-BE49-F238E27FC236}">
                  <a16:creationId xmlns:a16="http://schemas.microsoft.com/office/drawing/2014/main" id="{E5FA71CE-1849-4F2B-BBF1-D88DF543601E}"/>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1" name="Freeform 85">
              <a:extLst>
                <a:ext uri="{FF2B5EF4-FFF2-40B4-BE49-F238E27FC236}">
                  <a16:creationId xmlns:a16="http://schemas.microsoft.com/office/drawing/2014/main" id="{B09D7E37-F1F3-4A71-A11A-DFFB32209D19}"/>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2" name="Freeform 86">
              <a:extLst>
                <a:ext uri="{FF2B5EF4-FFF2-40B4-BE49-F238E27FC236}">
                  <a16:creationId xmlns:a16="http://schemas.microsoft.com/office/drawing/2014/main" id="{A2B61984-2AF8-42DC-88E5-6AC6F527AD9A}"/>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3" name="Freeform 87">
              <a:extLst>
                <a:ext uri="{FF2B5EF4-FFF2-40B4-BE49-F238E27FC236}">
                  <a16:creationId xmlns:a16="http://schemas.microsoft.com/office/drawing/2014/main" id="{C07FC06A-2E9C-4A48-BBD3-6327F3653272}"/>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4" name="Freeform 88">
              <a:extLst>
                <a:ext uri="{FF2B5EF4-FFF2-40B4-BE49-F238E27FC236}">
                  <a16:creationId xmlns:a16="http://schemas.microsoft.com/office/drawing/2014/main" id="{BC929529-3872-4564-916D-B78F3A022AC1}"/>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5" name="Freeform 89">
              <a:extLst>
                <a:ext uri="{FF2B5EF4-FFF2-40B4-BE49-F238E27FC236}">
                  <a16:creationId xmlns:a16="http://schemas.microsoft.com/office/drawing/2014/main" id="{76C611A8-28A4-4EB7-8E8D-5709B0A9C09D}"/>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6" name="Freeform 90">
              <a:extLst>
                <a:ext uri="{FF2B5EF4-FFF2-40B4-BE49-F238E27FC236}">
                  <a16:creationId xmlns:a16="http://schemas.microsoft.com/office/drawing/2014/main" id="{2A3387E9-C969-42C4-8C31-01B08251BC3A}"/>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7" name="Freeform 91">
              <a:extLst>
                <a:ext uri="{FF2B5EF4-FFF2-40B4-BE49-F238E27FC236}">
                  <a16:creationId xmlns:a16="http://schemas.microsoft.com/office/drawing/2014/main" id="{302AB622-4561-41BC-BC82-5C875ED588E4}"/>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8" name="Freeform 92">
              <a:extLst>
                <a:ext uri="{FF2B5EF4-FFF2-40B4-BE49-F238E27FC236}">
                  <a16:creationId xmlns:a16="http://schemas.microsoft.com/office/drawing/2014/main" id="{E60D74BB-AE92-4309-8898-038C88CD68C4}"/>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9" name="Freeform 93">
              <a:extLst>
                <a:ext uri="{FF2B5EF4-FFF2-40B4-BE49-F238E27FC236}">
                  <a16:creationId xmlns:a16="http://schemas.microsoft.com/office/drawing/2014/main" id="{8B265CB2-CFC3-48F3-A867-1D7250C38C07}"/>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0" name="Freeform 94">
              <a:extLst>
                <a:ext uri="{FF2B5EF4-FFF2-40B4-BE49-F238E27FC236}">
                  <a16:creationId xmlns:a16="http://schemas.microsoft.com/office/drawing/2014/main" id="{67D6C386-B58F-4756-AEDA-323448941B69}"/>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1" name="Freeform 95">
              <a:extLst>
                <a:ext uri="{FF2B5EF4-FFF2-40B4-BE49-F238E27FC236}">
                  <a16:creationId xmlns:a16="http://schemas.microsoft.com/office/drawing/2014/main" id="{A8EC6758-D67A-4DF6-B788-44C3EA3AE253}"/>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2" name="Freeform 96">
              <a:extLst>
                <a:ext uri="{FF2B5EF4-FFF2-40B4-BE49-F238E27FC236}">
                  <a16:creationId xmlns:a16="http://schemas.microsoft.com/office/drawing/2014/main" id="{C765FFF5-FEC7-4B2F-BE49-019DD1B75BC0}"/>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3" name="Freeform 97">
              <a:extLst>
                <a:ext uri="{FF2B5EF4-FFF2-40B4-BE49-F238E27FC236}">
                  <a16:creationId xmlns:a16="http://schemas.microsoft.com/office/drawing/2014/main" id="{4037D999-CE4B-40FE-BDE3-6257E3833FE6}"/>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4" name="Freeform 98">
              <a:extLst>
                <a:ext uri="{FF2B5EF4-FFF2-40B4-BE49-F238E27FC236}">
                  <a16:creationId xmlns:a16="http://schemas.microsoft.com/office/drawing/2014/main" id="{670E1E2A-C6E4-432C-91D5-5002B80FA31E}"/>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5" name="Freeform 99">
              <a:extLst>
                <a:ext uri="{FF2B5EF4-FFF2-40B4-BE49-F238E27FC236}">
                  <a16:creationId xmlns:a16="http://schemas.microsoft.com/office/drawing/2014/main" id="{F4A5B3F1-45B2-446A-85C8-AE25FB0A14B0}"/>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6" name="Freeform 100">
              <a:extLst>
                <a:ext uri="{FF2B5EF4-FFF2-40B4-BE49-F238E27FC236}">
                  <a16:creationId xmlns:a16="http://schemas.microsoft.com/office/drawing/2014/main" id="{04268254-A1B1-43E8-9769-A0BD433D5D0E}"/>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7" name="Freeform 101">
              <a:extLst>
                <a:ext uri="{FF2B5EF4-FFF2-40B4-BE49-F238E27FC236}">
                  <a16:creationId xmlns:a16="http://schemas.microsoft.com/office/drawing/2014/main" id="{F2EDB0F0-6E60-47F6-A679-89912AB17CC3}"/>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8" name="Freeform 102">
              <a:extLst>
                <a:ext uri="{FF2B5EF4-FFF2-40B4-BE49-F238E27FC236}">
                  <a16:creationId xmlns:a16="http://schemas.microsoft.com/office/drawing/2014/main" id="{9305A429-8E7E-40EB-87BD-88486F37CD0D}"/>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9" name="Freeform 103">
              <a:extLst>
                <a:ext uri="{FF2B5EF4-FFF2-40B4-BE49-F238E27FC236}">
                  <a16:creationId xmlns:a16="http://schemas.microsoft.com/office/drawing/2014/main" id="{D39023A5-E518-4444-8B57-73531A0F3B21}"/>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0" name="Freeform 104">
              <a:extLst>
                <a:ext uri="{FF2B5EF4-FFF2-40B4-BE49-F238E27FC236}">
                  <a16:creationId xmlns:a16="http://schemas.microsoft.com/office/drawing/2014/main" id="{00BFEA3B-6363-498A-9DCB-1DDD6916076F}"/>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1" name="Freeform 105">
              <a:extLst>
                <a:ext uri="{FF2B5EF4-FFF2-40B4-BE49-F238E27FC236}">
                  <a16:creationId xmlns:a16="http://schemas.microsoft.com/office/drawing/2014/main" id="{0665DFAE-7DC0-4298-A731-4646C37AFEE5}"/>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62" name="Slide Number Placeholder 3">
            <a:extLst>
              <a:ext uri="{FF2B5EF4-FFF2-40B4-BE49-F238E27FC236}">
                <a16:creationId xmlns:a16="http://schemas.microsoft.com/office/drawing/2014/main" id="{AE8437CA-0496-4DD5-9905-A7ABC5A38B93}"/>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3" name="Rectangle 155">
            <a:extLst>
              <a:ext uri="{FF2B5EF4-FFF2-40B4-BE49-F238E27FC236}">
                <a16:creationId xmlns:a16="http://schemas.microsoft.com/office/drawing/2014/main" id="{D9284EF3-CC3D-477B-A455-E4730B2DF686}"/>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dirty="0"/>
              <a:t>Production code #</a:t>
            </a:r>
          </a:p>
        </p:txBody>
      </p:sp>
      <p:sp>
        <p:nvSpPr>
          <p:cNvPr id="64" name="Rectangle 176">
            <a:extLst>
              <a:ext uri="{FF2B5EF4-FFF2-40B4-BE49-F238E27FC236}">
                <a16:creationId xmlns:a16="http://schemas.microsoft.com/office/drawing/2014/main" id="{5F21FBC4-709C-41E5-B2BD-D589A058990C}"/>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2178117161"/>
      </p:ext>
    </p:extLst>
  </p:cSld>
  <p:clrMapOvr>
    <a:masterClrMapping/>
  </p:clrMapOvr>
  <p:extLst>
    <p:ext uri="{DCECCB84-F9BA-43D5-87BE-67443E8EF086}">
      <p15:sldGuideLst xmlns:p15="http://schemas.microsoft.com/office/powerpoint/2012/main">
        <p15:guide id="1" orient="horz" pos="2160">
          <p15:clr>
            <a:srgbClr val="FBAE40"/>
          </p15:clr>
        </p15:guide>
        <p15:guide id="2" pos="264">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ulleted List - with subhead">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41248"/>
          </a:xfrm>
        </p:spPr>
        <p:txBody>
          <a:bodyPr/>
          <a:lstStyle/>
          <a:p>
            <a:r>
              <a:rPr lang="en-US"/>
              <a:t>Click to edit Master title style</a:t>
            </a:r>
            <a:endParaRPr lang="en-US" dirty="0"/>
          </a:p>
        </p:txBody>
      </p:sp>
      <p:sp>
        <p:nvSpPr>
          <p:cNvPr id="11" name="Content Placeholder 2"/>
          <p:cNvSpPr>
            <a:spLocks noGrp="1"/>
          </p:cNvSpPr>
          <p:nvPr>
            <p:ph idx="12"/>
          </p:nvPr>
        </p:nvSpPr>
        <p:spPr>
          <a:xfrm>
            <a:off x="325661" y="1339850"/>
            <a:ext cx="8188710" cy="4878388"/>
          </a:xfrm>
        </p:spPr>
        <p:txBody>
          <a:bodyPr lIns="91440"/>
          <a:lstStyle>
            <a:lvl1pPr marL="0" indent="0" algn="l" rtl="0" fontAlgn="base">
              <a:spcBef>
                <a:spcPts val="480"/>
              </a:spcBef>
              <a:spcAft>
                <a:spcPct val="0"/>
              </a:spcAft>
              <a:buSzPct val="40000"/>
              <a:defRPr lang="en-US" sz="1400" b="1" dirty="0" smtClean="0">
                <a:solidFill>
                  <a:srgbClr val="7A9B3D"/>
                </a:solidFill>
                <a:latin typeface="+mn-lt"/>
                <a:ea typeface="+mn-ea"/>
                <a:cs typeface="+mn-cs"/>
              </a:defRPr>
            </a:lvl1pPr>
            <a:lvl2pPr marL="114300" indent="-114300">
              <a:spcBef>
                <a:spcPts val="288"/>
              </a:spcBef>
              <a:buClr>
                <a:srgbClr val="7A9B3D"/>
              </a:buClr>
              <a:defRPr lang="en-US" sz="1200" dirty="0" smtClean="0">
                <a:solidFill>
                  <a:srgbClr val="000000"/>
                </a:solidFill>
                <a:latin typeface="+mn-lt"/>
              </a:defRPr>
            </a:lvl2pPr>
            <a:lvl3pPr marL="228600" indent="-114300">
              <a:buClr>
                <a:srgbClr val="7A9A3D"/>
              </a:buClr>
              <a:defRPr lang="en-US" sz="1100" dirty="0" smtClean="0">
                <a:solidFill>
                  <a:srgbClr val="000000"/>
                </a:solidFill>
                <a:latin typeface="+mn-lt"/>
              </a:defRPr>
            </a:lvl3pPr>
            <a:lvl4pPr marL="342900" indent="-114300">
              <a:buClr>
                <a:srgbClr val="7A9A3D"/>
              </a:buClr>
              <a:buSzPct val="100000"/>
              <a:buFont typeface="Arial" pitchFamily="34" charset="0"/>
              <a:buChar char="•"/>
              <a:defRPr sz="1100">
                <a:solidFill>
                  <a:srgbClr val="000000"/>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grpSp>
        <p:nvGrpSpPr>
          <p:cNvPr id="34" name="Group 33">
            <a:extLst>
              <a:ext uri="{FF2B5EF4-FFF2-40B4-BE49-F238E27FC236}">
                <a16:creationId xmlns:a16="http://schemas.microsoft.com/office/drawing/2014/main" id="{D28BA5D5-7577-4DB0-9BC0-1966AD89CF1A}"/>
              </a:ext>
            </a:extLst>
          </p:cNvPr>
          <p:cNvGrpSpPr/>
          <p:nvPr userDrawn="1"/>
        </p:nvGrpSpPr>
        <p:grpSpPr>
          <a:xfrm>
            <a:off x="7358173" y="6361974"/>
            <a:ext cx="1382376" cy="297562"/>
            <a:chOff x="6923088" y="4475163"/>
            <a:chExt cx="1873251" cy="403225"/>
          </a:xfrm>
        </p:grpSpPr>
        <p:sp>
          <p:nvSpPr>
            <p:cNvPr id="35" name="AutoShape 4">
              <a:extLst>
                <a:ext uri="{FF2B5EF4-FFF2-40B4-BE49-F238E27FC236}">
                  <a16:creationId xmlns:a16="http://schemas.microsoft.com/office/drawing/2014/main" id="{81528732-0B22-455F-8181-76F748DA3CCA}"/>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6" name="Freeform 6">
              <a:extLst>
                <a:ext uri="{FF2B5EF4-FFF2-40B4-BE49-F238E27FC236}">
                  <a16:creationId xmlns:a16="http://schemas.microsoft.com/office/drawing/2014/main" id="{5A6B5828-B285-4B2A-87A0-0FBC6A49E983}"/>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7" name="Freeform 7">
              <a:extLst>
                <a:ext uri="{FF2B5EF4-FFF2-40B4-BE49-F238E27FC236}">
                  <a16:creationId xmlns:a16="http://schemas.microsoft.com/office/drawing/2014/main" id="{BA9A7A8C-0055-48D8-8CDB-835865091C57}"/>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8" name="Freeform 83">
              <a:extLst>
                <a:ext uri="{FF2B5EF4-FFF2-40B4-BE49-F238E27FC236}">
                  <a16:creationId xmlns:a16="http://schemas.microsoft.com/office/drawing/2014/main" id="{10EB657C-BE66-4635-89D3-1E933230114F}"/>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9" name="Freeform 84">
              <a:extLst>
                <a:ext uri="{FF2B5EF4-FFF2-40B4-BE49-F238E27FC236}">
                  <a16:creationId xmlns:a16="http://schemas.microsoft.com/office/drawing/2014/main" id="{5EDFA9F8-4FAD-46D1-8ABC-D231E3876DE2}"/>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1" name="Freeform 85">
              <a:extLst>
                <a:ext uri="{FF2B5EF4-FFF2-40B4-BE49-F238E27FC236}">
                  <a16:creationId xmlns:a16="http://schemas.microsoft.com/office/drawing/2014/main" id="{C807C58D-1491-44D6-9716-89F7B7746AFE}"/>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2" name="Freeform 86">
              <a:extLst>
                <a:ext uri="{FF2B5EF4-FFF2-40B4-BE49-F238E27FC236}">
                  <a16:creationId xmlns:a16="http://schemas.microsoft.com/office/drawing/2014/main" id="{5594BE26-E188-4C15-88D4-6634A095626F}"/>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3" name="Freeform 87">
              <a:extLst>
                <a:ext uri="{FF2B5EF4-FFF2-40B4-BE49-F238E27FC236}">
                  <a16:creationId xmlns:a16="http://schemas.microsoft.com/office/drawing/2014/main" id="{9C261F2B-017C-492C-83EC-7327405AED5C}"/>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4" name="Freeform 88">
              <a:extLst>
                <a:ext uri="{FF2B5EF4-FFF2-40B4-BE49-F238E27FC236}">
                  <a16:creationId xmlns:a16="http://schemas.microsoft.com/office/drawing/2014/main" id="{36F6085D-3297-4DE4-A169-3C2B8E42B575}"/>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5" name="Freeform 89">
              <a:extLst>
                <a:ext uri="{FF2B5EF4-FFF2-40B4-BE49-F238E27FC236}">
                  <a16:creationId xmlns:a16="http://schemas.microsoft.com/office/drawing/2014/main" id="{B3C2FE72-800A-4FC4-BB26-44492DBDFCE5}"/>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6" name="Freeform 90">
              <a:extLst>
                <a:ext uri="{FF2B5EF4-FFF2-40B4-BE49-F238E27FC236}">
                  <a16:creationId xmlns:a16="http://schemas.microsoft.com/office/drawing/2014/main" id="{185F0E5E-F44E-47BE-84B9-016C499FF549}"/>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7" name="Freeform 91">
              <a:extLst>
                <a:ext uri="{FF2B5EF4-FFF2-40B4-BE49-F238E27FC236}">
                  <a16:creationId xmlns:a16="http://schemas.microsoft.com/office/drawing/2014/main" id="{6202E0E2-C79A-46B7-8A4B-618E59D30316}"/>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8" name="Freeform 92">
              <a:extLst>
                <a:ext uri="{FF2B5EF4-FFF2-40B4-BE49-F238E27FC236}">
                  <a16:creationId xmlns:a16="http://schemas.microsoft.com/office/drawing/2014/main" id="{52D8B876-4146-41FC-90E5-EB069956E4F4}"/>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9" name="Freeform 93">
              <a:extLst>
                <a:ext uri="{FF2B5EF4-FFF2-40B4-BE49-F238E27FC236}">
                  <a16:creationId xmlns:a16="http://schemas.microsoft.com/office/drawing/2014/main" id="{41EDBBAC-DC0B-4BD0-9310-D6838B3F6E38}"/>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0" name="Freeform 94">
              <a:extLst>
                <a:ext uri="{FF2B5EF4-FFF2-40B4-BE49-F238E27FC236}">
                  <a16:creationId xmlns:a16="http://schemas.microsoft.com/office/drawing/2014/main" id="{84ACC00C-F95C-4B32-BF4F-3411850639EA}"/>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1" name="Freeform 95">
              <a:extLst>
                <a:ext uri="{FF2B5EF4-FFF2-40B4-BE49-F238E27FC236}">
                  <a16:creationId xmlns:a16="http://schemas.microsoft.com/office/drawing/2014/main" id="{417D68F0-30E3-4096-A9F7-CEDEAC64534B}"/>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2" name="Freeform 96">
              <a:extLst>
                <a:ext uri="{FF2B5EF4-FFF2-40B4-BE49-F238E27FC236}">
                  <a16:creationId xmlns:a16="http://schemas.microsoft.com/office/drawing/2014/main" id="{859C69A3-C929-4929-BC3B-138672DDCDE4}"/>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3" name="Freeform 97">
              <a:extLst>
                <a:ext uri="{FF2B5EF4-FFF2-40B4-BE49-F238E27FC236}">
                  <a16:creationId xmlns:a16="http://schemas.microsoft.com/office/drawing/2014/main" id="{1716567F-37F9-49DF-B000-78B220024D1B}"/>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4" name="Freeform 98">
              <a:extLst>
                <a:ext uri="{FF2B5EF4-FFF2-40B4-BE49-F238E27FC236}">
                  <a16:creationId xmlns:a16="http://schemas.microsoft.com/office/drawing/2014/main" id="{E5138AFD-F944-4D25-91A7-6B6003B813B3}"/>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5" name="Freeform 99">
              <a:extLst>
                <a:ext uri="{FF2B5EF4-FFF2-40B4-BE49-F238E27FC236}">
                  <a16:creationId xmlns:a16="http://schemas.microsoft.com/office/drawing/2014/main" id="{B956A5F5-A12F-416D-BE39-E5525A328EE2}"/>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6" name="Freeform 100">
              <a:extLst>
                <a:ext uri="{FF2B5EF4-FFF2-40B4-BE49-F238E27FC236}">
                  <a16:creationId xmlns:a16="http://schemas.microsoft.com/office/drawing/2014/main" id="{CB57E0C9-1534-4789-BE5D-72C287BE68D9}"/>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7" name="Freeform 101">
              <a:extLst>
                <a:ext uri="{FF2B5EF4-FFF2-40B4-BE49-F238E27FC236}">
                  <a16:creationId xmlns:a16="http://schemas.microsoft.com/office/drawing/2014/main" id="{FC7E3BDF-8DC5-4B7B-B4A9-836F3873BE34}"/>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8" name="Freeform 102">
              <a:extLst>
                <a:ext uri="{FF2B5EF4-FFF2-40B4-BE49-F238E27FC236}">
                  <a16:creationId xmlns:a16="http://schemas.microsoft.com/office/drawing/2014/main" id="{B9EB18AF-CC98-464A-871E-F56D7D66EC9B}"/>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9" name="Freeform 103">
              <a:extLst>
                <a:ext uri="{FF2B5EF4-FFF2-40B4-BE49-F238E27FC236}">
                  <a16:creationId xmlns:a16="http://schemas.microsoft.com/office/drawing/2014/main" id="{A5234D59-E2B2-44AA-BA14-4A6AB7455855}"/>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0" name="Freeform 104">
              <a:extLst>
                <a:ext uri="{FF2B5EF4-FFF2-40B4-BE49-F238E27FC236}">
                  <a16:creationId xmlns:a16="http://schemas.microsoft.com/office/drawing/2014/main" id="{2730BDAA-DA90-48A3-AAF4-09E47007FAF1}"/>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1" name="Freeform 105">
              <a:extLst>
                <a:ext uri="{FF2B5EF4-FFF2-40B4-BE49-F238E27FC236}">
                  <a16:creationId xmlns:a16="http://schemas.microsoft.com/office/drawing/2014/main" id="{F603AB9B-36DA-4AEA-9C6F-2246A6643BAB}"/>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62" name="Slide Number Placeholder 3">
            <a:extLst>
              <a:ext uri="{FF2B5EF4-FFF2-40B4-BE49-F238E27FC236}">
                <a16:creationId xmlns:a16="http://schemas.microsoft.com/office/drawing/2014/main" id="{4A053A76-615F-4FBA-B14F-6384383F7E56}"/>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3" name="Rectangle 155">
            <a:extLst>
              <a:ext uri="{FF2B5EF4-FFF2-40B4-BE49-F238E27FC236}">
                <a16:creationId xmlns:a16="http://schemas.microsoft.com/office/drawing/2014/main" id="{239E84CF-F60D-4345-ABF5-5413EBC827D4}"/>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dirty="0"/>
              <a:t>Production code #</a:t>
            </a:r>
          </a:p>
        </p:txBody>
      </p:sp>
      <p:sp>
        <p:nvSpPr>
          <p:cNvPr id="64" name="Rectangle 176">
            <a:extLst>
              <a:ext uri="{FF2B5EF4-FFF2-40B4-BE49-F238E27FC236}">
                <a16:creationId xmlns:a16="http://schemas.microsoft.com/office/drawing/2014/main" id="{8E42AD6F-48FC-4927-9EA5-C0808419781D}"/>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1840332265"/>
      </p:ext>
    </p:extLst>
  </p:cSld>
  <p:clrMapOvr>
    <a:masterClrMapping/>
  </p:clrMapOvr>
  <p:extLst>
    <p:ext uri="{DCECCB84-F9BA-43D5-87BE-67443E8EF086}">
      <p15:sldGuideLst xmlns:p15="http://schemas.microsoft.com/office/powerpoint/2012/main">
        <p15:guide id="1" orient="horz" pos="2160">
          <p15:clr>
            <a:srgbClr val="FBAE40"/>
          </p15:clr>
        </p15:guide>
        <p15:guide id="2" pos="264">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Important Information">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lvl1pPr>
              <a:defRPr>
                <a:solidFill>
                  <a:srgbClr val="333F48"/>
                </a:solidFill>
              </a:defRPr>
            </a:lvl1pPr>
          </a:lstStyle>
          <a:p>
            <a:r>
              <a:rPr lang="en-US"/>
              <a:t>Click to edit Master title style</a:t>
            </a:r>
            <a:endParaRPr lang="en-US" dirty="0"/>
          </a:p>
        </p:txBody>
      </p:sp>
      <p:sp>
        <p:nvSpPr>
          <p:cNvPr id="3" name="Content Placeholder 2"/>
          <p:cNvSpPr>
            <a:spLocks noGrp="1"/>
          </p:cNvSpPr>
          <p:nvPr>
            <p:ph idx="1"/>
          </p:nvPr>
        </p:nvSpPr>
        <p:spPr>
          <a:xfrm>
            <a:off x="325661" y="1076325"/>
            <a:ext cx="8188710" cy="4808538"/>
          </a:xfrm>
          <a:noFill/>
          <a:ln w="9525">
            <a:noFill/>
            <a:miter lim="800000"/>
            <a:headEnd/>
            <a:tailEnd/>
          </a:ln>
          <a:effectLst/>
        </p:spPr>
        <p:txBody>
          <a:bodyPr lIns="91440"/>
          <a:lstStyle>
            <a:lvl1pPr marL="0" indent="0" algn="l" rtl="0" eaLnBrk="1" fontAlgn="base" hangingPunct="1">
              <a:spcAft>
                <a:spcPct val="0"/>
              </a:spcAft>
              <a:buSzPct val="40000"/>
              <a:defRPr lang="en-US" sz="1000" b="0" dirty="0" smtClean="0">
                <a:solidFill>
                  <a:srgbClr val="000000"/>
                </a:solidFill>
                <a:latin typeface="+mn-lt"/>
                <a:ea typeface="+mn-ea"/>
                <a:cs typeface="+mn-cs"/>
              </a:defRPr>
            </a:lvl1pPr>
            <a:lvl2pPr marL="0" indent="0" algn="l" rtl="0" eaLnBrk="1" fontAlgn="base" hangingPunct="1">
              <a:spcBef>
                <a:spcPts val="600"/>
              </a:spcBef>
              <a:spcAft>
                <a:spcPct val="0"/>
              </a:spcAft>
              <a:buSzPct val="40000"/>
              <a:buNone/>
              <a:defRPr lang="en-US" sz="1000" b="1" dirty="0">
                <a:solidFill>
                  <a:srgbClr val="000000"/>
                </a:solidFill>
                <a:latin typeface="+mn-lt"/>
                <a:ea typeface="+mn-ea"/>
                <a:cs typeface="+mn-cs"/>
              </a:defRPr>
            </a:lvl2pPr>
          </a:lstStyle>
          <a:p>
            <a:pPr lvl="0"/>
            <a:r>
              <a:rPr lang="en-US"/>
              <a:t>Click to edit Master text styles</a:t>
            </a:r>
          </a:p>
          <a:p>
            <a:pPr lvl="1"/>
            <a:r>
              <a:rPr lang="en-US"/>
              <a:t>Second level</a:t>
            </a:r>
          </a:p>
        </p:txBody>
      </p:sp>
      <p:grpSp>
        <p:nvGrpSpPr>
          <p:cNvPr id="34" name="Group 33">
            <a:extLst>
              <a:ext uri="{FF2B5EF4-FFF2-40B4-BE49-F238E27FC236}">
                <a16:creationId xmlns:a16="http://schemas.microsoft.com/office/drawing/2014/main" id="{840E14F0-3EE3-4127-BC16-D3F3953FFE3F}"/>
              </a:ext>
            </a:extLst>
          </p:cNvPr>
          <p:cNvGrpSpPr/>
          <p:nvPr userDrawn="1"/>
        </p:nvGrpSpPr>
        <p:grpSpPr>
          <a:xfrm>
            <a:off x="7358173" y="6361974"/>
            <a:ext cx="1382376" cy="297562"/>
            <a:chOff x="6923088" y="4475163"/>
            <a:chExt cx="1873251" cy="403225"/>
          </a:xfrm>
        </p:grpSpPr>
        <p:sp>
          <p:nvSpPr>
            <p:cNvPr id="35" name="AutoShape 4">
              <a:extLst>
                <a:ext uri="{FF2B5EF4-FFF2-40B4-BE49-F238E27FC236}">
                  <a16:creationId xmlns:a16="http://schemas.microsoft.com/office/drawing/2014/main" id="{6CD5F173-C5BB-4F2E-848B-68E571D2511E}"/>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6" name="Freeform 6">
              <a:extLst>
                <a:ext uri="{FF2B5EF4-FFF2-40B4-BE49-F238E27FC236}">
                  <a16:creationId xmlns:a16="http://schemas.microsoft.com/office/drawing/2014/main" id="{F35D1E52-C58A-4226-814B-B889E5D392A2}"/>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8" name="Freeform 7">
              <a:extLst>
                <a:ext uri="{FF2B5EF4-FFF2-40B4-BE49-F238E27FC236}">
                  <a16:creationId xmlns:a16="http://schemas.microsoft.com/office/drawing/2014/main" id="{3931309B-69B1-4504-BC9E-723A4E648811}"/>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9" name="Freeform 83">
              <a:extLst>
                <a:ext uri="{FF2B5EF4-FFF2-40B4-BE49-F238E27FC236}">
                  <a16:creationId xmlns:a16="http://schemas.microsoft.com/office/drawing/2014/main" id="{E71D54FB-4ABD-4C44-B32E-1CE4D98AD4B3}"/>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0" name="Freeform 84">
              <a:extLst>
                <a:ext uri="{FF2B5EF4-FFF2-40B4-BE49-F238E27FC236}">
                  <a16:creationId xmlns:a16="http://schemas.microsoft.com/office/drawing/2014/main" id="{6FC76818-6D97-40AA-97B0-54614807A538}"/>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1" name="Freeform 85">
              <a:extLst>
                <a:ext uri="{FF2B5EF4-FFF2-40B4-BE49-F238E27FC236}">
                  <a16:creationId xmlns:a16="http://schemas.microsoft.com/office/drawing/2014/main" id="{7DFFF7DB-1434-4536-8069-7E21C8D1B9E3}"/>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2" name="Freeform 86">
              <a:extLst>
                <a:ext uri="{FF2B5EF4-FFF2-40B4-BE49-F238E27FC236}">
                  <a16:creationId xmlns:a16="http://schemas.microsoft.com/office/drawing/2014/main" id="{23BA871E-A0EA-41BA-8724-5CABEF76296C}"/>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3" name="Freeform 87">
              <a:extLst>
                <a:ext uri="{FF2B5EF4-FFF2-40B4-BE49-F238E27FC236}">
                  <a16:creationId xmlns:a16="http://schemas.microsoft.com/office/drawing/2014/main" id="{5F7C586C-3E26-4206-A96B-DA86E954214E}"/>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4" name="Freeform 88">
              <a:extLst>
                <a:ext uri="{FF2B5EF4-FFF2-40B4-BE49-F238E27FC236}">
                  <a16:creationId xmlns:a16="http://schemas.microsoft.com/office/drawing/2014/main" id="{CFE70E27-46F5-465B-9F57-F55E3CEF8736}"/>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5" name="Freeform 89">
              <a:extLst>
                <a:ext uri="{FF2B5EF4-FFF2-40B4-BE49-F238E27FC236}">
                  <a16:creationId xmlns:a16="http://schemas.microsoft.com/office/drawing/2014/main" id="{7FAE27B7-D81B-4001-834F-776859495AA1}"/>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6" name="Freeform 90">
              <a:extLst>
                <a:ext uri="{FF2B5EF4-FFF2-40B4-BE49-F238E27FC236}">
                  <a16:creationId xmlns:a16="http://schemas.microsoft.com/office/drawing/2014/main" id="{4AE5BF09-27E6-4688-B9C4-19E2671CA566}"/>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7" name="Freeform 91">
              <a:extLst>
                <a:ext uri="{FF2B5EF4-FFF2-40B4-BE49-F238E27FC236}">
                  <a16:creationId xmlns:a16="http://schemas.microsoft.com/office/drawing/2014/main" id="{8810B2AB-A2BA-46AC-86CE-C8DB6C050979}"/>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8" name="Freeform 92">
              <a:extLst>
                <a:ext uri="{FF2B5EF4-FFF2-40B4-BE49-F238E27FC236}">
                  <a16:creationId xmlns:a16="http://schemas.microsoft.com/office/drawing/2014/main" id="{F0E21CE3-1B3A-48A2-8777-3ACB130A176F}"/>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9" name="Freeform 93">
              <a:extLst>
                <a:ext uri="{FF2B5EF4-FFF2-40B4-BE49-F238E27FC236}">
                  <a16:creationId xmlns:a16="http://schemas.microsoft.com/office/drawing/2014/main" id="{0E106C86-6E92-414C-8C1F-193ABA3372F2}"/>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0" name="Freeform 94">
              <a:extLst>
                <a:ext uri="{FF2B5EF4-FFF2-40B4-BE49-F238E27FC236}">
                  <a16:creationId xmlns:a16="http://schemas.microsoft.com/office/drawing/2014/main" id="{7FFBAE3E-1E34-4024-8E12-C6A804E61E90}"/>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1" name="Freeform 95">
              <a:extLst>
                <a:ext uri="{FF2B5EF4-FFF2-40B4-BE49-F238E27FC236}">
                  <a16:creationId xmlns:a16="http://schemas.microsoft.com/office/drawing/2014/main" id="{34A75038-5822-4211-8429-EEE73276E055}"/>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2" name="Freeform 96">
              <a:extLst>
                <a:ext uri="{FF2B5EF4-FFF2-40B4-BE49-F238E27FC236}">
                  <a16:creationId xmlns:a16="http://schemas.microsoft.com/office/drawing/2014/main" id="{693F0C95-0D69-4520-8F8E-82883B076B30}"/>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3" name="Freeform 97">
              <a:extLst>
                <a:ext uri="{FF2B5EF4-FFF2-40B4-BE49-F238E27FC236}">
                  <a16:creationId xmlns:a16="http://schemas.microsoft.com/office/drawing/2014/main" id="{2DCC514B-8D65-4A2F-B9D3-A26B2C512584}"/>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4" name="Freeform 98">
              <a:extLst>
                <a:ext uri="{FF2B5EF4-FFF2-40B4-BE49-F238E27FC236}">
                  <a16:creationId xmlns:a16="http://schemas.microsoft.com/office/drawing/2014/main" id="{86B9EC89-49BC-4B67-9837-B486AC5DA24B}"/>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5" name="Freeform 99">
              <a:extLst>
                <a:ext uri="{FF2B5EF4-FFF2-40B4-BE49-F238E27FC236}">
                  <a16:creationId xmlns:a16="http://schemas.microsoft.com/office/drawing/2014/main" id="{07013593-EDCD-49A4-8483-37A94E197F46}"/>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6" name="Freeform 100">
              <a:extLst>
                <a:ext uri="{FF2B5EF4-FFF2-40B4-BE49-F238E27FC236}">
                  <a16:creationId xmlns:a16="http://schemas.microsoft.com/office/drawing/2014/main" id="{E4C82CFE-24C2-4335-91A1-786AA56B78AE}"/>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7" name="Freeform 101">
              <a:extLst>
                <a:ext uri="{FF2B5EF4-FFF2-40B4-BE49-F238E27FC236}">
                  <a16:creationId xmlns:a16="http://schemas.microsoft.com/office/drawing/2014/main" id="{269AE1D0-2ED3-45BA-8B41-5958312CC5FE}"/>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8" name="Freeform 102">
              <a:extLst>
                <a:ext uri="{FF2B5EF4-FFF2-40B4-BE49-F238E27FC236}">
                  <a16:creationId xmlns:a16="http://schemas.microsoft.com/office/drawing/2014/main" id="{293258D7-F5FB-43FE-946C-050D5A534B0B}"/>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9" name="Freeform 103">
              <a:extLst>
                <a:ext uri="{FF2B5EF4-FFF2-40B4-BE49-F238E27FC236}">
                  <a16:creationId xmlns:a16="http://schemas.microsoft.com/office/drawing/2014/main" id="{ED28C0B7-779D-48AC-B3D7-2EE77B274C6C}"/>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0" name="Freeform 104">
              <a:extLst>
                <a:ext uri="{FF2B5EF4-FFF2-40B4-BE49-F238E27FC236}">
                  <a16:creationId xmlns:a16="http://schemas.microsoft.com/office/drawing/2014/main" id="{F91BA0B7-9AA1-4A35-A3B5-1DF23E7E6BC0}"/>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1" name="Freeform 105">
              <a:extLst>
                <a:ext uri="{FF2B5EF4-FFF2-40B4-BE49-F238E27FC236}">
                  <a16:creationId xmlns:a16="http://schemas.microsoft.com/office/drawing/2014/main" id="{0CD9D2F1-AB4D-41BA-BB3A-ABD0BB2DB8FD}"/>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62" name="Slide Number Placeholder 3">
            <a:extLst>
              <a:ext uri="{FF2B5EF4-FFF2-40B4-BE49-F238E27FC236}">
                <a16:creationId xmlns:a16="http://schemas.microsoft.com/office/drawing/2014/main" id="{9A263509-98AC-4546-B2C5-DF2F4C4F986A}"/>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3" name="Rectangle 155">
            <a:extLst>
              <a:ext uri="{FF2B5EF4-FFF2-40B4-BE49-F238E27FC236}">
                <a16:creationId xmlns:a16="http://schemas.microsoft.com/office/drawing/2014/main" id="{5EDCB748-D9FF-41F0-9AE5-3D6778696294}"/>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dirty="0"/>
              <a:t>Production code #</a:t>
            </a:r>
          </a:p>
        </p:txBody>
      </p:sp>
      <p:sp>
        <p:nvSpPr>
          <p:cNvPr id="64" name="Rectangle 176">
            <a:extLst>
              <a:ext uri="{FF2B5EF4-FFF2-40B4-BE49-F238E27FC236}">
                <a16:creationId xmlns:a16="http://schemas.microsoft.com/office/drawing/2014/main" id="{B1F08EC2-0348-4B46-8C6D-BF6EDFBBBD44}"/>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194906955"/>
      </p:ext>
    </p:extLst>
  </p:cSld>
  <p:clrMapOvr>
    <a:masterClrMapping/>
  </p:clrMapOvr>
  <p:extLst>
    <p:ext uri="{DCECCB84-F9BA-43D5-87BE-67443E8EF086}">
      <p15:sldGuideLst xmlns:p15="http://schemas.microsoft.com/office/powerpoint/2012/main">
        <p15:guide id="1" orient="horz" pos="2160">
          <p15:clr>
            <a:srgbClr val="FBAE40"/>
          </p15:clr>
        </p15:guide>
        <p15:guide id="2" pos="264">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iography">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p>
            <a:r>
              <a:rPr lang="en-US"/>
              <a:t>Click to edit Master title style</a:t>
            </a:r>
            <a:endParaRPr lang="en-US" dirty="0"/>
          </a:p>
        </p:txBody>
      </p:sp>
      <p:sp>
        <p:nvSpPr>
          <p:cNvPr id="3" name="Content Placeholder 2"/>
          <p:cNvSpPr>
            <a:spLocks noGrp="1"/>
          </p:cNvSpPr>
          <p:nvPr>
            <p:ph idx="1"/>
          </p:nvPr>
        </p:nvSpPr>
        <p:spPr>
          <a:xfrm>
            <a:off x="325661" y="1073258"/>
            <a:ext cx="8188710" cy="439305"/>
          </a:xfrm>
        </p:spPr>
        <p:txBody>
          <a:bodyPr lIns="91440"/>
          <a:lstStyle>
            <a:lvl1pPr marL="0" indent="0">
              <a:spcBef>
                <a:spcPts val="0"/>
              </a:spcBef>
              <a:defRPr lang="en-US" sz="1200" b="1" dirty="0" smtClean="0">
                <a:solidFill>
                  <a:srgbClr val="7A9A3D"/>
                </a:solidFill>
                <a:latin typeface="+mn-lt"/>
                <a:ea typeface="+mn-ea"/>
                <a:cs typeface="+mn-cs"/>
              </a:defRPr>
            </a:lvl1pPr>
            <a:lvl2pPr marL="0" indent="0">
              <a:spcBef>
                <a:spcPts val="0"/>
              </a:spcBef>
              <a:buNone/>
              <a:defRPr sz="1200" b="0" i="1">
                <a:solidFill>
                  <a:srgbClr val="7A9A3D"/>
                </a:solidFill>
              </a:defRPr>
            </a:lvl2pPr>
          </a:lstStyle>
          <a:p>
            <a:pPr lvl="0"/>
            <a:r>
              <a:rPr lang="en-US"/>
              <a:t>Click to edit Master text styles</a:t>
            </a:r>
          </a:p>
          <a:p>
            <a:pPr lvl="1"/>
            <a:r>
              <a:rPr lang="en-US"/>
              <a:t>Second level</a:t>
            </a:r>
          </a:p>
        </p:txBody>
      </p:sp>
      <p:sp>
        <p:nvSpPr>
          <p:cNvPr id="10" name="Content Placeholder 9"/>
          <p:cNvSpPr>
            <a:spLocks noGrp="1"/>
          </p:cNvSpPr>
          <p:nvPr>
            <p:ph sz="quarter" idx="13"/>
          </p:nvPr>
        </p:nvSpPr>
        <p:spPr>
          <a:xfrm>
            <a:off x="325661" y="1526850"/>
            <a:ext cx="8188710" cy="4691387"/>
          </a:xfrm>
        </p:spPr>
        <p:txBody>
          <a:bodyPr lIns="91440"/>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5" name="Group 34">
            <a:extLst>
              <a:ext uri="{FF2B5EF4-FFF2-40B4-BE49-F238E27FC236}">
                <a16:creationId xmlns:a16="http://schemas.microsoft.com/office/drawing/2014/main" id="{C75946E2-9CE1-4073-B70C-BBB1984B336B}"/>
              </a:ext>
            </a:extLst>
          </p:cNvPr>
          <p:cNvGrpSpPr/>
          <p:nvPr userDrawn="1"/>
        </p:nvGrpSpPr>
        <p:grpSpPr>
          <a:xfrm>
            <a:off x="7358173" y="6361974"/>
            <a:ext cx="1382376" cy="297562"/>
            <a:chOff x="6923088" y="4475163"/>
            <a:chExt cx="1873251" cy="403225"/>
          </a:xfrm>
        </p:grpSpPr>
        <p:sp>
          <p:nvSpPr>
            <p:cNvPr id="36" name="AutoShape 4">
              <a:extLst>
                <a:ext uri="{FF2B5EF4-FFF2-40B4-BE49-F238E27FC236}">
                  <a16:creationId xmlns:a16="http://schemas.microsoft.com/office/drawing/2014/main" id="{2064C2BD-8DD3-4C25-B8AC-2511CF7EA6EF}"/>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7" name="Freeform 6">
              <a:extLst>
                <a:ext uri="{FF2B5EF4-FFF2-40B4-BE49-F238E27FC236}">
                  <a16:creationId xmlns:a16="http://schemas.microsoft.com/office/drawing/2014/main" id="{93C5C3B7-4D48-473C-9C5D-A7CC88B7C54C}"/>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8" name="Freeform 7">
              <a:extLst>
                <a:ext uri="{FF2B5EF4-FFF2-40B4-BE49-F238E27FC236}">
                  <a16:creationId xmlns:a16="http://schemas.microsoft.com/office/drawing/2014/main" id="{531D8C9A-73C8-49F6-8615-D07EC3D32C40}"/>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0" name="Freeform 83">
              <a:extLst>
                <a:ext uri="{FF2B5EF4-FFF2-40B4-BE49-F238E27FC236}">
                  <a16:creationId xmlns:a16="http://schemas.microsoft.com/office/drawing/2014/main" id="{6D2B5CD5-7073-41ED-A84D-6573FC02C1C8}"/>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1" name="Freeform 84">
              <a:extLst>
                <a:ext uri="{FF2B5EF4-FFF2-40B4-BE49-F238E27FC236}">
                  <a16:creationId xmlns:a16="http://schemas.microsoft.com/office/drawing/2014/main" id="{7569C185-1C46-46A0-A03E-24819C436803}"/>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2" name="Freeform 85">
              <a:extLst>
                <a:ext uri="{FF2B5EF4-FFF2-40B4-BE49-F238E27FC236}">
                  <a16:creationId xmlns:a16="http://schemas.microsoft.com/office/drawing/2014/main" id="{46F20CF6-25E8-4222-B486-9A86E0E46A37}"/>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3" name="Freeform 86">
              <a:extLst>
                <a:ext uri="{FF2B5EF4-FFF2-40B4-BE49-F238E27FC236}">
                  <a16:creationId xmlns:a16="http://schemas.microsoft.com/office/drawing/2014/main" id="{6FF91587-F189-49E6-B5D5-940D53155449}"/>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4" name="Freeform 87">
              <a:extLst>
                <a:ext uri="{FF2B5EF4-FFF2-40B4-BE49-F238E27FC236}">
                  <a16:creationId xmlns:a16="http://schemas.microsoft.com/office/drawing/2014/main" id="{0CA455CC-F50E-4794-8937-E59F4FAFEA6E}"/>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5" name="Freeform 88">
              <a:extLst>
                <a:ext uri="{FF2B5EF4-FFF2-40B4-BE49-F238E27FC236}">
                  <a16:creationId xmlns:a16="http://schemas.microsoft.com/office/drawing/2014/main" id="{3EE40542-ADA6-4C3B-8A70-A65519704A9B}"/>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6" name="Freeform 89">
              <a:extLst>
                <a:ext uri="{FF2B5EF4-FFF2-40B4-BE49-F238E27FC236}">
                  <a16:creationId xmlns:a16="http://schemas.microsoft.com/office/drawing/2014/main" id="{7B3B4879-B6C1-4F74-BDCF-5F19BB04E0F4}"/>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7" name="Freeform 90">
              <a:extLst>
                <a:ext uri="{FF2B5EF4-FFF2-40B4-BE49-F238E27FC236}">
                  <a16:creationId xmlns:a16="http://schemas.microsoft.com/office/drawing/2014/main" id="{E4BC8AEB-A584-479B-8EEF-2AE54D5872B7}"/>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8" name="Freeform 91">
              <a:extLst>
                <a:ext uri="{FF2B5EF4-FFF2-40B4-BE49-F238E27FC236}">
                  <a16:creationId xmlns:a16="http://schemas.microsoft.com/office/drawing/2014/main" id="{D18A4DCC-C243-4E3F-A2E2-0D29AD7D002A}"/>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9" name="Freeform 92">
              <a:extLst>
                <a:ext uri="{FF2B5EF4-FFF2-40B4-BE49-F238E27FC236}">
                  <a16:creationId xmlns:a16="http://schemas.microsoft.com/office/drawing/2014/main" id="{4D5F04D4-1A7F-41A0-A0E2-BCF50E27D5C6}"/>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0" name="Freeform 93">
              <a:extLst>
                <a:ext uri="{FF2B5EF4-FFF2-40B4-BE49-F238E27FC236}">
                  <a16:creationId xmlns:a16="http://schemas.microsoft.com/office/drawing/2014/main" id="{F96DDB2D-2296-402A-9FB9-212112A5001F}"/>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1" name="Freeform 94">
              <a:extLst>
                <a:ext uri="{FF2B5EF4-FFF2-40B4-BE49-F238E27FC236}">
                  <a16:creationId xmlns:a16="http://schemas.microsoft.com/office/drawing/2014/main" id="{2F742842-62E0-472A-B09A-2A7D39017EB8}"/>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2" name="Freeform 95">
              <a:extLst>
                <a:ext uri="{FF2B5EF4-FFF2-40B4-BE49-F238E27FC236}">
                  <a16:creationId xmlns:a16="http://schemas.microsoft.com/office/drawing/2014/main" id="{E7229456-9A67-45F4-ABC1-C2770B0268FA}"/>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3" name="Freeform 96">
              <a:extLst>
                <a:ext uri="{FF2B5EF4-FFF2-40B4-BE49-F238E27FC236}">
                  <a16:creationId xmlns:a16="http://schemas.microsoft.com/office/drawing/2014/main" id="{1F9751DB-34CD-46BB-B4BC-6259060855F0}"/>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4" name="Freeform 97">
              <a:extLst>
                <a:ext uri="{FF2B5EF4-FFF2-40B4-BE49-F238E27FC236}">
                  <a16:creationId xmlns:a16="http://schemas.microsoft.com/office/drawing/2014/main" id="{5ABC6AFB-E816-4431-A76A-68A3A63D2E44}"/>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5" name="Freeform 98">
              <a:extLst>
                <a:ext uri="{FF2B5EF4-FFF2-40B4-BE49-F238E27FC236}">
                  <a16:creationId xmlns:a16="http://schemas.microsoft.com/office/drawing/2014/main" id="{60E91C8F-F1CE-4BBB-BB3E-56924AB9AC02}"/>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6" name="Freeform 99">
              <a:extLst>
                <a:ext uri="{FF2B5EF4-FFF2-40B4-BE49-F238E27FC236}">
                  <a16:creationId xmlns:a16="http://schemas.microsoft.com/office/drawing/2014/main" id="{0144D498-DBBB-48AB-9938-6860296C54C0}"/>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7" name="Freeform 100">
              <a:extLst>
                <a:ext uri="{FF2B5EF4-FFF2-40B4-BE49-F238E27FC236}">
                  <a16:creationId xmlns:a16="http://schemas.microsoft.com/office/drawing/2014/main" id="{57DA06B8-E74A-4A4F-A5C6-D228C33D4C07}"/>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8" name="Freeform 101">
              <a:extLst>
                <a:ext uri="{FF2B5EF4-FFF2-40B4-BE49-F238E27FC236}">
                  <a16:creationId xmlns:a16="http://schemas.microsoft.com/office/drawing/2014/main" id="{9EE94CD4-EF90-465E-99B0-5D8FE5E0954C}"/>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9" name="Freeform 102">
              <a:extLst>
                <a:ext uri="{FF2B5EF4-FFF2-40B4-BE49-F238E27FC236}">
                  <a16:creationId xmlns:a16="http://schemas.microsoft.com/office/drawing/2014/main" id="{C0D9FFE4-3F0B-4424-9C2B-7BE6269B031E}"/>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0" name="Freeform 103">
              <a:extLst>
                <a:ext uri="{FF2B5EF4-FFF2-40B4-BE49-F238E27FC236}">
                  <a16:creationId xmlns:a16="http://schemas.microsoft.com/office/drawing/2014/main" id="{689B4BCD-46B5-40D0-9B5E-0928400345C7}"/>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1" name="Freeform 104">
              <a:extLst>
                <a:ext uri="{FF2B5EF4-FFF2-40B4-BE49-F238E27FC236}">
                  <a16:creationId xmlns:a16="http://schemas.microsoft.com/office/drawing/2014/main" id="{2BE4801D-4A50-4671-B276-15040C725153}"/>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2" name="Freeform 105">
              <a:extLst>
                <a:ext uri="{FF2B5EF4-FFF2-40B4-BE49-F238E27FC236}">
                  <a16:creationId xmlns:a16="http://schemas.microsoft.com/office/drawing/2014/main" id="{9B3CA6D7-EDFA-45F6-A972-C4764E2EF71D}"/>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63" name="Slide Number Placeholder 3">
            <a:extLst>
              <a:ext uri="{FF2B5EF4-FFF2-40B4-BE49-F238E27FC236}">
                <a16:creationId xmlns:a16="http://schemas.microsoft.com/office/drawing/2014/main" id="{7EA345A8-99C1-46D2-B43D-EBB13DCF1ED2}"/>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4" name="Rectangle 155">
            <a:extLst>
              <a:ext uri="{FF2B5EF4-FFF2-40B4-BE49-F238E27FC236}">
                <a16:creationId xmlns:a16="http://schemas.microsoft.com/office/drawing/2014/main" id="{89581FD7-1A7A-4D55-96D3-115BEF36627D}"/>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dirty="0"/>
              <a:t>Production code #</a:t>
            </a:r>
          </a:p>
        </p:txBody>
      </p:sp>
      <p:sp>
        <p:nvSpPr>
          <p:cNvPr id="65" name="Rectangle 176">
            <a:extLst>
              <a:ext uri="{FF2B5EF4-FFF2-40B4-BE49-F238E27FC236}">
                <a16:creationId xmlns:a16="http://schemas.microsoft.com/office/drawing/2014/main" id="{9906DF31-BFC5-4876-8473-BB825737ABD0}"/>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1189778222"/>
      </p:ext>
    </p:extLst>
  </p:cSld>
  <p:clrMapOvr>
    <a:masterClrMapping/>
  </p:clrMapOvr>
  <p:extLst>
    <p:ext uri="{DCECCB84-F9BA-43D5-87BE-67443E8EF086}">
      <p15:sldGuideLst xmlns:p15="http://schemas.microsoft.com/office/powerpoint/2012/main">
        <p15:guide id="1" orient="horz" pos="2160">
          <p15:clr>
            <a:srgbClr val="FBAE40"/>
          </p15:clr>
        </p15:guide>
        <p15:guide id="2" pos="26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Back_Cover_IA">
    <p:spTree>
      <p:nvGrpSpPr>
        <p:cNvPr id="1" name=""/>
        <p:cNvGrpSpPr/>
        <p:nvPr/>
      </p:nvGrpSpPr>
      <p:grpSpPr>
        <a:xfrm>
          <a:off x="0" y="0"/>
          <a:ext cx="0" cy="0"/>
          <a:chOff x="0" y="0"/>
          <a:chExt cx="0" cy="0"/>
        </a:xfrm>
      </p:grpSpPr>
      <p:sp>
        <p:nvSpPr>
          <p:cNvPr id="2" name="Rectangle 1"/>
          <p:cNvSpPr/>
          <p:nvPr userDrawn="1"/>
        </p:nvSpPr>
        <p:spPr>
          <a:xfrm>
            <a:off x="1277183" y="6483639"/>
            <a:ext cx="6446759" cy="215444"/>
          </a:xfrm>
          <a:prstGeom prst="rect">
            <a:avLst/>
          </a:prstGeom>
        </p:spPr>
        <p:txBody>
          <a:bodyPr wrap="square">
            <a:spAutoFit/>
          </a:bodyPr>
          <a:lstStyle/>
          <a:p>
            <a:pPr algn="ctr">
              <a:spcBef>
                <a:spcPts val="200"/>
              </a:spcBef>
              <a:defRPr/>
            </a:pPr>
            <a:r>
              <a:rPr lang="en-US" sz="800" dirty="0">
                <a:solidFill>
                  <a:srgbClr val="000000"/>
                </a:solidFill>
              </a:rPr>
              <a:t>© 2016 FMR LLC. All rights reserved.</a:t>
            </a:r>
            <a:endParaRPr lang="en-US" altLang="en-US" sz="800" dirty="0">
              <a:solidFill>
                <a:srgbClr val="000000"/>
              </a:solidFill>
            </a:endParaRPr>
          </a:p>
        </p:txBody>
      </p:sp>
      <p:grpSp>
        <p:nvGrpSpPr>
          <p:cNvPr id="37" name="Group 36"/>
          <p:cNvGrpSpPr/>
          <p:nvPr userDrawn="1"/>
        </p:nvGrpSpPr>
        <p:grpSpPr>
          <a:xfrm>
            <a:off x="360752" y="5158824"/>
            <a:ext cx="1890168" cy="396052"/>
            <a:chOff x="6871938" y="4475163"/>
            <a:chExt cx="1924401" cy="403225"/>
          </a:xfrm>
        </p:grpSpPr>
        <p:sp>
          <p:nvSpPr>
            <p:cNvPr id="38" name="AutoShape 4"/>
            <p:cNvSpPr>
              <a:spLocks noChangeAspect="1" noChangeArrowheads="1" noTextEdit="1"/>
            </p:cNvSpPr>
            <p:nvPr/>
          </p:nvSpPr>
          <p:spPr bwMode="auto">
            <a:xfrm>
              <a:off x="687193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39" name="Freeform 38"/>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0" name="Freeform 39"/>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1" name="Freeform 40"/>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2" name="Freeform 41"/>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3" name="Freeform 42"/>
            <p:cNvSpPr>
              <a:spLocks/>
            </p:cNvSpPr>
            <p:nvPr/>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4" name="Freeform 43"/>
            <p:cNvSpPr>
              <a:spLocks noEditPoints="1"/>
            </p:cNvSpPr>
            <p:nvPr/>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5" name="Freeform 44"/>
            <p:cNvSpPr>
              <a:spLocks noEditPoints="1"/>
            </p:cNvSpPr>
            <p:nvPr/>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6" name="Freeform 45"/>
            <p:cNvSpPr>
              <a:spLocks noEditPoints="1"/>
            </p:cNvSpPr>
            <p:nvPr/>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7" name="Freeform 46"/>
            <p:cNvSpPr>
              <a:spLocks/>
            </p:cNvSpPr>
            <p:nvPr/>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8" name="Freeform 47"/>
            <p:cNvSpPr>
              <a:spLocks noEditPoints="1"/>
            </p:cNvSpPr>
            <p:nvPr/>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9" name="Freeform 48"/>
            <p:cNvSpPr>
              <a:spLocks/>
            </p:cNvSpPr>
            <p:nvPr/>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0" name="Freeform 49"/>
            <p:cNvSpPr>
              <a:spLocks/>
            </p:cNvSpPr>
            <p:nvPr/>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1" name="Freeform 50"/>
            <p:cNvSpPr>
              <a:spLocks/>
            </p:cNvSpPr>
            <p:nvPr/>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2" name="Freeform 51"/>
            <p:cNvSpPr>
              <a:spLocks/>
            </p:cNvSpPr>
            <p:nvPr/>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3" name="Freeform 52"/>
            <p:cNvSpPr>
              <a:spLocks/>
            </p:cNvSpPr>
            <p:nvPr/>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4" name="Freeform 53"/>
            <p:cNvSpPr>
              <a:spLocks/>
            </p:cNvSpPr>
            <p:nvPr/>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5" name="Freeform 54"/>
            <p:cNvSpPr>
              <a:spLocks/>
            </p:cNvSpPr>
            <p:nvPr/>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6" name="Freeform 55"/>
            <p:cNvSpPr>
              <a:spLocks/>
            </p:cNvSpPr>
            <p:nvPr/>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7" name="Freeform 56"/>
            <p:cNvSpPr>
              <a:spLocks/>
            </p:cNvSpPr>
            <p:nvPr/>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8" name="Freeform 57"/>
            <p:cNvSpPr>
              <a:spLocks noEditPoints="1"/>
            </p:cNvSpPr>
            <p:nvPr/>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9" name="Freeform 58"/>
            <p:cNvSpPr>
              <a:spLocks noEditPoints="1"/>
            </p:cNvSpPr>
            <p:nvPr/>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0" name="Freeform 59"/>
            <p:cNvSpPr>
              <a:spLocks/>
            </p:cNvSpPr>
            <p:nvPr/>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1" name="Freeform 60"/>
            <p:cNvSpPr>
              <a:spLocks/>
            </p:cNvSpPr>
            <p:nvPr/>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2" name="Freeform 61"/>
            <p:cNvSpPr>
              <a:spLocks/>
            </p:cNvSpPr>
            <p:nvPr/>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3" name="Freeform 62"/>
            <p:cNvSpPr>
              <a:spLocks/>
            </p:cNvSpPr>
            <p:nvPr/>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grpSp>
      <p:pic>
        <p:nvPicPr>
          <p:cNvPr id="6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0868" y="4359356"/>
            <a:ext cx="4907979" cy="5357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5" name="Content Placeholder 10"/>
          <p:cNvSpPr>
            <a:spLocks noGrp="1"/>
          </p:cNvSpPr>
          <p:nvPr>
            <p:ph sz="quarter" idx="15" hasCustomPrompt="1"/>
          </p:nvPr>
        </p:nvSpPr>
        <p:spPr>
          <a:xfrm>
            <a:off x="298450" y="6499922"/>
            <a:ext cx="711200" cy="277116"/>
          </a:xfrm>
        </p:spPr>
        <p:txBody>
          <a:bodyPr/>
          <a:lstStyle>
            <a:lvl1pPr marL="0" indent="0">
              <a:spcBef>
                <a:spcPts val="0"/>
              </a:spcBef>
              <a:defRPr sz="700" b="0">
                <a:solidFill>
                  <a:schemeClr val="tx1"/>
                </a:solidFill>
              </a:defRPr>
            </a:lvl1pPr>
            <a:lvl2pPr>
              <a:defRPr sz="700" b="0">
                <a:solidFill>
                  <a:schemeClr val="tx1"/>
                </a:solidFill>
              </a:defRPr>
            </a:lvl2pPr>
            <a:lvl3pPr>
              <a:defRPr sz="700" b="0">
                <a:solidFill>
                  <a:schemeClr val="tx1"/>
                </a:solidFill>
              </a:defRPr>
            </a:lvl3pPr>
            <a:lvl4pPr>
              <a:defRPr sz="700" b="0">
                <a:solidFill>
                  <a:schemeClr val="tx1"/>
                </a:solidFill>
              </a:defRPr>
            </a:lvl4pPr>
            <a:lvl5pPr>
              <a:defRPr sz="700" b="0">
                <a:solidFill>
                  <a:schemeClr val="tx1"/>
                </a:solidFill>
              </a:defRPr>
            </a:lvl5pPr>
          </a:lstStyle>
          <a:p>
            <a:pPr lvl="0"/>
            <a:r>
              <a:rPr lang="en-US" dirty="0"/>
              <a:t>XXXXXX.1.0</a:t>
            </a:r>
          </a:p>
          <a:p>
            <a:pPr lvl="0"/>
            <a:r>
              <a:rPr lang="en-US" dirty="0"/>
              <a:t>FIAM-IA </a:t>
            </a:r>
          </a:p>
        </p:txBody>
      </p:sp>
    </p:spTree>
    <p:extLst>
      <p:ext uri="{BB962C8B-B14F-4D97-AF65-F5344CB8AC3E}">
        <p14:creationId xmlns:p14="http://schemas.microsoft.com/office/powerpoint/2010/main" val="1138500014"/>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iography 2">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7948" cy="838200"/>
          </a:xfrm>
        </p:spPr>
        <p:txBody>
          <a:bodyPr/>
          <a:lstStyle/>
          <a:p>
            <a:r>
              <a:rPr lang="en-US"/>
              <a:t>Click to edit Master title style</a:t>
            </a:r>
            <a:endParaRPr lang="en-US" dirty="0"/>
          </a:p>
        </p:txBody>
      </p:sp>
      <p:sp>
        <p:nvSpPr>
          <p:cNvPr id="3" name="Content Placeholder 2"/>
          <p:cNvSpPr>
            <a:spLocks noGrp="1"/>
          </p:cNvSpPr>
          <p:nvPr>
            <p:ph idx="1"/>
          </p:nvPr>
        </p:nvSpPr>
        <p:spPr>
          <a:xfrm>
            <a:off x="325661" y="1073258"/>
            <a:ext cx="8187948" cy="439305"/>
          </a:xfrm>
        </p:spPr>
        <p:txBody>
          <a:bodyPr lIns="91440"/>
          <a:lstStyle>
            <a:lvl1pPr marL="0" indent="0">
              <a:spcBef>
                <a:spcPts val="0"/>
              </a:spcBef>
              <a:defRPr lang="en-US" sz="1200" b="1" dirty="0" smtClean="0">
                <a:solidFill>
                  <a:srgbClr val="7A9A3D"/>
                </a:solidFill>
                <a:latin typeface="+mn-lt"/>
                <a:ea typeface="+mn-ea"/>
                <a:cs typeface="+mn-cs"/>
              </a:defRPr>
            </a:lvl1pPr>
            <a:lvl2pPr marL="0" indent="0">
              <a:spcBef>
                <a:spcPts val="0"/>
              </a:spcBef>
              <a:buNone/>
              <a:defRPr sz="1200" b="0" i="1">
                <a:solidFill>
                  <a:srgbClr val="7A9A3D"/>
                </a:solidFill>
              </a:defRPr>
            </a:lvl2pPr>
          </a:lstStyle>
          <a:p>
            <a:pPr lvl="0"/>
            <a:r>
              <a:rPr lang="en-US"/>
              <a:t>Click to edit Master text styles</a:t>
            </a:r>
          </a:p>
          <a:p>
            <a:pPr lvl="1"/>
            <a:r>
              <a:rPr lang="en-US"/>
              <a:t>Second level</a:t>
            </a:r>
          </a:p>
        </p:txBody>
      </p:sp>
      <p:sp>
        <p:nvSpPr>
          <p:cNvPr id="10" name="Content Placeholder 9"/>
          <p:cNvSpPr>
            <a:spLocks noGrp="1"/>
          </p:cNvSpPr>
          <p:nvPr>
            <p:ph sz="quarter" idx="13"/>
          </p:nvPr>
        </p:nvSpPr>
        <p:spPr>
          <a:xfrm>
            <a:off x="325661" y="1526851"/>
            <a:ext cx="8188710" cy="1902149"/>
          </a:xfrm>
        </p:spPr>
        <p:txBody>
          <a:bodyPr lIns="91440"/>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p:cNvSpPr>
            <a:spLocks noGrp="1"/>
          </p:cNvSpPr>
          <p:nvPr>
            <p:ph idx="17"/>
          </p:nvPr>
        </p:nvSpPr>
        <p:spPr>
          <a:xfrm>
            <a:off x="325661" y="3666458"/>
            <a:ext cx="8188710" cy="439305"/>
          </a:xfrm>
        </p:spPr>
        <p:txBody>
          <a:bodyPr lIns="91440"/>
          <a:lstStyle>
            <a:lvl1pPr marL="0" indent="0">
              <a:spcBef>
                <a:spcPts val="0"/>
              </a:spcBef>
              <a:defRPr lang="en-US" sz="1200" b="1" dirty="0" smtClean="0">
                <a:solidFill>
                  <a:srgbClr val="7A9A3D"/>
                </a:solidFill>
                <a:latin typeface="+mn-lt"/>
                <a:ea typeface="+mn-ea"/>
                <a:cs typeface="+mn-cs"/>
              </a:defRPr>
            </a:lvl1pPr>
            <a:lvl2pPr marL="0" indent="0">
              <a:spcBef>
                <a:spcPts val="0"/>
              </a:spcBef>
              <a:buNone/>
              <a:defRPr sz="1200" b="0" i="1">
                <a:solidFill>
                  <a:srgbClr val="7A9A3D"/>
                </a:solidFill>
              </a:defRPr>
            </a:lvl2pPr>
          </a:lstStyle>
          <a:p>
            <a:pPr lvl="0"/>
            <a:r>
              <a:rPr lang="en-US"/>
              <a:t>Click to edit Master text styles</a:t>
            </a:r>
          </a:p>
          <a:p>
            <a:pPr lvl="1"/>
            <a:r>
              <a:rPr lang="en-US"/>
              <a:t>Second level</a:t>
            </a:r>
          </a:p>
        </p:txBody>
      </p:sp>
      <p:sp>
        <p:nvSpPr>
          <p:cNvPr id="9" name="Content Placeholder 9"/>
          <p:cNvSpPr>
            <a:spLocks noGrp="1"/>
          </p:cNvSpPr>
          <p:nvPr>
            <p:ph sz="quarter" idx="18"/>
          </p:nvPr>
        </p:nvSpPr>
        <p:spPr>
          <a:xfrm>
            <a:off x="325661" y="4120051"/>
            <a:ext cx="8188710" cy="1902149"/>
          </a:xfrm>
        </p:spPr>
        <p:txBody>
          <a:bodyPr lIns="91440"/>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7" name="Group 36">
            <a:extLst>
              <a:ext uri="{FF2B5EF4-FFF2-40B4-BE49-F238E27FC236}">
                <a16:creationId xmlns:a16="http://schemas.microsoft.com/office/drawing/2014/main" id="{AD47060C-9B45-4CFF-98F4-FE27989B6517}"/>
              </a:ext>
            </a:extLst>
          </p:cNvPr>
          <p:cNvGrpSpPr/>
          <p:nvPr userDrawn="1"/>
        </p:nvGrpSpPr>
        <p:grpSpPr>
          <a:xfrm>
            <a:off x="7358173" y="6361974"/>
            <a:ext cx="1382376" cy="297562"/>
            <a:chOff x="6923088" y="4475163"/>
            <a:chExt cx="1873251" cy="403225"/>
          </a:xfrm>
        </p:grpSpPr>
        <p:sp>
          <p:nvSpPr>
            <p:cNvPr id="38" name="AutoShape 4">
              <a:extLst>
                <a:ext uri="{FF2B5EF4-FFF2-40B4-BE49-F238E27FC236}">
                  <a16:creationId xmlns:a16="http://schemas.microsoft.com/office/drawing/2014/main" id="{A50C7966-165F-4807-AFEA-C12F2BCA17FB}"/>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9" name="Freeform 6">
              <a:extLst>
                <a:ext uri="{FF2B5EF4-FFF2-40B4-BE49-F238E27FC236}">
                  <a16:creationId xmlns:a16="http://schemas.microsoft.com/office/drawing/2014/main" id="{2D416542-B102-488D-BF19-9EDA79075042}"/>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0" name="Freeform 7">
              <a:extLst>
                <a:ext uri="{FF2B5EF4-FFF2-40B4-BE49-F238E27FC236}">
                  <a16:creationId xmlns:a16="http://schemas.microsoft.com/office/drawing/2014/main" id="{20EA49BF-25F1-44C7-B3A3-56209FB69046}"/>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2" name="Freeform 83">
              <a:extLst>
                <a:ext uri="{FF2B5EF4-FFF2-40B4-BE49-F238E27FC236}">
                  <a16:creationId xmlns:a16="http://schemas.microsoft.com/office/drawing/2014/main" id="{93865A9A-4077-40DF-807C-57106D5F955A}"/>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3" name="Freeform 84">
              <a:extLst>
                <a:ext uri="{FF2B5EF4-FFF2-40B4-BE49-F238E27FC236}">
                  <a16:creationId xmlns:a16="http://schemas.microsoft.com/office/drawing/2014/main" id="{FC0FB584-1254-43CD-9B50-F7E305FCF015}"/>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4" name="Freeform 85">
              <a:extLst>
                <a:ext uri="{FF2B5EF4-FFF2-40B4-BE49-F238E27FC236}">
                  <a16:creationId xmlns:a16="http://schemas.microsoft.com/office/drawing/2014/main" id="{EF08544E-126E-4F54-A00B-6F0382B734E3}"/>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5" name="Freeform 86">
              <a:extLst>
                <a:ext uri="{FF2B5EF4-FFF2-40B4-BE49-F238E27FC236}">
                  <a16:creationId xmlns:a16="http://schemas.microsoft.com/office/drawing/2014/main" id="{B7C8C951-F508-45D9-904C-71C7B64EA3D0}"/>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6" name="Freeform 87">
              <a:extLst>
                <a:ext uri="{FF2B5EF4-FFF2-40B4-BE49-F238E27FC236}">
                  <a16:creationId xmlns:a16="http://schemas.microsoft.com/office/drawing/2014/main" id="{BF59C57B-5654-43F0-BA0C-E27B3C2F62F0}"/>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7" name="Freeform 88">
              <a:extLst>
                <a:ext uri="{FF2B5EF4-FFF2-40B4-BE49-F238E27FC236}">
                  <a16:creationId xmlns:a16="http://schemas.microsoft.com/office/drawing/2014/main" id="{B2B8E467-EB9C-43CB-ABBD-81EF05FBA74B}"/>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8" name="Freeform 89">
              <a:extLst>
                <a:ext uri="{FF2B5EF4-FFF2-40B4-BE49-F238E27FC236}">
                  <a16:creationId xmlns:a16="http://schemas.microsoft.com/office/drawing/2014/main" id="{5729355F-EB63-44E1-96E2-095C971F95BC}"/>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9" name="Freeform 90">
              <a:extLst>
                <a:ext uri="{FF2B5EF4-FFF2-40B4-BE49-F238E27FC236}">
                  <a16:creationId xmlns:a16="http://schemas.microsoft.com/office/drawing/2014/main" id="{B2BD55CF-6ED1-4857-B856-B55BE2966D11}"/>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0" name="Freeform 91">
              <a:extLst>
                <a:ext uri="{FF2B5EF4-FFF2-40B4-BE49-F238E27FC236}">
                  <a16:creationId xmlns:a16="http://schemas.microsoft.com/office/drawing/2014/main" id="{91FFB3E8-240C-4EBF-9A50-5B17BEB0AEDD}"/>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1" name="Freeform 92">
              <a:extLst>
                <a:ext uri="{FF2B5EF4-FFF2-40B4-BE49-F238E27FC236}">
                  <a16:creationId xmlns:a16="http://schemas.microsoft.com/office/drawing/2014/main" id="{0F7093E9-640F-4B9B-83B9-27422D4BBCEA}"/>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2" name="Freeform 93">
              <a:extLst>
                <a:ext uri="{FF2B5EF4-FFF2-40B4-BE49-F238E27FC236}">
                  <a16:creationId xmlns:a16="http://schemas.microsoft.com/office/drawing/2014/main" id="{CDDE04FA-9432-48D8-9E57-ABC89785B966}"/>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3" name="Freeform 94">
              <a:extLst>
                <a:ext uri="{FF2B5EF4-FFF2-40B4-BE49-F238E27FC236}">
                  <a16:creationId xmlns:a16="http://schemas.microsoft.com/office/drawing/2014/main" id="{9FB26D40-47C6-47E5-9FC7-3A94E8B3C66B}"/>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4" name="Freeform 95">
              <a:extLst>
                <a:ext uri="{FF2B5EF4-FFF2-40B4-BE49-F238E27FC236}">
                  <a16:creationId xmlns:a16="http://schemas.microsoft.com/office/drawing/2014/main" id="{F4507BC5-5154-4DFC-842E-135C92100B92}"/>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5" name="Freeform 96">
              <a:extLst>
                <a:ext uri="{FF2B5EF4-FFF2-40B4-BE49-F238E27FC236}">
                  <a16:creationId xmlns:a16="http://schemas.microsoft.com/office/drawing/2014/main" id="{75387EE5-700A-4DDE-AE3A-90A6F5B94044}"/>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6" name="Freeform 97">
              <a:extLst>
                <a:ext uri="{FF2B5EF4-FFF2-40B4-BE49-F238E27FC236}">
                  <a16:creationId xmlns:a16="http://schemas.microsoft.com/office/drawing/2014/main" id="{9758482D-85DB-4DDF-B79B-7B188F9F0143}"/>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7" name="Freeform 98">
              <a:extLst>
                <a:ext uri="{FF2B5EF4-FFF2-40B4-BE49-F238E27FC236}">
                  <a16:creationId xmlns:a16="http://schemas.microsoft.com/office/drawing/2014/main" id="{EF151CAF-7ED9-42DE-B1B9-1AACB59758C2}"/>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8" name="Freeform 99">
              <a:extLst>
                <a:ext uri="{FF2B5EF4-FFF2-40B4-BE49-F238E27FC236}">
                  <a16:creationId xmlns:a16="http://schemas.microsoft.com/office/drawing/2014/main" id="{A792E0C4-20CF-4AC8-9F70-AE8E83B4A35C}"/>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9" name="Freeform 100">
              <a:extLst>
                <a:ext uri="{FF2B5EF4-FFF2-40B4-BE49-F238E27FC236}">
                  <a16:creationId xmlns:a16="http://schemas.microsoft.com/office/drawing/2014/main" id="{39DBB25B-35A5-4398-A82F-C9BA146E9BD3}"/>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0" name="Freeform 101">
              <a:extLst>
                <a:ext uri="{FF2B5EF4-FFF2-40B4-BE49-F238E27FC236}">
                  <a16:creationId xmlns:a16="http://schemas.microsoft.com/office/drawing/2014/main" id="{79A902AC-2DE8-4C34-BB27-7ABE95066A6C}"/>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1" name="Freeform 102">
              <a:extLst>
                <a:ext uri="{FF2B5EF4-FFF2-40B4-BE49-F238E27FC236}">
                  <a16:creationId xmlns:a16="http://schemas.microsoft.com/office/drawing/2014/main" id="{8561171B-2D21-495A-B71C-95D9A80939CD}"/>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2" name="Freeform 103">
              <a:extLst>
                <a:ext uri="{FF2B5EF4-FFF2-40B4-BE49-F238E27FC236}">
                  <a16:creationId xmlns:a16="http://schemas.microsoft.com/office/drawing/2014/main" id="{864D7054-9BEE-4BF3-968D-6A0C5C3D31CE}"/>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3" name="Freeform 104">
              <a:extLst>
                <a:ext uri="{FF2B5EF4-FFF2-40B4-BE49-F238E27FC236}">
                  <a16:creationId xmlns:a16="http://schemas.microsoft.com/office/drawing/2014/main" id="{CC385E1A-8F4F-4C9D-9CF5-375C670B1017}"/>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4" name="Freeform 105">
              <a:extLst>
                <a:ext uri="{FF2B5EF4-FFF2-40B4-BE49-F238E27FC236}">
                  <a16:creationId xmlns:a16="http://schemas.microsoft.com/office/drawing/2014/main" id="{7895869E-4BC5-4BA7-AF72-8FC48EFE9BF7}"/>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65" name="Slide Number Placeholder 3">
            <a:extLst>
              <a:ext uri="{FF2B5EF4-FFF2-40B4-BE49-F238E27FC236}">
                <a16:creationId xmlns:a16="http://schemas.microsoft.com/office/drawing/2014/main" id="{E8A4DA1C-022C-486D-AE72-319ED27E49CB}"/>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6" name="Rectangle 155">
            <a:extLst>
              <a:ext uri="{FF2B5EF4-FFF2-40B4-BE49-F238E27FC236}">
                <a16:creationId xmlns:a16="http://schemas.microsoft.com/office/drawing/2014/main" id="{F5375835-282B-48B9-BA05-8C7189097404}"/>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dirty="0"/>
              <a:t>Production code #</a:t>
            </a:r>
          </a:p>
        </p:txBody>
      </p:sp>
      <p:sp>
        <p:nvSpPr>
          <p:cNvPr id="67" name="Rectangle 176">
            <a:extLst>
              <a:ext uri="{FF2B5EF4-FFF2-40B4-BE49-F238E27FC236}">
                <a16:creationId xmlns:a16="http://schemas.microsoft.com/office/drawing/2014/main" id="{1E8B0D02-E4F8-412E-BDB8-086E6FE9CF00}"/>
              </a:ext>
            </a:extLst>
          </p:cNvPr>
          <p:cNvSpPr>
            <a:spLocks noGrp="1" noChangeArrowheads="1"/>
          </p:cNvSpPr>
          <p:nvPr>
            <p:ph type="ftr" sz="quarter" idx="19"/>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3256567520"/>
      </p:ext>
    </p:extLst>
  </p:cSld>
  <p:clrMapOvr>
    <a:masterClrMapping/>
  </p:clrMapOvr>
  <p:extLst>
    <p:ext uri="{DCECCB84-F9BA-43D5-87BE-67443E8EF086}">
      <p15:sldGuideLst xmlns:p15="http://schemas.microsoft.com/office/powerpoint/2012/main">
        <p15:guide id="1" orient="horz" pos="2160">
          <p15:clr>
            <a:srgbClr val="FBAE40"/>
          </p15:clr>
        </p15:guide>
        <p15:guide id="2" pos="264">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73742" cy="838200"/>
          </a:xfrm>
        </p:spPr>
        <p:txBody>
          <a:bodyPr/>
          <a:lstStyle/>
          <a:p>
            <a:r>
              <a:rPr lang="en-US"/>
              <a:t>Click to edit Master title style</a:t>
            </a:r>
            <a:endParaRPr lang="en-US" dirty="0"/>
          </a:p>
        </p:txBody>
      </p:sp>
      <p:sp>
        <p:nvSpPr>
          <p:cNvPr id="3" name="Content Placeholder 2"/>
          <p:cNvSpPr>
            <a:spLocks noGrp="1"/>
          </p:cNvSpPr>
          <p:nvPr>
            <p:ph sz="half" idx="1"/>
          </p:nvPr>
        </p:nvSpPr>
        <p:spPr>
          <a:xfrm>
            <a:off x="325661" y="1339850"/>
            <a:ext cx="3878262" cy="4878388"/>
          </a:xfrm>
        </p:spPr>
        <p:txBody>
          <a:bodyPr lIns="91440"/>
          <a:lstStyle>
            <a:lvl1pPr>
              <a:spcBef>
                <a:spcPts val="600"/>
              </a:spcBef>
              <a:defRPr sz="1400">
                <a:solidFill>
                  <a:srgbClr val="7A9A3D"/>
                </a:solidFill>
              </a:defRPr>
            </a:lvl1pPr>
            <a:lvl2pPr marL="114300" indent="-114300">
              <a:spcBef>
                <a:spcPts val="600"/>
              </a:spcBef>
              <a:buClr>
                <a:srgbClr val="7A9A3D"/>
              </a:buClr>
              <a:defRPr sz="1200">
                <a:solidFill>
                  <a:srgbClr val="000000"/>
                </a:solidFill>
              </a:defRPr>
            </a:lvl2pPr>
            <a:lvl3pPr marL="228600" indent="-114300">
              <a:spcBef>
                <a:spcPts val="600"/>
              </a:spcBef>
              <a:buClr>
                <a:srgbClr val="7A9A3D"/>
              </a:buClr>
              <a:defRPr sz="1100">
                <a:solidFill>
                  <a:srgbClr val="000000"/>
                </a:solidFill>
              </a:defRPr>
            </a:lvl3pPr>
            <a:lvl4pPr marL="342900" indent="-114300">
              <a:spcBef>
                <a:spcPts val="600"/>
              </a:spcBef>
              <a:buClr>
                <a:srgbClr val="7A9A3D"/>
              </a:buClr>
              <a:defRPr sz="1100">
                <a:solidFill>
                  <a:srgbClr val="000000"/>
                </a:solidFill>
              </a:defRPr>
            </a:lvl4pPr>
            <a:lvl5pPr>
              <a:defRPr sz="105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2"/>
          <p:cNvSpPr>
            <a:spLocks noGrp="1"/>
          </p:cNvSpPr>
          <p:nvPr>
            <p:ph sz="half" idx="13"/>
          </p:nvPr>
        </p:nvSpPr>
        <p:spPr>
          <a:xfrm>
            <a:off x="4611450" y="1339850"/>
            <a:ext cx="3878262" cy="4878388"/>
          </a:xfrm>
        </p:spPr>
        <p:txBody>
          <a:bodyPr lIns="91440"/>
          <a:lstStyle>
            <a:lvl1pPr>
              <a:spcBef>
                <a:spcPts val="600"/>
              </a:spcBef>
              <a:defRPr sz="1400">
                <a:solidFill>
                  <a:srgbClr val="7A9A3D"/>
                </a:solidFill>
              </a:defRPr>
            </a:lvl1pPr>
            <a:lvl2pPr marL="114300" indent="-114300">
              <a:spcBef>
                <a:spcPts val="600"/>
              </a:spcBef>
              <a:buClr>
                <a:srgbClr val="7A9A3D"/>
              </a:buClr>
              <a:defRPr sz="1200">
                <a:solidFill>
                  <a:srgbClr val="000000"/>
                </a:solidFill>
              </a:defRPr>
            </a:lvl2pPr>
            <a:lvl3pPr marL="228600" indent="-114300">
              <a:spcBef>
                <a:spcPts val="600"/>
              </a:spcBef>
              <a:buClr>
                <a:srgbClr val="7A9A3D"/>
              </a:buClr>
              <a:defRPr sz="1100">
                <a:solidFill>
                  <a:srgbClr val="000000"/>
                </a:solidFill>
              </a:defRPr>
            </a:lvl3pPr>
            <a:lvl4pPr marL="342900" indent="-114300">
              <a:spcBef>
                <a:spcPts val="600"/>
              </a:spcBef>
              <a:buClr>
                <a:srgbClr val="7A9A3D"/>
              </a:buClr>
              <a:defRPr sz="1100">
                <a:solidFill>
                  <a:srgbClr val="000000"/>
                </a:solidFill>
              </a:defRPr>
            </a:lvl4pPr>
            <a:lvl5pPr>
              <a:defRPr sz="105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grpSp>
        <p:nvGrpSpPr>
          <p:cNvPr id="35" name="Group 34">
            <a:extLst>
              <a:ext uri="{FF2B5EF4-FFF2-40B4-BE49-F238E27FC236}">
                <a16:creationId xmlns:a16="http://schemas.microsoft.com/office/drawing/2014/main" id="{2AFCA40D-8F58-429B-B9CC-8837A21EB90D}"/>
              </a:ext>
            </a:extLst>
          </p:cNvPr>
          <p:cNvGrpSpPr/>
          <p:nvPr userDrawn="1"/>
        </p:nvGrpSpPr>
        <p:grpSpPr>
          <a:xfrm>
            <a:off x="7358173" y="6361974"/>
            <a:ext cx="1382376" cy="297562"/>
            <a:chOff x="6923088" y="4475163"/>
            <a:chExt cx="1873251" cy="403225"/>
          </a:xfrm>
        </p:grpSpPr>
        <p:sp>
          <p:nvSpPr>
            <p:cNvPr id="36" name="AutoShape 4">
              <a:extLst>
                <a:ext uri="{FF2B5EF4-FFF2-40B4-BE49-F238E27FC236}">
                  <a16:creationId xmlns:a16="http://schemas.microsoft.com/office/drawing/2014/main" id="{8DFB9938-63A0-4A34-8449-BE002E9AF923}"/>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7" name="Freeform 6">
              <a:extLst>
                <a:ext uri="{FF2B5EF4-FFF2-40B4-BE49-F238E27FC236}">
                  <a16:creationId xmlns:a16="http://schemas.microsoft.com/office/drawing/2014/main" id="{A28F1350-5F1B-44AA-821E-44CCD813CA02}"/>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8" name="Freeform 7">
              <a:extLst>
                <a:ext uri="{FF2B5EF4-FFF2-40B4-BE49-F238E27FC236}">
                  <a16:creationId xmlns:a16="http://schemas.microsoft.com/office/drawing/2014/main" id="{FCCB5549-4BD4-4157-837C-79C5F090E2AB}"/>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0" name="Freeform 83">
              <a:extLst>
                <a:ext uri="{FF2B5EF4-FFF2-40B4-BE49-F238E27FC236}">
                  <a16:creationId xmlns:a16="http://schemas.microsoft.com/office/drawing/2014/main" id="{E66A0397-0D9A-454D-B863-45119AA30F0A}"/>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1" name="Freeform 84">
              <a:extLst>
                <a:ext uri="{FF2B5EF4-FFF2-40B4-BE49-F238E27FC236}">
                  <a16:creationId xmlns:a16="http://schemas.microsoft.com/office/drawing/2014/main" id="{1159932D-D4AA-4554-80A3-C5953FD235BD}"/>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2" name="Freeform 85">
              <a:extLst>
                <a:ext uri="{FF2B5EF4-FFF2-40B4-BE49-F238E27FC236}">
                  <a16:creationId xmlns:a16="http://schemas.microsoft.com/office/drawing/2014/main" id="{99EA43E4-E207-4DE8-86BD-FE173B0D11B7}"/>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3" name="Freeform 86">
              <a:extLst>
                <a:ext uri="{FF2B5EF4-FFF2-40B4-BE49-F238E27FC236}">
                  <a16:creationId xmlns:a16="http://schemas.microsoft.com/office/drawing/2014/main" id="{3D5E77D7-98DF-4F64-8E1D-556C5538EF71}"/>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4" name="Freeform 87">
              <a:extLst>
                <a:ext uri="{FF2B5EF4-FFF2-40B4-BE49-F238E27FC236}">
                  <a16:creationId xmlns:a16="http://schemas.microsoft.com/office/drawing/2014/main" id="{1A7515BE-7CAE-4A11-A11B-4B99A5C9E2AC}"/>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5" name="Freeform 88">
              <a:extLst>
                <a:ext uri="{FF2B5EF4-FFF2-40B4-BE49-F238E27FC236}">
                  <a16:creationId xmlns:a16="http://schemas.microsoft.com/office/drawing/2014/main" id="{D694EEF5-E4E7-45C7-8B2C-0BC6FA89E172}"/>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6" name="Freeform 89">
              <a:extLst>
                <a:ext uri="{FF2B5EF4-FFF2-40B4-BE49-F238E27FC236}">
                  <a16:creationId xmlns:a16="http://schemas.microsoft.com/office/drawing/2014/main" id="{9F7A167B-7471-440D-A0ED-79CAA455AA23}"/>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7" name="Freeform 90">
              <a:extLst>
                <a:ext uri="{FF2B5EF4-FFF2-40B4-BE49-F238E27FC236}">
                  <a16:creationId xmlns:a16="http://schemas.microsoft.com/office/drawing/2014/main" id="{FC6AE01D-51AE-4B9E-BEFD-19330091AB5D}"/>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8" name="Freeform 91">
              <a:extLst>
                <a:ext uri="{FF2B5EF4-FFF2-40B4-BE49-F238E27FC236}">
                  <a16:creationId xmlns:a16="http://schemas.microsoft.com/office/drawing/2014/main" id="{B726AD82-47C6-47F3-9CE2-4A8F4DDCBDF9}"/>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9" name="Freeform 92">
              <a:extLst>
                <a:ext uri="{FF2B5EF4-FFF2-40B4-BE49-F238E27FC236}">
                  <a16:creationId xmlns:a16="http://schemas.microsoft.com/office/drawing/2014/main" id="{214E2653-82A5-43E3-B666-1B0E9D70D71F}"/>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0" name="Freeform 93">
              <a:extLst>
                <a:ext uri="{FF2B5EF4-FFF2-40B4-BE49-F238E27FC236}">
                  <a16:creationId xmlns:a16="http://schemas.microsoft.com/office/drawing/2014/main" id="{60F840A2-381E-4048-8295-88F95AC524FF}"/>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1" name="Freeform 94">
              <a:extLst>
                <a:ext uri="{FF2B5EF4-FFF2-40B4-BE49-F238E27FC236}">
                  <a16:creationId xmlns:a16="http://schemas.microsoft.com/office/drawing/2014/main" id="{DFA6C402-3CCD-4FC6-A518-DE487141DAD7}"/>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2" name="Freeform 95">
              <a:extLst>
                <a:ext uri="{FF2B5EF4-FFF2-40B4-BE49-F238E27FC236}">
                  <a16:creationId xmlns:a16="http://schemas.microsoft.com/office/drawing/2014/main" id="{6BCE0A60-59BA-4A31-84DF-83EF81C96B9E}"/>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3" name="Freeform 96">
              <a:extLst>
                <a:ext uri="{FF2B5EF4-FFF2-40B4-BE49-F238E27FC236}">
                  <a16:creationId xmlns:a16="http://schemas.microsoft.com/office/drawing/2014/main" id="{64F2B275-69D4-4CE0-B768-F5AEE48D8E75}"/>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4" name="Freeform 97">
              <a:extLst>
                <a:ext uri="{FF2B5EF4-FFF2-40B4-BE49-F238E27FC236}">
                  <a16:creationId xmlns:a16="http://schemas.microsoft.com/office/drawing/2014/main" id="{62B10CCD-9C7A-4E26-B43B-D74312D407B5}"/>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5" name="Freeform 98">
              <a:extLst>
                <a:ext uri="{FF2B5EF4-FFF2-40B4-BE49-F238E27FC236}">
                  <a16:creationId xmlns:a16="http://schemas.microsoft.com/office/drawing/2014/main" id="{96F83C84-C17B-4B94-ACA5-05431674C481}"/>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6" name="Freeform 99">
              <a:extLst>
                <a:ext uri="{FF2B5EF4-FFF2-40B4-BE49-F238E27FC236}">
                  <a16:creationId xmlns:a16="http://schemas.microsoft.com/office/drawing/2014/main" id="{1E05D619-B8D6-4805-A3F9-780F60543EB6}"/>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7" name="Freeform 100">
              <a:extLst>
                <a:ext uri="{FF2B5EF4-FFF2-40B4-BE49-F238E27FC236}">
                  <a16:creationId xmlns:a16="http://schemas.microsoft.com/office/drawing/2014/main" id="{A0103845-613F-45A7-B66E-688FD3E3246E}"/>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8" name="Freeform 101">
              <a:extLst>
                <a:ext uri="{FF2B5EF4-FFF2-40B4-BE49-F238E27FC236}">
                  <a16:creationId xmlns:a16="http://schemas.microsoft.com/office/drawing/2014/main" id="{DE8DA4D6-B281-47E4-A7BF-F95430547F0B}"/>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9" name="Freeform 102">
              <a:extLst>
                <a:ext uri="{FF2B5EF4-FFF2-40B4-BE49-F238E27FC236}">
                  <a16:creationId xmlns:a16="http://schemas.microsoft.com/office/drawing/2014/main" id="{897DEA63-F6D7-489B-A9E8-1D2F3B2898E7}"/>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0" name="Freeform 103">
              <a:extLst>
                <a:ext uri="{FF2B5EF4-FFF2-40B4-BE49-F238E27FC236}">
                  <a16:creationId xmlns:a16="http://schemas.microsoft.com/office/drawing/2014/main" id="{54874F82-9013-46F0-A138-0F6D2E53904F}"/>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1" name="Freeform 104">
              <a:extLst>
                <a:ext uri="{FF2B5EF4-FFF2-40B4-BE49-F238E27FC236}">
                  <a16:creationId xmlns:a16="http://schemas.microsoft.com/office/drawing/2014/main" id="{7934340A-F61F-4A9C-BB0A-9854348706BB}"/>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2" name="Freeform 105">
              <a:extLst>
                <a:ext uri="{FF2B5EF4-FFF2-40B4-BE49-F238E27FC236}">
                  <a16:creationId xmlns:a16="http://schemas.microsoft.com/office/drawing/2014/main" id="{5289D484-713A-4780-8642-C297A02968CC}"/>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63" name="Slide Number Placeholder 3">
            <a:extLst>
              <a:ext uri="{FF2B5EF4-FFF2-40B4-BE49-F238E27FC236}">
                <a16:creationId xmlns:a16="http://schemas.microsoft.com/office/drawing/2014/main" id="{962933B9-4871-4551-B211-283BF78E4B31}"/>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4" name="Rectangle 155">
            <a:extLst>
              <a:ext uri="{FF2B5EF4-FFF2-40B4-BE49-F238E27FC236}">
                <a16:creationId xmlns:a16="http://schemas.microsoft.com/office/drawing/2014/main" id="{B7058636-AC71-4357-A634-03DF107B85A4}"/>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dirty="0"/>
              <a:t>Production code #</a:t>
            </a:r>
          </a:p>
        </p:txBody>
      </p:sp>
      <p:sp>
        <p:nvSpPr>
          <p:cNvPr id="65" name="Rectangle 176">
            <a:extLst>
              <a:ext uri="{FF2B5EF4-FFF2-40B4-BE49-F238E27FC236}">
                <a16:creationId xmlns:a16="http://schemas.microsoft.com/office/drawing/2014/main" id="{6160F30A-F128-4555-90DE-A89193F5A54B}"/>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3845433667"/>
      </p:ext>
    </p:extLst>
  </p:cSld>
  <p:clrMapOvr>
    <a:masterClrMapping/>
  </p:clrMapOvr>
  <p:extLst>
    <p:ext uri="{DCECCB84-F9BA-43D5-87BE-67443E8EF086}">
      <p15:sldGuideLst xmlns:p15="http://schemas.microsoft.com/office/powerpoint/2012/main">
        <p15:guide id="1" orient="horz" pos="2160">
          <p15:clr>
            <a:srgbClr val="FBAE40"/>
          </p15:clr>
        </p15:guide>
        <p15:guide id="2" pos="264">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ack_Cover_BD">
    <p:spTree>
      <p:nvGrpSpPr>
        <p:cNvPr id="1" name=""/>
        <p:cNvGrpSpPr/>
        <p:nvPr/>
      </p:nvGrpSpPr>
      <p:grpSpPr>
        <a:xfrm>
          <a:off x="0" y="0"/>
          <a:ext cx="0" cy="0"/>
          <a:chOff x="0" y="0"/>
          <a:chExt cx="0" cy="0"/>
        </a:xfrm>
      </p:grpSpPr>
      <p:sp>
        <p:nvSpPr>
          <p:cNvPr id="5" name="TextBox 4"/>
          <p:cNvSpPr txBox="1"/>
          <p:nvPr userDrawn="1"/>
        </p:nvSpPr>
        <p:spPr>
          <a:xfrm>
            <a:off x="1338943" y="6473360"/>
            <a:ext cx="6466114" cy="353943"/>
          </a:xfrm>
          <a:prstGeom prst="rect">
            <a:avLst/>
          </a:prstGeom>
          <a:noFill/>
        </p:spPr>
        <p:txBody>
          <a:bodyPr wrap="square" rtlCol="0">
            <a:spAutoFit/>
          </a:bodyPr>
          <a:lstStyle/>
          <a:p>
            <a:pPr algn="ctr" fontAlgn="base">
              <a:spcBef>
                <a:spcPts val="200"/>
              </a:spcBef>
              <a:spcAft>
                <a:spcPct val="0"/>
              </a:spcAft>
              <a:defRPr/>
            </a:pPr>
            <a:r>
              <a:rPr lang="en-US" altLang="en-US" sz="900" dirty="0">
                <a:solidFill>
                  <a:srgbClr val="000000"/>
                </a:solidFill>
                <a:ea typeface="ＭＳ Ｐゴシック"/>
              </a:rPr>
              <a:t>FIDELITY DISTRIBUTORS COMPANY LLC, 500 SALEM STREET, SMITHFIELD, RI  02917</a:t>
            </a:r>
            <a:br>
              <a:rPr lang="en-US" altLang="en-US" sz="1200" dirty="0">
                <a:solidFill>
                  <a:srgbClr val="000000"/>
                </a:solidFill>
                <a:ea typeface="ＭＳ Ｐゴシック"/>
              </a:rPr>
            </a:br>
            <a:r>
              <a:rPr lang="en-US" sz="800" dirty="0">
                <a:solidFill>
                  <a:srgbClr val="000000"/>
                </a:solidFill>
                <a:ea typeface="ＭＳ Ｐゴシック"/>
              </a:rPr>
              <a:t>© 2020 FMR LLC. All rights reserved.</a:t>
            </a:r>
          </a:p>
        </p:txBody>
      </p:sp>
      <p:sp>
        <p:nvSpPr>
          <p:cNvPr id="91" name="Content Placeholder 12"/>
          <p:cNvSpPr>
            <a:spLocks noGrp="1"/>
          </p:cNvSpPr>
          <p:nvPr>
            <p:ph sz="quarter" idx="16" hasCustomPrompt="1"/>
          </p:nvPr>
        </p:nvSpPr>
        <p:spPr>
          <a:xfrm>
            <a:off x="7991475" y="6332082"/>
            <a:ext cx="908050" cy="377825"/>
          </a:xfrm>
        </p:spPr>
        <p:txBody>
          <a:bodyPr anchor="b"/>
          <a:lstStyle>
            <a:lvl1pPr marL="0" indent="0" algn="r">
              <a:spcBef>
                <a:spcPts val="0"/>
              </a:spcBef>
              <a:defRPr sz="700" b="0">
                <a:solidFill>
                  <a:schemeClr val="tx1"/>
                </a:solidFill>
              </a:defRPr>
            </a:lvl1pPr>
            <a:lvl2pPr algn="r">
              <a:defRPr sz="700" b="0">
                <a:solidFill>
                  <a:schemeClr val="tx1"/>
                </a:solidFill>
              </a:defRPr>
            </a:lvl2pPr>
            <a:lvl3pPr algn="r">
              <a:defRPr sz="700" b="0">
                <a:solidFill>
                  <a:schemeClr val="tx1"/>
                </a:solidFill>
              </a:defRPr>
            </a:lvl3pPr>
            <a:lvl4pPr algn="r">
              <a:defRPr sz="700" b="0">
                <a:solidFill>
                  <a:schemeClr val="tx1"/>
                </a:solidFill>
              </a:defRPr>
            </a:lvl4pPr>
            <a:lvl5pPr algn="r">
              <a:defRPr sz="700" b="0">
                <a:solidFill>
                  <a:schemeClr val="tx1"/>
                </a:solidFill>
              </a:defRPr>
            </a:lvl5pPr>
          </a:lstStyle>
          <a:p>
            <a:pPr lvl="0"/>
            <a:r>
              <a:rPr lang="en-US" dirty="0"/>
              <a:t>1.000000.100</a:t>
            </a:r>
          </a:p>
          <a:p>
            <a:pPr lvl="0"/>
            <a:r>
              <a:rPr lang="en-US" dirty="0"/>
              <a:t>MMYY</a:t>
            </a:r>
          </a:p>
        </p:txBody>
      </p:sp>
      <p:sp>
        <p:nvSpPr>
          <p:cNvPr id="38" name="Content Placeholder 10"/>
          <p:cNvSpPr>
            <a:spLocks noGrp="1"/>
          </p:cNvSpPr>
          <p:nvPr>
            <p:ph sz="quarter" idx="15" hasCustomPrompt="1"/>
          </p:nvPr>
        </p:nvSpPr>
        <p:spPr>
          <a:xfrm>
            <a:off x="312963" y="6289468"/>
            <a:ext cx="964293" cy="420439"/>
          </a:xfrm>
        </p:spPr>
        <p:txBody>
          <a:bodyPr/>
          <a:lstStyle>
            <a:lvl1pPr marL="0" indent="0">
              <a:spcBef>
                <a:spcPts val="0"/>
              </a:spcBef>
              <a:defRPr sz="700" b="0">
                <a:solidFill>
                  <a:schemeClr val="tx1"/>
                </a:solidFill>
              </a:defRPr>
            </a:lvl1pPr>
            <a:lvl2pPr>
              <a:defRPr sz="700" b="0">
                <a:solidFill>
                  <a:schemeClr val="tx1"/>
                </a:solidFill>
              </a:defRPr>
            </a:lvl2pPr>
            <a:lvl3pPr>
              <a:defRPr sz="700" b="0">
                <a:solidFill>
                  <a:schemeClr val="tx1"/>
                </a:solidFill>
              </a:defRPr>
            </a:lvl3pPr>
            <a:lvl4pPr>
              <a:defRPr sz="700" b="0">
                <a:solidFill>
                  <a:schemeClr val="tx1"/>
                </a:solidFill>
              </a:defRPr>
            </a:lvl4pPr>
            <a:lvl5pPr>
              <a:defRPr sz="700" b="0">
                <a:solidFill>
                  <a:schemeClr val="tx1"/>
                </a:solidFill>
              </a:defRPr>
            </a:lvl5pPr>
          </a:lstStyle>
          <a:p>
            <a:pPr lvl="0"/>
            <a:r>
              <a:rPr lang="en-US" dirty="0"/>
              <a:t>XXXXXX.1.0</a:t>
            </a:r>
          </a:p>
          <a:p>
            <a:pPr lvl="0"/>
            <a:r>
              <a:rPr lang="en-US" dirty="0"/>
              <a:t>FIAM-BD</a:t>
            </a:r>
          </a:p>
          <a:p>
            <a:pPr lvl="0"/>
            <a:r>
              <a:rPr lang="en-US" dirty="0"/>
              <a:t>EXPIRES: 00/00/00</a:t>
            </a:r>
          </a:p>
        </p:txBody>
      </p:sp>
      <p:grpSp>
        <p:nvGrpSpPr>
          <p:cNvPr id="40" name="Group 39">
            <a:extLst>
              <a:ext uri="{FF2B5EF4-FFF2-40B4-BE49-F238E27FC236}">
                <a16:creationId xmlns:a16="http://schemas.microsoft.com/office/drawing/2014/main" id="{89677456-A035-4F64-A58E-2AA08AFD443E}"/>
              </a:ext>
            </a:extLst>
          </p:cNvPr>
          <p:cNvGrpSpPr/>
          <p:nvPr userDrawn="1"/>
        </p:nvGrpSpPr>
        <p:grpSpPr>
          <a:xfrm>
            <a:off x="373758" y="5841629"/>
            <a:ext cx="1382376" cy="297562"/>
            <a:chOff x="6923088" y="4475163"/>
            <a:chExt cx="1873251" cy="403225"/>
          </a:xfrm>
        </p:grpSpPr>
        <p:sp>
          <p:nvSpPr>
            <p:cNvPr id="41" name="AutoShape 4">
              <a:extLst>
                <a:ext uri="{FF2B5EF4-FFF2-40B4-BE49-F238E27FC236}">
                  <a16:creationId xmlns:a16="http://schemas.microsoft.com/office/drawing/2014/main" id="{13718D80-BDB0-444B-BF56-C5988FBA38AC}"/>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2" name="Freeform 6">
              <a:extLst>
                <a:ext uri="{FF2B5EF4-FFF2-40B4-BE49-F238E27FC236}">
                  <a16:creationId xmlns:a16="http://schemas.microsoft.com/office/drawing/2014/main" id="{66D46C6D-5495-4E29-863F-32742C641DF3}"/>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3" name="Freeform 7">
              <a:extLst>
                <a:ext uri="{FF2B5EF4-FFF2-40B4-BE49-F238E27FC236}">
                  <a16:creationId xmlns:a16="http://schemas.microsoft.com/office/drawing/2014/main" id="{2A9B57CC-C72C-490A-A620-C2B77CE96B42}"/>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4" name="Freeform 83">
              <a:extLst>
                <a:ext uri="{FF2B5EF4-FFF2-40B4-BE49-F238E27FC236}">
                  <a16:creationId xmlns:a16="http://schemas.microsoft.com/office/drawing/2014/main" id="{71544B70-E09A-424D-8B5F-A0B1DC238AB5}"/>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5" name="Freeform 84">
              <a:extLst>
                <a:ext uri="{FF2B5EF4-FFF2-40B4-BE49-F238E27FC236}">
                  <a16:creationId xmlns:a16="http://schemas.microsoft.com/office/drawing/2014/main" id="{C96D237F-3E7D-447F-9901-A6973C6D44AF}"/>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6" name="Freeform 85">
              <a:extLst>
                <a:ext uri="{FF2B5EF4-FFF2-40B4-BE49-F238E27FC236}">
                  <a16:creationId xmlns:a16="http://schemas.microsoft.com/office/drawing/2014/main" id="{04FC3846-78BD-43BE-B65A-D57DBC754F63}"/>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7" name="Freeform 86">
              <a:extLst>
                <a:ext uri="{FF2B5EF4-FFF2-40B4-BE49-F238E27FC236}">
                  <a16:creationId xmlns:a16="http://schemas.microsoft.com/office/drawing/2014/main" id="{421EF74A-9913-425F-BF2B-AEF051AB8C6F}"/>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8" name="Freeform 87">
              <a:extLst>
                <a:ext uri="{FF2B5EF4-FFF2-40B4-BE49-F238E27FC236}">
                  <a16:creationId xmlns:a16="http://schemas.microsoft.com/office/drawing/2014/main" id="{E6976E3A-F411-4270-B557-2F3A706B9FCB}"/>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9" name="Freeform 88">
              <a:extLst>
                <a:ext uri="{FF2B5EF4-FFF2-40B4-BE49-F238E27FC236}">
                  <a16:creationId xmlns:a16="http://schemas.microsoft.com/office/drawing/2014/main" id="{AF734CDA-89FA-4A6A-AB5D-B1C229F35180}"/>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0" name="Freeform 89">
              <a:extLst>
                <a:ext uri="{FF2B5EF4-FFF2-40B4-BE49-F238E27FC236}">
                  <a16:creationId xmlns:a16="http://schemas.microsoft.com/office/drawing/2014/main" id="{3E8AD57A-6C7F-4DEA-8607-19FA0ACB1554}"/>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1" name="Freeform 90">
              <a:extLst>
                <a:ext uri="{FF2B5EF4-FFF2-40B4-BE49-F238E27FC236}">
                  <a16:creationId xmlns:a16="http://schemas.microsoft.com/office/drawing/2014/main" id="{DA8CD515-AD53-4C75-BC5D-98C894FCDC9F}"/>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2" name="Freeform 91">
              <a:extLst>
                <a:ext uri="{FF2B5EF4-FFF2-40B4-BE49-F238E27FC236}">
                  <a16:creationId xmlns:a16="http://schemas.microsoft.com/office/drawing/2014/main" id="{FC02DFB7-0B50-4249-9553-6ED994530C9A}"/>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3" name="Freeform 92">
              <a:extLst>
                <a:ext uri="{FF2B5EF4-FFF2-40B4-BE49-F238E27FC236}">
                  <a16:creationId xmlns:a16="http://schemas.microsoft.com/office/drawing/2014/main" id="{6F454668-6F60-4550-9BAF-ED566BE76C56}"/>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4" name="Freeform 93">
              <a:extLst>
                <a:ext uri="{FF2B5EF4-FFF2-40B4-BE49-F238E27FC236}">
                  <a16:creationId xmlns:a16="http://schemas.microsoft.com/office/drawing/2014/main" id="{2D504B35-6648-4532-B1C0-98DAA9E56AC0}"/>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5" name="Freeform 94">
              <a:extLst>
                <a:ext uri="{FF2B5EF4-FFF2-40B4-BE49-F238E27FC236}">
                  <a16:creationId xmlns:a16="http://schemas.microsoft.com/office/drawing/2014/main" id="{DD82A180-978C-4E0A-99D8-735DE80A9213}"/>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6" name="Freeform 95">
              <a:extLst>
                <a:ext uri="{FF2B5EF4-FFF2-40B4-BE49-F238E27FC236}">
                  <a16:creationId xmlns:a16="http://schemas.microsoft.com/office/drawing/2014/main" id="{5BFA9E0E-F0E1-4E43-8813-446F9D052DF9}"/>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7" name="Freeform 96">
              <a:extLst>
                <a:ext uri="{FF2B5EF4-FFF2-40B4-BE49-F238E27FC236}">
                  <a16:creationId xmlns:a16="http://schemas.microsoft.com/office/drawing/2014/main" id="{EEC345AA-6206-4F2A-B6D7-8EF4B3F2B127}"/>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8" name="Freeform 97">
              <a:extLst>
                <a:ext uri="{FF2B5EF4-FFF2-40B4-BE49-F238E27FC236}">
                  <a16:creationId xmlns:a16="http://schemas.microsoft.com/office/drawing/2014/main" id="{9E851DCC-A64F-4FF7-9CB5-1625F981DAF1}"/>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9" name="Freeform 98">
              <a:extLst>
                <a:ext uri="{FF2B5EF4-FFF2-40B4-BE49-F238E27FC236}">
                  <a16:creationId xmlns:a16="http://schemas.microsoft.com/office/drawing/2014/main" id="{E13F40FE-92E6-4F13-9314-E971E755EB5E}"/>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0" name="Freeform 99">
              <a:extLst>
                <a:ext uri="{FF2B5EF4-FFF2-40B4-BE49-F238E27FC236}">
                  <a16:creationId xmlns:a16="http://schemas.microsoft.com/office/drawing/2014/main" id="{B8AC48C2-65E1-4266-8B33-D3F28A35B565}"/>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1" name="Freeform 100">
              <a:extLst>
                <a:ext uri="{FF2B5EF4-FFF2-40B4-BE49-F238E27FC236}">
                  <a16:creationId xmlns:a16="http://schemas.microsoft.com/office/drawing/2014/main" id="{27E88FEE-E357-41EB-8DE1-6A50843BA203}"/>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2" name="Freeform 101">
              <a:extLst>
                <a:ext uri="{FF2B5EF4-FFF2-40B4-BE49-F238E27FC236}">
                  <a16:creationId xmlns:a16="http://schemas.microsoft.com/office/drawing/2014/main" id="{356ACE0E-1E1C-41A4-97BA-4911E011CB15}"/>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3" name="Freeform 102">
              <a:extLst>
                <a:ext uri="{FF2B5EF4-FFF2-40B4-BE49-F238E27FC236}">
                  <a16:creationId xmlns:a16="http://schemas.microsoft.com/office/drawing/2014/main" id="{0E299D07-B13A-44E9-B936-8A1662FA8B2C}"/>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4" name="Freeform 103">
              <a:extLst>
                <a:ext uri="{FF2B5EF4-FFF2-40B4-BE49-F238E27FC236}">
                  <a16:creationId xmlns:a16="http://schemas.microsoft.com/office/drawing/2014/main" id="{B1078A67-DA9D-458D-8821-C44FFA5BC5BC}"/>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5" name="Freeform 104">
              <a:extLst>
                <a:ext uri="{FF2B5EF4-FFF2-40B4-BE49-F238E27FC236}">
                  <a16:creationId xmlns:a16="http://schemas.microsoft.com/office/drawing/2014/main" id="{2C5B5285-E3B4-4201-BB13-039F97249B4B}"/>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6" name="Freeform 105">
              <a:extLst>
                <a:ext uri="{FF2B5EF4-FFF2-40B4-BE49-F238E27FC236}">
                  <a16:creationId xmlns:a16="http://schemas.microsoft.com/office/drawing/2014/main" id="{769DE36E-EB0C-4770-99E9-4446F83D0F8D}"/>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Tree>
    <p:extLst>
      <p:ext uri="{BB962C8B-B14F-4D97-AF65-F5344CB8AC3E}">
        <p14:creationId xmlns:p14="http://schemas.microsoft.com/office/powerpoint/2010/main" val="163913932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ack_Cover_IA">
    <p:spTree>
      <p:nvGrpSpPr>
        <p:cNvPr id="1" name=""/>
        <p:cNvGrpSpPr/>
        <p:nvPr/>
      </p:nvGrpSpPr>
      <p:grpSpPr>
        <a:xfrm>
          <a:off x="0" y="0"/>
          <a:ext cx="0" cy="0"/>
          <a:chOff x="0" y="0"/>
          <a:chExt cx="0" cy="0"/>
        </a:xfrm>
      </p:grpSpPr>
      <p:sp>
        <p:nvSpPr>
          <p:cNvPr id="2" name="Rectangle 1"/>
          <p:cNvSpPr/>
          <p:nvPr userDrawn="1"/>
        </p:nvSpPr>
        <p:spPr>
          <a:xfrm>
            <a:off x="1277183" y="6483639"/>
            <a:ext cx="6446759" cy="215444"/>
          </a:xfrm>
          <a:prstGeom prst="rect">
            <a:avLst/>
          </a:prstGeom>
        </p:spPr>
        <p:txBody>
          <a:bodyPr wrap="square">
            <a:spAutoFit/>
          </a:bodyPr>
          <a:lstStyle/>
          <a:p>
            <a:pPr algn="ctr" fontAlgn="base">
              <a:spcBef>
                <a:spcPts val="200"/>
              </a:spcBef>
              <a:spcAft>
                <a:spcPct val="0"/>
              </a:spcAft>
              <a:defRPr/>
            </a:pPr>
            <a:r>
              <a:rPr lang="en-US" sz="800" dirty="0">
                <a:solidFill>
                  <a:srgbClr val="000000"/>
                </a:solidFill>
                <a:ea typeface="ＭＳ Ｐゴシック"/>
              </a:rPr>
              <a:t>© 2020 FMR LLC. All rights reserved.</a:t>
            </a:r>
            <a:endParaRPr lang="en-US" altLang="en-US" sz="800" dirty="0">
              <a:solidFill>
                <a:srgbClr val="000000"/>
              </a:solidFill>
              <a:ea typeface="ＭＳ Ｐゴシック"/>
            </a:endParaRPr>
          </a:p>
        </p:txBody>
      </p:sp>
      <p:sp>
        <p:nvSpPr>
          <p:cNvPr id="65" name="Content Placeholder 10"/>
          <p:cNvSpPr>
            <a:spLocks noGrp="1"/>
          </p:cNvSpPr>
          <p:nvPr>
            <p:ph sz="quarter" idx="15" hasCustomPrompt="1"/>
          </p:nvPr>
        </p:nvSpPr>
        <p:spPr>
          <a:xfrm>
            <a:off x="312963" y="6289468"/>
            <a:ext cx="964293" cy="420439"/>
          </a:xfrm>
        </p:spPr>
        <p:txBody>
          <a:bodyPr/>
          <a:lstStyle>
            <a:lvl1pPr marL="0" indent="0">
              <a:spcBef>
                <a:spcPts val="0"/>
              </a:spcBef>
              <a:defRPr sz="700" b="0">
                <a:solidFill>
                  <a:schemeClr val="tx1"/>
                </a:solidFill>
              </a:defRPr>
            </a:lvl1pPr>
            <a:lvl2pPr>
              <a:defRPr sz="700" b="0">
                <a:solidFill>
                  <a:schemeClr val="tx1"/>
                </a:solidFill>
              </a:defRPr>
            </a:lvl2pPr>
            <a:lvl3pPr>
              <a:defRPr sz="700" b="0">
                <a:solidFill>
                  <a:schemeClr val="tx1"/>
                </a:solidFill>
              </a:defRPr>
            </a:lvl3pPr>
            <a:lvl4pPr>
              <a:defRPr sz="700" b="0">
                <a:solidFill>
                  <a:schemeClr val="tx1"/>
                </a:solidFill>
              </a:defRPr>
            </a:lvl4pPr>
            <a:lvl5pPr>
              <a:defRPr sz="700" b="0">
                <a:solidFill>
                  <a:schemeClr val="tx1"/>
                </a:solidFill>
              </a:defRPr>
            </a:lvl5pPr>
          </a:lstStyle>
          <a:p>
            <a:pPr lvl="0"/>
            <a:r>
              <a:rPr lang="en-US" dirty="0"/>
              <a:t>XXXXXX.1.0</a:t>
            </a:r>
          </a:p>
          <a:p>
            <a:pPr lvl="0"/>
            <a:r>
              <a:rPr lang="en-US" dirty="0"/>
              <a:t>FIAM-IA</a:t>
            </a:r>
          </a:p>
          <a:p>
            <a:pPr lvl="0"/>
            <a:r>
              <a:rPr lang="en-US" dirty="0"/>
              <a:t>EXPIRES: 00/00/00</a:t>
            </a:r>
          </a:p>
        </p:txBody>
      </p:sp>
      <p:grpSp>
        <p:nvGrpSpPr>
          <p:cNvPr id="31" name="Group 30">
            <a:extLst>
              <a:ext uri="{FF2B5EF4-FFF2-40B4-BE49-F238E27FC236}">
                <a16:creationId xmlns:a16="http://schemas.microsoft.com/office/drawing/2014/main" id="{EB10CB71-F2AF-4ED4-9D3C-B5EFFB91C40E}"/>
              </a:ext>
            </a:extLst>
          </p:cNvPr>
          <p:cNvGrpSpPr/>
          <p:nvPr userDrawn="1"/>
        </p:nvGrpSpPr>
        <p:grpSpPr>
          <a:xfrm>
            <a:off x="373758" y="5841629"/>
            <a:ext cx="1382376" cy="297562"/>
            <a:chOff x="6923088" y="4475163"/>
            <a:chExt cx="1873251" cy="403225"/>
          </a:xfrm>
        </p:grpSpPr>
        <p:sp>
          <p:nvSpPr>
            <p:cNvPr id="32" name="AutoShape 4">
              <a:extLst>
                <a:ext uri="{FF2B5EF4-FFF2-40B4-BE49-F238E27FC236}">
                  <a16:creationId xmlns:a16="http://schemas.microsoft.com/office/drawing/2014/main" id="{FAAE9405-1035-4D21-9139-D6B0116BCD98}"/>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7" name="Freeform 6">
              <a:extLst>
                <a:ext uri="{FF2B5EF4-FFF2-40B4-BE49-F238E27FC236}">
                  <a16:creationId xmlns:a16="http://schemas.microsoft.com/office/drawing/2014/main" id="{0BCCDD97-7251-475F-B774-3EFD853052AE}"/>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8" name="Freeform 7">
              <a:extLst>
                <a:ext uri="{FF2B5EF4-FFF2-40B4-BE49-F238E27FC236}">
                  <a16:creationId xmlns:a16="http://schemas.microsoft.com/office/drawing/2014/main" id="{5F072604-FFA6-4881-8BE7-21FDD82AD41F}"/>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9" name="Freeform 83">
              <a:extLst>
                <a:ext uri="{FF2B5EF4-FFF2-40B4-BE49-F238E27FC236}">
                  <a16:creationId xmlns:a16="http://schemas.microsoft.com/office/drawing/2014/main" id="{D9C684DD-EDE4-442D-AE92-0C9B5BD5B951}"/>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0" name="Freeform 84">
              <a:extLst>
                <a:ext uri="{FF2B5EF4-FFF2-40B4-BE49-F238E27FC236}">
                  <a16:creationId xmlns:a16="http://schemas.microsoft.com/office/drawing/2014/main" id="{58085FE6-B407-4AF3-A417-F4F806EA5045}"/>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1" name="Freeform 85">
              <a:extLst>
                <a:ext uri="{FF2B5EF4-FFF2-40B4-BE49-F238E27FC236}">
                  <a16:creationId xmlns:a16="http://schemas.microsoft.com/office/drawing/2014/main" id="{DF706ACA-C0F1-4F14-8715-BE5EBFB485F9}"/>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2" name="Freeform 86">
              <a:extLst>
                <a:ext uri="{FF2B5EF4-FFF2-40B4-BE49-F238E27FC236}">
                  <a16:creationId xmlns:a16="http://schemas.microsoft.com/office/drawing/2014/main" id="{4C43C4E1-C2ED-48EB-B8DE-F2593D265D37}"/>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3" name="Freeform 87">
              <a:extLst>
                <a:ext uri="{FF2B5EF4-FFF2-40B4-BE49-F238E27FC236}">
                  <a16:creationId xmlns:a16="http://schemas.microsoft.com/office/drawing/2014/main" id="{628D03CA-B2EF-4EFF-844B-4AA94C2D5751}"/>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4" name="Freeform 88">
              <a:extLst>
                <a:ext uri="{FF2B5EF4-FFF2-40B4-BE49-F238E27FC236}">
                  <a16:creationId xmlns:a16="http://schemas.microsoft.com/office/drawing/2014/main" id="{C7C9DD70-4FC1-4610-9EE6-0E1581CBF3F2}"/>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5" name="Freeform 89">
              <a:extLst>
                <a:ext uri="{FF2B5EF4-FFF2-40B4-BE49-F238E27FC236}">
                  <a16:creationId xmlns:a16="http://schemas.microsoft.com/office/drawing/2014/main" id="{DB2A4E2B-F271-44F0-8FBC-D5F013DF262C}"/>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6" name="Freeform 90">
              <a:extLst>
                <a:ext uri="{FF2B5EF4-FFF2-40B4-BE49-F238E27FC236}">
                  <a16:creationId xmlns:a16="http://schemas.microsoft.com/office/drawing/2014/main" id="{9243FB8C-0A5C-4903-8D3D-78D2E142B81A}"/>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7" name="Freeform 91">
              <a:extLst>
                <a:ext uri="{FF2B5EF4-FFF2-40B4-BE49-F238E27FC236}">
                  <a16:creationId xmlns:a16="http://schemas.microsoft.com/office/drawing/2014/main" id="{65AC96C8-1AAB-4944-9A1C-A2928B204C43}"/>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8" name="Freeform 92">
              <a:extLst>
                <a:ext uri="{FF2B5EF4-FFF2-40B4-BE49-F238E27FC236}">
                  <a16:creationId xmlns:a16="http://schemas.microsoft.com/office/drawing/2014/main" id="{5944541A-63B4-4AEA-97B6-EE9E09CD0C7A}"/>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9" name="Freeform 93">
              <a:extLst>
                <a:ext uri="{FF2B5EF4-FFF2-40B4-BE49-F238E27FC236}">
                  <a16:creationId xmlns:a16="http://schemas.microsoft.com/office/drawing/2014/main" id="{17CFC7D9-07DA-43D2-9673-68217EEA0C13}"/>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0" name="Freeform 94">
              <a:extLst>
                <a:ext uri="{FF2B5EF4-FFF2-40B4-BE49-F238E27FC236}">
                  <a16:creationId xmlns:a16="http://schemas.microsoft.com/office/drawing/2014/main" id="{0FC0088A-85E2-458A-9D87-57A9866AE4AF}"/>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1" name="Freeform 95">
              <a:extLst>
                <a:ext uri="{FF2B5EF4-FFF2-40B4-BE49-F238E27FC236}">
                  <a16:creationId xmlns:a16="http://schemas.microsoft.com/office/drawing/2014/main" id="{C3646D95-8833-40CB-835F-AD1D8C4D5C8B}"/>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2" name="Freeform 96">
              <a:extLst>
                <a:ext uri="{FF2B5EF4-FFF2-40B4-BE49-F238E27FC236}">
                  <a16:creationId xmlns:a16="http://schemas.microsoft.com/office/drawing/2014/main" id="{D7A5D690-994E-446D-BC3D-B3AE0A901EDE}"/>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3" name="Freeform 97">
              <a:extLst>
                <a:ext uri="{FF2B5EF4-FFF2-40B4-BE49-F238E27FC236}">
                  <a16:creationId xmlns:a16="http://schemas.microsoft.com/office/drawing/2014/main" id="{4F2FE0B2-25ED-4904-AB17-5FC820F37316}"/>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4" name="Freeform 98">
              <a:extLst>
                <a:ext uri="{FF2B5EF4-FFF2-40B4-BE49-F238E27FC236}">
                  <a16:creationId xmlns:a16="http://schemas.microsoft.com/office/drawing/2014/main" id="{C0A668B7-D249-463E-B57A-88CACCE6E8A4}"/>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5" name="Freeform 99">
              <a:extLst>
                <a:ext uri="{FF2B5EF4-FFF2-40B4-BE49-F238E27FC236}">
                  <a16:creationId xmlns:a16="http://schemas.microsoft.com/office/drawing/2014/main" id="{956C98EF-D380-4CB0-BDE3-08C7766C29D8}"/>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6" name="Freeform 100">
              <a:extLst>
                <a:ext uri="{FF2B5EF4-FFF2-40B4-BE49-F238E27FC236}">
                  <a16:creationId xmlns:a16="http://schemas.microsoft.com/office/drawing/2014/main" id="{C6581B25-158F-4D40-8BA4-BC1E8D5C86F1}"/>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7" name="Freeform 101">
              <a:extLst>
                <a:ext uri="{FF2B5EF4-FFF2-40B4-BE49-F238E27FC236}">
                  <a16:creationId xmlns:a16="http://schemas.microsoft.com/office/drawing/2014/main" id="{EF540E8E-E4D3-4E2F-999A-4A1362CE10D0}"/>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8" name="Freeform 102">
              <a:extLst>
                <a:ext uri="{FF2B5EF4-FFF2-40B4-BE49-F238E27FC236}">
                  <a16:creationId xmlns:a16="http://schemas.microsoft.com/office/drawing/2014/main" id="{5E3DC027-2EB9-4A6C-BBB5-A4391205C01A}"/>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59" name="Freeform 103">
              <a:extLst>
                <a:ext uri="{FF2B5EF4-FFF2-40B4-BE49-F238E27FC236}">
                  <a16:creationId xmlns:a16="http://schemas.microsoft.com/office/drawing/2014/main" id="{ECB2A110-AF33-46B0-A81F-EA8F398CDA73}"/>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0" name="Freeform 104">
              <a:extLst>
                <a:ext uri="{FF2B5EF4-FFF2-40B4-BE49-F238E27FC236}">
                  <a16:creationId xmlns:a16="http://schemas.microsoft.com/office/drawing/2014/main" id="{0F006F9F-7621-4C17-A18F-D009503F8F20}"/>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61" name="Freeform 105">
              <a:extLst>
                <a:ext uri="{FF2B5EF4-FFF2-40B4-BE49-F238E27FC236}">
                  <a16:creationId xmlns:a16="http://schemas.microsoft.com/office/drawing/2014/main" id="{09EE518D-CA7C-42E2-9241-27ED21A387BB}"/>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Tree>
    <p:extLst>
      <p:ext uri="{BB962C8B-B14F-4D97-AF65-F5344CB8AC3E}">
        <p14:creationId xmlns:p14="http://schemas.microsoft.com/office/powerpoint/2010/main" val="67009552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userDrawn="1">
  <p:cSld name="1_FIAM_External_Print_Cover">
    <p:spTree>
      <p:nvGrpSpPr>
        <p:cNvPr id="1" name=""/>
        <p:cNvGrpSpPr/>
        <p:nvPr/>
      </p:nvGrpSpPr>
      <p:grpSpPr>
        <a:xfrm>
          <a:off x="0" y="0"/>
          <a:ext cx="0" cy="0"/>
          <a:chOff x="0" y="0"/>
          <a:chExt cx="0" cy="0"/>
        </a:xfrm>
      </p:grpSpPr>
      <p:pic>
        <p:nvPicPr>
          <p:cNvPr id="45" name="Picture 4" descr="C:\Users\a216024\Desktop\stuff\_PPT_107\PowerPoint_Templates_Samples\_10x7.5_Templates\NEW_FIAM\Covers_secondary_slides\2-7_Covers\LightGray_grayscale.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12688" b="17606"/>
          <a:stretch/>
        </p:blipFill>
        <p:spPr bwMode="auto">
          <a:xfrm>
            <a:off x="0" y="0"/>
            <a:ext cx="9144000" cy="3646714"/>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5" descr="C:\Users\a216024\Desktop\stuff\_PPT_107\PowerPoint_Templates_Samples\_10x7.5_Templates\NEW_FIAM\Covers_secondary_slides\2-7_Covers\ColorBar.png"/>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l="1379" r="1716"/>
          <a:stretch/>
        </p:blipFill>
        <p:spPr bwMode="auto">
          <a:xfrm>
            <a:off x="0" y="3481388"/>
            <a:ext cx="9144000" cy="219075"/>
          </a:xfrm>
          <a:prstGeom prst="rect">
            <a:avLst/>
          </a:prstGeom>
          <a:noFill/>
          <a:extLst>
            <a:ext uri="{909E8E84-426E-40DD-AFC4-6F175D3DCCD1}">
              <a14:hiddenFill xmlns:a14="http://schemas.microsoft.com/office/drawing/2010/main">
                <a:solidFill>
                  <a:srgbClr val="FFFFFF"/>
                </a:solidFill>
              </a14:hiddenFill>
            </a:ext>
          </a:extLst>
        </p:spPr>
      </p:pic>
      <p:grpSp>
        <p:nvGrpSpPr>
          <p:cNvPr id="80" name="Group 79"/>
          <p:cNvGrpSpPr/>
          <p:nvPr userDrawn="1"/>
        </p:nvGrpSpPr>
        <p:grpSpPr>
          <a:xfrm>
            <a:off x="6970734" y="6128901"/>
            <a:ext cx="1839928" cy="396052"/>
            <a:chOff x="6923088" y="4475163"/>
            <a:chExt cx="1873251" cy="403225"/>
          </a:xfrm>
        </p:grpSpPr>
        <p:sp>
          <p:nvSpPr>
            <p:cNvPr id="81" name="AutoShape 4"/>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2" name="Freeform 6"/>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3" name="Freeform 7"/>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4" name="Freeform 83"/>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5" name="Freeform 84"/>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6" name="Freeform 85"/>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7" name="Freeform 86"/>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8" name="Freeform 87"/>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9" name="Freeform 88"/>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0" name="Freeform 89"/>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1" name="Freeform 90"/>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2" name="Freeform 91"/>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3" name="Freeform 92"/>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4" name="Freeform 93"/>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5" name="Freeform 94"/>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6" name="Freeform 95"/>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7" name="Freeform 96"/>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8" name="Freeform 97"/>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9" name="Freeform 98"/>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0" name="Freeform 99"/>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1" name="Freeform 100"/>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2" name="Freeform 101"/>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3" name="Freeform 102"/>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4" name="Freeform 103"/>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5" name="Freeform 104"/>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6" name="Freeform 105"/>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44" name="Text Placeholder 43"/>
          <p:cNvSpPr>
            <a:spLocks noGrp="1"/>
          </p:cNvSpPr>
          <p:nvPr>
            <p:ph type="body" sz="quarter" idx="10"/>
          </p:nvPr>
        </p:nvSpPr>
        <p:spPr>
          <a:xfrm>
            <a:off x="715495" y="3833787"/>
            <a:ext cx="2455544" cy="332365"/>
          </a:xfrm>
        </p:spPr>
        <p:txBody>
          <a:bodyPr/>
          <a:lstStyle>
            <a:lvl1pPr>
              <a:defRPr lang="en-US" sz="1000" b="0" kern="1200" smtClean="0">
                <a:solidFill>
                  <a:srgbClr val="000000"/>
                </a:solidFill>
                <a:latin typeface="Arial"/>
                <a:ea typeface="ＭＳ Ｐゴシック"/>
                <a:cs typeface="ＭＳ Ｐゴシック"/>
              </a:defRPr>
            </a:lvl1pPr>
          </a:lstStyle>
          <a:p>
            <a:pPr lvl="0"/>
            <a:r>
              <a:rPr lang="en-US"/>
              <a:t>Click to edit Master text styles</a:t>
            </a:r>
          </a:p>
        </p:txBody>
      </p:sp>
      <p:sp>
        <p:nvSpPr>
          <p:cNvPr id="53" name="Content Placeholder 52"/>
          <p:cNvSpPr>
            <a:spLocks noGrp="1"/>
          </p:cNvSpPr>
          <p:nvPr>
            <p:ph sz="quarter" idx="12"/>
          </p:nvPr>
        </p:nvSpPr>
        <p:spPr>
          <a:xfrm>
            <a:off x="6280150" y="3842381"/>
            <a:ext cx="2487613" cy="165226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dirty="0"/>
              <a:t>Click to edit Master text styles</a:t>
            </a:r>
          </a:p>
          <a:p>
            <a:pPr lvl="1"/>
            <a:r>
              <a:rPr lang="en-US" dirty="0"/>
              <a:t>Second level</a:t>
            </a:r>
          </a:p>
        </p:txBody>
      </p:sp>
      <p:sp>
        <p:nvSpPr>
          <p:cNvPr id="47" name="Rectangle 176"/>
          <p:cNvSpPr>
            <a:spLocks noGrp="1" noChangeArrowheads="1"/>
          </p:cNvSpPr>
          <p:nvPr>
            <p:ph type="ftr" sz="quarter" idx="13"/>
          </p:nvPr>
        </p:nvSpPr>
        <p:spPr>
          <a:xfrm>
            <a:off x="281401" y="5877558"/>
            <a:ext cx="6014623" cy="260350"/>
          </a:xfrm>
        </p:spPr>
        <p:txBody>
          <a:bodyPr anchor="b" anchorCtr="0"/>
          <a:lstStyle>
            <a:lvl1pPr algn="l">
              <a:defRPr sz="800" b="0" smtClean="0">
                <a:solidFill>
                  <a:srgbClr val="000000"/>
                </a:solidFill>
              </a:defRPr>
            </a:lvl1pPr>
          </a:lstStyle>
          <a:p>
            <a:pPr>
              <a:defRPr/>
            </a:pPr>
            <a:r>
              <a:rPr lang="en-US" b="1" dirty="0"/>
              <a:t>Insert disclosures. </a:t>
            </a:r>
          </a:p>
          <a:p>
            <a:pPr>
              <a:defRPr/>
            </a:pPr>
            <a:r>
              <a:rPr lang="en-US" dirty="0"/>
              <a:t>Insert disclosures.</a:t>
            </a:r>
          </a:p>
          <a:p>
            <a:pPr>
              <a:defRPr/>
            </a:pPr>
            <a:r>
              <a:rPr lang="en-US" b="1" dirty="0"/>
              <a:t>Insert page footer, i.e. For institutional use only.  </a:t>
            </a:r>
            <a:r>
              <a:rPr lang="en-US" dirty="0"/>
              <a:t>l  © 20XX FMR LLC. All rights reserved.</a:t>
            </a:r>
            <a:endParaRPr lang="en-US" b="1" dirty="0"/>
          </a:p>
        </p:txBody>
      </p:sp>
      <p:sp>
        <p:nvSpPr>
          <p:cNvPr id="72" name="Rectangle 6"/>
          <p:cNvSpPr>
            <a:spLocks noGrp="1" noChangeArrowheads="1"/>
          </p:cNvSpPr>
          <p:nvPr>
            <p:ph type="subTitle" idx="1"/>
          </p:nvPr>
        </p:nvSpPr>
        <p:spPr>
          <a:xfrm>
            <a:off x="685251" y="2091765"/>
            <a:ext cx="7805762" cy="563076"/>
          </a:xfrm>
        </p:spPr>
        <p:txBody>
          <a:bodyPr lIns="100584" rIns="100584"/>
          <a:lstStyle>
            <a:lvl1pPr marL="0" indent="0">
              <a:spcBef>
                <a:spcPts val="0"/>
              </a:spcBef>
              <a:defRPr sz="2000" b="0">
                <a:solidFill>
                  <a:srgbClr val="7A9B3D"/>
                </a:solidFill>
              </a:defRPr>
            </a:lvl1pPr>
          </a:lstStyle>
          <a:p>
            <a:r>
              <a:rPr lang="en-US"/>
              <a:t>Click to edit Master subtitle style</a:t>
            </a:r>
            <a:endParaRPr lang="en-US" dirty="0"/>
          </a:p>
        </p:txBody>
      </p:sp>
      <p:sp>
        <p:nvSpPr>
          <p:cNvPr id="74" name="Text Placeholder 43"/>
          <p:cNvSpPr>
            <a:spLocks noGrp="1"/>
          </p:cNvSpPr>
          <p:nvPr>
            <p:ph type="body" sz="quarter" idx="14" hasCustomPrompt="1"/>
          </p:nvPr>
        </p:nvSpPr>
        <p:spPr>
          <a:xfrm>
            <a:off x="685251" y="2581276"/>
            <a:ext cx="7805762" cy="266850"/>
          </a:xfrm>
        </p:spPr>
        <p:txBody>
          <a:bodyPr lIns="100584" rIns="100584"/>
          <a:lstStyle>
            <a:lvl1pPr>
              <a:spcBef>
                <a:spcPts val="0"/>
              </a:spcBef>
              <a:defRPr lang="en-US" sz="1200" b="0" kern="1200" dirty="0" smtClean="0">
                <a:solidFill>
                  <a:srgbClr val="333F48"/>
                </a:solidFill>
                <a:latin typeface="Arial"/>
                <a:ea typeface="ＭＳ Ｐゴシック" pitchFamily="34" charset="-128"/>
                <a:cs typeface="+mn-cs"/>
              </a:defRPr>
            </a:lvl1pPr>
          </a:lstStyle>
          <a:p>
            <a:pPr lvl="0"/>
            <a:r>
              <a:rPr lang="en-US" dirty="0"/>
              <a:t>Date</a:t>
            </a:r>
          </a:p>
        </p:txBody>
      </p:sp>
      <p:sp>
        <p:nvSpPr>
          <p:cNvPr id="39" name="Rectangle 9"/>
          <p:cNvSpPr>
            <a:spLocks noGrp="1" noChangeArrowheads="1"/>
          </p:cNvSpPr>
          <p:nvPr>
            <p:ph type="title" hasCustomPrompt="1"/>
          </p:nvPr>
        </p:nvSpPr>
        <p:spPr bwMode="auto">
          <a:xfrm>
            <a:off x="685252" y="1581072"/>
            <a:ext cx="7820573" cy="5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b" anchorCtr="0" compatLnSpc="1">
            <a:prstTxWarp prst="textNoShape">
              <a:avLst/>
            </a:prstTxWarp>
          </a:bodyPr>
          <a:lstStyle>
            <a:lvl1pPr>
              <a:defRPr sz="3000">
                <a:solidFill>
                  <a:schemeClr val="bg2"/>
                </a:solidFill>
              </a:defRPr>
            </a:lvl1pPr>
          </a:lstStyle>
          <a:p>
            <a:pPr lvl="0"/>
            <a:r>
              <a:rPr lang="en-US" altLang="en-US" dirty="0"/>
              <a:t>Click To Edit Master Title Style</a:t>
            </a:r>
          </a:p>
        </p:txBody>
      </p:sp>
      <p:sp>
        <p:nvSpPr>
          <p:cNvPr id="49" name="Text Box 15"/>
          <p:cNvSpPr txBox="1">
            <a:spLocks noChangeArrowheads="1"/>
          </p:cNvSpPr>
          <p:nvPr userDrawn="1"/>
        </p:nvSpPr>
        <p:spPr bwMode="ltGray">
          <a:xfrm>
            <a:off x="383501" y="5535090"/>
            <a:ext cx="2868716" cy="184652"/>
          </a:xfrm>
          <a:prstGeom prst="rect">
            <a:avLst/>
          </a:prstGeom>
          <a:noFill/>
          <a:ln w="9525">
            <a:solidFill>
              <a:srgbClr val="000000"/>
            </a:solidFill>
            <a:miter lim="800000"/>
            <a:headEnd/>
            <a:tailEnd/>
          </a:ln>
        </p:spPr>
        <p:txBody>
          <a:bodyPr wrap="none" lIns="45711" tIns="45711" rIns="45711" bIns="27427" anchor="ctr">
            <a:spAutoFit/>
          </a:bodyP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fontAlgn="base">
              <a:lnSpc>
                <a:spcPct val="90000"/>
              </a:lnSpc>
              <a:spcBef>
                <a:spcPct val="0"/>
              </a:spcBef>
              <a:spcAft>
                <a:spcPct val="0"/>
              </a:spcAft>
              <a:defRPr/>
            </a:pPr>
            <a:r>
              <a:rPr lang="en-US" sz="800" b="1" kern="0" dirty="0">
                <a:solidFill>
                  <a:srgbClr val="000000"/>
                </a:solidFill>
                <a:latin typeface="Arial"/>
              </a:rPr>
              <a:t>Not FDIC Insured </a:t>
            </a:r>
            <a:r>
              <a:rPr lang="en-US" sz="800" b="1" kern="0" dirty="0">
                <a:solidFill>
                  <a:srgbClr val="000000"/>
                </a:solidFill>
                <a:latin typeface="Arial"/>
                <a:sym typeface="Wingdings" pitchFamily="2" charset="2"/>
              </a:rPr>
              <a:t> May Lose Value  No Bank Guarantee</a:t>
            </a:r>
          </a:p>
        </p:txBody>
      </p:sp>
      <p:sp>
        <p:nvSpPr>
          <p:cNvPr id="4" name="Picture Placeholder 3"/>
          <p:cNvSpPr>
            <a:spLocks noGrp="1"/>
          </p:cNvSpPr>
          <p:nvPr>
            <p:ph type="pic" sz="quarter" idx="15" hasCustomPrompt="1"/>
          </p:nvPr>
        </p:nvSpPr>
        <p:spPr>
          <a:xfrm>
            <a:off x="714375" y="4533900"/>
            <a:ext cx="2457450" cy="485775"/>
          </a:xfrm>
        </p:spPr>
        <p:txBody>
          <a:bodyPr/>
          <a:lstStyle>
            <a:lvl1pPr>
              <a:defRPr sz="1000" b="0" baseline="0">
                <a:solidFill>
                  <a:schemeClr val="tx1"/>
                </a:solidFill>
              </a:defRPr>
            </a:lvl1pPr>
          </a:lstStyle>
          <a:p>
            <a:r>
              <a:rPr lang="en-US" dirty="0"/>
              <a:t>Click icon to add logo</a:t>
            </a:r>
          </a:p>
        </p:txBody>
      </p:sp>
    </p:spTree>
    <p:extLst>
      <p:ext uri="{BB962C8B-B14F-4D97-AF65-F5344CB8AC3E}">
        <p14:creationId xmlns:p14="http://schemas.microsoft.com/office/powerpoint/2010/main" val="400305109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1"/>
          </p:nvPr>
        </p:nvSpPr>
        <p:spPr/>
        <p:txBody>
          <a:bodyPr/>
          <a:lstStyle/>
          <a:p>
            <a:pPr>
              <a:defRPr/>
            </a:pPr>
            <a:endParaRPr lang="en-US" dirty="0"/>
          </a:p>
        </p:txBody>
      </p:sp>
      <p:sp>
        <p:nvSpPr>
          <p:cNvPr id="5" name="Footer Placeholder 4"/>
          <p:cNvSpPr>
            <a:spLocks noGrp="1"/>
          </p:cNvSpPr>
          <p:nvPr>
            <p:ph type="ftr" sz="quarter" idx="12"/>
          </p:nvPr>
        </p:nvSpPr>
        <p:spPr/>
        <p:txBody>
          <a:bodyPr/>
          <a:lstStyle/>
          <a:p>
            <a:pPr>
              <a:defRPr/>
            </a:pPr>
            <a:r>
              <a:rPr lang="en-US"/>
              <a:t>For institutional use only.</a:t>
            </a:r>
            <a:endParaRPr lang="en-US" dirty="0"/>
          </a:p>
        </p:txBody>
      </p:sp>
      <p:sp>
        <p:nvSpPr>
          <p:cNvPr id="7" name="Content Placeholder 2"/>
          <p:cNvSpPr>
            <a:spLocks noGrp="1"/>
          </p:cNvSpPr>
          <p:nvPr>
            <p:ph idx="13"/>
          </p:nvPr>
        </p:nvSpPr>
        <p:spPr>
          <a:xfrm>
            <a:off x="769938" y="1352551"/>
            <a:ext cx="8032749" cy="4710112"/>
          </a:xfrm>
        </p:spPr>
        <p:txBody>
          <a:bodyPr lIns="0"/>
          <a:lstStyle>
            <a:lvl1pPr marL="0" indent="0" algn="l" rtl="0" fontAlgn="base">
              <a:spcBef>
                <a:spcPts val="480"/>
              </a:spcBef>
              <a:spcAft>
                <a:spcPct val="0"/>
              </a:spcAft>
              <a:buSzPct val="40000"/>
              <a:defRPr lang="en-US" sz="1600" b="1" dirty="0" smtClean="0">
                <a:solidFill>
                  <a:schemeClr val="accent1"/>
                </a:solidFill>
                <a:latin typeface="+mn-lt"/>
                <a:ea typeface="+mn-ea"/>
                <a:cs typeface="+mn-cs"/>
              </a:defRPr>
            </a:lvl1pPr>
            <a:lvl2pPr>
              <a:spcBef>
                <a:spcPts val="2000"/>
              </a:spcBef>
              <a:defRPr lang="en-US" dirty="0" smtClean="0">
                <a:solidFill>
                  <a:schemeClr val="tx1"/>
                </a:solidFill>
                <a:latin typeface="+mn-lt"/>
              </a:defRPr>
            </a:lvl2pPr>
            <a:lvl3pPr>
              <a:defRPr lang="en-US" sz="1600" dirty="0" smtClean="0">
                <a:solidFill>
                  <a:schemeClr val="accent1"/>
                </a:solidFill>
                <a:latin typeface="+mn-lt"/>
              </a:defRPr>
            </a:lvl3pPr>
            <a:lvl4pPr>
              <a:buClr>
                <a:schemeClr val="bg2"/>
              </a:buClr>
              <a:buSzPct val="80000"/>
              <a:buFont typeface="Arial" pitchFamily="34" charset="0"/>
              <a:buChar char="•"/>
              <a:defRPr sz="1400">
                <a:solidFill>
                  <a:schemeClr val="accent1"/>
                </a:solidFill>
              </a:defRPr>
            </a:lvl4pPr>
          </a:lstStyle>
          <a:p>
            <a:pPr lvl="0"/>
            <a:r>
              <a:rPr lang="en-US"/>
              <a:t>Click to edit Master text styles</a:t>
            </a:r>
          </a:p>
        </p:txBody>
      </p:sp>
      <p:sp>
        <p:nvSpPr>
          <p:cNvPr id="8" name="Slide Number Placeholder 3"/>
          <p:cNvSpPr>
            <a:spLocks noGrp="1"/>
          </p:cNvSpPr>
          <p:nvPr>
            <p:ph type="sldNum" sz="quarter" idx="14"/>
          </p:nvPr>
        </p:nvSpPr>
        <p:spPr>
          <a:xfrm>
            <a:off x="390525" y="6348413"/>
            <a:ext cx="446088" cy="344487"/>
          </a:xfrm>
        </p:spPr>
        <p:txBody>
          <a:bodyPr/>
          <a:lstStyle>
            <a:lvl1pPr>
              <a:defRPr/>
            </a:lvl1pPr>
          </a:lstStyle>
          <a:p>
            <a:pPr>
              <a:defRPr/>
            </a:pPr>
            <a:fld id="{287592CB-37D3-4196-AC6E-CD3990F28521}" type="slidenum">
              <a:rPr lang="en-US" smtClean="0"/>
              <a:pPr>
                <a:defRPr/>
              </a:pPr>
              <a:t>‹#›</a:t>
            </a:fld>
            <a:endParaRPr lang="en-US" dirty="0"/>
          </a:p>
        </p:txBody>
      </p:sp>
    </p:spTree>
    <p:extLst>
      <p:ext uri="{BB962C8B-B14F-4D97-AF65-F5344CB8AC3E}">
        <p14:creationId xmlns:p14="http://schemas.microsoft.com/office/powerpoint/2010/main" val="94126553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cSld name="1_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667512" y="228600"/>
            <a:ext cx="8229600" cy="841248"/>
          </a:xfrm>
        </p:spPr>
        <p:txBody>
          <a:bodyPr/>
          <a:lstStyle/>
          <a:p>
            <a:r>
              <a:rPr lang="en-US"/>
              <a:t>Click to edit Master title style</a:t>
            </a:r>
            <a:endParaRPr lang="en-US" dirty="0"/>
          </a:p>
        </p:txBody>
      </p:sp>
      <p:sp>
        <p:nvSpPr>
          <p:cNvPr id="9" name="Footer Placeholder 4"/>
          <p:cNvSpPr>
            <a:spLocks noGrp="1"/>
          </p:cNvSpPr>
          <p:nvPr>
            <p:ph type="ftr" sz="quarter" idx="15"/>
          </p:nvPr>
        </p:nvSpPr>
        <p:spPr/>
        <p:txBody>
          <a:bodyPr/>
          <a:lstStyle>
            <a:lvl1pPr>
              <a:defRPr smtClean="0"/>
            </a:lvl1pPr>
          </a:lstStyle>
          <a:p>
            <a:pPr>
              <a:defRPr/>
            </a:pPr>
            <a:r>
              <a:rPr lang="en-US"/>
              <a:t>For institutional use only.</a:t>
            </a:r>
            <a:endParaRPr lang="en-US" dirty="0"/>
          </a:p>
        </p:txBody>
      </p:sp>
      <p:sp>
        <p:nvSpPr>
          <p:cNvPr id="10" name="Rectangle 155"/>
          <p:cNvSpPr>
            <a:spLocks noGrp="1" noChangeArrowheads="1"/>
          </p:cNvSpPr>
          <p:nvPr>
            <p:ph type="dt" sz="half" idx="16"/>
          </p:nvPr>
        </p:nvSpPr>
        <p:spPr/>
        <p:txBody>
          <a:bodyPr/>
          <a:lstStyle>
            <a:lvl1pPr algn="l">
              <a:defRPr sz="700" smtClean="0">
                <a:solidFill>
                  <a:srgbClr val="172934"/>
                </a:solidFill>
              </a:defRPr>
            </a:lvl1pPr>
          </a:lstStyle>
          <a:p>
            <a:pPr>
              <a:defRPr/>
            </a:pPr>
            <a:endParaRPr lang="en-US" dirty="0"/>
          </a:p>
        </p:txBody>
      </p:sp>
      <p:sp>
        <p:nvSpPr>
          <p:cNvPr id="8" name="Slide Number Placeholder 3"/>
          <p:cNvSpPr>
            <a:spLocks noGrp="1"/>
          </p:cNvSpPr>
          <p:nvPr>
            <p:ph type="sldNum" sz="quarter" idx="14"/>
          </p:nvPr>
        </p:nvSpPr>
        <p:spPr>
          <a:xfrm>
            <a:off x="390525" y="6348413"/>
            <a:ext cx="446088" cy="344487"/>
          </a:xfrm>
        </p:spPr>
        <p:txBody>
          <a:bodyPr/>
          <a:lstStyle>
            <a:lvl1pPr>
              <a:defRPr/>
            </a:lvl1pPr>
          </a:lstStyle>
          <a:p>
            <a:pPr>
              <a:defRPr/>
            </a:pPr>
            <a:fld id="{287592CB-37D3-4196-AC6E-CD3990F28521}" type="slidenum">
              <a:rPr lang="en-US" smtClean="0"/>
              <a:pPr>
                <a:defRPr/>
              </a:pPr>
              <a:t>‹#›</a:t>
            </a:fld>
            <a:endParaRPr lang="en-US" dirty="0"/>
          </a:p>
        </p:txBody>
      </p:sp>
      <p:sp>
        <p:nvSpPr>
          <p:cNvPr id="11" name="Content Placeholder 2"/>
          <p:cNvSpPr>
            <a:spLocks noGrp="1"/>
          </p:cNvSpPr>
          <p:nvPr>
            <p:ph idx="12"/>
          </p:nvPr>
        </p:nvSpPr>
        <p:spPr>
          <a:xfrm>
            <a:off x="769938" y="1352551"/>
            <a:ext cx="8032749" cy="4710112"/>
          </a:xfrm>
        </p:spPr>
        <p:txBody>
          <a:bodyPr lIns="0"/>
          <a:lstStyle>
            <a:lvl1pPr marL="0" indent="0" algn="l" rtl="0" fontAlgn="base">
              <a:spcBef>
                <a:spcPts val="480"/>
              </a:spcBef>
              <a:spcAft>
                <a:spcPct val="0"/>
              </a:spcAft>
              <a:buSzPct val="40000"/>
              <a:defRPr lang="en-US" sz="1600" b="1" dirty="0" smtClean="0">
                <a:solidFill>
                  <a:schemeClr val="accent1"/>
                </a:solidFill>
                <a:latin typeface="+mn-lt"/>
                <a:ea typeface="+mn-ea"/>
                <a:cs typeface="+mn-cs"/>
              </a:defRPr>
            </a:lvl1pPr>
            <a:lvl2pPr>
              <a:spcBef>
                <a:spcPts val="288"/>
              </a:spcBef>
              <a:defRPr lang="en-US" dirty="0" smtClean="0">
                <a:solidFill>
                  <a:schemeClr val="tx1"/>
                </a:solidFill>
                <a:latin typeface="+mn-lt"/>
              </a:defRPr>
            </a:lvl2pPr>
            <a:lvl3pPr>
              <a:defRPr lang="en-US" sz="1200" dirty="0" smtClean="0">
                <a:solidFill>
                  <a:schemeClr val="accent1"/>
                </a:solidFill>
                <a:latin typeface="+mn-lt"/>
              </a:defRPr>
            </a:lvl3pPr>
            <a:lvl4pPr>
              <a:buClr>
                <a:srgbClr val="4C5F6C"/>
              </a:buClr>
              <a:buSzPct val="100000"/>
              <a:buFont typeface="Arial" pitchFamily="34" charset="0"/>
              <a:buChar char="•"/>
              <a:defRPr sz="1200">
                <a:solidFill>
                  <a:srgbClr val="4C5F6C"/>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5814061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FIAM_External_Print_Cover">
    <p:spTree>
      <p:nvGrpSpPr>
        <p:cNvPr id="1" name=""/>
        <p:cNvGrpSpPr/>
        <p:nvPr/>
      </p:nvGrpSpPr>
      <p:grpSpPr>
        <a:xfrm>
          <a:off x="0" y="0"/>
          <a:ext cx="0" cy="0"/>
          <a:chOff x="0" y="0"/>
          <a:chExt cx="0" cy="0"/>
        </a:xfrm>
      </p:grpSpPr>
      <p:pic>
        <p:nvPicPr>
          <p:cNvPr id="45" name="Picture 4" descr="C:\Users\a216024\Desktop\stuff\_PPT_107\PowerPoint_Templates_Samples\_10x7.5_Templates\NEW_FIAM\Covers_secondary_slides\2-7_Covers\LightGray_grayscale.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12688" b="17606"/>
          <a:stretch/>
        </p:blipFill>
        <p:spPr bwMode="auto">
          <a:xfrm>
            <a:off x="0" y="0"/>
            <a:ext cx="9144000" cy="3646714"/>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5" descr="C:\Users\a216024\Desktop\stuff\_PPT_107\PowerPoint_Templates_Samples\_10x7.5_Templates\NEW_FIAM\Covers_secondary_slides\2-7_Covers\ColorBar.png"/>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l="1379" r="1716"/>
          <a:stretch/>
        </p:blipFill>
        <p:spPr bwMode="auto">
          <a:xfrm>
            <a:off x="0" y="3481388"/>
            <a:ext cx="9144000" cy="219075"/>
          </a:xfrm>
          <a:prstGeom prst="rect">
            <a:avLst/>
          </a:prstGeom>
          <a:noFill/>
          <a:extLst>
            <a:ext uri="{909E8E84-426E-40DD-AFC4-6F175D3DCCD1}">
              <a14:hiddenFill xmlns:a14="http://schemas.microsoft.com/office/drawing/2010/main">
                <a:solidFill>
                  <a:srgbClr val="FFFFFF"/>
                </a:solidFill>
              </a14:hiddenFill>
            </a:ext>
          </a:extLst>
        </p:spPr>
      </p:pic>
      <p:grpSp>
        <p:nvGrpSpPr>
          <p:cNvPr id="80" name="Group 79"/>
          <p:cNvGrpSpPr/>
          <p:nvPr userDrawn="1"/>
        </p:nvGrpSpPr>
        <p:grpSpPr>
          <a:xfrm>
            <a:off x="6970734" y="6128901"/>
            <a:ext cx="1839928" cy="396052"/>
            <a:chOff x="6923088" y="4475163"/>
            <a:chExt cx="1873251" cy="403225"/>
          </a:xfrm>
        </p:grpSpPr>
        <p:sp>
          <p:nvSpPr>
            <p:cNvPr id="81" name="AutoShape 4"/>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2" name="Freeform 6"/>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3" name="Freeform 7"/>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4" name="Freeform 83"/>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5" name="Freeform 84"/>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6" name="Freeform 85"/>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7" name="Freeform 86"/>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8" name="Freeform 87"/>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9" name="Freeform 88"/>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0" name="Freeform 89"/>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1" name="Freeform 90"/>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2" name="Freeform 91"/>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3" name="Freeform 92"/>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4" name="Freeform 93"/>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5" name="Freeform 94"/>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6" name="Freeform 95"/>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7" name="Freeform 96"/>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8" name="Freeform 97"/>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9" name="Freeform 98"/>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0" name="Freeform 99"/>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1" name="Freeform 100"/>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2" name="Freeform 101"/>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3" name="Freeform 102"/>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4" name="Freeform 103"/>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5" name="Freeform 104"/>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6" name="Freeform 105"/>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44" name="Text Placeholder 43"/>
          <p:cNvSpPr>
            <a:spLocks noGrp="1"/>
          </p:cNvSpPr>
          <p:nvPr>
            <p:ph type="body" sz="quarter" idx="10"/>
          </p:nvPr>
        </p:nvSpPr>
        <p:spPr>
          <a:xfrm>
            <a:off x="715495" y="3833787"/>
            <a:ext cx="2455544" cy="332365"/>
          </a:xfrm>
        </p:spPr>
        <p:txBody>
          <a:bodyPr/>
          <a:lstStyle>
            <a:lvl1pPr>
              <a:defRPr lang="en-US" sz="1000" b="0" kern="1200" smtClean="0">
                <a:solidFill>
                  <a:srgbClr val="000000"/>
                </a:solidFill>
                <a:latin typeface="Arial"/>
                <a:ea typeface="ＭＳ Ｐゴシック"/>
                <a:cs typeface="ＭＳ Ｐゴシック"/>
              </a:defRPr>
            </a:lvl1pPr>
          </a:lstStyle>
          <a:p>
            <a:pPr lvl="0"/>
            <a:r>
              <a:rPr lang="en-US"/>
              <a:t>Click to edit Master text styles</a:t>
            </a:r>
          </a:p>
        </p:txBody>
      </p:sp>
      <p:sp>
        <p:nvSpPr>
          <p:cNvPr id="53" name="Content Placeholder 52"/>
          <p:cNvSpPr>
            <a:spLocks noGrp="1"/>
          </p:cNvSpPr>
          <p:nvPr>
            <p:ph sz="quarter" idx="12"/>
          </p:nvPr>
        </p:nvSpPr>
        <p:spPr>
          <a:xfrm>
            <a:off x="6280150" y="3842381"/>
            <a:ext cx="2487613" cy="165226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47" name="Rectangle 176"/>
          <p:cNvSpPr>
            <a:spLocks noGrp="1" noChangeArrowheads="1"/>
          </p:cNvSpPr>
          <p:nvPr>
            <p:ph type="ftr" sz="quarter" idx="13"/>
          </p:nvPr>
        </p:nvSpPr>
        <p:spPr>
          <a:xfrm>
            <a:off x="281401" y="5877558"/>
            <a:ext cx="6014623" cy="260350"/>
          </a:xfrm>
        </p:spPr>
        <p:txBody>
          <a:bodyPr anchor="b" anchorCtr="0"/>
          <a:lstStyle>
            <a:lvl1pPr algn="l">
              <a:defRPr sz="800" b="0" smtClean="0">
                <a:solidFill>
                  <a:srgbClr val="000000"/>
                </a:solidFill>
              </a:defRPr>
            </a:lvl1pPr>
          </a:lstStyle>
          <a:p>
            <a:pPr>
              <a:defRPr/>
            </a:pPr>
            <a:r>
              <a:rPr lang="en-US" b="1"/>
              <a:t>For institutional use only.</a:t>
            </a:r>
            <a:endParaRPr lang="en-US" b="1" dirty="0"/>
          </a:p>
        </p:txBody>
      </p:sp>
      <p:sp>
        <p:nvSpPr>
          <p:cNvPr id="72" name="Rectangle 6"/>
          <p:cNvSpPr>
            <a:spLocks noGrp="1" noChangeArrowheads="1"/>
          </p:cNvSpPr>
          <p:nvPr>
            <p:ph type="subTitle" idx="1"/>
          </p:nvPr>
        </p:nvSpPr>
        <p:spPr>
          <a:xfrm>
            <a:off x="685251" y="2091765"/>
            <a:ext cx="7805762" cy="563076"/>
          </a:xfrm>
        </p:spPr>
        <p:txBody>
          <a:bodyPr lIns="100584" rIns="100584"/>
          <a:lstStyle>
            <a:lvl1pPr marL="0" indent="0">
              <a:spcBef>
                <a:spcPts val="0"/>
              </a:spcBef>
              <a:defRPr sz="2000" b="0">
                <a:solidFill>
                  <a:srgbClr val="7A9B3D"/>
                </a:solidFill>
              </a:defRPr>
            </a:lvl1pPr>
          </a:lstStyle>
          <a:p>
            <a:r>
              <a:rPr lang="en-US"/>
              <a:t>Click to edit Master subtitle style</a:t>
            </a:r>
            <a:endParaRPr lang="en-US" dirty="0"/>
          </a:p>
        </p:txBody>
      </p:sp>
      <p:sp>
        <p:nvSpPr>
          <p:cNvPr id="74" name="Text Placeholder 43"/>
          <p:cNvSpPr>
            <a:spLocks noGrp="1"/>
          </p:cNvSpPr>
          <p:nvPr>
            <p:ph type="body" sz="quarter" idx="14" hasCustomPrompt="1"/>
          </p:nvPr>
        </p:nvSpPr>
        <p:spPr>
          <a:xfrm>
            <a:off x="685251" y="2581276"/>
            <a:ext cx="7805762" cy="266850"/>
          </a:xfrm>
        </p:spPr>
        <p:txBody>
          <a:bodyPr lIns="100584" rIns="100584"/>
          <a:lstStyle>
            <a:lvl1pPr>
              <a:spcBef>
                <a:spcPts val="0"/>
              </a:spcBef>
              <a:defRPr lang="en-US" sz="1200" b="0" kern="1200" dirty="0" smtClean="0">
                <a:solidFill>
                  <a:srgbClr val="333F48"/>
                </a:solidFill>
                <a:latin typeface="Arial"/>
                <a:ea typeface="ＭＳ Ｐゴシック" pitchFamily="34" charset="-128"/>
                <a:cs typeface="+mn-cs"/>
              </a:defRPr>
            </a:lvl1pPr>
          </a:lstStyle>
          <a:p>
            <a:pPr lvl="0"/>
            <a:r>
              <a:rPr lang="en-US" dirty="0"/>
              <a:t>Date</a:t>
            </a:r>
          </a:p>
        </p:txBody>
      </p:sp>
      <p:sp>
        <p:nvSpPr>
          <p:cNvPr id="79" name="Picture Placeholder 47"/>
          <p:cNvSpPr txBox="1">
            <a:spLocks/>
          </p:cNvSpPr>
          <p:nvPr userDrawn="1"/>
        </p:nvSpPr>
        <p:spPr>
          <a:xfrm>
            <a:off x="804558" y="4104114"/>
            <a:ext cx="2424112" cy="609600"/>
          </a:xfrm>
          <a:prstGeom prst="rect">
            <a:avLst/>
          </a:prstGeom>
          <a:solidFill>
            <a:schemeClr val="bg1">
              <a:lumMod val="95000"/>
            </a:schemeClr>
          </a:solidFill>
        </p:spPr>
        <p:txBody>
          <a:bodyPr anchor="ctr"/>
          <a:lstStyle>
            <a:lvl1pPr marL="0" indent="0" algn="l" rtl="0" eaLnBrk="0" fontAlgn="base" hangingPunct="0">
              <a:spcBef>
                <a:spcPct val="20000"/>
              </a:spcBef>
              <a:spcAft>
                <a:spcPct val="0"/>
              </a:spcAft>
              <a:buClr>
                <a:schemeClr val="bg1"/>
              </a:buClr>
              <a:buNone/>
              <a:tabLst>
                <a:tab pos="120626" algn="l"/>
                <a:tab pos="299978" algn="l"/>
                <a:tab pos="1034844" algn="l"/>
              </a:tabLst>
              <a:defRPr sz="1000" b="0">
                <a:solidFill>
                  <a:schemeClr val="accent1"/>
                </a:solidFill>
                <a:latin typeface="+mn-lt"/>
                <a:ea typeface="+mn-ea"/>
                <a:cs typeface="+mn-cs"/>
              </a:defRPr>
            </a:lvl1pPr>
            <a:lvl2pPr marL="169828" indent="0" algn="l" rtl="0" eaLnBrk="0" fontAlgn="base" hangingPunct="0">
              <a:spcBef>
                <a:spcPct val="20000"/>
              </a:spcBef>
              <a:spcAft>
                <a:spcPct val="0"/>
              </a:spcAft>
              <a:buClr>
                <a:schemeClr val="bg1"/>
              </a:buClr>
              <a:buFont typeface="Arial" pitchFamily="34" charset="0"/>
              <a:buNone/>
              <a:tabLst>
                <a:tab pos="120626" algn="l"/>
                <a:tab pos="299978" algn="l"/>
                <a:tab pos="1034844" algn="l"/>
              </a:tabLst>
              <a:defRPr sz="1200" b="1">
                <a:solidFill>
                  <a:schemeClr val="accent2"/>
                </a:solidFill>
                <a:latin typeface="+mn-lt"/>
              </a:defRPr>
            </a:lvl2pPr>
            <a:lvl3pPr marL="326960" indent="0" algn="l" rtl="0" eaLnBrk="0" fontAlgn="base" hangingPunct="0">
              <a:spcBef>
                <a:spcPct val="20000"/>
              </a:spcBef>
              <a:spcAft>
                <a:spcPct val="0"/>
              </a:spcAft>
              <a:buClr>
                <a:schemeClr val="bg1"/>
              </a:buClr>
              <a:buNone/>
              <a:tabLst>
                <a:tab pos="120626" algn="l"/>
                <a:tab pos="299978" algn="l"/>
                <a:tab pos="1034844" algn="l"/>
              </a:tabLst>
              <a:defRPr sz="1200" b="1">
                <a:solidFill>
                  <a:schemeClr val="accent2"/>
                </a:solidFill>
                <a:latin typeface="+mn-lt"/>
              </a:defRPr>
            </a:lvl3pPr>
            <a:lvl4pPr marL="914218" indent="-114277" algn="l" rtl="0" eaLnBrk="0" fontAlgn="base" hangingPunct="0">
              <a:spcBef>
                <a:spcPct val="20000"/>
              </a:spcBef>
              <a:spcAft>
                <a:spcPct val="0"/>
              </a:spcAft>
              <a:buClr>
                <a:schemeClr val="accent1"/>
              </a:buClr>
              <a:buChar char="•"/>
              <a:tabLst>
                <a:tab pos="120626" algn="l"/>
                <a:tab pos="299978" algn="l"/>
                <a:tab pos="1034844" algn="l"/>
              </a:tabLst>
              <a:defRPr sz="1600" b="1">
                <a:solidFill>
                  <a:schemeClr val="tx1"/>
                </a:solidFill>
                <a:latin typeface="+mn-lt"/>
              </a:defRPr>
            </a:lvl4pPr>
            <a:lvl5pPr marL="1142772" indent="-114277" algn="l" rtl="0" eaLnBrk="0" fontAlgn="base" hangingPunct="0">
              <a:spcBef>
                <a:spcPct val="20000"/>
              </a:spcBef>
              <a:spcAft>
                <a:spcPct val="0"/>
              </a:spcAft>
              <a:buClr>
                <a:schemeClr val="accent1"/>
              </a:buClr>
              <a:buChar char="•"/>
              <a:tabLst>
                <a:tab pos="120626" algn="l"/>
                <a:tab pos="299978" algn="l"/>
                <a:tab pos="1034844" algn="l"/>
              </a:tabLst>
              <a:defRPr sz="1600" b="1">
                <a:solidFill>
                  <a:schemeClr val="tx1"/>
                </a:solidFill>
                <a:latin typeface="+mn-lt"/>
              </a:defRPr>
            </a:lvl5pPr>
            <a:lvl6pPr marL="2514096" indent="-228554" algn="l" rtl="0" fontAlgn="base">
              <a:spcBef>
                <a:spcPct val="20000"/>
              </a:spcBef>
              <a:spcAft>
                <a:spcPct val="0"/>
              </a:spcAft>
              <a:buChar char="»"/>
              <a:defRPr sz="2000">
                <a:solidFill>
                  <a:schemeClr val="tx1"/>
                </a:solidFill>
                <a:latin typeface="+mn-lt"/>
              </a:defRPr>
            </a:lvl6pPr>
            <a:lvl7pPr marL="2971205" indent="-228554" algn="l" rtl="0" fontAlgn="base">
              <a:spcBef>
                <a:spcPct val="20000"/>
              </a:spcBef>
              <a:spcAft>
                <a:spcPct val="0"/>
              </a:spcAft>
              <a:buChar char="»"/>
              <a:defRPr sz="2000">
                <a:solidFill>
                  <a:schemeClr val="tx1"/>
                </a:solidFill>
                <a:latin typeface="+mn-lt"/>
              </a:defRPr>
            </a:lvl7pPr>
            <a:lvl8pPr marL="3428314" indent="-228554" algn="l" rtl="0" fontAlgn="base">
              <a:spcBef>
                <a:spcPct val="20000"/>
              </a:spcBef>
              <a:spcAft>
                <a:spcPct val="0"/>
              </a:spcAft>
              <a:buChar char="»"/>
              <a:defRPr sz="2000">
                <a:solidFill>
                  <a:schemeClr val="tx1"/>
                </a:solidFill>
                <a:latin typeface="+mn-lt"/>
              </a:defRPr>
            </a:lvl8pPr>
            <a:lvl9pPr marL="3885423" indent="-228554" algn="l" rtl="0" fontAlgn="base">
              <a:spcBef>
                <a:spcPct val="20000"/>
              </a:spcBef>
              <a:spcAft>
                <a:spcPct val="0"/>
              </a:spcAft>
              <a:buChar char="»"/>
              <a:defRPr sz="2000">
                <a:solidFill>
                  <a:schemeClr val="tx1"/>
                </a:solidFill>
                <a:latin typeface="+mn-lt"/>
              </a:defRPr>
            </a:lvl9pPr>
          </a:lstStyle>
          <a:p>
            <a:pPr>
              <a:buClr>
                <a:srgbClr val="FFFFFF"/>
              </a:buClr>
            </a:pPr>
            <a:r>
              <a:rPr lang="en-US" kern="0" dirty="0">
                <a:solidFill>
                  <a:srgbClr val="FFFFFF">
                    <a:lumMod val="50000"/>
                  </a:srgbClr>
                </a:solidFill>
              </a:rPr>
              <a:t>Click icon to add logo</a:t>
            </a:r>
          </a:p>
        </p:txBody>
      </p:sp>
      <p:sp>
        <p:nvSpPr>
          <p:cNvPr id="39" name="Rectangle 9"/>
          <p:cNvSpPr>
            <a:spLocks noGrp="1" noChangeArrowheads="1"/>
          </p:cNvSpPr>
          <p:nvPr>
            <p:ph type="title" hasCustomPrompt="1"/>
          </p:nvPr>
        </p:nvSpPr>
        <p:spPr bwMode="auto">
          <a:xfrm>
            <a:off x="685252" y="1581072"/>
            <a:ext cx="7820573" cy="5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b" anchorCtr="0" compatLnSpc="1">
            <a:prstTxWarp prst="textNoShape">
              <a:avLst/>
            </a:prstTxWarp>
          </a:bodyPr>
          <a:lstStyle>
            <a:lvl1pPr>
              <a:defRPr sz="3000">
                <a:solidFill>
                  <a:schemeClr val="bg2"/>
                </a:solidFill>
              </a:defRPr>
            </a:lvl1pPr>
          </a:lstStyle>
          <a:p>
            <a:pPr lvl="0"/>
            <a:r>
              <a:rPr lang="en-US" altLang="en-US" dirty="0"/>
              <a:t>Click To Edit Master Title Style</a:t>
            </a:r>
          </a:p>
        </p:txBody>
      </p:sp>
      <p:sp>
        <p:nvSpPr>
          <p:cNvPr id="49" name="Text Box 15"/>
          <p:cNvSpPr txBox="1">
            <a:spLocks noChangeArrowheads="1"/>
          </p:cNvSpPr>
          <p:nvPr userDrawn="1"/>
        </p:nvSpPr>
        <p:spPr bwMode="ltGray">
          <a:xfrm>
            <a:off x="383501" y="5535090"/>
            <a:ext cx="2868716" cy="184652"/>
          </a:xfrm>
          <a:prstGeom prst="rect">
            <a:avLst/>
          </a:prstGeom>
          <a:noFill/>
          <a:ln w="9525">
            <a:solidFill>
              <a:srgbClr val="000000"/>
            </a:solidFill>
            <a:miter lim="800000"/>
            <a:headEnd/>
            <a:tailEnd/>
          </a:ln>
        </p:spPr>
        <p:txBody>
          <a:bodyPr wrap="none" lIns="45711" tIns="45711" rIns="45711" bIns="27427" anchor="ctr">
            <a:spAutoFit/>
          </a:bodyP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nSpc>
                <a:spcPct val="90000"/>
              </a:lnSpc>
              <a:defRPr/>
            </a:pPr>
            <a:r>
              <a:rPr lang="en-US" sz="800" b="1" kern="0" dirty="0">
                <a:solidFill>
                  <a:srgbClr val="000000"/>
                </a:solidFill>
                <a:latin typeface="Arial"/>
              </a:rPr>
              <a:t>Not FDIC Insured </a:t>
            </a:r>
            <a:r>
              <a:rPr lang="en-US" sz="800" b="1" kern="0" dirty="0">
                <a:solidFill>
                  <a:srgbClr val="000000"/>
                </a:solidFill>
                <a:latin typeface="Arial"/>
                <a:sym typeface="Wingdings" pitchFamily="2" charset="2"/>
              </a:rPr>
              <a:t> May Lose Value  No Bank Guarantee</a:t>
            </a:r>
          </a:p>
        </p:txBody>
      </p:sp>
    </p:spTree>
    <p:extLst>
      <p:ext uri="{BB962C8B-B14F-4D97-AF65-F5344CB8AC3E}">
        <p14:creationId xmlns:p14="http://schemas.microsoft.com/office/powerpoint/2010/main" val="98613919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TOC/Agenda">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a:noFill/>
          <a:ln w="9525">
            <a:noFill/>
            <a:miter lim="800000"/>
            <a:headEnd/>
            <a:tailEnd/>
          </a:ln>
          <a:effectLst/>
        </p:spPr>
        <p:txBody>
          <a:bodyPr tIns="45720" anchor="t" anchorCtr="0"/>
          <a:lstStyle>
            <a:lvl1pPr>
              <a:defRPr kumimoji="0" lang="en-US" sz="2400" b="0" i="0" u="none" strike="noStrike" kern="0" cap="none" spc="0" normalizeH="0" baseline="0" noProof="0" dirty="0">
                <a:ln>
                  <a:noFill/>
                </a:ln>
                <a:solidFill>
                  <a:srgbClr val="333F48"/>
                </a:solidFill>
                <a:effectLst/>
                <a:uLnTx/>
                <a:uFillTx/>
                <a:latin typeface="+mj-lt"/>
                <a:ea typeface="+mj-ea"/>
                <a:cs typeface="+mj-cs"/>
              </a:defRPr>
            </a:lvl1pPr>
          </a:lstStyle>
          <a:p>
            <a:pPr lvl="0"/>
            <a:r>
              <a:rPr lang="en-US"/>
              <a:t>Click to edit Master title style</a:t>
            </a:r>
            <a:endParaRPr lang="en-US" dirty="0"/>
          </a:p>
        </p:txBody>
      </p:sp>
      <p:sp>
        <p:nvSpPr>
          <p:cNvPr id="10" name="Content Placeholder 9"/>
          <p:cNvSpPr>
            <a:spLocks noGrp="1"/>
          </p:cNvSpPr>
          <p:nvPr>
            <p:ph sz="quarter" idx="13"/>
          </p:nvPr>
        </p:nvSpPr>
        <p:spPr>
          <a:xfrm>
            <a:off x="317115" y="1339850"/>
            <a:ext cx="8188710" cy="4878388"/>
          </a:xfrm>
        </p:spPr>
        <p:txBody>
          <a:bodyPr/>
          <a:lstStyle>
            <a:lvl1pPr marL="227013" indent="-227013">
              <a:spcBef>
                <a:spcPts val="600"/>
              </a:spcBef>
              <a:buClr>
                <a:srgbClr val="7A9B3D"/>
              </a:buClr>
              <a:buSzPct val="100000"/>
              <a:buFont typeface="+mj-lt"/>
              <a:buAutoNum type="arabicPeriod"/>
              <a:defRPr sz="1400" b="0" i="0" baseline="0">
                <a:solidFill>
                  <a:srgbClr val="000000"/>
                </a:solidFill>
                <a:latin typeface="Arial" pitchFamily="34" charset="0"/>
              </a:defRPr>
            </a:lvl1pPr>
            <a:lvl2pPr marL="461963" indent="-217488">
              <a:spcBef>
                <a:spcPts val="600"/>
              </a:spcBef>
              <a:buClr>
                <a:srgbClr val="768692"/>
              </a:buClr>
              <a:buFont typeface="+mj-lt"/>
              <a:buAutoNum type="alphaUcPeriod"/>
              <a:defRPr sz="1200" baseline="0">
                <a:solidFill>
                  <a:srgbClr val="000000"/>
                </a:solidFill>
                <a:latin typeface="Arial" pitchFamily="34" charset="0"/>
              </a:defRPr>
            </a:lvl2pPr>
            <a:lvl3pPr>
              <a:spcBef>
                <a:spcPts val="600"/>
              </a:spcBef>
              <a:buClr>
                <a:srgbClr val="000000"/>
              </a:buClr>
              <a:defRPr baseline="0">
                <a:solidFill>
                  <a:srgbClr val="000000"/>
                </a:solidFill>
              </a:defRPr>
            </a:lvl3pPr>
          </a:lstStyle>
          <a:p>
            <a:pPr lvl="0"/>
            <a:r>
              <a:rPr lang="en-US"/>
              <a:t>Click to edit Master text styles</a:t>
            </a:r>
          </a:p>
          <a:p>
            <a:pPr lvl="1"/>
            <a:r>
              <a:rPr lang="en-US"/>
              <a:t>Second level</a:t>
            </a:r>
          </a:p>
          <a:p>
            <a:pPr lvl="2"/>
            <a:r>
              <a:rPr lang="en-US"/>
              <a:t>Third level</a:t>
            </a:r>
          </a:p>
        </p:txBody>
      </p:sp>
      <p:sp>
        <p:nvSpPr>
          <p:cNvPr id="5"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7"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endParaRPr lang="en-US" dirty="0"/>
          </a:p>
        </p:txBody>
      </p:sp>
      <p:grpSp>
        <p:nvGrpSpPr>
          <p:cNvPr id="8" name="Group 7"/>
          <p:cNvGrpSpPr/>
          <p:nvPr userDrawn="1"/>
        </p:nvGrpSpPr>
        <p:grpSpPr>
          <a:xfrm>
            <a:off x="7364320" y="6412511"/>
            <a:ext cx="1371600" cy="283464"/>
            <a:chOff x="4291013" y="3178175"/>
            <a:chExt cx="3197225" cy="688975"/>
          </a:xfrm>
        </p:grpSpPr>
        <p:sp>
          <p:nvSpPr>
            <p:cNvPr id="9"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1"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2"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3"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4"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5"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6"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7"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8"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9"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0"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1"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2"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3"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4"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5"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6"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7"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8"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9"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0"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1"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2"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3"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4"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Tree>
    <p:extLst>
      <p:ext uri="{BB962C8B-B14F-4D97-AF65-F5344CB8AC3E}">
        <p14:creationId xmlns:p14="http://schemas.microsoft.com/office/powerpoint/2010/main" val="354241407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lvl1pPr>
              <a:defRPr>
                <a:solidFill>
                  <a:srgbClr val="333F48"/>
                </a:solidFill>
              </a:defRPr>
            </a:lvl1pPr>
          </a:lstStyle>
          <a:p>
            <a:r>
              <a:rPr lang="en-US"/>
              <a:t>Click to edit Master title style</a:t>
            </a:r>
            <a:endParaRPr lang="en-US" dirty="0"/>
          </a:p>
        </p:txBody>
      </p:sp>
      <p:sp>
        <p:nvSpPr>
          <p:cNvPr id="8"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9"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endParaRPr lang="en-US" dirty="0"/>
          </a:p>
        </p:txBody>
      </p:sp>
      <p:grpSp>
        <p:nvGrpSpPr>
          <p:cNvPr id="10" name="Group 9"/>
          <p:cNvGrpSpPr/>
          <p:nvPr userDrawn="1"/>
        </p:nvGrpSpPr>
        <p:grpSpPr>
          <a:xfrm>
            <a:off x="7364320" y="6412511"/>
            <a:ext cx="1371600" cy="283464"/>
            <a:chOff x="4291013" y="3178175"/>
            <a:chExt cx="3197225" cy="688975"/>
          </a:xfrm>
        </p:grpSpPr>
        <p:sp>
          <p:nvSpPr>
            <p:cNvPr id="11"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2"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3"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4"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5"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6"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7"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8"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9"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0"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1"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2"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3"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4"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5"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6"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7"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8"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9"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0"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1"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2"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3"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4"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5"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36"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7282665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8"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9"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a:t>201607-20094</a:t>
            </a:r>
            <a:endParaRPr lang="en-US" dirty="0"/>
          </a:p>
        </p:txBody>
      </p:sp>
      <p:grpSp>
        <p:nvGrpSpPr>
          <p:cNvPr id="10" name="Group 9"/>
          <p:cNvGrpSpPr/>
          <p:nvPr userDrawn="1"/>
        </p:nvGrpSpPr>
        <p:grpSpPr>
          <a:xfrm>
            <a:off x="7364320" y="6412511"/>
            <a:ext cx="1371600" cy="283464"/>
            <a:chOff x="4291013" y="3178175"/>
            <a:chExt cx="3197225" cy="688975"/>
          </a:xfrm>
        </p:grpSpPr>
        <p:sp>
          <p:nvSpPr>
            <p:cNvPr id="11"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6"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161509045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p>
            <a:r>
              <a:rPr lang="en-US"/>
              <a:t>Click to edit Master title style</a:t>
            </a:r>
            <a:endParaRPr lang="en-US" dirty="0"/>
          </a:p>
        </p:txBody>
      </p:sp>
      <p:sp>
        <p:nvSpPr>
          <p:cNvPr id="7" name="Content Placeholder 2"/>
          <p:cNvSpPr>
            <a:spLocks noGrp="1"/>
          </p:cNvSpPr>
          <p:nvPr>
            <p:ph idx="13"/>
          </p:nvPr>
        </p:nvSpPr>
        <p:spPr>
          <a:xfrm>
            <a:off x="317115" y="1339850"/>
            <a:ext cx="8188710" cy="4878388"/>
          </a:xfrm>
        </p:spPr>
        <p:txBody>
          <a:bodyPr lIns="91440"/>
          <a:lstStyle>
            <a:lvl1pPr marL="0" indent="0" algn="l" rtl="0" fontAlgn="base">
              <a:spcBef>
                <a:spcPts val="480"/>
              </a:spcBef>
              <a:spcAft>
                <a:spcPct val="0"/>
              </a:spcAft>
              <a:buSzPct val="40000"/>
              <a:defRPr lang="en-US" sz="1600" b="1" dirty="0" smtClean="0">
                <a:solidFill>
                  <a:schemeClr val="accent3"/>
                </a:solidFill>
                <a:latin typeface="+mn-lt"/>
                <a:ea typeface="+mn-ea"/>
                <a:cs typeface="+mn-cs"/>
              </a:defRPr>
            </a:lvl1pPr>
            <a:lvl2pPr>
              <a:spcBef>
                <a:spcPts val="2000"/>
              </a:spcBef>
              <a:defRPr lang="en-US" dirty="0" smtClean="0">
                <a:solidFill>
                  <a:schemeClr val="tx1"/>
                </a:solidFill>
                <a:latin typeface="+mn-lt"/>
              </a:defRPr>
            </a:lvl2pPr>
            <a:lvl3pPr>
              <a:defRPr lang="en-US" sz="1600" dirty="0" smtClean="0">
                <a:solidFill>
                  <a:schemeClr val="accent1"/>
                </a:solidFill>
                <a:latin typeface="+mn-lt"/>
              </a:defRPr>
            </a:lvl3pPr>
            <a:lvl4pPr>
              <a:buClr>
                <a:schemeClr val="bg2"/>
              </a:buClr>
              <a:buSzPct val="80000"/>
              <a:buFont typeface="Arial" pitchFamily="34" charset="0"/>
              <a:buChar char="•"/>
              <a:defRPr sz="1400">
                <a:solidFill>
                  <a:schemeClr val="accent1"/>
                </a:solidFill>
              </a:defRPr>
            </a:lvl4pPr>
          </a:lstStyle>
          <a:p>
            <a:pPr lvl="0"/>
            <a:r>
              <a:rPr lang="en-US"/>
              <a:t>Click to edit Master text styles</a:t>
            </a:r>
          </a:p>
        </p:txBody>
      </p:sp>
      <p:sp>
        <p:nvSpPr>
          <p:cNvPr id="10"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11"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endParaRPr lang="en-US" dirty="0"/>
          </a:p>
        </p:txBody>
      </p:sp>
      <p:grpSp>
        <p:nvGrpSpPr>
          <p:cNvPr id="12" name="Group 11"/>
          <p:cNvGrpSpPr/>
          <p:nvPr userDrawn="1"/>
        </p:nvGrpSpPr>
        <p:grpSpPr>
          <a:xfrm>
            <a:off x="7364320" y="6412511"/>
            <a:ext cx="1371600" cy="283464"/>
            <a:chOff x="4291013" y="3178175"/>
            <a:chExt cx="3197225" cy="688975"/>
          </a:xfrm>
        </p:grpSpPr>
        <p:sp>
          <p:nvSpPr>
            <p:cNvPr id="13"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4"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5"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6"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7"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8"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9"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0"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1"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2"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3"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4"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5"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6"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7"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8"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9"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0"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1"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2"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3"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4"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5"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6"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7"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38"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110887569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2_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41248"/>
          </a:xfrm>
        </p:spPr>
        <p:txBody>
          <a:bodyPr/>
          <a:lstStyle>
            <a:lvl1pPr>
              <a:defRPr>
                <a:solidFill>
                  <a:srgbClr val="333F48"/>
                </a:solidFill>
              </a:defRPr>
            </a:lvl1pPr>
          </a:lstStyle>
          <a:p>
            <a:r>
              <a:rPr lang="en-US"/>
              <a:t>Click to edit Master title style</a:t>
            </a:r>
            <a:endParaRPr lang="en-US" dirty="0"/>
          </a:p>
        </p:txBody>
      </p:sp>
      <p:sp>
        <p:nvSpPr>
          <p:cNvPr id="11" name="Content Placeholder 2"/>
          <p:cNvSpPr>
            <a:spLocks noGrp="1"/>
          </p:cNvSpPr>
          <p:nvPr>
            <p:ph idx="12"/>
          </p:nvPr>
        </p:nvSpPr>
        <p:spPr>
          <a:xfrm>
            <a:off x="317115" y="1339850"/>
            <a:ext cx="8188710" cy="4878388"/>
          </a:xfrm>
        </p:spPr>
        <p:txBody>
          <a:bodyPr lIns="91440"/>
          <a:lstStyle>
            <a:lvl1pPr marL="0" indent="0" algn="l" rtl="0" fontAlgn="base">
              <a:spcBef>
                <a:spcPts val="480"/>
              </a:spcBef>
              <a:spcAft>
                <a:spcPct val="0"/>
              </a:spcAft>
              <a:buSzPct val="40000"/>
              <a:defRPr lang="en-US" sz="1600" b="1" dirty="0" smtClean="0">
                <a:solidFill>
                  <a:srgbClr val="7A9B3D"/>
                </a:solidFill>
                <a:latin typeface="+mn-lt"/>
                <a:ea typeface="+mn-ea"/>
                <a:cs typeface="+mn-cs"/>
              </a:defRPr>
            </a:lvl1pPr>
            <a:lvl2pPr marL="114300" indent="-114300">
              <a:spcBef>
                <a:spcPts val="288"/>
              </a:spcBef>
              <a:buClr>
                <a:srgbClr val="7A9B3D"/>
              </a:buClr>
              <a:defRPr lang="en-US" dirty="0" smtClean="0">
                <a:solidFill>
                  <a:srgbClr val="000000"/>
                </a:solidFill>
                <a:latin typeface="+mn-lt"/>
              </a:defRPr>
            </a:lvl2pPr>
            <a:lvl3pPr marL="228600" indent="-114300">
              <a:buClr>
                <a:srgbClr val="768692"/>
              </a:buClr>
              <a:defRPr lang="en-US" sz="1200" dirty="0" smtClean="0">
                <a:solidFill>
                  <a:srgbClr val="000000"/>
                </a:solidFill>
                <a:latin typeface="+mn-lt"/>
              </a:defRPr>
            </a:lvl3pPr>
            <a:lvl4pPr marL="342900" indent="-114300">
              <a:buClr>
                <a:srgbClr val="000000"/>
              </a:buClr>
              <a:buSzPct val="100000"/>
              <a:buFont typeface="Arial" pitchFamily="34" charset="0"/>
              <a:buChar char="•"/>
              <a:defRPr sz="1200">
                <a:solidFill>
                  <a:srgbClr val="000000"/>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13"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endParaRPr lang="en-US" dirty="0"/>
          </a:p>
        </p:txBody>
      </p:sp>
      <p:grpSp>
        <p:nvGrpSpPr>
          <p:cNvPr id="14" name="Group 13"/>
          <p:cNvGrpSpPr/>
          <p:nvPr userDrawn="1"/>
        </p:nvGrpSpPr>
        <p:grpSpPr>
          <a:xfrm>
            <a:off x="7364320" y="6412511"/>
            <a:ext cx="1371600" cy="283464"/>
            <a:chOff x="4291013" y="3178175"/>
            <a:chExt cx="3197225" cy="688975"/>
          </a:xfrm>
        </p:grpSpPr>
        <p:sp>
          <p:nvSpPr>
            <p:cNvPr id="15"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6"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7"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8"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9"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0"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1"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2"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3"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4"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5"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6"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7"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8"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9"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0"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1"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2"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3"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4"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5"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6"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7"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8"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9"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40"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393407960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Bulleted List - with subhead">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41248"/>
          </a:xfrm>
        </p:spPr>
        <p:txBody>
          <a:bodyPr/>
          <a:lstStyle/>
          <a:p>
            <a:r>
              <a:rPr lang="en-US"/>
              <a:t>Click to edit Master title style</a:t>
            </a:r>
            <a:endParaRPr lang="en-US" dirty="0"/>
          </a:p>
        </p:txBody>
      </p:sp>
      <p:sp>
        <p:nvSpPr>
          <p:cNvPr id="11" name="Content Placeholder 2"/>
          <p:cNvSpPr>
            <a:spLocks noGrp="1"/>
          </p:cNvSpPr>
          <p:nvPr>
            <p:ph idx="12"/>
          </p:nvPr>
        </p:nvSpPr>
        <p:spPr>
          <a:xfrm>
            <a:off x="317115" y="1339850"/>
            <a:ext cx="8188710" cy="4878388"/>
          </a:xfrm>
        </p:spPr>
        <p:txBody>
          <a:bodyPr lIns="91440"/>
          <a:lstStyle>
            <a:lvl1pPr marL="0" indent="0" algn="l" rtl="0" fontAlgn="base">
              <a:spcBef>
                <a:spcPts val="480"/>
              </a:spcBef>
              <a:spcAft>
                <a:spcPct val="0"/>
              </a:spcAft>
              <a:buSzPct val="40000"/>
              <a:defRPr lang="en-US" sz="1600" b="1" dirty="0" smtClean="0">
                <a:solidFill>
                  <a:srgbClr val="7A9B3D"/>
                </a:solidFill>
                <a:latin typeface="+mn-lt"/>
                <a:ea typeface="+mn-ea"/>
                <a:cs typeface="+mn-cs"/>
              </a:defRPr>
            </a:lvl1pPr>
            <a:lvl2pPr marL="114300" indent="-114300">
              <a:spcBef>
                <a:spcPts val="288"/>
              </a:spcBef>
              <a:buClr>
                <a:srgbClr val="7A9B3D"/>
              </a:buClr>
              <a:defRPr lang="en-US" dirty="0" smtClean="0">
                <a:solidFill>
                  <a:srgbClr val="000000"/>
                </a:solidFill>
                <a:latin typeface="+mn-lt"/>
              </a:defRPr>
            </a:lvl2pPr>
            <a:lvl3pPr marL="228600" indent="-114300">
              <a:buClr>
                <a:srgbClr val="768692"/>
              </a:buClr>
              <a:defRPr lang="en-US" sz="1200" dirty="0" smtClean="0">
                <a:solidFill>
                  <a:srgbClr val="000000"/>
                </a:solidFill>
                <a:latin typeface="+mn-lt"/>
              </a:defRPr>
            </a:lvl3pPr>
            <a:lvl4pPr marL="342900" indent="-114300">
              <a:buClr>
                <a:srgbClr val="000000"/>
              </a:buClr>
              <a:buSzPct val="100000"/>
              <a:buFont typeface="Arial" pitchFamily="34" charset="0"/>
              <a:buChar char="•"/>
              <a:defRPr sz="1200">
                <a:solidFill>
                  <a:srgbClr val="000000"/>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13"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endParaRPr lang="en-US" dirty="0"/>
          </a:p>
        </p:txBody>
      </p:sp>
      <p:grpSp>
        <p:nvGrpSpPr>
          <p:cNvPr id="14" name="Group 13"/>
          <p:cNvGrpSpPr/>
          <p:nvPr userDrawn="1"/>
        </p:nvGrpSpPr>
        <p:grpSpPr>
          <a:xfrm>
            <a:off x="7364320" y="6412511"/>
            <a:ext cx="1371600" cy="283464"/>
            <a:chOff x="4291013" y="3178175"/>
            <a:chExt cx="3197225" cy="688975"/>
          </a:xfrm>
        </p:grpSpPr>
        <p:sp>
          <p:nvSpPr>
            <p:cNvPr id="15"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6"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7"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8"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9"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0"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1"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2"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3"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4"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5"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6"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7"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8"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9"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0"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1"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2"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3"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4"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5"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6"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7"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8"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9"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40"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381764130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Important Information">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lvl1pPr>
              <a:defRPr>
                <a:solidFill>
                  <a:srgbClr val="333F48"/>
                </a:solidFill>
              </a:defRPr>
            </a:lvl1pPr>
          </a:lstStyle>
          <a:p>
            <a:r>
              <a:rPr lang="en-US"/>
              <a:t>Click to edit Master title style</a:t>
            </a:r>
            <a:endParaRPr lang="en-US" dirty="0"/>
          </a:p>
        </p:txBody>
      </p:sp>
      <p:sp>
        <p:nvSpPr>
          <p:cNvPr id="3" name="Content Placeholder 2"/>
          <p:cNvSpPr>
            <a:spLocks noGrp="1"/>
          </p:cNvSpPr>
          <p:nvPr>
            <p:ph idx="1"/>
          </p:nvPr>
        </p:nvSpPr>
        <p:spPr>
          <a:xfrm>
            <a:off x="317115" y="1076325"/>
            <a:ext cx="8188710" cy="4808538"/>
          </a:xfrm>
          <a:noFill/>
          <a:ln w="9525">
            <a:noFill/>
            <a:miter lim="800000"/>
            <a:headEnd/>
            <a:tailEnd/>
          </a:ln>
          <a:effectLst/>
        </p:spPr>
        <p:txBody>
          <a:bodyPr lIns="91440"/>
          <a:lstStyle>
            <a:lvl1pPr marL="0" indent="0" algn="l" rtl="0" eaLnBrk="1" fontAlgn="base" hangingPunct="1">
              <a:spcAft>
                <a:spcPct val="0"/>
              </a:spcAft>
              <a:buSzPct val="40000"/>
              <a:defRPr lang="en-US" sz="1000" b="0" dirty="0" smtClean="0">
                <a:solidFill>
                  <a:srgbClr val="000000"/>
                </a:solidFill>
                <a:latin typeface="+mn-lt"/>
                <a:ea typeface="+mn-ea"/>
                <a:cs typeface="+mn-cs"/>
              </a:defRPr>
            </a:lvl1pPr>
            <a:lvl2pPr marL="0" indent="0" algn="l" rtl="0" eaLnBrk="1" fontAlgn="base" hangingPunct="1">
              <a:spcBef>
                <a:spcPts val="600"/>
              </a:spcBef>
              <a:spcAft>
                <a:spcPct val="0"/>
              </a:spcAft>
              <a:buSzPct val="40000"/>
              <a:buNone/>
              <a:defRPr lang="en-US" sz="1000" b="1" dirty="0">
                <a:solidFill>
                  <a:srgbClr val="000000"/>
                </a:solidFill>
                <a:latin typeface="+mn-lt"/>
                <a:ea typeface="+mn-ea"/>
                <a:cs typeface="+mn-cs"/>
              </a:defRPr>
            </a:lvl2pPr>
          </a:lstStyle>
          <a:p>
            <a:pPr lvl="0"/>
            <a:r>
              <a:rPr lang="en-US"/>
              <a:t>Click to edit Master text styles</a:t>
            </a:r>
          </a:p>
          <a:p>
            <a:pPr lvl="1"/>
            <a:r>
              <a:rPr lang="en-US"/>
              <a:t>Second level</a:t>
            </a:r>
          </a:p>
        </p:txBody>
      </p:sp>
      <p:sp>
        <p:nvSpPr>
          <p:cNvPr id="9"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10"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endParaRPr lang="en-US" dirty="0"/>
          </a:p>
        </p:txBody>
      </p:sp>
      <p:grpSp>
        <p:nvGrpSpPr>
          <p:cNvPr id="11" name="Group 10"/>
          <p:cNvGrpSpPr/>
          <p:nvPr userDrawn="1"/>
        </p:nvGrpSpPr>
        <p:grpSpPr>
          <a:xfrm>
            <a:off x="7364320" y="6412511"/>
            <a:ext cx="1371600" cy="283464"/>
            <a:chOff x="4291013" y="3178175"/>
            <a:chExt cx="3197225" cy="688975"/>
          </a:xfrm>
        </p:grpSpPr>
        <p:sp>
          <p:nvSpPr>
            <p:cNvPr id="12"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3"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4"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5"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6"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7"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8"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9"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0"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1"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2"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3"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4"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5"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6"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7"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8"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9"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0"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1"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2"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3"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4"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5"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6"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37"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402977428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Biography">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p>
            <a:r>
              <a:rPr lang="en-US"/>
              <a:t>Click to edit Master title style</a:t>
            </a:r>
            <a:endParaRPr lang="en-US" dirty="0"/>
          </a:p>
        </p:txBody>
      </p:sp>
      <p:sp>
        <p:nvSpPr>
          <p:cNvPr id="3" name="Content Placeholder 2"/>
          <p:cNvSpPr>
            <a:spLocks noGrp="1"/>
          </p:cNvSpPr>
          <p:nvPr>
            <p:ph idx="1"/>
          </p:nvPr>
        </p:nvSpPr>
        <p:spPr>
          <a:xfrm>
            <a:off x="317115" y="1073258"/>
            <a:ext cx="8188710" cy="439305"/>
          </a:xfrm>
        </p:spPr>
        <p:txBody>
          <a:bodyPr lIns="91440"/>
          <a:lstStyle>
            <a:lvl1pPr marL="0" indent="0">
              <a:spcBef>
                <a:spcPts val="0"/>
              </a:spcBef>
              <a:defRPr lang="en-US" sz="1200" b="1" dirty="0" smtClean="0">
                <a:solidFill>
                  <a:srgbClr val="7A9B3D"/>
                </a:solidFill>
                <a:latin typeface="+mn-lt"/>
                <a:ea typeface="+mn-ea"/>
                <a:cs typeface="+mn-cs"/>
              </a:defRPr>
            </a:lvl1pPr>
            <a:lvl2pPr marL="0" indent="0">
              <a:spcBef>
                <a:spcPts val="0"/>
              </a:spcBef>
              <a:buNone/>
              <a:defRPr sz="1200" b="0" i="1">
                <a:solidFill>
                  <a:srgbClr val="7A9B3D"/>
                </a:solidFill>
              </a:defRPr>
            </a:lvl2pPr>
          </a:lstStyle>
          <a:p>
            <a:pPr lvl="0"/>
            <a:r>
              <a:rPr lang="en-US"/>
              <a:t>Click to edit Master text styles</a:t>
            </a:r>
          </a:p>
          <a:p>
            <a:pPr lvl="1"/>
            <a:r>
              <a:rPr lang="en-US"/>
              <a:t>Second level</a:t>
            </a:r>
          </a:p>
        </p:txBody>
      </p:sp>
      <p:sp>
        <p:nvSpPr>
          <p:cNvPr id="10" name="Content Placeholder 9"/>
          <p:cNvSpPr>
            <a:spLocks noGrp="1"/>
          </p:cNvSpPr>
          <p:nvPr>
            <p:ph sz="quarter" idx="13"/>
          </p:nvPr>
        </p:nvSpPr>
        <p:spPr>
          <a:xfrm>
            <a:off x="317115" y="1526850"/>
            <a:ext cx="8188710" cy="4691387"/>
          </a:xfrm>
        </p:spPr>
        <p:txBody>
          <a:bodyPr lIns="91440"/>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12"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endParaRPr lang="en-US" dirty="0"/>
          </a:p>
        </p:txBody>
      </p:sp>
      <p:grpSp>
        <p:nvGrpSpPr>
          <p:cNvPr id="13" name="Group 12"/>
          <p:cNvGrpSpPr/>
          <p:nvPr userDrawn="1"/>
        </p:nvGrpSpPr>
        <p:grpSpPr>
          <a:xfrm>
            <a:off x="7364320" y="6412511"/>
            <a:ext cx="1371600" cy="283464"/>
            <a:chOff x="4291013" y="3178175"/>
            <a:chExt cx="3197225" cy="688975"/>
          </a:xfrm>
        </p:grpSpPr>
        <p:sp>
          <p:nvSpPr>
            <p:cNvPr id="14"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5"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6"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7"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8"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9"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0"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1"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2"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3"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4"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5"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6"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7"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8"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9"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0"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1"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2"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3"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4"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5"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6"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7"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8"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39"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16387022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Biography 2">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7948" cy="838200"/>
          </a:xfrm>
        </p:spPr>
        <p:txBody>
          <a:bodyPr/>
          <a:lstStyle/>
          <a:p>
            <a:r>
              <a:rPr lang="en-US"/>
              <a:t>Click to edit Master title style</a:t>
            </a:r>
            <a:endParaRPr lang="en-US" dirty="0"/>
          </a:p>
        </p:txBody>
      </p:sp>
      <p:sp>
        <p:nvSpPr>
          <p:cNvPr id="3" name="Content Placeholder 2"/>
          <p:cNvSpPr>
            <a:spLocks noGrp="1"/>
          </p:cNvSpPr>
          <p:nvPr>
            <p:ph idx="1"/>
          </p:nvPr>
        </p:nvSpPr>
        <p:spPr>
          <a:xfrm>
            <a:off x="317115" y="1073258"/>
            <a:ext cx="8187948" cy="439305"/>
          </a:xfrm>
        </p:spPr>
        <p:txBody>
          <a:bodyPr lIns="91440"/>
          <a:lstStyle>
            <a:lvl1pPr marL="0" indent="0">
              <a:spcBef>
                <a:spcPts val="0"/>
              </a:spcBef>
              <a:defRPr lang="en-US" sz="1200" b="1" dirty="0" smtClean="0">
                <a:solidFill>
                  <a:srgbClr val="7A9B3D"/>
                </a:solidFill>
                <a:latin typeface="+mn-lt"/>
                <a:ea typeface="+mn-ea"/>
                <a:cs typeface="+mn-cs"/>
              </a:defRPr>
            </a:lvl1pPr>
            <a:lvl2pPr marL="0" indent="0">
              <a:spcBef>
                <a:spcPts val="0"/>
              </a:spcBef>
              <a:buNone/>
              <a:defRPr sz="1200" b="0" i="1">
                <a:solidFill>
                  <a:srgbClr val="7A9B3D"/>
                </a:solidFill>
              </a:defRPr>
            </a:lvl2pPr>
          </a:lstStyle>
          <a:p>
            <a:pPr lvl="0"/>
            <a:r>
              <a:rPr lang="en-US"/>
              <a:t>Click to edit Master text styles</a:t>
            </a:r>
          </a:p>
          <a:p>
            <a:pPr lvl="1"/>
            <a:r>
              <a:rPr lang="en-US"/>
              <a:t>Second level</a:t>
            </a:r>
          </a:p>
        </p:txBody>
      </p:sp>
      <p:sp>
        <p:nvSpPr>
          <p:cNvPr id="10" name="Content Placeholder 9"/>
          <p:cNvSpPr>
            <a:spLocks noGrp="1"/>
          </p:cNvSpPr>
          <p:nvPr>
            <p:ph sz="quarter" idx="13"/>
          </p:nvPr>
        </p:nvSpPr>
        <p:spPr>
          <a:xfrm>
            <a:off x="317115" y="1526851"/>
            <a:ext cx="8188710" cy="1902149"/>
          </a:xfrm>
        </p:spPr>
        <p:txBody>
          <a:bodyPr lIns="91440"/>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p:cNvSpPr>
            <a:spLocks noGrp="1"/>
          </p:cNvSpPr>
          <p:nvPr>
            <p:ph idx="17"/>
          </p:nvPr>
        </p:nvSpPr>
        <p:spPr>
          <a:xfrm>
            <a:off x="317115" y="3666458"/>
            <a:ext cx="8188710" cy="439305"/>
          </a:xfrm>
        </p:spPr>
        <p:txBody>
          <a:bodyPr lIns="91440"/>
          <a:lstStyle>
            <a:lvl1pPr marL="0" indent="0">
              <a:spcBef>
                <a:spcPts val="0"/>
              </a:spcBef>
              <a:defRPr lang="en-US" sz="1200" b="1" dirty="0" smtClean="0">
                <a:solidFill>
                  <a:srgbClr val="7A9B3D"/>
                </a:solidFill>
                <a:latin typeface="+mn-lt"/>
                <a:ea typeface="+mn-ea"/>
                <a:cs typeface="+mn-cs"/>
              </a:defRPr>
            </a:lvl1pPr>
            <a:lvl2pPr marL="0" indent="0">
              <a:spcBef>
                <a:spcPts val="0"/>
              </a:spcBef>
              <a:buNone/>
              <a:defRPr sz="1200" b="0" i="1">
                <a:solidFill>
                  <a:srgbClr val="7A9B3D"/>
                </a:solidFill>
              </a:defRPr>
            </a:lvl2pPr>
          </a:lstStyle>
          <a:p>
            <a:pPr lvl="0"/>
            <a:r>
              <a:rPr lang="en-US"/>
              <a:t>Click to edit Master text styles</a:t>
            </a:r>
          </a:p>
          <a:p>
            <a:pPr lvl="1"/>
            <a:r>
              <a:rPr lang="en-US"/>
              <a:t>Second level</a:t>
            </a:r>
          </a:p>
        </p:txBody>
      </p:sp>
      <p:sp>
        <p:nvSpPr>
          <p:cNvPr id="9" name="Content Placeholder 9"/>
          <p:cNvSpPr>
            <a:spLocks noGrp="1"/>
          </p:cNvSpPr>
          <p:nvPr>
            <p:ph sz="quarter" idx="18"/>
          </p:nvPr>
        </p:nvSpPr>
        <p:spPr>
          <a:xfrm>
            <a:off x="317115" y="4120051"/>
            <a:ext cx="8188710" cy="1902149"/>
          </a:xfrm>
        </p:spPr>
        <p:txBody>
          <a:bodyPr lIns="91440"/>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14"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endParaRPr lang="en-US" dirty="0"/>
          </a:p>
        </p:txBody>
      </p:sp>
      <p:grpSp>
        <p:nvGrpSpPr>
          <p:cNvPr id="15" name="Group 14"/>
          <p:cNvGrpSpPr/>
          <p:nvPr userDrawn="1"/>
        </p:nvGrpSpPr>
        <p:grpSpPr>
          <a:xfrm>
            <a:off x="7364320" y="6412511"/>
            <a:ext cx="1371600" cy="283464"/>
            <a:chOff x="4291013" y="3178175"/>
            <a:chExt cx="3197225" cy="688975"/>
          </a:xfrm>
        </p:grpSpPr>
        <p:sp>
          <p:nvSpPr>
            <p:cNvPr id="16"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7"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8"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9"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0"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1"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2"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3"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4"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5"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6"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7"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8"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9"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0"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1"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2"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3"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4"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5"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6"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7"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8"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9"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0"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41"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341660187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73742" cy="838200"/>
          </a:xfrm>
        </p:spPr>
        <p:txBody>
          <a:bodyPr/>
          <a:lstStyle/>
          <a:p>
            <a:r>
              <a:rPr lang="en-US"/>
              <a:t>Click to edit Master title style</a:t>
            </a:r>
            <a:endParaRPr lang="en-US" dirty="0"/>
          </a:p>
        </p:txBody>
      </p:sp>
      <p:sp>
        <p:nvSpPr>
          <p:cNvPr id="3" name="Content Placeholder 2"/>
          <p:cNvSpPr>
            <a:spLocks noGrp="1"/>
          </p:cNvSpPr>
          <p:nvPr>
            <p:ph sz="half" idx="1"/>
          </p:nvPr>
        </p:nvSpPr>
        <p:spPr>
          <a:xfrm>
            <a:off x="317115" y="1339850"/>
            <a:ext cx="3878262" cy="4878388"/>
          </a:xfrm>
        </p:spPr>
        <p:txBody>
          <a:bodyPr lIns="91440"/>
          <a:lstStyle>
            <a:lvl1pPr>
              <a:spcBef>
                <a:spcPts val="600"/>
              </a:spcBef>
              <a:defRPr sz="1400">
                <a:solidFill>
                  <a:srgbClr val="7A9B3D"/>
                </a:solidFill>
              </a:defRPr>
            </a:lvl1pPr>
            <a:lvl2pPr marL="114300" indent="-114300">
              <a:spcBef>
                <a:spcPts val="600"/>
              </a:spcBef>
              <a:buClr>
                <a:srgbClr val="7A9B3D"/>
              </a:buClr>
              <a:defRPr sz="1200">
                <a:solidFill>
                  <a:srgbClr val="000000"/>
                </a:solidFill>
              </a:defRPr>
            </a:lvl2pPr>
            <a:lvl3pPr marL="228600" indent="-114300">
              <a:spcBef>
                <a:spcPts val="600"/>
              </a:spcBef>
              <a:buClr>
                <a:srgbClr val="768692"/>
              </a:buClr>
              <a:defRPr sz="1100">
                <a:solidFill>
                  <a:srgbClr val="000000"/>
                </a:solidFill>
              </a:defRPr>
            </a:lvl3pPr>
            <a:lvl4pPr marL="342900" indent="-114300">
              <a:spcBef>
                <a:spcPts val="600"/>
              </a:spcBef>
              <a:buClr>
                <a:srgbClr val="000000"/>
              </a:buClr>
              <a:defRPr sz="1050">
                <a:solidFill>
                  <a:srgbClr val="000000"/>
                </a:solidFill>
              </a:defRPr>
            </a:lvl4pPr>
            <a:lvl5pPr>
              <a:defRPr sz="105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2"/>
          <p:cNvSpPr>
            <a:spLocks noGrp="1"/>
          </p:cNvSpPr>
          <p:nvPr>
            <p:ph sz="half" idx="13"/>
          </p:nvPr>
        </p:nvSpPr>
        <p:spPr>
          <a:xfrm>
            <a:off x="4611450" y="1339850"/>
            <a:ext cx="3878262" cy="4878388"/>
          </a:xfrm>
        </p:spPr>
        <p:txBody>
          <a:bodyPr lIns="91440"/>
          <a:lstStyle>
            <a:lvl1pPr>
              <a:spcBef>
                <a:spcPts val="600"/>
              </a:spcBef>
              <a:defRPr sz="1400">
                <a:solidFill>
                  <a:srgbClr val="7A9B3D"/>
                </a:solidFill>
              </a:defRPr>
            </a:lvl1pPr>
            <a:lvl2pPr marL="114300" indent="-114300">
              <a:spcBef>
                <a:spcPts val="600"/>
              </a:spcBef>
              <a:buClr>
                <a:srgbClr val="7A9B3D"/>
              </a:buClr>
              <a:defRPr sz="1200">
                <a:solidFill>
                  <a:srgbClr val="000000"/>
                </a:solidFill>
              </a:defRPr>
            </a:lvl2pPr>
            <a:lvl3pPr marL="228600" indent="-114300">
              <a:spcBef>
                <a:spcPts val="600"/>
              </a:spcBef>
              <a:buClr>
                <a:srgbClr val="768692"/>
              </a:buClr>
              <a:defRPr sz="1100">
                <a:solidFill>
                  <a:srgbClr val="000000"/>
                </a:solidFill>
              </a:defRPr>
            </a:lvl3pPr>
            <a:lvl4pPr marL="342900" indent="-114300">
              <a:spcBef>
                <a:spcPts val="600"/>
              </a:spcBef>
              <a:buClr>
                <a:srgbClr val="000000"/>
              </a:buClr>
              <a:defRPr sz="1050">
                <a:solidFill>
                  <a:srgbClr val="000000"/>
                </a:solidFill>
              </a:defRPr>
            </a:lvl4pPr>
            <a:lvl5pPr>
              <a:defRPr sz="105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12"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endParaRPr lang="en-US" dirty="0"/>
          </a:p>
        </p:txBody>
      </p:sp>
      <p:grpSp>
        <p:nvGrpSpPr>
          <p:cNvPr id="13" name="Group 12"/>
          <p:cNvGrpSpPr/>
          <p:nvPr userDrawn="1"/>
        </p:nvGrpSpPr>
        <p:grpSpPr>
          <a:xfrm>
            <a:off x="7364320" y="6412511"/>
            <a:ext cx="1371600" cy="283464"/>
            <a:chOff x="4291013" y="3178175"/>
            <a:chExt cx="3197225" cy="688975"/>
          </a:xfrm>
        </p:grpSpPr>
        <p:sp>
          <p:nvSpPr>
            <p:cNvPr id="14"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5"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6"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7"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8"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9"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0"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1"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2"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3"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4"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5"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6"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7"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8"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9"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0"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1"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2"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3"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4"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5"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6"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7"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8"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39"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274586242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6868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hasCustomPrompt="1"/>
          </p:nvPr>
        </p:nvSpPr>
        <p:spPr>
          <a:xfrm>
            <a:off x="317115" y="1004757"/>
            <a:ext cx="4040188" cy="639762"/>
          </a:xfrm>
        </p:spPr>
        <p:txBody>
          <a:bodyPr lIns="91440" anchor="b"/>
          <a:lstStyle>
            <a:lvl1pPr marL="0" indent="0">
              <a:buNone/>
              <a:defRPr sz="14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5" name="Text Placeholder 4"/>
          <p:cNvSpPr>
            <a:spLocks noGrp="1"/>
          </p:cNvSpPr>
          <p:nvPr>
            <p:ph type="body" sz="quarter" idx="3" hasCustomPrompt="1"/>
          </p:nvPr>
        </p:nvSpPr>
        <p:spPr>
          <a:xfrm>
            <a:off x="4449057" y="1004757"/>
            <a:ext cx="4041775" cy="639762"/>
          </a:xfrm>
        </p:spPr>
        <p:txBody>
          <a:bodyPr lIns="91440" anchor="b"/>
          <a:lstStyle>
            <a:lvl1pPr marL="0" indent="0">
              <a:buNone/>
              <a:defRPr sz="14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0" name="Content Placeholder 2"/>
          <p:cNvSpPr>
            <a:spLocks noGrp="1"/>
          </p:cNvSpPr>
          <p:nvPr>
            <p:ph sz="half" idx="13"/>
          </p:nvPr>
        </p:nvSpPr>
        <p:spPr>
          <a:xfrm>
            <a:off x="317115" y="1664594"/>
            <a:ext cx="4041648" cy="4553643"/>
          </a:xfrm>
        </p:spPr>
        <p:txBody>
          <a:bodyPr lIns="91440"/>
          <a:lstStyle>
            <a:lvl1pPr>
              <a:spcBef>
                <a:spcPts val="600"/>
              </a:spcBef>
              <a:defRPr sz="1400">
                <a:solidFill>
                  <a:srgbClr val="7A9B3D"/>
                </a:solidFill>
              </a:defRPr>
            </a:lvl1pPr>
            <a:lvl2pPr marL="114300" indent="-114300">
              <a:spcBef>
                <a:spcPts val="600"/>
              </a:spcBef>
              <a:buClr>
                <a:srgbClr val="7A9B3D"/>
              </a:buClr>
              <a:defRPr sz="1200">
                <a:solidFill>
                  <a:srgbClr val="000000"/>
                </a:solidFill>
              </a:defRPr>
            </a:lvl2pPr>
            <a:lvl3pPr marL="228600" indent="-114300">
              <a:spcBef>
                <a:spcPts val="600"/>
              </a:spcBef>
              <a:defRPr sz="1100">
                <a:solidFill>
                  <a:srgbClr val="000000"/>
                </a:solidFill>
              </a:defRPr>
            </a:lvl3pPr>
            <a:lvl4pPr marL="342900" indent="-114300">
              <a:spcBef>
                <a:spcPts val="600"/>
              </a:spcBef>
              <a:buClr>
                <a:srgbClr val="000000"/>
              </a:buClr>
              <a:defRPr sz="1050">
                <a:solidFill>
                  <a:srgbClr val="000000"/>
                </a:solidFill>
              </a:defRPr>
            </a:lvl4pPr>
            <a:lvl5pPr>
              <a:defRPr sz="105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2"/>
          <p:cNvSpPr>
            <a:spLocks noGrp="1"/>
          </p:cNvSpPr>
          <p:nvPr>
            <p:ph sz="half" idx="14"/>
          </p:nvPr>
        </p:nvSpPr>
        <p:spPr>
          <a:xfrm>
            <a:off x="4449057" y="1665794"/>
            <a:ext cx="4041648" cy="4552443"/>
          </a:xfrm>
        </p:spPr>
        <p:txBody>
          <a:bodyPr lIns="91440"/>
          <a:lstStyle>
            <a:lvl1pPr>
              <a:spcBef>
                <a:spcPts val="600"/>
              </a:spcBef>
              <a:defRPr sz="1400">
                <a:solidFill>
                  <a:srgbClr val="7A9B3D"/>
                </a:solidFill>
              </a:defRPr>
            </a:lvl1pPr>
            <a:lvl2pPr marL="114300" indent="-114300">
              <a:spcBef>
                <a:spcPts val="600"/>
              </a:spcBef>
              <a:buClr>
                <a:srgbClr val="7A9B3D"/>
              </a:buClr>
              <a:defRPr sz="1200">
                <a:solidFill>
                  <a:srgbClr val="000000"/>
                </a:solidFill>
              </a:defRPr>
            </a:lvl2pPr>
            <a:lvl3pPr marL="228600" indent="-114300">
              <a:spcBef>
                <a:spcPts val="600"/>
              </a:spcBef>
              <a:defRPr sz="1100">
                <a:solidFill>
                  <a:srgbClr val="000000"/>
                </a:solidFill>
              </a:defRPr>
            </a:lvl3pPr>
            <a:lvl4pPr marL="342900" indent="-114300">
              <a:spcBef>
                <a:spcPts val="600"/>
              </a:spcBef>
              <a:buClr>
                <a:srgbClr val="000000"/>
              </a:buClr>
              <a:defRPr sz="1050">
                <a:solidFill>
                  <a:srgbClr val="000000"/>
                </a:solidFill>
              </a:defRPr>
            </a:lvl4pPr>
            <a:lvl5pPr>
              <a:defRPr sz="105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Footer Placeholder 4"/>
          <p:cNvSpPr>
            <a:spLocks noGrp="1"/>
          </p:cNvSpPr>
          <p:nvPr>
            <p:ph type="ftr" sz="quarter" idx="16"/>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15" name="Rectangle 155"/>
          <p:cNvSpPr>
            <a:spLocks noGrp="1" noChangeArrowheads="1"/>
          </p:cNvSpPr>
          <p:nvPr>
            <p:ph type="dt" sz="half" idx="17"/>
          </p:nvPr>
        </p:nvSpPr>
        <p:spPr>
          <a:xfrm>
            <a:off x="320040" y="6655654"/>
            <a:ext cx="1983958" cy="120649"/>
          </a:xfrm>
        </p:spPr>
        <p:txBody>
          <a:bodyPr/>
          <a:lstStyle>
            <a:lvl1pPr algn="l">
              <a:defRPr sz="700" smtClean="0">
                <a:solidFill>
                  <a:srgbClr val="000000"/>
                </a:solidFill>
              </a:defRPr>
            </a:lvl1pPr>
          </a:lstStyle>
          <a:p>
            <a:pPr>
              <a:defRPr/>
            </a:pPr>
            <a:endParaRPr lang="en-US" dirty="0"/>
          </a:p>
        </p:txBody>
      </p:sp>
      <p:grpSp>
        <p:nvGrpSpPr>
          <p:cNvPr id="16" name="Group 15"/>
          <p:cNvGrpSpPr/>
          <p:nvPr userDrawn="1"/>
        </p:nvGrpSpPr>
        <p:grpSpPr>
          <a:xfrm>
            <a:off x="7364320" y="6412511"/>
            <a:ext cx="1371600" cy="283464"/>
            <a:chOff x="4291013" y="3178175"/>
            <a:chExt cx="3197225" cy="688975"/>
          </a:xfrm>
        </p:grpSpPr>
        <p:sp>
          <p:nvSpPr>
            <p:cNvPr id="17"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8"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9"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0"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1"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2"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3"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4"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5"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6"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7"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8"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9"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0"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1"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2"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3"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4"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5"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6"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7"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8"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9"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0"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1"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42" name="Slide Number Placeholder 3"/>
          <p:cNvSpPr>
            <a:spLocks noGrp="1"/>
          </p:cNvSpPr>
          <p:nvPr>
            <p:ph type="sldNum" sz="quarter" idx="18"/>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2023574156"/>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ack_Cover_Disclosures">
    <p:spTree>
      <p:nvGrpSpPr>
        <p:cNvPr id="1" name=""/>
        <p:cNvGrpSpPr/>
        <p:nvPr/>
      </p:nvGrpSpPr>
      <p:grpSpPr>
        <a:xfrm>
          <a:off x="0" y="0"/>
          <a:ext cx="0" cy="0"/>
          <a:chOff x="0" y="0"/>
          <a:chExt cx="0" cy="0"/>
        </a:xfrm>
      </p:grpSpPr>
      <p:sp>
        <p:nvSpPr>
          <p:cNvPr id="11" name="Content Placeholder 10"/>
          <p:cNvSpPr>
            <a:spLocks noGrp="1"/>
          </p:cNvSpPr>
          <p:nvPr>
            <p:ph sz="quarter" idx="15" hasCustomPrompt="1"/>
          </p:nvPr>
        </p:nvSpPr>
        <p:spPr>
          <a:xfrm>
            <a:off x="298450" y="6565046"/>
            <a:ext cx="711200" cy="214312"/>
          </a:xfrm>
        </p:spPr>
        <p:txBody>
          <a:bodyPr/>
          <a:lstStyle>
            <a:lvl1pPr>
              <a:defRPr sz="700" b="0">
                <a:solidFill>
                  <a:schemeClr val="tx1"/>
                </a:solidFill>
              </a:defRPr>
            </a:lvl1pPr>
            <a:lvl2pPr>
              <a:defRPr sz="700" b="0">
                <a:solidFill>
                  <a:schemeClr val="tx1"/>
                </a:solidFill>
              </a:defRPr>
            </a:lvl2pPr>
            <a:lvl3pPr>
              <a:defRPr sz="700" b="0">
                <a:solidFill>
                  <a:schemeClr val="tx1"/>
                </a:solidFill>
              </a:defRPr>
            </a:lvl3pPr>
            <a:lvl4pPr>
              <a:defRPr sz="700" b="0">
                <a:solidFill>
                  <a:schemeClr val="tx1"/>
                </a:solidFill>
              </a:defRPr>
            </a:lvl4pPr>
            <a:lvl5pPr>
              <a:defRPr sz="700" b="0">
                <a:solidFill>
                  <a:schemeClr val="tx1"/>
                </a:solidFill>
              </a:defRPr>
            </a:lvl5pPr>
          </a:lstStyle>
          <a:p>
            <a:pPr lvl="0"/>
            <a:r>
              <a:rPr lang="en-US" dirty="0"/>
              <a:t>XXXXXX.1.0</a:t>
            </a:r>
          </a:p>
        </p:txBody>
      </p:sp>
      <p:sp>
        <p:nvSpPr>
          <p:cNvPr id="6" name="Content Placeholder 5"/>
          <p:cNvSpPr>
            <a:spLocks noGrp="1"/>
          </p:cNvSpPr>
          <p:nvPr>
            <p:ph sz="quarter" idx="14" hasCustomPrompt="1"/>
          </p:nvPr>
        </p:nvSpPr>
        <p:spPr>
          <a:xfrm>
            <a:off x="1333500" y="6535738"/>
            <a:ext cx="6477000" cy="214312"/>
          </a:xfrm>
        </p:spPr>
        <p:txBody>
          <a:bodyPr/>
          <a:lstStyle>
            <a:lvl1pPr algn="ctr">
              <a:defRPr sz="900" b="0">
                <a:solidFill>
                  <a:schemeClr val="tx1"/>
                </a:solidFill>
              </a:defRPr>
            </a:lvl1pPr>
            <a:lvl2pPr algn="ctr">
              <a:defRPr sz="900" b="0">
                <a:solidFill>
                  <a:schemeClr val="tx1"/>
                </a:solidFill>
              </a:defRPr>
            </a:lvl2pPr>
            <a:lvl3pPr algn="ctr">
              <a:defRPr sz="900" b="0">
                <a:solidFill>
                  <a:schemeClr val="tx1"/>
                </a:solidFill>
              </a:defRPr>
            </a:lvl3pPr>
            <a:lvl4pPr algn="ctr">
              <a:defRPr sz="900" b="0">
                <a:solidFill>
                  <a:schemeClr val="tx1"/>
                </a:solidFill>
              </a:defRPr>
            </a:lvl4pPr>
            <a:lvl5pPr algn="ctr">
              <a:defRPr sz="900" b="0">
                <a:solidFill>
                  <a:schemeClr val="tx1"/>
                </a:solidFill>
              </a:defRPr>
            </a:lvl5pPr>
          </a:lstStyle>
          <a:p>
            <a:pPr lvl="0"/>
            <a:r>
              <a:rPr lang="en-US" altLang="en-US" sz="900" dirty="0"/>
              <a:t>FIDELITY INVESTMENTS INSTITUTIONAL SERVICES COMPANY, INC., 500 SALEM STREET, SMITHFIELD, RI  02917</a:t>
            </a:r>
            <a:endParaRPr lang="en-US" dirty="0"/>
          </a:p>
        </p:txBody>
      </p:sp>
      <p:sp>
        <p:nvSpPr>
          <p:cNvPr id="7" name="Content Placeholder 2"/>
          <p:cNvSpPr>
            <a:spLocks noGrp="1"/>
          </p:cNvSpPr>
          <p:nvPr>
            <p:ph idx="13" hasCustomPrompt="1"/>
          </p:nvPr>
        </p:nvSpPr>
        <p:spPr>
          <a:xfrm>
            <a:off x="317115" y="3228975"/>
            <a:ext cx="8506210" cy="2903538"/>
          </a:xfrm>
        </p:spPr>
        <p:txBody>
          <a:bodyPr lIns="91440" anchor="b"/>
          <a:lstStyle>
            <a:lvl1pPr marL="0" indent="0" algn="l" rtl="0" eaLnBrk="1" fontAlgn="base" hangingPunct="1">
              <a:spcBef>
                <a:spcPts val="300"/>
              </a:spcBef>
              <a:spcAft>
                <a:spcPct val="0"/>
              </a:spcAft>
              <a:buClrTx/>
              <a:buSzTx/>
              <a:buFontTx/>
              <a:buNone/>
              <a:defRPr lang="en-US" sz="1000" b="0" dirty="0" smtClean="0">
                <a:solidFill>
                  <a:schemeClr val="tx1"/>
                </a:solidFill>
              </a:defRPr>
            </a:lvl1pPr>
            <a:lvl2pPr>
              <a:spcBef>
                <a:spcPts val="2000"/>
              </a:spcBef>
              <a:defRPr lang="en-US" dirty="0" smtClean="0">
                <a:solidFill>
                  <a:schemeClr val="tx1"/>
                </a:solidFill>
                <a:latin typeface="+mn-lt"/>
              </a:defRPr>
            </a:lvl2pPr>
            <a:lvl3pPr>
              <a:defRPr lang="en-US" sz="1600" dirty="0" smtClean="0">
                <a:solidFill>
                  <a:schemeClr val="accent1"/>
                </a:solidFill>
                <a:latin typeface="+mn-lt"/>
              </a:defRPr>
            </a:lvl3pPr>
            <a:lvl4pPr>
              <a:buClr>
                <a:schemeClr val="bg2"/>
              </a:buClr>
              <a:buSzPct val="80000"/>
              <a:buFont typeface="Arial" pitchFamily="34" charset="0"/>
              <a:buChar char="•"/>
              <a:defRPr sz="1400">
                <a:solidFill>
                  <a:schemeClr val="accent1"/>
                </a:solidFill>
              </a:defRPr>
            </a:lvl4pPr>
          </a:lstStyle>
          <a:p>
            <a:pPr eaLnBrk="1" hangingPunct="1">
              <a:spcBef>
                <a:spcPts val="300"/>
              </a:spcBef>
              <a:buClrTx/>
              <a:buSzTx/>
              <a:buFontTx/>
              <a:buNone/>
            </a:pPr>
            <a:r>
              <a:rPr lang="en-US" sz="1000" dirty="0">
                <a:latin typeface="+mj-lt"/>
              </a:rPr>
              <a:t>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a:t>
            </a:r>
          </a:p>
          <a:p>
            <a:pPr eaLnBrk="1" hangingPunct="1">
              <a:spcBef>
                <a:spcPts val="300"/>
              </a:spcBef>
              <a:buClrTx/>
              <a:buSzTx/>
              <a:buFontTx/>
              <a:buNone/>
            </a:pPr>
            <a:r>
              <a:rPr lang="en-US" sz="1000" b="1" dirty="0">
                <a:latin typeface="+mj-lt"/>
              </a:rPr>
              <a:t>Lorem ipsum e </a:t>
            </a:r>
            <a:r>
              <a:rPr lang="en-US" sz="1000" b="1" dirty="0" err="1">
                <a:latin typeface="+mj-lt"/>
              </a:rPr>
              <a:t>dolore</a:t>
            </a:r>
            <a:r>
              <a:rPr lang="en-US" sz="1000" b="1" dirty="0">
                <a:latin typeface="+mj-lt"/>
              </a:rPr>
              <a:t> sit </a:t>
            </a:r>
            <a:r>
              <a:rPr lang="en-US" sz="1000" b="1" dirty="0" err="1">
                <a:latin typeface="+mj-lt"/>
              </a:rPr>
              <a:t>amet</a:t>
            </a:r>
            <a:r>
              <a:rPr lang="en-US" sz="1000" b="1" dirty="0">
                <a:latin typeface="+mj-lt"/>
              </a:rPr>
              <a:t> con </a:t>
            </a:r>
            <a:r>
              <a:rPr lang="en-US" sz="1000" b="1" dirty="0" err="1">
                <a:latin typeface="+mj-lt"/>
              </a:rPr>
              <a:t>secuatur</a:t>
            </a:r>
            <a:r>
              <a:rPr lang="en-US" sz="1000" b="1" dirty="0">
                <a:latin typeface="+mj-lt"/>
              </a:rPr>
              <a:t> </a:t>
            </a:r>
            <a:r>
              <a:rPr lang="en-US" sz="1000" b="1" dirty="0" err="1">
                <a:latin typeface="+mj-lt"/>
              </a:rPr>
              <a:t>voltare</a:t>
            </a:r>
            <a:r>
              <a:rPr lang="en-US" sz="1000" b="1" dirty="0">
                <a:latin typeface="+mj-lt"/>
              </a:rPr>
              <a:t> sans </a:t>
            </a:r>
            <a:r>
              <a:rPr lang="en-US" sz="1000" b="1" dirty="0" err="1">
                <a:latin typeface="+mj-lt"/>
              </a:rPr>
              <a:t>hitre</a:t>
            </a:r>
            <a:r>
              <a:rPr lang="en-US" sz="1000" b="1" dirty="0">
                <a:latin typeface="+mj-lt"/>
              </a:rPr>
              <a:t> </a:t>
            </a:r>
            <a:r>
              <a:rPr lang="en-US" sz="1000" b="1" dirty="0" err="1">
                <a:latin typeface="+mj-lt"/>
              </a:rPr>
              <a:t>vintaxe</a:t>
            </a:r>
            <a:r>
              <a:rPr lang="en-US" sz="1000" b="1" dirty="0">
                <a:latin typeface="+mj-lt"/>
              </a:rPr>
              <a:t> </a:t>
            </a:r>
            <a:r>
              <a:rPr lang="en-US" sz="1000" b="1" dirty="0" err="1">
                <a:latin typeface="+mj-lt"/>
              </a:rPr>
              <a:t>ellert</a:t>
            </a:r>
            <a:r>
              <a:rPr lang="en-US" sz="1000" b="1" dirty="0">
                <a:latin typeface="+mj-lt"/>
              </a:rPr>
              <a:t>  ipsum e </a:t>
            </a:r>
            <a:r>
              <a:rPr lang="en-US" sz="1000" b="1" dirty="0" err="1">
                <a:latin typeface="+mj-lt"/>
              </a:rPr>
              <a:t>dolore</a:t>
            </a:r>
            <a:r>
              <a:rPr lang="en-US" sz="1000" b="1" dirty="0">
                <a:latin typeface="+mj-lt"/>
              </a:rPr>
              <a:t> sit </a:t>
            </a:r>
            <a:r>
              <a:rPr lang="en-US" sz="1000" b="1" dirty="0" err="1">
                <a:latin typeface="+mj-lt"/>
              </a:rPr>
              <a:t>amet</a:t>
            </a:r>
            <a:r>
              <a:rPr lang="en-US" sz="1000" b="1" dirty="0">
                <a:latin typeface="+mj-lt"/>
              </a:rPr>
              <a:t> con </a:t>
            </a:r>
            <a:r>
              <a:rPr lang="en-US" sz="1000" b="1" dirty="0" err="1">
                <a:latin typeface="+mj-lt"/>
              </a:rPr>
              <a:t>secuatur</a:t>
            </a:r>
            <a:r>
              <a:rPr lang="en-US" sz="1000" b="1" dirty="0">
                <a:latin typeface="+mj-lt"/>
              </a:rPr>
              <a:t> </a:t>
            </a:r>
            <a:r>
              <a:rPr lang="en-US" sz="1000" b="1" dirty="0" err="1">
                <a:latin typeface="+mj-lt"/>
              </a:rPr>
              <a:t>voltare</a:t>
            </a:r>
            <a:r>
              <a:rPr lang="en-US" sz="1000" b="1" dirty="0">
                <a:latin typeface="+mj-lt"/>
              </a:rPr>
              <a:t> sans </a:t>
            </a:r>
            <a:r>
              <a:rPr lang="en-US" sz="1000" b="1" dirty="0" err="1">
                <a:latin typeface="+mj-lt"/>
              </a:rPr>
              <a:t>hitre</a:t>
            </a:r>
            <a:r>
              <a:rPr lang="en-US" sz="1000" b="1" dirty="0">
                <a:latin typeface="+mj-lt"/>
              </a:rPr>
              <a:t> </a:t>
            </a:r>
            <a:r>
              <a:rPr lang="en-US" sz="1000" b="1" dirty="0" err="1">
                <a:latin typeface="+mj-lt"/>
              </a:rPr>
              <a:t>vintaxe</a:t>
            </a:r>
            <a:r>
              <a:rPr lang="en-US" sz="1000" b="1" dirty="0">
                <a:latin typeface="+mj-lt"/>
              </a:rPr>
              <a:t> </a:t>
            </a:r>
            <a:r>
              <a:rPr lang="en-US" sz="1000" b="1" dirty="0" err="1">
                <a:latin typeface="+mj-lt"/>
              </a:rPr>
              <a:t>ellert</a:t>
            </a:r>
            <a:r>
              <a:rPr lang="en-US" sz="1000" b="1" dirty="0">
                <a:latin typeface="+mj-lt"/>
              </a:rPr>
              <a:t>. Lorem ipsum e </a:t>
            </a:r>
            <a:r>
              <a:rPr lang="en-US" sz="1000" b="1" dirty="0" err="1">
                <a:latin typeface="+mj-lt"/>
              </a:rPr>
              <a:t>dolore</a:t>
            </a:r>
            <a:r>
              <a:rPr lang="en-US" sz="1000" b="1" dirty="0">
                <a:latin typeface="+mj-lt"/>
              </a:rPr>
              <a:t> sit </a:t>
            </a:r>
            <a:r>
              <a:rPr lang="en-US" sz="1000" b="1" dirty="0" err="1">
                <a:latin typeface="+mj-lt"/>
              </a:rPr>
              <a:t>amet</a:t>
            </a:r>
            <a:r>
              <a:rPr lang="en-US" sz="1000" b="1" dirty="0">
                <a:latin typeface="+mj-lt"/>
              </a:rPr>
              <a:t> con </a:t>
            </a:r>
            <a:r>
              <a:rPr lang="en-US" sz="1000" b="1" dirty="0" err="1">
                <a:latin typeface="+mj-lt"/>
              </a:rPr>
              <a:t>secuatur</a:t>
            </a:r>
            <a:r>
              <a:rPr lang="en-US" sz="1000" b="1" dirty="0">
                <a:latin typeface="+mj-lt"/>
              </a:rPr>
              <a:t> </a:t>
            </a:r>
            <a:r>
              <a:rPr lang="en-US" sz="1000" b="1" dirty="0" err="1">
                <a:latin typeface="+mj-lt"/>
              </a:rPr>
              <a:t>voltare</a:t>
            </a:r>
            <a:r>
              <a:rPr lang="en-US" sz="1000" b="1" dirty="0">
                <a:latin typeface="+mj-lt"/>
              </a:rPr>
              <a:t> sans </a:t>
            </a:r>
            <a:r>
              <a:rPr lang="en-US" sz="1000" b="1" dirty="0" err="1">
                <a:latin typeface="+mj-lt"/>
              </a:rPr>
              <a:t>hitre</a:t>
            </a:r>
            <a:r>
              <a:rPr lang="en-US" sz="1000" b="1" dirty="0">
                <a:latin typeface="+mj-lt"/>
              </a:rPr>
              <a:t> </a:t>
            </a:r>
            <a:r>
              <a:rPr lang="en-US" sz="1000" b="1" dirty="0" err="1">
                <a:latin typeface="+mj-lt"/>
              </a:rPr>
              <a:t>vintaxe</a:t>
            </a:r>
            <a:r>
              <a:rPr lang="en-US" sz="1000" b="1" dirty="0">
                <a:latin typeface="+mj-lt"/>
              </a:rPr>
              <a:t> </a:t>
            </a:r>
            <a:r>
              <a:rPr lang="en-US" sz="1000" b="1" dirty="0" err="1">
                <a:latin typeface="+mj-lt"/>
              </a:rPr>
              <a:t>ellert</a:t>
            </a:r>
            <a:r>
              <a:rPr lang="en-US" sz="1000" b="1" dirty="0">
                <a:latin typeface="+mj-lt"/>
              </a:rPr>
              <a:t>. Lorem ipsum e </a:t>
            </a:r>
            <a:r>
              <a:rPr lang="en-US" sz="1000" b="1" dirty="0" err="1">
                <a:latin typeface="+mj-lt"/>
              </a:rPr>
              <a:t>dolore</a:t>
            </a:r>
            <a:r>
              <a:rPr lang="en-US" sz="1000" b="1" dirty="0">
                <a:latin typeface="+mj-lt"/>
              </a:rPr>
              <a:t> sit </a:t>
            </a:r>
            <a:r>
              <a:rPr lang="en-US" sz="1000" b="1" dirty="0" err="1">
                <a:latin typeface="+mj-lt"/>
              </a:rPr>
              <a:t>amet</a:t>
            </a:r>
            <a:r>
              <a:rPr lang="en-US" sz="1000" b="1" dirty="0">
                <a:latin typeface="+mj-lt"/>
              </a:rPr>
              <a:t> con </a:t>
            </a:r>
            <a:r>
              <a:rPr lang="en-US" sz="1000" b="1" dirty="0" err="1">
                <a:latin typeface="+mj-lt"/>
              </a:rPr>
              <a:t>secuatur</a:t>
            </a:r>
            <a:r>
              <a:rPr lang="en-US" sz="1000" b="1" dirty="0">
                <a:latin typeface="+mj-lt"/>
              </a:rPr>
              <a:t> </a:t>
            </a:r>
            <a:r>
              <a:rPr lang="en-US" sz="1000" b="1" dirty="0" err="1">
                <a:latin typeface="+mj-lt"/>
              </a:rPr>
              <a:t>voltare</a:t>
            </a:r>
            <a:r>
              <a:rPr lang="en-US" sz="1000" b="1" dirty="0">
                <a:latin typeface="+mj-lt"/>
              </a:rPr>
              <a:t> sans </a:t>
            </a:r>
            <a:r>
              <a:rPr lang="en-US" sz="1000" b="1" dirty="0" err="1">
                <a:latin typeface="+mj-lt"/>
              </a:rPr>
              <a:t>hitre</a:t>
            </a:r>
            <a:r>
              <a:rPr lang="en-US" sz="1000" b="1" dirty="0">
                <a:latin typeface="+mj-lt"/>
              </a:rPr>
              <a:t> </a:t>
            </a:r>
            <a:r>
              <a:rPr lang="en-US" sz="1000" b="1" dirty="0" err="1">
                <a:latin typeface="+mj-lt"/>
              </a:rPr>
              <a:t>vintaxe</a:t>
            </a:r>
            <a:r>
              <a:rPr lang="en-US" sz="1000" b="1" dirty="0">
                <a:latin typeface="+mj-lt"/>
              </a:rPr>
              <a:t> </a:t>
            </a:r>
            <a:r>
              <a:rPr lang="en-US" sz="1000" b="1" dirty="0" err="1">
                <a:latin typeface="+mj-lt"/>
              </a:rPr>
              <a:t>ellert</a:t>
            </a:r>
            <a:r>
              <a:rPr lang="en-US" sz="1000" b="1" dirty="0">
                <a:latin typeface="+mj-lt"/>
              </a:rPr>
              <a:t>. Lorem ipsum e </a:t>
            </a:r>
            <a:r>
              <a:rPr lang="en-US" sz="1000" b="1" dirty="0" err="1">
                <a:latin typeface="+mj-lt"/>
              </a:rPr>
              <a:t>dolore</a:t>
            </a:r>
            <a:r>
              <a:rPr lang="en-US" sz="1000" b="1" dirty="0">
                <a:latin typeface="+mj-lt"/>
              </a:rPr>
              <a:t> sit </a:t>
            </a:r>
            <a:r>
              <a:rPr lang="en-US" sz="1000" b="1" dirty="0" err="1">
                <a:latin typeface="+mj-lt"/>
              </a:rPr>
              <a:t>amet</a:t>
            </a:r>
            <a:r>
              <a:rPr lang="en-US" sz="1000" b="1" dirty="0">
                <a:latin typeface="+mj-lt"/>
              </a:rPr>
              <a:t> con </a:t>
            </a:r>
            <a:r>
              <a:rPr lang="en-US" sz="1000" b="1" dirty="0" err="1">
                <a:latin typeface="+mj-lt"/>
              </a:rPr>
              <a:t>secuatur</a:t>
            </a:r>
            <a:r>
              <a:rPr lang="en-US" sz="1000" b="1" dirty="0">
                <a:latin typeface="+mj-lt"/>
              </a:rPr>
              <a:t> </a:t>
            </a:r>
            <a:r>
              <a:rPr lang="en-US" sz="1000" b="1" dirty="0" err="1">
                <a:latin typeface="+mj-lt"/>
              </a:rPr>
              <a:t>voltare</a:t>
            </a:r>
            <a:r>
              <a:rPr lang="en-US" sz="1000" b="1" dirty="0">
                <a:latin typeface="+mj-lt"/>
              </a:rPr>
              <a:t> sans </a:t>
            </a:r>
            <a:r>
              <a:rPr lang="en-US" sz="1000" b="1" dirty="0" err="1">
                <a:latin typeface="+mj-lt"/>
              </a:rPr>
              <a:t>hitre</a:t>
            </a:r>
            <a:r>
              <a:rPr lang="en-US" sz="1000" b="1" dirty="0">
                <a:latin typeface="+mj-lt"/>
              </a:rPr>
              <a:t> </a:t>
            </a:r>
            <a:r>
              <a:rPr lang="en-US" sz="1000" b="1" dirty="0" err="1">
                <a:latin typeface="+mj-lt"/>
              </a:rPr>
              <a:t>vintaxe</a:t>
            </a:r>
            <a:r>
              <a:rPr lang="en-US" sz="1000" b="1" dirty="0">
                <a:latin typeface="+mj-lt"/>
              </a:rPr>
              <a:t> </a:t>
            </a:r>
            <a:r>
              <a:rPr lang="en-US" sz="1000" b="1" dirty="0" err="1">
                <a:latin typeface="+mj-lt"/>
              </a:rPr>
              <a:t>ellert</a:t>
            </a:r>
            <a:r>
              <a:rPr lang="en-US" sz="1000" b="1" dirty="0">
                <a:latin typeface="+mj-lt"/>
              </a:rPr>
              <a:t>. Lorem ipsum e </a:t>
            </a:r>
            <a:r>
              <a:rPr lang="en-US" sz="1000" b="1" dirty="0" err="1">
                <a:latin typeface="+mj-lt"/>
              </a:rPr>
              <a:t>dolore</a:t>
            </a:r>
            <a:r>
              <a:rPr lang="en-US" sz="1000" b="1" dirty="0">
                <a:latin typeface="+mj-lt"/>
              </a:rPr>
              <a:t> sit </a:t>
            </a:r>
            <a:r>
              <a:rPr lang="en-US" sz="1000" b="1" dirty="0" err="1">
                <a:latin typeface="+mj-lt"/>
              </a:rPr>
              <a:t>amet</a:t>
            </a:r>
            <a:r>
              <a:rPr lang="en-US" sz="1000" b="1" dirty="0">
                <a:latin typeface="+mj-lt"/>
              </a:rPr>
              <a:t> con </a:t>
            </a:r>
            <a:r>
              <a:rPr lang="en-US" sz="1000" b="1" dirty="0" err="1">
                <a:latin typeface="+mj-lt"/>
              </a:rPr>
              <a:t>secuatur</a:t>
            </a:r>
            <a:r>
              <a:rPr lang="en-US" sz="1000" b="1" dirty="0">
                <a:latin typeface="+mj-lt"/>
              </a:rPr>
              <a:t> </a:t>
            </a:r>
            <a:r>
              <a:rPr lang="en-US" sz="1000" b="1" dirty="0" err="1">
                <a:latin typeface="+mj-lt"/>
              </a:rPr>
              <a:t>voltare</a:t>
            </a:r>
            <a:r>
              <a:rPr lang="en-US" sz="1000" b="1" dirty="0">
                <a:latin typeface="+mj-lt"/>
              </a:rPr>
              <a:t> sans </a:t>
            </a:r>
            <a:r>
              <a:rPr lang="en-US" sz="1000" b="1" dirty="0" err="1">
                <a:latin typeface="+mj-lt"/>
              </a:rPr>
              <a:t>hitre</a:t>
            </a:r>
            <a:r>
              <a:rPr lang="en-US" sz="1000" b="1" dirty="0">
                <a:latin typeface="+mj-lt"/>
              </a:rPr>
              <a:t> </a:t>
            </a:r>
            <a:r>
              <a:rPr lang="en-US" sz="1000" b="1" dirty="0" err="1">
                <a:latin typeface="+mj-lt"/>
              </a:rPr>
              <a:t>vintaxe</a:t>
            </a:r>
            <a:r>
              <a:rPr lang="en-US" sz="1000" b="1" dirty="0">
                <a:latin typeface="+mj-lt"/>
              </a:rPr>
              <a:t> </a:t>
            </a:r>
            <a:r>
              <a:rPr lang="en-US" sz="1000" b="1" dirty="0" err="1">
                <a:latin typeface="+mj-lt"/>
              </a:rPr>
              <a:t>ellert</a:t>
            </a:r>
            <a:r>
              <a:rPr lang="en-US" sz="1000" b="1" dirty="0">
                <a:latin typeface="+mj-lt"/>
              </a:rPr>
              <a:t>. Lorem ipsum e </a:t>
            </a:r>
            <a:r>
              <a:rPr lang="en-US" sz="1000" b="1" dirty="0" err="1">
                <a:latin typeface="+mj-lt"/>
              </a:rPr>
              <a:t>dolore</a:t>
            </a:r>
            <a:r>
              <a:rPr lang="en-US" sz="1000" b="1" dirty="0">
                <a:latin typeface="+mj-lt"/>
              </a:rPr>
              <a:t> sit </a:t>
            </a:r>
            <a:r>
              <a:rPr lang="en-US" sz="1000" b="1" dirty="0" err="1">
                <a:latin typeface="+mj-lt"/>
              </a:rPr>
              <a:t>amet</a:t>
            </a:r>
            <a:r>
              <a:rPr lang="en-US" sz="1000" b="1" dirty="0">
                <a:latin typeface="+mj-lt"/>
              </a:rPr>
              <a:t> con </a:t>
            </a:r>
            <a:r>
              <a:rPr lang="en-US" sz="1000" b="1" dirty="0" err="1">
                <a:latin typeface="+mj-lt"/>
              </a:rPr>
              <a:t>secuatur</a:t>
            </a:r>
            <a:r>
              <a:rPr lang="en-US" sz="1000" b="1" dirty="0">
                <a:latin typeface="+mj-lt"/>
              </a:rPr>
              <a:t> </a:t>
            </a:r>
            <a:r>
              <a:rPr lang="en-US" sz="1000" b="1" dirty="0" err="1">
                <a:latin typeface="+mj-lt"/>
              </a:rPr>
              <a:t>voltare</a:t>
            </a:r>
            <a:r>
              <a:rPr lang="en-US" sz="1000" b="1" dirty="0">
                <a:latin typeface="+mj-lt"/>
              </a:rPr>
              <a:t> sans </a:t>
            </a:r>
            <a:r>
              <a:rPr lang="en-US" sz="1000" b="1" dirty="0" err="1">
                <a:latin typeface="+mj-lt"/>
              </a:rPr>
              <a:t>hitre</a:t>
            </a:r>
            <a:r>
              <a:rPr lang="en-US" sz="1000" b="1" dirty="0">
                <a:latin typeface="+mj-lt"/>
              </a:rPr>
              <a:t> </a:t>
            </a:r>
            <a:r>
              <a:rPr lang="en-US" sz="1000" b="1" dirty="0" err="1">
                <a:latin typeface="+mj-lt"/>
              </a:rPr>
              <a:t>vintaxe</a:t>
            </a:r>
            <a:r>
              <a:rPr lang="en-US" sz="1000" b="1" dirty="0">
                <a:latin typeface="+mj-lt"/>
              </a:rPr>
              <a:t> </a:t>
            </a:r>
            <a:r>
              <a:rPr lang="en-US" sz="1000" b="1" dirty="0" err="1">
                <a:latin typeface="+mj-lt"/>
              </a:rPr>
              <a:t>ellert</a:t>
            </a:r>
            <a:r>
              <a:rPr lang="en-US" sz="1000" b="1" dirty="0">
                <a:latin typeface="+mj-lt"/>
              </a:rPr>
              <a:t>. Lorem ipsum e </a:t>
            </a:r>
            <a:r>
              <a:rPr lang="en-US" sz="1000" b="1" dirty="0" err="1">
                <a:latin typeface="+mj-lt"/>
              </a:rPr>
              <a:t>dolore</a:t>
            </a:r>
            <a:r>
              <a:rPr lang="en-US" sz="1000" b="1" dirty="0">
                <a:latin typeface="+mj-lt"/>
              </a:rPr>
              <a:t> sit </a:t>
            </a:r>
            <a:r>
              <a:rPr lang="en-US" sz="1000" b="1" dirty="0" err="1">
                <a:latin typeface="+mj-lt"/>
              </a:rPr>
              <a:t>amet</a:t>
            </a:r>
            <a:r>
              <a:rPr lang="en-US" sz="1000" b="1" dirty="0">
                <a:latin typeface="+mj-lt"/>
              </a:rPr>
              <a:t> con </a:t>
            </a:r>
            <a:r>
              <a:rPr lang="en-US" sz="1000" b="1" dirty="0" err="1">
                <a:latin typeface="+mj-lt"/>
              </a:rPr>
              <a:t>secuatur</a:t>
            </a:r>
            <a:r>
              <a:rPr lang="en-US" sz="1000" b="1" dirty="0">
                <a:latin typeface="+mj-lt"/>
              </a:rPr>
              <a:t> </a:t>
            </a:r>
            <a:r>
              <a:rPr lang="en-US" sz="1000" b="1" dirty="0" err="1">
                <a:latin typeface="+mj-lt"/>
              </a:rPr>
              <a:t>voltare</a:t>
            </a:r>
            <a:r>
              <a:rPr lang="en-US" sz="1000" b="1" dirty="0">
                <a:latin typeface="+mj-lt"/>
              </a:rPr>
              <a:t> sans </a:t>
            </a:r>
            <a:r>
              <a:rPr lang="en-US" sz="1000" b="1" dirty="0" err="1">
                <a:latin typeface="+mj-lt"/>
              </a:rPr>
              <a:t>hitre</a:t>
            </a:r>
            <a:r>
              <a:rPr lang="en-US" sz="1000" b="1" dirty="0">
                <a:latin typeface="+mj-lt"/>
              </a:rPr>
              <a:t> </a:t>
            </a:r>
            <a:r>
              <a:rPr lang="en-US" sz="1000" b="1" dirty="0" err="1">
                <a:latin typeface="+mj-lt"/>
              </a:rPr>
              <a:t>vintaxe</a:t>
            </a:r>
            <a:r>
              <a:rPr lang="en-US" sz="1000" b="1" dirty="0">
                <a:latin typeface="+mj-lt"/>
              </a:rPr>
              <a:t> </a:t>
            </a:r>
            <a:r>
              <a:rPr lang="en-US" sz="1000" b="1" dirty="0" err="1">
                <a:latin typeface="+mj-lt"/>
              </a:rPr>
              <a:t>ellert</a:t>
            </a:r>
            <a:r>
              <a:rPr lang="en-US" sz="1000" b="1" dirty="0">
                <a:latin typeface="+mj-lt"/>
              </a:rPr>
              <a:t>.</a:t>
            </a:r>
          </a:p>
        </p:txBody>
      </p:sp>
      <p:sp>
        <p:nvSpPr>
          <p:cNvPr id="13" name="Content Placeholder 12"/>
          <p:cNvSpPr>
            <a:spLocks noGrp="1"/>
          </p:cNvSpPr>
          <p:nvPr>
            <p:ph sz="quarter" idx="16" hasCustomPrompt="1"/>
          </p:nvPr>
        </p:nvSpPr>
        <p:spPr>
          <a:xfrm>
            <a:off x="7991475" y="6488720"/>
            <a:ext cx="908050" cy="377825"/>
          </a:xfrm>
        </p:spPr>
        <p:txBody>
          <a:bodyPr anchor="b"/>
          <a:lstStyle>
            <a:lvl1pPr algn="r">
              <a:spcBef>
                <a:spcPts val="0"/>
              </a:spcBef>
              <a:defRPr sz="700" b="0">
                <a:solidFill>
                  <a:schemeClr val="tx1"/>
                </a:solidFill>
              </a:defRPr>
            </a:lvl1pPr>
            <a:lvl2pPr algn="r">
              <a:defRPr sz="700" b="0">
                <a:solidFill>
                  <a:schemeClr val="tx1"/>
                </a:solidFill>
              </a:defRPr>
            </a:lvl2pPr>
            <a:lvl3pPr algn="r">
              <a:defRPr sz="700" b="0">
                <a:solidFill>
                  <a:schemeClr val="tx1"/>
                </a:solidFill>
              </a:defRPr>
            </a:lvl3pPr>
            <a:lvl4pPr algn="r">
              <a:defRPr sz="700" b="0">
                <a:solidFill>
                  <a:schemeClr val="tx1"/>
                </a:solidFill>
              </a:defRPr>
            </a:lvl4pPr>
            <a:lvl5pPr algn="r">
              <a:defRPr sz="700" b="0">
                <a:solidFill>
                  <a:schemeClr val="tx1"/>
                </a:solidFill>
              </a:defRPr>
            </a:lvl5pPr>
          </a:lstStyle>
          <a:p>
            <a:pPr lvl="0"/>
            <a:r>
              <a:rPr lang="en-US" dirty="0"/>
              <a:t>1.000000.100</a:t>
            </a:r>
          </a:p>
          <a:p>
            <a:pPr lvl="0"/>
            <a:r>
              <a:rPr lang="en-US" dirty="0"/>
              <a:t>MMYY</a:t>
            </a:r>
          </a:p>
        </p:txBody>
      </p:sp>
    </p:spTree>
    <p:extLst>
      <p:ext uri="{BB962C8B-B14F-4D97-AF65-F5344CB8AC3E}">
        <p14:creationId xmlns:p14="http://schemas.microsoft.com/office/powerpoint/2010/main" val="231147532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8"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9"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endParaRPr lang="en-US" dirty="0"/>
          </a:p>
        </p:txBody>
      </p:sp>
      <p:grpSp>
        <p:nvGrpSpPr>
          <p:cNvPr id="10" name="Group 9"/>
          <p:cNvGrpSpPr/>
          <p:nvPr userDrawn="1"/>
        </p:nvGrpSpPr>
        <p:grpSpPr>
          <a:xfrm>
            <a:off x="7364320" y="6412511"/>
            <a:ext cx="1371600" cy="283464"/>
            <a:chOff x="4291013" y="3178175"/>
            <a:chExt cx="3197225" cy="688975"/>
          </a:xfrm>
        </p:grpSpPr>
        <p:sp>
          <p:nvSpPr>
            <p:cNvPr id="11"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2"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3"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4"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5"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6"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7"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8"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9"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0"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1"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2"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3"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4"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5"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6"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7"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8"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9"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0"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1"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2"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3"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4"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5"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36"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2436542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IAM_External_Print_Cover">
    <p:spTree>
      <p:nvGrpSpPr>
        <p:cNvPr id="1" name=""/>
        <p:cNvGrpSpPr/>
        <p:nvPr/>
      </p:nvGrpSpPr>
      <p:grpSpPr>
        <a:xfrm>
          <a:off x="0" y="0"/>
          <a:ext cx="0" cy="0"/>
          <a:chOff x="0" y="0"/>
          <a:chExt cx="0" cy="0"/>
        </a:xfrm>
      </p:grpSpPr>
      <p:pic>
        <p:nvPicPr>
          <p:cNvPr id="3" name="Picture 2" descr="A picture containing game&#10;&#10;Description automatically generated">
            <a:extLst>
              <a:ext uri="{FF2B5EF4-FFF2-40B4-BE49-F238E27FC236}">
                <a16:creationId xmlns:a16="http://schemas.microsoft.com/office/drawing/2014/main" id="{02C58A20-F70A-4736-B933-87BDF049E3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7999"/>
          </a:xfrm>
          <a:prstGeom prst="rect">
            <a:avLst/>
          </a:prstGeom>
        </p:spPr>
      </p:pic>
      <p:pic>
        <p:nvPicPr>
          <p:cNvPr id="38" name="Picture 37">
            <a:extLst>
              <a:ext uri="{FF2B5EF4-FFF2-40B4-BE49-F238E27FC236}">
                <a16:creationId xmlns:a16="http://schemas.microsoft.com/office/drawing/2014/main" id="{92EE3B39-64EE-4DDC-A575-0B2059D644D3}"/>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62741"/>
          <a:stretch/>
        </p:blipFill>
        <p:spPr>
          <a:xfrm>
            <a:off x="802002" y="532741"/>
            <a:ext cx="2987046" cy="134009"/>
          </a:xfrm>
          <a:prstGeom prst="rect">
            <a:avLst/>
          </a:prstGeom>
        </p:spPr>
      </p:pic>
      <p:sp>
        <p:nvSpPr>
          <p:cNvPr id="47" name="Rectangle 176"/>
          <p:cNvSpPr>
            <a:spLocks noGrp="1" noChangeArrowheads="1"/>
          </p:cNvSpPr>
          <p:nvPr>
            <p:ph type="ftr" sz="quarter" idx="13"/>
          </p:nvPr>
        </p:nvSpPr>
        <p:spPr>
          <a:xfrm>
            <a:off x="281401" y="6421008"/>
            <a:ext cx="6014623" cy="260350"/>
          </a:xfrm>
        </p:spPr>
        <p:txBody>
          <a:bodyPr anchor="b" anchorCtr="0"/>
          <a:lstStyle>
            <a:lvl1pPr algn="l">
              <a:defRPr sz="800" b="0" smtClean="0">
                <a:solidFill>
                  <a:srgbClr val="000000"/>
                </a:solidFill>
              </a:defRPr>
            </a:lvl1pPr>
          </a:lstStyle>
          <a:p>
            <a:pPr>
              <a:defRPr/>
            </a:pPr>
            <a:r>
              <a:rPr lang="en-US" b="1" dirty="0"/>
              <a:t>Insert disclosures. </a:t>
            </a:r>
          </a:p>
          <a:p>
            <a:pPr>
              <a:defRPr/>
            </a:pPr>
            <a:r>
              <a:rPr lang="en-US" dirty="0"/>
              <a:t>Insert disclosures.</a:t>
            </a:r>
          </a:p>
          <a:p>
            <a:pPr>
              <a:defRPr/>
            </a:pPr>
            <a:r>
              <a:rPr lang="en-US" b="1" dirty="0"/>
              <a:t>Page footer.  </a:t>
            </a:r>
            <a:r>
              <a:rPr lang="en-US" dirty="0"/>
              <a:t>l  © 20XX FMR LLC. All rights reserved.</a:t>
            </a:r>
            <a:endParaRPr lang="en-US" b="1" dirty="0"/>
          </a:p>
        </p:txBody>
      </p:sp>
      <p:sp>
        <p:nvSpPr>
          <p:cNvPr id="44" name="Text Placeholder 43"/>
          <p:cNvSpPr>
            <a:spLocks noGrp="1"/>
          </p:cNvSpPr>
          <p:nvPr>
            <p:ph type="body" sz="quarter" idx="10"/>
          </p:nvPr>
        </p:nvSpPr>
        <p:spPr>
          <a:xfrm>
            <a:off x="715495" y="3833787"/>
            <a:ext cx="2455544" cy="332365"/>
          </a:xfrm>
        </p:spPr>
        <p:txBody>
          <a:bodyPr/>
          <a:lstStyle>
            <a:lvl1pPr>
              <a:defRPr lang="en-US" sz="1000" b="0" kern="1200" smtClean="0">
                <a:solidFill>
                  <a:srgbClr val="000000"/>
                </a:solidFill>
                <a:latin typeface="Arial"/>
                <a:ea typeface="ＭＳ Ｐゴシック"/>
                <a:cs typeface="ＭＳ Ｐゴシック"/>
              </a:defRPr>
            </a:lvl1pPr>
          </a:lstStyle>
          <a:p>
            <a:pPr lvl="0"/>
            <a:r>
              <a:rPr lang="en-US"/>
              <a:t>Click to edit Master text styles</a:t>
            </a:r>
          </a:p>
        </p:txBody>
      </p:sp>
      <p:sp>
        <p:nvSpPr>
          <p:cNvPr id="53" name="Content Placeholder 52"/>
          <p:cNvSpPr>
            <a:spLocks noGrp="1"/>
          </p:cNvSpPr>
          <p:nvPr>
            <p:ph sz="quarter" idx="12"/>
          </p:nvPr>
        </p:nvSpPr>
        <p:spPr>
          <a:xfrm>
            <a:off x="6280150" y="3842381"/>
            <a:ext cx="2487613" cy="165226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72" name="Rectangle 6"/>
          <p:cNvSpPr>
            <a:spLocks noGrp="1" noChangeArrowheads="1"/>
          </p:cNvSpPr>
          <p:nvPr>
            <p:ph type="subTitle" idx="1"/>
          </p:nvPr>
        </p:nvSpPr>
        <p:spPr>
          <a:xfrm>
            <a:off x="685251" y="2091765"/>
            <a:ext cx="7805762" cy="563076"/>
          </a:xfrm>
        </p:spPr>
        <p:txBody>
          <a:bodyPr lIns="100584" rIns="100584"/>
          <a:lstStyle>
            <a:lvl1pPr marL="0" indent="0">
              <a:spcBef>
                <a:spcPts val="0"/>
              </a:spcBef>
              <a:defRPr sz="2000" b="0">
                <a:solidFill>
                  <a:srgbClr val="7A9A3D"/>
                </a:solidFill>
              </a:defRPr>
            </a:lvl1pPr>
          </a:lstStyle>
          <a:p>
            <a:r>
              <a:rPr lang="en-US"/>
              <a:t>Click to edit Master subtitle style</a:t>
            </a:r>
            <a:endParaRPr lang="en-US" dirty="0"/>
          </a:p>
        </p:txBody>
      </p:sp>
      <p:sp>
        <p:nvSpPr>
          <p:cNvPr id="74" name="Text Placeholder 43"/>
          <p:cNvSpPr>
            <a:spLocks noGrp="1"/>
          </p:cNvSpPr>
          <p:nvPr>
            <p:ph type="body" sz="quarter" idx="14" hasCustomPrompt="1"/>
          </p:nvPr>
        </p:nvSpPr>
        <p:spPr>
          <a:xfrm>
            <a:off x="685251" y="2581276"/>
            <a:ext cx="7805762" cy="266850"/>
          </a:xfrm>
        </p:spPr>
        <p:txBody>
          <a:bodyPr lIns="100584" rIns="100584"/>
          <a:lstStyle>
            <a:lvl1pPr>
              <a:spcBef>
                <a:spcPts val="0"/>
              </a:spcBef>
              <a:defRPr lang="en-US" sz="1200" b="0" kern="1200" dirty="0" smtClean="0">
                <a:solidFill>
                  <a:srgbClr val="333F48"/>
                </a:solidFill>
                <a:latin typeface="Arial"/>
                <a:ea typeface="ＭＳ Ｐゴシック" pitchFamily="34" charset="-128"/>
                <a:cs typeface="+mn-cs"/>
              </a:defRPr>
            </a:lvl1pPr>
          </a:lstStyle>
          <a:p>
            <a:pPr lvl="0"/>
            <a:r>
              <a:rPr lang="en-US" dirty="0"/>
              <a:t>Date</a:t>
            </a:r>
          </a:p>
        </p:txBody>
      </p:sp>
      <p:sp>
        <p:nvSpPr>
          <p:cNvPr id="79" name="Picture Placeholder 47"/>
          <p:cNvSpPr txBox="1">
            <a:spLocks/>
          </p:cNvSpPr>
          <p:nvPr userDrawn="1"/>
        </p:nvSpPr>
        <p:spPr>
          <a:xfrm>
            <a:off x="804558" y="4104114"/>
            <a:ext cx="2424112" cy="609600"/>
          </a:xfrm>
          <a:prstGeom prst="rect">
            <a:avLst/>
          </a:prstGeom>
          <a:solidFill>
            <a:schemeClr val="bg1">
              <a:lumMod val="95000"/>
            </a:schemeClr>
          </a:solidFill>
        </p:spPr>
        <p:txBody>
          <a:bodyPr anchor="ctr"/>
          <a:lstStyle>
            <a:lvl1pPr marL="0" indent="0" algn="l" rtl="0" eaLnBrk="0" fontAlgn="base" hangingPunct="0">
              <a:spcBef>
                <a:spcPct val="20000"/>
              </a:spcBef>
              <a:spcAft>
                <a:spcPct val="0"/>
              </a:spcAft>
              <a:buClr>
                <a:schemeClr val="bg1"/>
              </a:buClr>
              <a:buNone/>
              <a:tabLst>
                <a:tab pos="120626" algn="l"/>
                <a:tab pos="299978" algn="l"/>
                <a:tab pos="1034844" algn="l"/>
              </a:tabLst>
              <a:defRPr sz="1000" b="0">
                <a:solidFill>
                  <a:schemeClr val="accent1"/>
                </a:solidFill>
                <a:latin typeface="+mn-lt"/>
                <a:ea typeface="+mn-ea"/>
                <a:cs typeface="+mn-cs"/>
              </a:defRPr>
            </a:lvl1pPr>
            <a:lvl2pPr marL="169828" indent="0" algn="l" rtl="0" eaLnBrk="0" fontAlgn="base" hangingPunct="0">
              <a:spcBef>
                <a:spcPct val="20000"/>
              </a:spcBef>
              <a:spcAft>
                <a:spcPct val="0"/>
              </a:spcAft>
              <a:buClr>
                <a:schemeClr val="bg1"/>
              </a:buClr>
              <a:buFont typeface="Arial" pitchFamily="34" charset="0"/>
              <a:buNone/>
              <a:tabLst>
                <a:tab pos="120626" algn="l"/>
                <a:tab pos="299978" algn="l"/>
                <a:tab pos="1034844" algn="l"/>
              </a:tabLst>
              <a:defRPr sz="1200" b="1">
                <a:solidFill>
                  <a:schemeClr val="accent2"/>
                </a:solidFill>
                <a:latin typeface="+mn-lt"/>
              </a:defRPr>
            </a:lvl2pPr>
            <a:lvl3pPr marL="326960" indent="0" algn="l" rtl="0" eaLnBrk="0" fontAlgn="base" hangingPunct="0">
              <a:spcBef>
                <a:spcPct val="20000"/>
              </a:spcBef>
              <a:spcAft>
                <a:spcPct val="0"/>
              </a:spcAft>
              <a:buClr>
                <a:schemeClr val="bg1"/>
              </a:buClr>
              <a:buNone/>
              <a:tabLst>
                <a:tab pos="120626" algn="l"/>
                <a:tab pos="299978" algn="l"/>
                <a:tab pos="1034844" algn="l"/>
              </a:tabLst>
              <a:defRPr sz="1200" b="1">
                <a:solidFill>
                  <a:schemeClr val="accent2"/>
                </a:solidFill>
                <a:latin typeface="+mn-lt"/>
              </a:defRPr>
            </a:lvl3pPr>
            <a:lvl4pPr marL="914218" indent="-114277" algn="l" rtl="0" eaLnBrk="0" fontAlgn="base" hangingPunct="0">
              <a:spcBef>
                <a:spcPct val="20000"/>
              </a:spcBef>
              <a:spcAft>
                <a:spcPct val="0"/>
              </a:spcAft>
              <a:buClr>
                <a:schemeClr val="accent1"/>
              </a:buClr>
              <a:buChar char="•"/>
              <a:tabLst>
                <a:tab pos="120626" algn="l"/>
                <a:tab pos="299978" algn="l"/>
                <a:tab pos="1034844" algn="l"/>
              </a:tabLst>
              <a:defRPr sz="1600" b="1">
                <a:solidFill>
                  <a:schemeClr val="tx1"/>
                </a:solidFill>
                <a:latin typeface="+mn-lt"/>
              </a:defRPr>
            </a:lvl4pPr>
            <a:lvl5pPr marL="1142772" indent="-114277" algn="l" rtl="0" eaLnBrk="0" fontAlgn="base" hangingPunct="0">
              <a:spcBef>
                <a:spcPct val="20000"/>
              </a:spcBef>
              <a:spcAft>
                <a:spcPct val="0"/>
              </a:spcAft>
              <a:buClr>
                <a:schemeClr val="accent1"/>
              </a:buClr>
              <a:buChar char="•"/>
              <a:tabLst>
                <a:tab pos="120626" algn="l"/>
                <a:tab pos="299978" algn="l"/>
                <a:tab pos="1034844" algn="l"/>
              </a:tabLst>
              <a:defRPr sz="1600" b="1">
                <a:solidFill>
                  <a:schemeClr val="tx1"/>
                </a:solidFill>
                <a:latin typeface="+mn-lt"/>
              </a:defRPr>
            </a:lvl5pPr>
            <a:lvl6pPr marL="2514096" indent="-228554" algn="l" rtl="0" fontAlgn="base">
              <a:spcBef>
                <a:spcPct val="20000"/>
              </a:spcBef>
              <a:spcAft>
                <a:spcPct val="0"/>
              </a:spcAft>
              <a:buChar char="»"/>
              <a:defRPr sz="2000">
                <a:solidFill>
                  <a:schemeClr val="tx1"/>
                </a:solidFill>
                <a:latin typeface="+mn-lt"/>
              </a:defRPr>
            </a:lvl6pPr>
            <a:lvl7pPr marL="2971205" indent="-228554" algn="l" rtl="0" fontAlgn="base">
              <a:spcBef>
                <a:spcPct val="20000"/>
              </a:spcBef>
              <a:spcAft>
                <a:spcPct val="0"/>
              </a:spcAft>
              <a:buChar char="»"/>
              <a:defRPr sz="2000">
                <a:solidFill>
                  <a:schemeClr val="tx1"/>
                </a:solidFill>
                <a:latin typeface="+mn-lt"/>
              </a:defRPr>
            </a:lvl7pPr>
            <a:lvl8pPr marL="3428314" indent="-228554" algn="l" rtl="0" fontAlgn="base">
              <a:spcBef>
                <a:spcPct val="20000"/>
              </a:spcBef>
              <a:spcAft>
                <a:spcPct val="0"/>
              </a:spcAft>
              <a:buChar char="»"/>
              <a:defRPr sz="2000">
                <a:solidFill>
                  <a:schemeClr val="tx1"/>
                </a:solidFill>
                <a:latin typeface="+mn-lt"/>
              </a:defRPr>
            </a:lvl8pPr>
            <a:lvl9pPr marL="3885423" indent="-228554" algn="l" rtl="0" fontAlgn="base">
              <a:spcBef>
                <a:spcPct val="20000"/>
              </a:spcBef>
              <a:spcAft>
                <a:spcPct val="0"/>
              </a:spcAft>
              <a:buChar char="»"/>
              <a:defRPr sz="2000">
                <a:solidFill>
                  <a:schemeClr val="tx1"/>
                </a:solidFill>
                <a:latin typeface="+mn-lt"/>
              </a:defRPr>
            </a:lvl9pPr>
          </a:lstStyle>
          <a:p>
            <a:pPr>
              <a:buClr>
                <a:srgbClr val="FFFFFF"/>
              </a:buClr>
            </a:pPr>
            <a:r>
              <a:rPr lang="en-US" kern="0" dirty="0">
                <a:solidFill>
                  <a:srgbClr val="FFFFFF">
                    <a:lumMod val="50000"/>
                  </a:srgbClr>
                </a:solidFill>
              </a:rPr>
              <a:t>Click icon to add logo</a:t>
            </a:r>
          </a:p>
        </p:txBody>
      </p:sp>
      <p:sp>
        <p:nvSpPr>
          <p:cNvPr id="39" name="Rectangle 9"/>
          <p:cNvSpPr>
            <a:spLocks noGrp="1" noChangeArrowheads="1"/>
          </p:cNvSpPr>
          <p:nvPr>
            <p:ph type="title" hasCustomPrompt="1"/>
          </p:nvPr>
        </p:nvSpPr>
        <p:spPr bwMode="auto">
          <a:xfrm>
            <a:off x="685252" y="1581072"/>
            <a:ext cx="7820573" cy="5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b" anchorCtr="0" compatLnSpc="1">
            <a:prstTxWarp prst="textNoShape">
              <a:avLst/>
            </a:prstTxWarp>
          </a:bodyPr>
          <a:lstStyle>
            <a:lvl1pPr>
              <a:defRPr sz="3000">
                <a:solidFill>
                  <a:srgbClr val="333F48"/>
                </a:solidFill>
              </a:defRPr>
            </a:lvl1pPr>
          </a:lstStyle>
          <a:p>
            <a:pPr lvl="0"/>
            <a:r>
              <a:rPr lang="en-US" altLang="en-US" dirty="0"/>
              <a:t>Click To Edit Master Title Style</a:t>
            </a:r>
          </a:p>
        </p:txBody>
      </p:sp>
      <p:grpSp>
        <p:nvGrpSpPr>
          <p:cNvPr id="128" name="Group 127">
            <a:extLst>
              <a:ext uri="{FF2B5EF4-FFF2-40B4-BE49-F238E27FC236}">
                <a16:creationId xmlns:a16="http://schemas.microsoft.com/office/drawing/2014/main" id="{D2D227AE-CAFE-4AB3-AB1C-89F3B55E0722}"/>
              </a:ext>
            </a:extLst>
          </p:cNvPr>
          <p:cNvGrpSpPr/>
          <p:nvPr userDrawn="1"/>
        </p:nvGrpSpPr>
        <p:grpSpPr>
          <a:xfrm>
            <a:off x="7358173" y="6361974"/>
            <a:ext cx="1382376" cy="297562"/>
            <a:chOff x="6923088" y="4475163"/>
            <a:chExt cx="1873251" cy="403225"/>
          </a:xfrm>
        </p:grpSpPr>
        <p:sp>
          <p:nvSpPr>
            <p:cNvPr id="129" name="AutoShape 4">
              <a:extLst>
                <a:ext uri="{FF2B5EF4-FFF2-40B4-BE49-F238E27FC236}">
                  <a16:creationId xmlns:a16="http://schemas.microsoft.com/office/drawing/2014/main" id="{5E120DEF-B40A-4CE9-B26D-8060E8DBACDF}"/>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 name="Freeform 6">
              <a:extLst>
                <a:ext uri="{FF2B5EF4-FFF2-40B4-BE49-F238E27FC236}">
                  <a16:creationId xmlns:a16="http://schemas.microsoft.com/office/drawing/2014/main" id="{CCFDE2C2-B48C-42C3-BC30-68C0ADC9DB16}"/>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 name="Freeform 7">
              <a:extLst>
                <a:ext uri="{FF2B5EF4-FFF2-40B4-BE49-F238E27FC236}">
                  <a16:creationId xmlns:a16="http://schemas.microsoft.com/office/drawing/2014/main" id="{E148C66A-8C56-404E-B3CA-D463A4690B60}"/>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 name="Freeform 83">
              <a:extLst>
                <a:ext uri="{FF2B5EF4-FFF2-40B4-BE49-F238E27FC236}">
                  <a16:creationId xmlns:a16="http://schemas.microsoft.com/office/drawing/2014/main" id="{B286DFDF-9604-49BE-8835-296DA52725C2}"/>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 name="Freeform 84">
              <a:extLst>
                <a:ext uri="{FF2B5EF4-FFF2-40B4-BE49-F238E27FC236}">
                  <a16:creationId xmlns:a16="http://schemas.microsoft.com/office/drawing/2014/main" id="{536F82F0-C9F0-44DB-92D0-AD081D722539}"/>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 name="Freeform 85">
              <a:extLst>
                <a:ext uri="{FF2B5EF4-FFF2-40B4-BE49-F238E27FC236}">
                  <a16:creationId xmlns:a16="http://schemas.microsoft.com/office/drawing/2014/main" id="{FA2B1132-6E1E-42BE-841F-6DB6DA058216}"/>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 name="Freeform 86">
              <a:extLst>
                <a:ext uri="{FF2B5EF4-FFF2-40B4-BE49-F238E27FC236}">
                  <a16:creationId xmlns:a16="http://schemas.microsoft.com/office/drawing/2014/main" id="{1605D23B-3245-4081-A709-BC2936596163}"/>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 name="Freeform 87">
              <a:extLst>
                <a:ext uri="{FF2B5EF4-FFF2-40B4-BE49-F238E27FC236}">
                  <a16:creationId xmlns:a16="http://schemas.microsoft.com/office/drawing/2014/main" id="{DD1011A3-8CCE-477C-88EA-2174C0DC1BE3}"/>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 name="Freeform 88">
              <a:extLst>
                <a:ext uri="{FF2B5EF4-FFF2-40B4-BE49-F238E27FC236}">
                  <a16:creationId xmlns:a16="http://schemas.microsoft.com/office/drawing/2014/main" id="{F11F5921-88A4-48C1-B4F6-EA6717F32F9C}"/>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 name="Freeform 89">
              <a:extLst>
                <a:ext uri="{FF2B5EF4-FFF2-40B4-BE49-F238E27FC236}">
                  <a16:creationId xmlns:a16="http://schemas.microsoft.com/office/drawing/2014/main" id="{CA718F0A-66A1-4570-9BE3-D9F9EC9750B7}"/>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 name="Freeform 90">
              <a:extLst>
                <a:ext uri="{FF2B5EF4-FFF2-40B4-BE49-F238E27FC236}">
                  <a16:creationId xmlns:a16="http://schemas.microsoft.com/office/drawing/2014/main" id="{F6EAF93E-D2E6-4C24-B453-AAEAFC13E3D3}"/>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 name="Freeform 91">
              <a:extLst>
                <a:ext uri="{FF2B5EF4-FFF2-40B4-BE49-F238E27FC236}">
                  <a16:creationId xmlns:a16="http://schemas.microsoft.com/office/drawing/2014/main" id="{8D652D86-C2B9-4E83-9167-23634BE72EDC}"/>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 name="Freeform 92">
              <a:extLst>
                <a:ext uri="{FF2B5EF4-FFF2-40B4-BE49-F238E27FC236}">
                  <a16:creationId xmlns:a16="http://schemas.microsoft.com/office/drawing/2014/main" id="{92B43175-B9D1-455D-8FAE-3D2BF6571276}"/>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 name="Freeform 93">
              <a:extLst>
                <a:ext uri="{FF2B5EF4-FFF2-40B4-BE49-F238E27FC236}">
                  <a16:creationId xmlns:a16="http://schemas.microsoft.com/office/drawing/2014/main" id="{76879D52-1795-452B-AD79-74CF3084E9B6}"/>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 name="Freeform 94">
              <a:extLst>
                <a:ext uri="{FF2B5EF4-FFF2-40B4-BE49-F238E27FC236}">
                  <a16:creationId xmlns:a16="http://schemas.microsoft.com/office/drawing/2014/main" id="{C74CCD1A-A742-473F-8636-72B0E8B205FB}"/>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 name="Freeform 95">
              <a:extLst>
                <a:ext uri="{FF2B5EF4-FFF2-40B4-BE49-F238E27FC236}">
                  <a16:creationId xmlns:a16="http://schemas.microsoft.com/office/drawing/2014/main" id="{312AF483-E8B8-41EE-ABBD-CBDC6A4CA5E7}"/>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 name="Freeform 96">
              <a:extLst>
                <a:ext uri="{FF2B5EF4-FFF2-40B4-BE49-F238E27FC236}">
                  <a16:creationId xmlns:a16="http://schemas.microsoft.com/office/drawing/2014/main" id="{A6466488-2DBE-4B8B-B63D-1B2D019DF36C}"/>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 name="Freeform 97">
              <a:extLst>
                <a:ext uri="{FF2B5EF4-FFF2-40B4-BE49-F238E27FC236}">
                  <a16:creationId xmlns:a16="http://schemas.microsoft.com/office/drawing/2014/main" id="{BD5F4D07-DCEA-41C3-AE5B-B7271E672936}"/>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7" name="Freeform 98">
              <a:extLst>
                <a:ext uri="{FF2B5EF4-FFF2-40B4-BE49-F238E27FC236}">
                  <a16:creationId xmlns:a16="http://schemas.microsoft.com/office/drawing/2014/main" id="{42EEE7BD-DCD2-49F7-8A7C-C0D0601C37FD}"/>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 name="Freeform 99">
              <a:extLst>
                <a:ext uri="{FF2B5EF4-FFF2-40B4-BE49-F238E27FC236}">
                  <a16:creationId xmlns:a16="http://schemas.microsoft.com/office/drawing/2014/main" id="{5CFD22A1-E673-4B23-9D36-3B74DE70ECE2}"/>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 name="Freeform 100">
              <a:extLst>
                <a:ext uri="{FF2B5EF4-FFF2-40B4-BE49-F238E27FC236}">
                  <a16:creationId xmlns:a16="http://schemas.microsoft.com/office/drawing/2014/main" id="{7C20FD0C-F35B-4F21-AF3B-81530E295BEB}"/>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 name="Freeform 101">
              <a:extLst>
                <a:ext uri="{FF2B5EF4-FFF2-40B4-BE49-F238E27FC236}">
                  <a16:creationId xmlns:a16="http://schemas.microsoft.com/office/drawing/2014/main" id="{C68C6C2F-09B5-4244-BEBB-F85457E11A54}"/>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 name="Freeform 102">
              <a:extLst>
                <a:ext uri="{FF2B5EF4-FFF2-40B4-BE49-F238E27FC236}">
                  <a16:creationId xmlns:a16="http://schemas.microsoft.com/office/drawing/2014/main" id="{6C7F753E-CE23-4F01-9F10-DCE622C71ABB}"/>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2" name="Freeform 103">
              <a:extLst>
                <a:ext uri="{FF2B5EF4-FFF2-40B4-BE49-F238E27FC236}">
                  <a16:creationId xmlns:a16="http://schemas.microsoft.com/office/drawing/2014/main" id="{12385579-35FD-4613-ABF4-9392759FFF98}"/>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 name="Freeform 104">
              <a:extLst>
                <a:ext uri="{FF2B5EF4-FFF2-40B4-BE49-F238E27FC236}">
                  <a16:creationId xmlns:a16="http://schemas.microsoft.com/office/drawing/2014/main" id="{2BB633EA-47EC-47FB-AFB9-0C8E97548B32}"/>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 name="Freeform 105">
              <a:extLst>
                <a:ext uri="{FF2B5EF4-FFF2-40B4-BE49-F238E27FC236}">
                  <a16:creationId xmlns:a16="http://schemas.microsoft.com/office/drawing/2014/main" id="{D9F0450F-CF35-40ED-BB19-255159FDD4F0}"/>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Tree>
    <p:extLst>
      <p:ext uri="{BB962C8B-B14F-4D97-AF65-F5344CB8AC3E}">
        <p14:creationId xmlns:p14="http://schemas.microsoft.com/office/powerpoint/2010/main" val="538455331"/>
      </p:ext>
    </p:extLst>
  </p:cSld>
  <p:clrMapOvr>
    <a:masterClrMapping/>
  </p:clrMapOvr>
  <p:extLst>
    <p:ext uri="{DCECCB84-F9BA-43D5-87BE-67443E8EF086}">
      <p15:sldGuideLst xmlns:p15="http://schemas.microsoft.com/office/powerpoint/2012/main">
        <p15:guide id="1" orient="horz" pos="4200" userDrawn="1">
          <p15:clr>
            <a:srgbClr val="FBAE40"/>
          </p15:clr>
        </p15:guide>
        <p15:guide id="2" pos="504" userDrawn="1">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2_FIAM_External_Print_Cover">
    <p:spTree>
      <p:nvGrpSpPr>
        <p:cNvPr id="1" name=""/>
        <p:cNvGrpSpPr/>
        <p:nvPr/>
      </p:nvGrpSpPr>
      <p:grpSpPr>
        <a:xfrm>
          <a:off x="0" y="0"/>
          <a:ext cx="0" cy="0"/>
          <a:chOff x="0" y="0"/>
          <a:chExt cx="0" cy="0"/>
        </a:xfrm>
      </p:grpSpPr>
      <p:pic>
        <p:nvPicPr>
          <p:cNvPr id="45" name="Picture 4" descr="C:\Users\a216024\Desktop\stuff\_PPT_107\PowerPoint_Templates_Samples\_10x7.5_Templates\NEW_FIAM\Covers_secondary_slides\2-7_Covers\LightGray_grayscale.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12688" b="17606"/>
          <a:stretch/>
        </p:blipFill>
        <p:spPr bwMode="auto">
          <a:xfrm>
            <a:off x="0" y="0"/>
            <a:ext cx="9144000" cy="3646714"/>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5" descr="C:\Users\a216024\Desktop\stuff\_PPT_107\PowerPoint_Templates_Samples\_10x7.5_Templates\NEW_FIAM\Covers_secondary_slides\2-7_Covers\ColorBar.png"/>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l="1379" r="1716"/>
          <a:stretch/>
        </p:blipFill>
        <p:spPr bwMode="auto">
          <a:xfrm>
            <a:off x="0" y="3481388"/>
            <a:ext cx="9144000" cy="219075"/>
          </a:xfrm>
          <a:prstGeom prst="rect">
            <a:avLst/>
          </a:prstGeom>
          <a:noFill/>
          <a:extLst>
            <a:ext uri="{909E8E84-426E-40DD-AFC4-6F175D3DCCD1}">
              <a14:hiddenFill xmlns:a14="http://schemas.microsoft.com/office/drawing/2010/main">
                <a:solidFill>
                  <a:srgbClr val="FFFFFF"/>
                </a:solidFill>
              </a14:hiddenFill>
            </a:ext>
          </a:extLst>
        </p:spPr>
      </p:pic>
      <p:grpSp>
        <p:nvGrpSpPr>
          <p:cNvPr id="80" name="Group 79"/>
          <p:cNvGrpSpPr/>
          <p:nvPr userDrawn="1"/>
        </p:nvGrpSpPr>
        <p:grpSpPr>
          <a:xfrm>
            <a:off x="6970734" y="6128901"/>
            <a:ext cx="1839928" cy="396052"/>
            <a:chOff x="6923088" y="4475163"/>
            <a:chExt cx="1873251" cy="403225"/>
          </a:xfrm>
        </p:grpSpPr>
        <p:sp>
          <p:nvSpPr>
            <p:cNvPr id="81" name="AutoShape 4"/>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82" name="Freeform 6"/>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83" name="Freeform 7"/>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84" name="Freeform 83"/>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85" name="Freeform 84"/>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86" name="Freeform 85"/>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87" name="Freeform 86"/>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88" name="Freeform 87"/>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89" name="Freeform 88"/>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0" name="Freeform 89"/>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1" name="Freeform 90"/>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2" name="Freeform 91"/>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3" name="Freeform 92"/>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4" name="Freeform 93"/>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5" name="Freeform 94"/>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6" name="Freeform 95"/>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7" name="Freeform 96"/>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8" name="Freeform 97"/>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9" name="Freeform 98"/>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00" name="Freeform 99"/>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01" name="Freeform 100"/>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02" name="Freeform 101"/>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03" name="Freeform 102"/>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04" name="Freeform 103"/>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05" name="Freeform 104"/>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06" name="Freeform 105"/>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grpSp>
      <p:sp>
        <p:nvSpPr>
          <p:cNvPr id="44" name="Text Placeholder 43"/>
          <p:cNvSpPr>
            <a:spLocks noGrp="1"/>
          </p:cNvSpPr>
          <p:nvPr>
            <p:ph type="body" sz="quarter" idx="10"/>
          </p:nvPr>
        </p:nvSpPr>
        <p:spPr>
          <a:xfrm>
            <a:off x="715495" y="3833787"/>
            <a:ext cx="2455544" cy="332365"/>
          </a:xfrm>
        </p:spPr>
        <p:txBody>
          <a:bodyPr/>
          <a:lstStyle>
            <a:lvl1pPr>
              <a:defRPr lang="en-US" sz="1000" b="0" kern="1200" smtClean="0">
                <a:solidFill>
                  <a:srgbClr val="000000"/>
                </a:solidFill>
                <a:latin typeface="Arial"/>
                <a:ea typeface="ＭＳ Ｐゴシック"/>
                <a:cs typeface="ＭＳ Ｐゴシック"/>
              </a:defRPr>
            </a:lvl1pPr>
          </a:lstStyle>
          <a:p>
            <a:pPr lvl="0"/>
            <a:r>
              <a:rPr lang="en-US"/>
              <a:t>Click to edit Master text styles</a:t>
            </a:r>
          </a:p>
        </p:txBody>
      </p:sp>
      <p:sp>
        <p:nvSpPr>
          <p:cNvPr id="53" name="Content Placeholder 52"/>
          <p:cNvSpPr>
            <a:spLocks noGrp="1"/>
          </p:cNvSpPr>
          <p:nvPr>
            <p:ph sz="quarter" idx="12"/>
          </p:nvPr>
        </p:nvSpPr>
        <p:spPr>
          <a:xfrm>
            <a:off x="6280150" y="3842381"/>
            <a:ext cx="2487613" cy="165226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47" name="Rectangle 176"/>
          <p:cNvSpPr>
            <a:spLocks noGrp="1" noChangeArrowheads="1"/>
          </p:cNvSpPr>
          <p:nvPr>
            <p:ph type="ftr" sz="quarter" idx="13"/>
          </p:nvPr>
        </p:nvSpPr>
        <p:spPr>
          <a:xfrm>
            <a:off x="281401" y="5877558"/>
            <a:ext cx="6014623" cy="260350"/>
          </a:xfrm>
          <a:prstGeom prst="rect">
            <a:avLst/>
          </a:prstGeom>
        </p:spPr>
        <p:txBody>
          <a:bodyPr anchor="b" anchorCtr="0"/>
          <a:lstStyle>
            <a:lvl1pPr algn="l">
              <a:defRPr sz="800" b="0" smtClean="0">
                <a:solidFill>
                  <a:srgbClr val="000000"/>
                </a:solidFill>
              </a:defRPr>
            </a:lvl1pPr>
          </a:lstStyle>
          <a:p>
            <a:pPr>
              <a:defRPr/>
            </a:pPr>
            <a:r>
              <a:rPr lang="en-US" b="1" dirty="0"/>
              <a:t>For institutional use only.</a:t>
            </a:r>
          </a:p>
        </p:txBody>
      </p:sp>
      <p:sp>
        <p:nvSpPr>
          <p:cNvPr id="72" name="Rectangle 6"/>
          <p:cNvSpPr>
            <a:spLocks noGrp="1" noChangeArrowheads="1"/>
          </p:cNvSpPr>
          <p:nvPr>
            <p:ph type="subTitle" idx="1"/>
          </p:nvPr>
        </p:nvSpPr>
        <p:spPr>
          <a:xfrm>
            <a:off x="685251" y="2091765"/>
            <a:ext cx="7805762" cy="563076"/>
          </a:xfrm>
        </p:spPr>
        <p:txBody>
          <a:bodyPr lIns="100584" rIns="100584"/>
          <a:lstStyle>
            <a:lvl1pPr marL="0" indent="0">
              <a:spcBef>
                <a:spcPts val="0"/>
              </a:spcBef>
              <a:defRPr sz="2000" b="0">
                <a:solidFill>
                  <a:srgbClr val="7A9B3D"/>
                </a:solidFill>
              </a:defRPr>
            </a:lvl1pPr>
          </a:lstStyle>
          <a:p>
            <a:r>
              <a:rPr lang="en-US"/>
              <a:t>Click to edit Master subtitle style</a:t>
            </a:r>
            <a:endParaRPr lang="en-US" dirty="0"/>
          </a:p>
        </p:txBody>
      </p:sp>
      <p:sp>
        <p:nvSpPr>
          <p:cNvPr id="74" name="Text Placeholder 43"/>
          <p:cNvSpPr>
            <a:spLocks noGrp="1"/>
          </p:cNvSpPr>
          <p:nvPr>
            <p:ph type="body" sz="quarter" idx="14" hasCustomPrompt="1"/>
          </p:nvPr>
        </p:nvSpPr>
        <p:spPr>
          <a:xfrm>
            <a:off x="685251" y="2581276"/>
            <a:ext cx="7805762" cy="266850"/>
          </a:xfrm>
        </p:spPr>
        <p:txBody>
          <a:bodyPr lIns="100584" rIns="100584"/>
          <a:lstStyle>
            <a:lvl1pPr>
              <a:spcBef>
                <a:spcPts val="0"/>
              </a:spcBef>
              <a:defRPr lang="en-US" sz="1200" b="0" kern="1200" dirty="0" smtClean="0">
                <a:solidFill>
                  <a:srgbClr val="333F48"/>
                </a:solidFill>
                <a:latin typeface="Arial"/>
                <a:ea typeface="ＭＳ Ｐゴシック" pitchFamily="34" charset="-128"/>
                <a:cs typeface="+mn-cs"/>
              </a:defRPr>
            </a:lvl1pPr>
          </a:lstStyle>
          <a:p>
            <a:pPr lvl="0"/>
            <a:r>
              <a:rPr lang="en-US" dirty="0"/>
              <a:t>Date</a:t>
            </a:r>
          </a:p>
        </p:txBody>
      </p:sp>
      <p:sp>
        <p:nvSpPr>
          <p:cNvPr id="39" name="Rectangle 9"/>
          <p:cNvSpPr>
            <a:spLocks noGrp="1" noChangeArrowheads="1"/>
          </p:cNvSpPr>
          <p:nvPr>
            <p:ph type="title" hasCustomPrompt="1"/>
          </p:nvPr>
        </p:nvSpPr>
        <p:spPr bwMode="auto">
          <a:xfrm>
            <a:off x="685252" y="1581072"/>
            <a:ext cx="7820573" cy="5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b" anchorCtr="0" compatLnSpc="1">
            <a:prstTxWarp prst="textNoShape">
              <a:avLst/>
            </a:prstTxWarp>
          </a:bodyPr>
          <a:lstStyle>
            <a:lvl1pPr>
              <a:defRPr sz="3000">
                <a:solidFill>
                  <a:schemeClr val="bg2"/>
                </a:solidFill>
              </a:defRPr>
            </a:lvl1pPr>
          </a:lstStyle>
          <a:p>
            <a:pPr lvl="0"/>
            <a:r>
              <a:rPr lang="en-US" altLang="en-US" dirty="0"/>
              <a:t>Click To Edit Master Title Style</a:t>
            </a:r>
          </a:p>
        </p:txBody>
      </p:sp>
      <p:sp>
        <p:nvSpPr>
          <p:cNvPr id="49" name="Text Box 15"/>
          <p:cNvSpPr txBox="1">
            <a:spLocks noChangeArrowheads="1"/>
          </p:cNvSpPr>
          <p:nvPr userDrawn="1"/>
        </p:nvSpPr>
        <p:spPr bwMode="ltGray">
          <a:xfrm>
            <a:off x="383501" y="5535090"/>
            <a:ext cx="2868716" cy="184652"/>
          </a:xfrm>
          <a:prstGeom prst="rect">
            <a:avLst/>
          </a:prstGeom>
          <a:noFill/>
          <a:ln w="9525">
            <a:solidFill>
              <a:srgbClr val="000000"/>
            </a:solidFill>
            <a:miter lim="800000"/>
            <a:headEnd/>
            <a:tailEnd/>
          </a:ln>
        </p:spPr>
        <p:txBody>
          <a:bodyPr wrap="none" lIns="45711" tIns="45711" rIns="45711" bIns="27427" anchor="ctr">
            <a:spAutoFit/>
          </a:bodyP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nSpc>
                <a:spcPct val="90000"/>
              </a:lnSpc>
              <a:defRPr/>
            </a:pPr>
            <a:r>
              <a:rPr lang="en-US" sz="800" b="1" kern="0" dirty="0">
                <a:solidFill>
                  <a:srgbClr val="000000"/>
                </a:solidFill>
                <a:latin typeface="Arial"/>
              </a:rPr>
              <a:t>Not FDIC Insured </a:t>
            </a:r>
            <a:r>
              <a:rPr lang="en-US" sz="800" b="1" kern="0" dirty="0">
                <a:solidFill>
                  <a:srgbClr val="000000"/>
                </a:solidFill>
                <a:latin typeface="Arial"/>
                <a:sym typeface="Wingdings" pitchFamily="2" charset="2"/>
              </a:rPr>
              <a:t> May Lose Value  No Bank Guarantee</a:t>
            </a:r>
          </a:p>
        </p:txBody>
      </p:sp>
    </p:spTree>
    <p:extLst>
      <p:ext uri="{BB962C8B-B14F-4D97-AF65-F5344CB8AC3E}">
        <p14:creationId xmlns:p14="http://schemas.microsoft.com/office/powerpoint/2010/main" val="453040391"/>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2_TOC/Agenda">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a:noFill/>
          <a:ln w="9525">
            <a:noFill/>
            <a:miter lim="800000"/>
            <a:headEnd/>
            <a:tailEnd/>
          </a:ln>
          <a:effectLst/>
        </p:spPr>
        <p:txBody>
          <a:bodyPr tIns="45720" anchor="t" anchorCtr="0"/>
          <a:lstStyle>
            <a:lvl1pPr>
              <a:defRPr kumimoji="0" lang="en-US" sz="2400" b="0" i="0" u="none" strike="noStrike" kern="0" cap="none" spc="0" normalizeH="0" baseline="0" noProof="0" dirty="0">
                <a:ln>
                  <a:noFill/>
                </a:ln>
                <a:solidFill>
                  <a:srgbClr val="333F48"/>
                </a:solidFill>
                <a:effectLst/>
                <a:uLnTx/>
                <a:uFillTx/>
                <a:latin typeface="+mj-lt"/>
                <a:ea typeface="+mj-ea"/>
                <a:cs typeface="+mj-cs"/>
              </a:defRPr>
            </a:lvl1pPr>
          </a:lstStyle>
          <a:p>
            <a:pPr lvl="0"/>
            <a:r>
              <a:rPr lang="en-US"/>
              <a:t>Click to edit Master title style</a:t>
            </a:r>
            <a:endParaRPr lang="en-US" dirty="0"/>
          </a:p>
        </p:txBody>
      </p:sp>
      <p:sp>
        <p:nvSpPr>
          <p:cNvPr id="10" name="Content Placeholder 9"/>
          <p:cNvSpPr>
            <a:spLocks noGrp="1"/>
          </p:cNvSpPr>
          <p:nvPr>
            <p:ph sz="quarter" idx="13"/>
          </p:nvPr>
        </p:nvSpPr>
        <p:spPr>
          <a:xfrm>
            <a:off x="317115" y="1339850"/>
            <a:ext cx="8188710" cy="4878388"/>
          </a:xfrm>
        </p:spPr>
        <p:txBody>
          <a:bodyPr/>
          <a:lstStyle>
            <a:lvl1pPr marL="227013" indent="-227013">
              <a:spcBef>
                <a:spcPts val="600"/>
              </a:spcBef>
              <a:buClr>
                <a:srgbClr val="7A9B3D"/>
              </a:buClr>
              <a:buSzPct val="100000"/>
              <a:buFont typeface="+mj-lt"/>
              <a:buAutoNum type="arabicPeriod"/>
              <a:defRPr sz="1400" b="0" i="0" baseline="0">
                <a:solidFill>
                  <a:srgbClr val="000000"/>
                </a:solidFill>
                <a:latin typeface="Arial" pitchFamily="34" charset="0"/>
              </a:defRPr>
            </a:lvl1pPr>
            <a:lvl2pPr marL="461963" indent="-217488">
              <a:spcBef>
                <a:spcPts val="600"/>
              </a:spcBef>
              <a:buClr>
                <a:srgbClr val="768692"/>
              </a:buClr>
              <a:buFont typeface="+mj-lt"/>
              <a:buAutoNum type="alphaUcPeriod"/>
              <a:defRPr sz="1200" baseline="0">
                <a:solidFill>
                  <a:srgbClr val="000000"/>
                </a:solidFill>
                <a:latin typeface="Arial" pitchFamily="34" charset="0"/>
              </a:defRPr>
            </a:lvl2pPr>
            <a:lvl3pPr>
              <a:spcBef>
                <a:spcPts val="600"/>
              </a:spcBef>
              <a:buClr>
                <a:srgbClr val="000000"/>
              </a:buClr>
              <a:defRPr baseline="0">
                <a:solidFill>
                  <a:srgbClr val="000000"/>
                </a:solidFill>
              </a:defRPr>
            </a:lvl3pPr>
          </a:lstStyle>
          <a:p>
            <a:pPr lvl="0"/>
            <a:r>
              <a:rPr lang="en-US"/>
              <a:t>Click to edit Master text styles</a:t>
            </a:r>
          </a:p>
          <a:p>
            <a:pPr lvl="1"/>
            <a:r>
              <a:rPr lang="en-US"/>
              <a:t>Second level</a:t>
            </a:r>
          </a:p>
          <a:p>
            <a:pPr lvl="2"/>
            <a:r>
              <a:rPr lang="en-US"/>
              <a:t>Third level</a:t>
            </a:r>
          </a:p>
        </p:txBody>
      </p:sp>
      <p:sp>
        <p:nvSpPr>
          <p:cNvPr id="5"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 name="Footer Placeholder 4"/>
          <p:cNvSpPr>
            <a:spLocks noGrp="1"/>
          </p:cNvSpPr>
          <p:nvPr>
            <p:ph type="ftr" sz="quarter" idx="15"/>
          </p:nvPr>
        </p:nvSpPr>
        <p:spPr>
          <a:xfrm>
            <a:off x="320040" y="6483290"/>
            <a:ext cx="3933825" cy="172486"/>
          </a:xfrm>
          <a:prstGeom prst="rect">
            <a:avLst/>
          </a:prstGeom>
        </p:spPr>
        <p:txBody>
          <a:bodyPr/>
          <a:lstStyle>
            <a:lvl1pPr algn="r">
              <a:defRPr smtClean="0">
                <a:solidFill>
                  <a:srgbClr val="000000"/>
                </a:solidFill>
              </a:defRPr>
            </a:lvl1pPr>
          </a:lstStyle>
          <a:p>
            <a:pPr algn="l">
              <a:defRPr/>
            </a:pPr>
            <a:r>
              <a:rPr lang="en-US" sz="1800" dirty="0"/>
              <a:t>For institutional use only.</a:t>
            </a:r>
          </a:p>
        </p:txBody>
      </p:sp>
      <p:sp>
        <p:nvSpPr>
          <p:cNvPr id="7"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endParaRPr lang="en-US" dirty="0"/>
          </a:p>
        </p:txBody>
      </p:sp>
      <p:grpSp>
        <p:nvGrpSpPr>
          <p:cNvPr id="8" name="Group 7"/>
          <p:cNvGrpSpPr/>
          <p:nvPr userDrawn="1"/>
        </p:nvGrpSpPr>
        <p:grpSpPr>
          <a:xfrm>
            <a:off x="7364320" y="6412511"/>
            <a:ext cx="1371600" cy="283464"/>
            <a:chOff x="4291013" y="3178175"/>
            <a:chExt cx="3197225" cy="688975"/>
          </a:xfrm>
        </p:grpSpPr>
        <p:sp>
          <p:nvSpPr>
            <p:cNvPr id="9"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1"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2"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3"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4"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5"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6"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7"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8"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9"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0"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1"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2"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3"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4"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5"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6"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7"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8"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9"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0"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1"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2"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3"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4"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grpSp>
    </p:spTree>
    <p:extLst>
      <p:ext uri="{BB962C8B-B14F-4D97-AF65-F5344CB8AC3E}">
        <p14:creationId xmlns:p14="http://schemas.microsoft.com/office/powerpoint/2010/main" val="396351052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lvl1pPr>
              <a:defRPr>
                <a:solidFill>
                  <a:srgbClr val="333F48"/>
                </a:solidFill>
              </a:defRPr>
            </a:lvl1pPr>
          </a:lstStyle>
          <a:p>
            <a:r>
              <a:rPr lang="en-US"/>
              <a:t>Click to edit Master title style</a:t>
            </a:r>
            <a:endParaRPr lang="en-US" dirty="0"/>
          </a:p>
        </p:txBody>
      </p:sp>
      <p:sp>
        <p:nvSpPr>
          <p:cNvPr id="9"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endParaRPr lang="en-US" dirty="0"/>
          </a:p>
        </p:txBody>
      </p:sp>
      <p:sp>
        <p:nvSpPr>
          <p:cNvPr id="36"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284499138"/>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p>
            <a:r>
              <a:rPr lang="en-US"/>
              <a:t>Click to edit Master title style</a:t>
            </a:r>
            <a:endParaRPr lang="en-US" dirty="0"/>
          </a:p>
        </p:txBody>
      </p:sp>
      <p:sp>
        <p:nvSpPr>
          <p:cNvPr id="7" name="Content Placeholder 2"/>
          <p:cNvSpPr>
            <a:spLocks noGrp="1"/>
          </p:cNvSpPr>
          <p:nvPr>
            <p:ph idx="13"/>
          </p:nvPr>
        </p:nvSpPr>
        <p:spPr>
          <a:xfrm>
            <a:off x="317115" y="1339850"/>
            <a:ext cx="8188710" cy="4878388"/>
          </a:xfrm>
        </p:spPr>
        <p:txBody>
          <a:bodyPr lIns="91440"/>
          <a:lstStyle>
            <a:lvl1pPr marL="0" indent="0" algn="l" rtl="0" fontAlgn="base">
              <a:spcBef>
                <a:spcPts val="480"/>
              </a:spcBef>
              <a:spcAft>
                <a:spcPct val="0"/>
              </a:spcAft>
              <a:buSzPct val="40000"/>
              <a:defRPr lang="en-US" sz="1600" b="1" dirty="0" smtClean="0">
                <a:solidFill>
                  <a:schemeClr val="accent3"/>
                </a:solidFill>
                <a:latin typeface="+mn-lt"/>
                <a:ea typeface="+mn-ea"/>
                <a:cs typeface="+mn-cs"/>
              </a:defRPr>
            </a:lvl1pPr>
            <a:lvl2pPr>
              <a:spcBef>
                <a:spcPts val="2000"/>
              </a:spcBef>
              <a:defRPr lang="en-US" dirty="0" smtClean="0">
                <a:solidFill>
                  <a:schemeClr val="tx1"/>
                </a:solidFill>
                <a:latin typeface="+mn-lt"/>
              </a:defRPr>
            </a:lvl2pPr>
            <a:lvl3pPr>
              <a:defRPr lang="en-US" sz="1600" dirty="0" smtClean="0">
                <a:solidFill>
                  <a:schemeClr val="accent1"/>
                </a:solidFill>
                <a:latin typeface="+mn-lt"/>
              </a:defRPr>
            </a:lvl3pPr>
            <a:lvl4pPr>
              <a:buClr>
                <a:schemeClr val="bg2"/>
              </a:buClr>
              <a:buSzPct val="80000"/>
              <a:buFont typeface="Arial" pitchFamily="34" charset="0"/>
              <a:buChar char="•"/>
              <a:defRPr sz="1400">
                <a:solidFill>
                  <a:schemeClr val="accent1"/>
                </a:solidFill>
              </a:defRPr>
            </a:lvl4pPr>
          </a:lstStyle>
          <a:p>
            <a:pPr lvl="0"/>
            <a:r>
              <a:rPr lang="en-US"/>
              <a:t>Click to edit Master text styles</a:t>
            </a:r>
          </a:p>
        </p:txBody>
      </p:sp>
      <p:sp>
        <p:nvSpPr>
          <p:cNvPr id="11"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endParaRPr lang="en-US" dirty="0"/>
          </a:p>
        </p:txBody>
      </p:sp>
      <p:grpSp>
        <p:nvGrpSpPr>
          <p:cNvPr id="12" name="Group 11"/>
          <p:cNvGrpSpPr/>
          <p:nvPr userDrawn="1"/>
        </p:nvGrpSpPr>
        <p:grpSpPr>
          <a:xfrm>
            <a:off x="7364320" y="6412511"/>
            <a:ext cx="1371600" cy="283464"/>
            <a:chOff x="4291013" y="3178175"/>
            <a:chExt cx="3197225" cy="688975"/>
          </a:xfrm>
        </p:grpSpPr>
        <p:sp>
          <p:nvSpPr>
            <p:cNvPr id="13"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4"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5"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6"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7"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8"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9"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0"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1"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2"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3"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4"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5"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6"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7"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8"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9"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0"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1"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2"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3"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4"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5"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6"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7"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grpSp>
      <p:sp>
        <p:nvSpPr>
          <p:cNvPr id="38"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217269654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3_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41248"/>
          </a:xfrm>
        </p:spPr>
        <p:txBody>
          <a:bodyPr/>
          <a:lstStyle>
            <a:lvl1pPr>
              <a:defRPr>
                <a:solidFill>
                  <a:srgbClr val="333F48"/>
                </a:solidFill>
              </a:defRPr>
            </a:lvl1pPr>
          </a:lstStyle>
          <a:p>
            <a:r>
              <a:rPr lang="en-US"/>
              <a:t>Click to edit Master title style</a:t>
            </a:r>
            <a:endParaRPr lang="en-US" dirty="0"/>
          </a:p>
        </p:txBody>
      </p:sp>
      <p:sp>
        <p:nvSpPr>
          <p:cNvPr id="11" name="Content Placeholder 2"/>
          <p:cNvSpPr>
            <a:spLocks noGrp="1"/>
          </p:cNvSpPr>
          <p:nvPr>
            <p:ph idx="12"/>
          </p:nvPr>
        </p:nvSpPr>
        <p:spPr>
          <a:xfrm>
            <a:off x="317115" y="1339850"/>
            <a:ext cx="8188710" cy="4878388"/>
          </a:xfrm>
        </p:spPr>
        <p:txBody>
          <a:bodyPr lIns="91440"/>
          <a:lstStyle>
            <a:lvl1pPr marL="0" indent="0" algn="l" rtl="0" fontAlgn="base">
              <a:spcBef>
                <a:spcPts val="480"/>
              </a:spcBef>
              <a:spcAft>
                <a:spcPct val="0"/>
              </a:spcAft>
              <a:buSzPct val="40000"/>
              <a:defRPr lang="en-US" sz="1600" b="1" dirty="0" smtClean="0">
                <a:solidFill>
                  <a:srgbClr val="7A9B3D"/>
                </a:solidFill>
                <a:latin typeface="+mn-lt"/>
                <a:ea typeface="+mn-ea"/>
                <a:cs typeface="+mn-cs"/>
              </a:defRPr>
            </a:lvl1pPr>
            <a:lvl2pPr marL="114300" indent="-114300">
              <a:spcBef>
                <a:spcPts val="288"/>
              </a:spcBef>
              <a:buClr>
                <a:srgbClr val="7A9B3D"/>
              </a:buClr>
              <a:defRPr lang="en-US" dirty="0" smtClean="0">
                <a:solidFill>
                  <a:srgbClr val="000000"/>
                </a:solidFill>
                <a:latin typeface="+mn-lt"/>
              </a:defRPr>
            </a:lvl2pPr>
            <a:lvl3pPr marL="228600" indent="-114300">
              <a:buClr>
                <a:srgbClr val="768692"/>
              </a:buClr>
              <a:defRPr lang="en-US" sz="1200" dirty="0" smtClean="0">
                <a:solidFill>
                  <a:srgbClr val="000000"/>
                </a:solidFill>
                <a:latin typeface="+mn-lt"/>
              </a:defRPr>
            </a:lvl3pPr>
            <a:lvl4pPr marL="342900" indent="-114300">
              <a:buClr>
                <a:srgbClr val="000000"/>
              </a:buClr>
              <a:buSzPct val="100000"/>
              <a:buFont typeface="Arial" pitchFamily="34" charset="0"/>
              <a:buChar char="•"/>
              <a:defRPr sz="1200">
                <a:solidFill>
                  <a:srgbClr val="000000"/>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Footer Placeholder 4"/>
          <p:cNvSpPr>
            <a:spLocks noGrp="1"/>
          </p:cNvSpPr>
          <p:nvPr>
            <p:ph type="ftr" sz="quarter" idx="15"/>
          </p:nvPr>
        </p:nvSpPr>
        <p:spPr>
          <a:xfrm>
            <a:off x="320040" y="6483290"/>
            <a:ext cx="3933825" cy="172486"/>
          </a:xfrm>
          <a:prstGeom prst="rect">
            <a:avLst/>
          </a:prstGeom>
        </p:spPr>
        <p:txBody>
          <a:bodyPr/>
          <a:lstStyle>
            <a:lvl1pPr algn="r">
              <a:defRPr smtClean="0">
                <a:solidFill>
                  <a:srgbClr val="000000"/>
                </a:solidFill>
              </a:defRPr>
            </a:lvl1pPr>
          </a:lstStyle>
          <a:p>
            <a:pPr algn="l">
              <a:defRPr/>
            </a:pPr>
            <a:r>
              <a:rPr lang="en-US" sz="1800" dirty="0"/>
              <a:t>For institutional use only.</a:t>
            </a:r>
          </a:p>
        </p:txBody>
      </p:sp>
      <p:sp>
        <p:nvSpPr>
          <p:cNvPr id="13"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endParaRPr lang="en-US" dirty="0"/>
          </a:p>
        </p:txBody>
      </p:sp>
      <p:grpSp>
        <p:nvGrpSpPr>
          <p:cNvPr id="14" name="Group 13"/>
          <p:cNvGrpSpPr/>
          <p:nvPr userDrawn="1"/>
        </p:nvGrpSpPr>
        <p:grpSpPr>
          <a:xfrm>
            <a:off x="7364320" y="6412511"/>
            <a:ext cx="1371600" cy="283464"/>
            <a:chOff x="4291013" y="3178175"/>
            <a:chExt cx="3197225" cy="688975"/>
          </a:xfrm>
        </p:grpSpPr>
        <p:sp>
          <p:nvSpPr>
            <p:cNvPr id="15"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6"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7"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8"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9"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0"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1"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2"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3"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4"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5"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6"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7"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8"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9"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0"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1"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2"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3"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4"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5"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6"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7"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8"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9"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grpSp>
      <p:sp>
        <p:nvSpPr>
          <p:cNvPr id="40"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264612456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_Bulleted List - with subhead">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41248"/>
          </a:xfrm>
        </p:spPr>
        <p:txBody>
          <a:bodyPr/>
          <a:lstStyle/>
          <a:p>
            <a:r>
              <a:rPr lang="en-US"/>
              <a:t>Click to edit Master title style</a:t>
            </a:r>
            <a:endParaRPr lang="en-US" dirty="0"/>
          </a:p>
        </p:txBody>
      </p:sp>
      <p:sp>
        <p:nvSpPr>
          <p:cNvPr id="11" name="Content Placeholder 2"/>
          <p:cNvSpPr>
            <a:spLocks noGrp="1"/>
          </p:cNvSpPr>
          <p:nvPr>
            <p:ph idx="12"/>
          </p:nvPr>
        </p:nvSpPr>
        <p:spPr>
          <a:xfrm>
            <a:off x="317115" y="1339850"/>
            <a:ext cx="8188710" cy="4878388"/>
          </a:xfrm>
        </p:spPr>
        <p:txBody>
          <a:bodyPr lIns="91440"/>
          <a:lstStyle>
            <a:lvl1pPr marL="0" indent="0" algn="l" rtl="0" fontAlgn="base">
              <a:spcBef>
                <a:spcPts val="480"/>
              </a:spcBef>
              <a:spcAft>
                <a:spcPct val="0"/>
              </a:spcAft>
              <a:buSzPct val="40000"/>
              <a:defRPr lang="en-US" sz="1600" b="1" dirty="0" smtClean="0">
                <a:solidFill>
                  <a:srgbClr val="7A9B3D"/>
                </a:solidFill>
                <a:latin typeface="+mn-lt"/>
                <a:ea typeface="+mn-ea"/>
                <a:cs typeface="+mn-cs"/>
              </a:defRPr>
            </a:lvl1pPr>
            <a:lvl2pPr marL="114300" indent="-114300">
              <a:spcBef>
                <a:spcPts val="288"/>
              </a:spcBef>
              <a:buClr>
                <a:srgbClr val="7A9B3D"/>
              </a:buClr>
              <a:defRPr lang="en-US" dirty="0" smtClean="0">
                <a:solidFill>
                  <a:srgbClr val="000000"/>
                </a:solidFill>
                <a:latin typeface="+mn-lt"/>
              </a:defRPr>
            </a:lvl2pPr>
            <a:lvl3pPr marL="228600" indent="-114300">
              <a:buClr>
                <a:srgbClr val="768692"/>
              </a:buClr>
              <a:defRPr lang="en-US" sz="1200" dirty="0" smtClean="0">
                <a:solidFill>
                  <a:srgbClr val="000000"/>
                </a:solidFill>
                <a:latin typeface="+mn-lt"/>
              </a:defRPr>
            </a:lvl3pPr>
            <a:lvl4pPr marL="342900" indent="-114300">
              <a:buClr>
                <a:srgbClr val="000000"/>
              </a:buClr>
              <a:buSzPct val="100000"/>
              <a:buFont typeface="Arial" pitchFamily="34" charset="0"/>
              <a:buChar char="•"/>
              <a:defRPr sz="1200">
                <a:solidFill>
                  <a:srgbClr val="000000"/>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Footer Placeholder 4"/>
          <p:cNvSpPr>
            <a:spLocks noGrp="1"/>
          </p:cNvSpPr>
          <p:nvPr>
            <p:ph type="ftr" sz="quarter" idx="15"/>
          </p:nvPr>
        </p:nvSpPr>
        <p:spPr>
          <a:xfrm>
            <a:off x="320040" y="6483290"/>
            <a:ext cx="3933825" cy="172486"/>
          </a:xfrm>
          <a:prstGeom prst="rect">
            <a:avLst/>
          </a:prstGeom>
        </p:spPr>
        <p:txBody>
          <a:bodyPr/>
          <a:lstStyle>
            <a:lvl1pPr algn="r">
              <a:defRPr smtClean="0">
                <a:solidFill>
                  <a:srgbClr val="000000"/>
                </a:solidFill>
              </a:defRPr>
            </a:lvl1pPr>
          </a:lstStyle>
          <a:p>
            <a:pPr algn="l">
              <a:defRPr/>
            </a:pPr>
            <a:r>
              <a:rPr lang="en-US" sz="1800" dirty="0"/>
              <a:t>For institutional use only.</a:t>
            </a:r>
          </a:p>
        </p:txBody>
      </p:sp>
      <p:sp>
        <p:nvSpPr>
          <p:cNvPr id="13"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endParaRPr lang="en-US" dirty="0"/>
          </a:p>
        </p:txBody>
      </p:sp>
      <p:grpSp>
        <p:nvGrpSpPr>
          <p:cNvPr id="14" name="Group 13"/>
          <p:cNvGrpSpPr/>
          <p:nvPr userDrawn="1"/>
        </p:nvGrpSpPr>
        <p:grpSpPr>
          <a:xfrm>
            <a:off x="7364320" y="6412511"/>
            <a:ext cx="1371600" cy="283464"/>
            <a:chOff x="4291013" y="3178175"/>
            <a:chExt cx="3197225" cy="688975"/>
          </a:xfrm>
        </p:grpSpPr>
        <p:sp>
          <p:nvSpPr>
            <p:cNvPr id="15"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6"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7"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8"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9"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0"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1"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2"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3"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4"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5"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6"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7"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8"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9"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0"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1"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2"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3"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4"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5"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6"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7"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8"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9"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grpSp>
      <p:sp>
        <p:nvSpPr>
          <p:cNvPr id="40"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91514256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2_Important Information">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lvl1pPr>
              <a:defRPr>
                <a:solidFill>
                  <a:srgbClr val="333F48"/>
                </a:solidFill>
              </a:defRPr>
            </a:lvl1pPr>
          </a:lstStyle>
          <a:p>
            <a:r>
              <a:rPr lang="en-US"/>
              <a:t>Click to edit Master title style</a:t>
            </a:r>
            <a:endParaRPr lang="en-US" dirty="0"/>
          </a:p>
        </p:txBody>
      </p:sp>
      <p:sp>
        <p:nvSpPr>
          <p:cNvPr id="3" name="Content Placeholder 2"/>
          <p:cNvSpPr>
            <a:spLocks noGrp="1"/>
          </p:cNvSpPr>
          <p:nvPr>
            <p:ph idx="1"/>
          </p:nvPr>
        </p:nvSpPr>
        <p:spPr>
          <a:xfrm>
            <a:off x="317115" y="1076325"/>
            <a:ext cx="8188710" cy="4808538"/>
          </a:xfrm>
          <a:noFill/>
          <a:ln w="9525">
            <a:noFill/>
            <a:miter lim="800000"/>
            <a:headEnd/>
            <a:tailEnd/>
          </a:ln>
          <a:effectLst/>
        </p:spPr>
        <p:txBody>
          <a:bodyPr lIns="91440"/>
          <a:lstStyle>
            <a:lvl1pPr marL="0" indent="0" algn="l" rtl="0" eaLnBrk="1" fontAlgn="base" hangingPunct="1">
              <a:spcAft>
                <a:spcPct val="0"/>
              </a:spcAft>
              <a:buSzPct val="40000"/>
              <a:defRPr lang="en-US" sz="1000" b="0" dirty="0" smtClean="0">
                <a:solidFill>
                  <a:srgbClr val="000000"/>
                </a:solidFill>
                <a:latin typeface="+mn-lt"/>
                <a:ea typeface="+mn-ea"/>
                <a:cs typeface="+mn-cs"/>
              </a:defRPr>
            </a:lvl1pPr>
            <a:lvl2pPr marL="0" indent="0" algn="l" rtl="0" eaLnBrk="1" fontAlgn="base" hangingPunct="1">
              <a:spcBef>
                <a:spcPts val="600"/>
              </a:spcBef>
              <a:spcAft>
                <a:spcPct val="0"/>
              </a:spcAft>
              <a:buSzPct val="40000"/>
              <a:buNone/>
              <a:defRPr lang="en-US" sz="1000" b="1" dirty="0">
                <a:solidFill>
                  <a:srgbClr val="000000"/>
                </a:solidFill>
                <a:latin typeface="+mn-lt"/>
                <a:ea typeface="+mn-ea"/>
                <a:cs typeface="+mn-cs"/>
              </a:defRPr>
            </a:lvl2pPr>
          </a:lstStyle>
          <a:p>
            <a:pPr lvl="0"/>
            <a:r>
              <a:rPr lang="en-US"/>
              <a:t>Click to edit Master text styles</a:t>
            </a:r>
          </a:p>
          <a:p>
            <a:pPr lvl="1"/>
            <a:r>
              <a:rPr lang="en-US"/>
              <a:t>Second level</a:t>
            </a:r>
          </a:p>
        </p:txBody>
      </p:sp>
      <p:grpSp>
        <p:nvGrpSpPr>
          <p:cNvPr id="11" name="Group 10"/>
          <p:cNvGrpSpPr/>
          <p:nvPr userDrawn="1"/>
        </p:nvGrpSpPr>
        <p:grpSpPr>
          <a:xfrm>
            <a:off x="7364320" y="6412511"/>
            <a:ext cx="1371600" cy="283464"/>
            <a:chOff x="4291013" y="3178175"/>
            <a:chExt cx="3197225" cy="688975"/>
          </a:xfrm>
        </p:grpSpPr>
        <p:sp>
          <p:nvSpPr>
            <p:cNvPr id="12"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3"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4"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5"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6"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7"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8"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9"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0"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1"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2"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3"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4"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5"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6"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7"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8"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9"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0"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1"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2"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3"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4"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5"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6"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grpSp>
      <p:sp>
        <p:nvSpPr>
          <p:cNvPr id="37"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104121436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2_Biography">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p>
            <a:r>
              <a:rPr lang="en-US"/>
              <a:t>Click to edit Master title style</a:t>
            </a:r>
            <a:endParaRPr lang="en-US" dirty="0"/>
          </a:p>
        </p:txBody>
      </p:sp>
      <p:sp>
        <p:nvSpPr>
          <p:cNvPr id="3" name="Content Placeholder 2"/>
          <p:cNvSpPr>
            <a:spLocks noGrp="1"/>
          </p:cNvSpPr>
          <p:nvPr>
            <p:ph idx="1"/>
          </p:nvPr>
        </p:nvSpPr>
        <p:spPr>
          <a:xfrm>
            <a:off x="317115" y="1073258"/>
            <a:ext cx="8188710" cy="439305"/>
          </a:xfrm>
        </p:spPr>
        <p:txBody>
          <a:bodyPr lIns="91440"/>
          <a:lstStyle>
            <a:lvl1pPr marL="0" indent="0">
              <a:spcBef>
                <a:spcPts val="0"/>
              </a:spcBef>
              <a:defRPr lang="en-US" sz="1200" b="1" dirty="0" smtClean="0">
                <a:solidFill>
                  <a:srgbClr val="7A9B3D"/>
                </a:solidFill>
                <a:latin typeface="+mn-lt"/>
                <a:ea typeface="+mn-ea"/>
                <a:cs typeface="+mn-cs"/>
              </a:defRPr>
            </a:lvl1pPr>
            <a:lvl2pPr marL="0" indent="0">
              <a:spcBef>
                <a:spcPts val="0"/>
              </a:spcBef>
              <a:buNone/>
              <a:defRPr sz="1200" b="0" i="1">
                <a:solidFill>
                  <a:srgbClr val="7A9B3D"/>
                </a:solidFill>
              </a:defRPr>
            </a:lvl2pPr>
          </a:lstStyle>
          <a:p>
            <a:pPr lvl="0"/>
            <a:r>
              <a:rPr lang="en-US"/>
              <a:t>Click to edit Master text styles</a:t>
            </a:r>
          </a:p>
          <a:p>
            <a:pPr lvl="1"/>
            <a:r>
              <a:rPr lang="en-US"/>
              <a:t>Second level</a:t>
            </a:r>
          </a:p>
        </p:txBody>
      </p:sp>
      <p:sp>
        <p:nvSpPr>
          <p:cNvPr id="10" name="Content Placeholder 9"/>
          <p:cNvSpPr>
            <a:spLocks noGrp="1"/>
          </p:cNvSpPr>
          <p:nvPr>
            <p:ph sz="quarter" idx="13"/>
          </p:nvPr>
        </p:nvSpPr>
        <p:spPr>
          <a:xfrm>
            <a:off x="317115" y="1526850"/>
            <a:ext cx="8188710" cy="4691387"/>
          </a:xfrm>
        </p:spPr>
        <p:txBody>
          <a:bodyPr lIns="91440"/>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ooter Placeholder 4"/>
          <p:cNvSpPr>
            <a:spLocks noGrp="1"/>
          </p:cNvSpPr>
          <p:nvPr>
            <p:ph type="ftr" sz="quarter" idx="15"/>
          </p:nvPr>
        </p:nvSpPr>
        <p:spPr>
          <a:xfrm>
            <a:off x="320040" y="6483290"/>
            <a:ext cx="3933825" cy="172486"/>
          </a:xfrm>
          <a:prstGeom prst="rect">
            <a:avLst/>
          </a:prstGeom>
        </p:spPr>
        <p:txBody>
          <a:bodyPr/>
          <a:lstStyle>
            <a:lvl1pPr algn="r">
              <a:defRPr smtClean="0">
                <a:solidFill>
                  <a:srgbClr val="000000"/>
                </a:solidFill>
              </a:defRPr>
            </a:lvl1pPr>
          </a:lstStyle>
          <a:p>
            <a:pPr algn="l">
              <a:defRPr/>
            </a:pPr>
            <a:r>
              <a:rPr lang="en-US" sz="1800" dirty="0"/>
              <a:t>For institutional use only.</a:t>
            </a:r>
          </a:p>
        </p:txBody>
      </p:sp>
      <p:sp>
        <p:nvSpPr>
          <p:cNvPr id="12"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endParaRPr lang="en-US" dirty="0"/>
          </a:p>
        </p:txBody>
      </p:sp>
      <p:grpSp>
        <p:nvGrpSpPr>
          <p:cNvPr id="13" name="Group 12"/>
          <p:cNvGrpSpPr/>
          <p:nvPr userDrawn="1"/>
        </p:nvGrpSpPr>
        <p:grpSpPr>
          <a:xfrm>
            <a:off x="7364320" y="6412511"/>
            <a:ext cx="1371600" cy="283464"/>
            <a:chOff x="4291013" y="3178175"/>
            <a:chExt cx="3197225" cy="688975"/>
          </a:xfrm>
        </p:grpSpPr>
        <p:sp>
          <p:nvSpPr>
            <p:cNvPr id="14"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5"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6"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7"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8"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9"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0"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1"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2"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3"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4"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5"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6"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7"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8"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9"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0"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1"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2"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3"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4"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5"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6"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7"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8"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grpSp>
      <p:sp>
        <p:nvSpPr>
          <p:cNvPr id="39"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127571205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2_Biography 2">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7948" cy="838200"/>
          </a:xfrm>
        </p:spPr>
        <p:txBody>
          <a:bodyPr/>
          <a:lstStyle/>
          <a:p>
            <a:r>
              <a:rPr lang="en-US"/>
              <a:t>Click to edit Master title style</a:t>
            </a:r>
            <a:endParaRPr lang="en-US" dirty="0"/>
          </a:p>
        </p:txBody>
      </p:sp>
      <p:sp>
        <p:nvSpPr>
          <p:cNvPr id="3" name="Content Placeholder 2"/>
          <p:cNvSpPr>
            <a:spLocks noGrp="1"/>
          </p:cNvSpPr>
          <p:nvPr>
            <p:ph idx="1"/>
          </p:nvPr>
        </p:nvSpPr>
        <p:spPr>
          <a:xfrm>
            <a:off x="317115" y="1073258"/>
            <a:ext cx="8187948" cy="439305"/>
          </a:xfrm>
        </p:spPr>
        <p:txBody>
          <a:bodyPr lIns="91440"/>
          <a:lstStyle>
            <a:lvl1pPr marL="0" indent="0">
              <a:spcBef>
                <a:spcPts val="0"/>
              </a:spcBef>
              <a:defRPr lang="en-US" sz="1200" b="1" dirty="0" smtClean="0">
                <a:solidFill>
                  <a:srgbClr val="7A9B3D"/>
                </a:solidFill>
                <a:latin typeface="+mn-lt"/>
                <a:ea typeface="+mn-ea"/>
                <a:cs typeface="+mn-cs"/>
              </a:defRPr>
            </a:lvl1pPr>
            <a:lvl2pPr marL="0" indent="0">
              <a:spcBef>
                <a:spcPts val="0"/>
              </a:spcBef>
              <a:buNone/>
              <a:defRPr sz="1200" b="0" i="1">
                <a:solidFill>
                  <a:srgbClr val="7A9B3D"/>
                </a:solidFill>
              </a:defRPr>
            </a:lvl2pPr>
          </a:lstStyle>
          <a:p>
            <a:pPr lvl="0"/>
            <a:r>
              <a:rPr lang="en-US"/>
              <a:t>Click to edit Master text styles</a:t>
            </a:r>
          </a:p>
          <a:p>
            <a:pPr lvl="1"/>
            <a:r>
              <a:rPr lang="en-US"/>
              <a:t>Second level</a:t>
            </a:r>
          </a:p>
        </p:txBody>
      </p:sp>
      <p:sp>
        <p:nvSpPr>
          <p:cNvPr id="10" name="Content Placeholder 9"/>
          <p:cNvSpPr>
            <a:spLocks noGrp="1"/>
          </p:cNvSpPr>
          <p:nvPr>
            <p:ph sz="quarter" idx="13"/>
          </p:nvPr>
        </p:nvSpPr>
        <p:spPr>
          <a:xfrm>
            <a:off x="317115" y="1526851"/>
            <a:ext cx="8188710" cy="1902149"/>
          </a:xfrm>
        </p:spPr>
        <p:txBody>
          <a:bodyPr lIns="91440"/>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p:cNvSpPr>
            <a:spLocks noGrp="1"/>
          </p:cNvSpPr>
          <p:nvPr>
            <p:ph idx="17"/>
          </p:nvPr>
        </p:nvSpPr>
        <p:spPr>
          <a:xfrm>
            <a:off x="317115" y="3666458"/>
            <a:ext cx="8188710" cy="439305"/>
          </a:xfrm>
        </p:spPr>
        <p:txBody>
          <a:bodyPr lIns="91440"/>
          <a:lstStyle>
            <a:lvl1pPr marL="0" indent="0">
              <a:spcBef>
                <a:spcPts val="0"/>
              </a:spcBef>
              <a:defRPr lang="en-US" sz="1200" b="1" dirty="0" smtClean="0">
                <a:solidFill>
                  <a:srgbClr val="7A9B3D"/>
                </a:solidFill>
                <a:latin typeface="+mn-lt"/>
                <a:ea typeface="+mn-ea"/>
                <a:cs typeface="+mn-cs"/>
              </a:defRPr>
            </a:lvl1pPr>
            <a:lvl2pPr marL="0" indent="0">
              <a:spcBef>
                <a:spcPts val="0"/>
              </a:spcBef>
              <a:buNone/>
              <a:defRPr sz="1200" b="0" i="1">
                <a:solidFill>
                  <a:srgbClr val="7A9B3D"/>
                </a:solidFill>
              </a:defRPr>
            </a:lvl2pPr>
          </a:lstStyle>
          <a:p>
            <a:pPr lvl="0"/>
            <a:r>
              <a:rPr lang="en-US"/>
              <a:t>Click to edit Master text styles</a:t>
            </a:r>
          </a:p>
          <a:p>
            <a:pPr lvl="1"/>
            <a:r>
              <a:rPr lang="en-US"/>
              <a:t>Second level</a:t>
            </a:r>
          </a:p>
        </p:txBody>
      </p:sp>
      <p:sp>
        <p:nvSpPr>
          <p:cNvPr id="9" name="Content Placeholder 9"/>
          <p:cNvSpPr>
            <a:spLocks noGrp="1"/>
          </p:cNvSpPr>
          <p:nvPr>
            <p:ph sz="quarter" idx="18"/>
          </p:nvPr>
        </p:nvSpPr>
        <p:spPr>
          <a:xfrm>
            <a:off x="317115" y="4120051"/>
            <a:ext cx="8188710" cy="1902149"/>
          </a:xfrm>
        </p:spPr>
        <p:txBody>
          <a:bodyPr lIns="91440"/>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Footer Placeholder 4"/>
          <p:cNvSpPr>
            <a:spLocks noGrp="1"/>
          </p:cNvSpPr>
          <p:nvPr>
            <p:ph type="ftr" sz="quarter" idx="15"/>
          </p:nvPr>
        </p:nvSpPr>
        <p:spPr>
          <a:xfrm>
            <a:off x="320040" y="6483290"/>
            <a:ext cx="3933825" cy="172486"/>
          </a:xfrm>
          <a:prstGeom prst="rect">
            <a:avLst/>
          </a:prstGeom>
        </p:spPr>
        <p:txBody>
          <a:bodyPr/>
          <a:lstStyle>
            <a:lvl1pPr algn="r">
              <a:defRPr smtClean="0">
                <a:solidFill>
                  <a:srgbClr val="000000"/>
                </a:solidFill>
              </a:defRPr>
            </a:lvl1pPr>
          </a:lstStyle>
          <a:p>
            <a:pPr algn="l">
              <a:defRPr/>
            </a:pPr>
            <a:r>
              <a:rPr lang="en-US" sz="1800" dirty="0"/>
              <a:t>For institutional use only.</a:t>
            </a:r>
          </a:p>
        </p:txBody>
      </p:sp>
      <p:sp>
        <p:nvSpPr>
          <p:cNvPr id="14"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endParaRPr lang="en-US" dirty="0"/>
          </a:p>
        </p:txBody>
      </p:sp>
      <p:grpSp>
        <p:nvGrpSpPr>
          <p:cNvPr id="15" name="Group 14"/>
          <p:cNvGrpSpPr/>
          <p:nvPr userDrawn="1"/>
        </p:nvGrpSpPr>
        <p:grpSpPr>
          <a:xfrm>
            <a:off x="7364320" y="6412511"/>
            <a:ext cx="1371600" cy="283464"/>
            <a:chOff x="4291013" y="3178175"/>
            <a:chExt cx="3197225" cy="688975"/>
          </a:xfrm>
        </p:grpSpPr>
        <p:sp>
          <p:nvSpPr>
            <p:cNvPr id="16"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7"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8"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9"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0"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1"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2"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3"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4"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5"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6"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7"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8"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9"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0"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1"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2"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3"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4"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5"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6"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7"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8"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9"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40"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grpSp>
      <p:sp>
        <p:nvSpPr>
          <p:cNvPr id="41"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329970690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73742" cy="838200"/>
          </a:xfrm>
        </p:spPr>
        <p:txBody>
          <a:bodyPr/>
          <a:lstStyle/>
          <a:p>
            <a:r>
              <a:rPr lang="en-US"/>
              <a:t>Click to edit Master title style</a:t>
            </a:r>
            <a:endParaRPr lang="en-US" dirty="0"/>
          </a:p>
        </p:txBody>
      </p:sp>
      <p:sp>
        <p:nvSpPr>
          <p:cNvPr id="3" name="Content Placeholder 2"/>
          <p:cNvSpPr>
            <a:spLocks noGrp="1"/>
          </p:cNvSpPr>
          <p:nvPr>
            <p:ph sz="half" idx="1"/>
          </p:nvPr>
        </p:nvSpPr>
        <p:spPr>
          <a:xfrm>
            <a:off x="317115" y="1339850"/>
            <a:ext cx="3878262" cy="4878388"/>
          </a:xfrm>
        </p:spPr>
        <p:txBody>
          <a:bodyPr lIns="91440"/>
          <a:lstStyle>
            <a:lvl1pPr>
              <a:spcBef>
                <a:spcPts val="600"/>
              </a:spcBef>
              <a:defRPr sz="1400">
                <a:solidFill>
                  <a:srgbClr val="7A9B3D"/>
                </a:solidFill>
              </a:defRPr>
            </a:lvl1pPr>
            <a:lvl2pPr marL="114300" indent="-114300">
              <a:spcBef>
                <a:spcPts val="600"/>
              </a:spcBef>
              <a:buClr>
                <a:srgbClr val="7A9B3D"/>
              </a:buClr>
              <a:defRPr sz="1200">
                <a:solidFill>
                  <a:srgbClr val="000000"/>
                </a:solidFill>
              </a:defRPr>
            </a:lvl2pPr>
            <a:lvl3pPr marL="228600" indent="-114300">
              <a:spcBef>
                <a:spcPts val="600"/>
              </a:spcBef>
              <a:buClr>
                <a:srgbClr val="768692"/>
              </a:buClr>
              <a:defRPr sz="1100">
                <a:solidFill>
                  <a:srgbClr val="000000"/>
                </a:solidFill>
              </a:defRPr>
            </a:lvl3pPr>
            <a:lvl4pPr marL="342900" indent="-114300">
              <a:spcBef>
                <a:spcPts val="600"/>
              </a:spcBef>
              <a:buClr>
                <a:srgbClr val="000000"/>
              </a:buClr>
              <a:defRPr sz="1050">
                <a:solidFill>
                  <a:srgbClr val="000000"/>
                </a:solidFill>
              </a:defRPr>
            </a:lvl4pPr>
            <a:lvl5pPr>
              <a:defRPr sz="105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2"/>
          <p:cNvSpPr>
            <a:spLocks noGrp="1"/>
          </p:cNvSpPr>
          <p:nvPr>
            <p:ph sz="half" idx="13"/>
          </p:nvPr>
        </p:nvSpPr>
        <p:spPr>
          <a:xfrm>
            <a:off x="4611450" y="1339850"/>
            <a:ext cx="3878262" cy="4878388"/>
          </a:xfrm>
        </p:spPr>
        <p:txBody>
          <a:bodyPr lIns="91440"/>
          <a:lstStyle>
            <a:lvl1pPr>
              <a:spcBef>
                <a:spcPts val="600"/>
              </a:spcBef>
              <a:defRPr sz="1400">
                <a:solidFill>
                  <a:srgbClr val="7A9B3D"/>
                </a:solidFill>
              </a:defRPr>
            </a:lvl1pPr>
            <a:lvl2pPr marL="114300" indent="-114300">
              <a:spcBef>
                <a:spcPts val="600"/>
              </a:spcBef>
              <a:buClr>
                <a:srgbClr val="7A9B3D"/>
              </a:buClr>
              <a:defRPr sz="1200">
                <a:solidFill>
                  <a:srgbClr val="000000"/>
                </a:solidFill>
              </a:defRPr>
            </a:lvl2pPr>
            <a:lvl3pPr marL="228600" indent="-114300">
              <a:spcBef>
                <a:spcPts val="600"/>
              </a:spcBef>
              <a:buClr>
                <a:srgbClr val="768692"/>
              </a:buClr>
              <a:defRPr sz="1100">
                <a:solidFill>
                  <a:srgbClr val="000000"/>
                </a:solidFill>
              </a:defRPr>
            </a:lvl3pPr>
            <a:lvl4pPr marL="342900" indent="-114300">
              <a:spcBef>
                <a:spcPts val="600"/>
              </a:spcBef>
              <a:buClr>
                <a:srgbClr val="000000"/>
              </a:buClr>
              <a:defRPr sz="1050">
                <a:solidFill>
                  <a:srgbClr val="000000"/>
                </a:solidFill>
              </a:defRPr>
            </a:lvl4pPr>
            <a:lvl5pPr>
              <a:defRPr sz="105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Footer Placeholder 4"/>
          <p:cNvSpPr>
            <a:spLocks noGrp="1"/>
          </p:cNvSpPr>
          <p:nvPr>
            <p:ph type="ftr" sz="quarter" idx="15"/>
          </p:nvPr>
        </p:nvSpPr>
        <p:spPr>
          <a:xfrm>
            <a:off x="320040" y="6483290"/>
            <a:ext cx="3933825" cy="172486"/>
          </a:xfrm>
          <a:prstGeom prst="rect">
            <a:avLst/>
          </a:prstGeom>
        </p:spPr>
        <p:txBody>
          <a:bodyPr/>
          <a:lstStyle>
            <a:lvl1pPr algn="r">
              <a:defRPr smtClean="0">
                <a:solidFill>
                  <a:srgbClr val="000000"/>
                </a:solidFill>
              </a:defRPr>
            </a:lvl1pPr>
          </a:lstStyle>
          <a:p>
            <a:pPr algn="l">
              <a:defRPr/>
            </a:pPr>
            <a:r>
              <a:rPr lang="en-US" sz="1800" dirty="0"/>
              <a:t>For institutional use only.</a:t>
            </a:r>
          </a:p>
        </p:txBody>
      </p:sp>
      <p:sp>
        <p:nvSpPr>
          <p:cNvPr id="12"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endParaRPr lang="en-US" dirty="0"/>
          </a:p>
        </p:txBody>
      </p:sp>
      <p:grpSp>
        <p:nvGrpSpPr>
          <p:cNvPr id="13" name="Group 12"/>
          <p:cNvGrpSpPr/>
          <p:nvPr userDrawn="1"/>
        </p:nvGrpSpPr>
        <p:grpSpPr>
          <a:xfrm>
            <a:off x="7364320" y="6412511"/>
            <a:ext cx="1371600" cy="283464"/>
            <a:chOff x="4291013" y="3178175"/>
            <a:chExt cx="3197225" cy="688975"/>
          </a:xfrm>
        </p:grpSpPr>
        <p:sp>
          <p:nvSpPr>
            <p:cNvPr id="14"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5"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6"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7"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8"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9"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0"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1"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2"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3"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4"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5"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6"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7"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8"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9"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0"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1"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2"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3"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4"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5"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6"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7"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8"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grpSp>
      <p:sp>
        <p:nvSpPr>
          <p:cNvPr id="39"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5666495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FIAM_Internal_Print_Cover">
    <p:spTree>
      <p:nvGrpSpPr>
        <p:cNvPr id="1" name=""/>
        <p:cNvGrpSpPr/>
        <p:nvPr/>
      </p:nvGrpSpPr>
      <p:grpSpPr>
        <a:xfrm>
          <a:off x="0" y="0"/>
          <a:ext cx="0" cy="0"/>
          <a:chOff x="0" y="0"/>
          <a:chExt cx="0" cy="0"/>
        </a:xfrm>
      </p:grpSpPr>
      <p:pic>
        <p:nvPicPr>
          <p:cNvPr id="3" name="Picture 2" descr="A picture containing game&#10;&#10;Description automatically generated">
            <a:extLst>
              <a:ext uri="{FF2B5EF4-FFF2-40B4-BE49-F238E27FC236}">
                <a16:creationId xmlns:a16="http://schemas.microsoft.com/office/drawing/2014/main" id="{5F0F327E-8F43-48F0-98B9-46D3CF9BB3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7999"/>
          </a:xfrm>
          <a:prstGeom prst="rect">
            <a:avLst/>
          </a:prstGeom>
        </p:spPr>
      </p:pic>
      <p:grpSp>
        <p:nvGrpSpPr>
          <p:cNvPr id="56" name="Group 55">
            <a:extLst>
              <a:ext uri="{FF2B5EF4-FFF2-40B4-BE49-F238E27FC236}">
                <a16:creationId xmlns:a16="http://schemas.microsoft.com/office/drawing/2014/main" id="{37D2BAC2-4174-47A3-A306-325A697F4BF5}"/>
              </a:ext>
            </a:extLst>
          </p:cNvPr>
          <p:cNvGrpSpPr/>
          <p:nvPr userDrawn="1"/>
        </p:nvGrpSpPr>
        <p:grpSpPr>
          <a:xfrm>
            <a:off x="7358173" y="6361974"/>
            <a:ext cx="1382376" cy="297562"/>
            <a:chOff x="6923088" y="4475163"/>
            <a:chExt cx="1873251" cy="403225"/>
          </a:xfrm>
        </p:grpSpPr>
        <p:sp>
          <p:nvSpPr>
            <p:cNvPr id="57" name="AutoShape 4">
              <a:extLst>
                <a:ext uri="{FF2B5EF4-FFF2-40B4-BE49-F238E27FC236}">
                  <a16:creationId xmlns:a16="http://schemas.microsoft.com/office/drawing/2014/main" id="{8B8236BF-A1F4-4AF9-AF18-B1725EEDF1C8}"/>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6">
              <a:extLst>
                <a:ext uri="{FF2B5EF4-FFF2-40B4-BE49-F238E27FC236}">
                  <a16:creationId xmlns:a16="http://schemas.microsoft.com/office/drawing/2014/main" id="{750D2FF4-4FB3-4AB3-A41E-E8F7B6FF1D93}"/>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7">
              <a:extLst>
                <a:ext uri="{FF2B5EF4-FFF2-40B4-BE49-F238E27FC236}">
                  <a16:creationId xmlns:a16="http://schemas.microsoft.com/office/drawing/2014/main" id="{339F89E1-6D2A-4D59-9D15-DDA82073D3F2}"/>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83">
              <a:extLst>
                <a:ext uri="{FF2B5EF4-FFF2-40B4-BE49-F238E27FC236}">
                  <a16:creationId xmlns:a16="http://schemas.microsoft.com/office/drawing/2014/main" id="{C511B55F-F6BE-4366-A189-8653E79F4D87}"/>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84">
              <a:extLst>
                <a:ext uri="{FF2B5EF4-FFF2-40B4-BE49-F238E27FC236}">
                  <a16:creationId xmlns:a16="http://schemas.microsoft.com/office/drawing/2014/main" id="{22F2FBBD-701B-46B3-83EF-8B19041B6FBE}"/>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 name="Freeform 85">
              <a:extLst>
                <a:ext uri="{FF2B5EF4-FFF2-40B4-BE49-F238E27FC236}">
                  <a16:creationId xmlns:a16="http://schemas.microsoft.com/office/drawing/2014/main" id="{1C9FA1AB-8487-4725-A349-64581318AE58}"/>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 name="Freeform 86">
              <a:extLst>
                <a:ext uri="{FF2B5EF4-FFF2-40B4-BE49-F238E27FC236}">
                  <a16:creationId xmlns:a16="http://schemas.microsoft.com/office/drawing/2014/main" id="{DDEE2F38-BDFA-4F6B-B054-31F282493519}"/>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 name="Freeform 87">
              <a:extLst>
                <a:ext uri="{FF2B5EF4-FFF2-40B4-BE49-F238E27FC236}">
                  <a16:creationId xmlns:a16="http://schemas.microsoft.com/office/drawing/2014/main" id="{FF2EE765-ADCA-4144-9632-87914858CDA9}"/>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 name="Freeform 88">
              <a:extLst>
                <a:ext uri="{FF2B5EF4-FFF2-40B4-BE49-F238E27FC236}">
                  <a16:creationId xmlns:a16="http://schemas.microsoft.com/office/drawing/2014/main" id="{AE8A08AC-A834-4F8E-BFA2-4C3D9F65AA10}"/>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 name="Freeform 89">
              <a:extLst>
                <a:ext uri="{FF2B5EF4-FFF2-40B4-BE49-F238E27FC236}">
                  <a16:creationId xmlns:a16="http://schemas.microsoft.com/office/drawing/2014/main" id="{D248C4F7-CE2E-4578-A6E8-EF557C69ABF7}"/>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 name="Freeform 90">
              <a:extLst>
                <a:ext uri="{FF2B5EF4-FFF2-40B4-BE49-F238E27FC236}">
                  <a16:creationId xmlns:a16="http://schemas.microsoft.com/office/drawing/2014/main" id="{E67C1FF2-C9E1-4CBC-8BE3-D014A754AADD}"/>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 name="Freeform 91">
              <a:extLst>
                <a:ext uri="{FF2B5EF4-FFF2-40B4-BE49-F238E27FC236}">
                  <a16:creationId xmlns:a16="http://schemas.microsoft.com/office/drawing/2014/main" id="{B77330CD-CDAF-4CF3-AAF0-65FD6D02A9EE}"/>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 name="Freeform 92">
              <a:extLst>
                <a:ext uri="{FF2B5EF4-FFF2-40B4-BE49-F238E27FC236}">
                  <a16:creationId xmlns:a16="http://schemas.microsoft.com/office/drawing/2014/main" id="{85F23BA4-F5B5-4F7F-A050-CE2D4025A9A9}"/>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 name="Freeform 93">
              <a:extLst>
                <a:ext uri="{FF2B5EF4-FFF2-40B4-BE49-F238E27FC236}">
                  <a16:creationId xmlns:a16="http://schemas.microsoft.com/office/drawing/2014/main" id="{9D41893C-D348-40DE-AE84-781201483138}"/>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 name="Freeform 94">
              <a:extLst>
                <a:ext uri="{FF2B5EF4-FFF2-40B4-BE49-F238E27FC236}">
                  <a16:creationId xmlns:a16="http://schemas.microsoft.com/office/drawing/2014/main" id="{673A8E7B-EBAD-42F6-BBFB-1973AEFF0B8B}"/>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 name="Freeform 95">
              <a:extLst>
                <a:ext uri="{FF2B5EF4-FFF2-40B4-BE49-F238E27FC236}">
                  <a16:creationId xmlns:a16="http://schemas.microsoft.com/office/drawing/2014/main" id="{0C1A8A7E-F3D7-42C1-9012-D3E027942538}"/>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 name="Freeform 96">
              <a:extLst>
                <a:ext uri="{FF2B5EF4-FFF2-40B4-BE49-F238E27FC236}">
                  <a16:creationId xmlns:a16="http://schemas.microsoft.com/office/drawing/2014/main" id="{C113B37C-5692-4452-A175-B8689A633FA8}"/>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 name="Freeform 97">
              <a:extLst>
                <a:ext uri="{FF2B5EF4-FFF2-40B4-BE49-F238E27FC236}">
                  <a16:creationId xmlns:a16="http://schemas.microsoft.com/office/drawing/2014/main" id="{BD37DD38-8B53-4B9C-B71B-8DCCFC03F476}"/>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 name="Freeform 98">
              <a:extLst>
                <a:ext uri="{FF2B5EF4-FFF2-40B4-BE49-F238E27FC236}">
                  <a16:creationId xmlns:a16="http://schemas.microsoft.com/office/drawing/2014/main" id="{9B806109-D094-439B-97DB-E46F96FA6F54}"/>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 name="Freeform 99">
              <a:extLst>
                <a:ext uri="{FF2B5EF4-FFF2-40B4-BE49-F238E27FC236}">
                  <a16:creationId xmlns:a16="http://schemas.microsoft.com/office/drawing/2014/main" id="{2491E5E4-E154-41B2-B1ED-85C42453C70C}"/>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 name="Freeform 100">
              <a:extLst>
                <a:ext uri="{FF2B5EF4-FFF2-40B4-BE49-F238E27FC236}">
                  <a16:creationId xmlns:a16="http://schemas.microsoft.com/office/drawing/2014/main" id="{765C1F64-02AD-4525-9057-89EB9ED335B3}"/>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 name="Freeform 101">
              <a:extLst>
                <a:ext uri="{FF2B5EF4-FFF2-40B4-BE49-F238E27FC236}">
                  <a16:creationId xmlns:a16="http://schemas.microsoft.com/office/drawing/2014/main" id="{76E0FCE8-B1BC-4233-9199-D9673FFC3841}"/>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 name="Freeform 102">
              <a:extLst>
                <a:ext uri="{FF2B5EF4-FFF2-40B4-BE49-F238E27FC236}">
                  <a16:creationId xmlns:a16="http://schemas.microsoft.com/office/drawing/2014/main" id="{CA807538-407E-462D-9681-CA1A524E5702}"/>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 name="Freeform 103">
              <a:extLst>
                <a:ext uri="{FF2B5EF4-FFF2-40B4-BE49-F238E27FC236}">
                  <a16:creationId xmlns:a16="http://schemas.microsoft.com/office/drawing/2014/main" id="{7FAF642D-5B9B-4AB7-A44A-A52E96B83A55}"/>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 name="Freeform 104">
              <a:extLst>
                <a:ext uri="{FF2B5EF4-FFF2-40B4-BE49-F238E27FC236}">
                  <a16:creationId xmlns:a16="http://schemas.microsoft.com/office/drawing/2014/main" id="{C07E4C1C-7FC4-4366-A26F-A5D4C78C3275}"/>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 name="Freeform 105">
              <a:extLst>
                <a:ext uri="{FF2B5EF4-FFF2-40B4-BE49-F238E27FC236}">
                  <a16:creationId xmlns:a16="http://schemas.microsoft.com/office/drawing/2014/main" id="{0C982428-9F7B-45D4-B837-95EC646E7C60}"/>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43" name="Rectangle 6"/>
          <p:cNvSpPr>
            <a:spLocks noGrp="1" noChangeArrowheads="1"/>
          </p:cNvSpPr>
          <p:nvPr>
            <p:ph type="subTitle" idx="1"/>
          </p:nvPr>
        </p:nvSpPr>
        <p:spPr>
          <a:xfrm>
            <a:off x="685251" y="2091765"/>
            <a:ext cx="7805762" cy="563076"/>
          </a:xfrm>
        </p:spPr>
        <p:txBody>
          <a:bodyPr lIns="100584" rIns="100584"/>
          <a:lstStyle>
            <a:lvl1pPr marL="0" indent="0">
              <a:spcBef>
                <a:spcPts val="0"/>
              </a:spcBef>
              <a:defRPr sz="2000" b="0">
                <a:solidFill>
                  <a:srgbClr val="7A9B3D"/>
                </a:solidFill>
              </a:defRPr>
            </a:lvl1pPr>
          </a:lstStyle>
          <a:p>
            <a:r>
              <a:rPr lang="en-US"/>
              <a:t>Click to edit Master subtitle style</a:t>
            </a:r>
            <a:endParaRPr lang="en-US" dirty="0"/>
          </a:p>
        </p:txBody>
      </p:sp>
      <p:sp>
        <p:nvSpPr>
          <p:cNvPr id="42" name="Text Placeholder 43"/>
          <p:cNvSpPr>
            <a:spLocks noGrp="1"/>
          </p:cNvSpPr>
          <p:nvPr>
            <p:ph type="body" sz="quarter" idx="14" hasCustomPrompt="1"/>
          </p:nvPr>
        </p:nvSpPr>
        <p:spPr>
          <a:xfrm>
            <a:off x="685251" y="2581276"/>
            <a:ext cx="7805762" cy="266850"/>
          </a:xfrm>
        </p:spPr>
        <p:txBody>
          <a:bodyPr lIns="100584" rIns="100584"/>
          <a:lstStyle>
            <a:lvl1pPr>
              <a:spcBef>
                <a:spcPts val="0"/>
              </a:spcBef>
              <a:defRPr lang="en-US" sz="1200" b="0" kern="1200" dirty="0" smtClean="0">
                <a:solidFill>
                  <a:srgbClr val="333F48"/>
                </a:solidFill>
                <a:latin typeface="Arial"/>
                <a:ea typeface="ＭＳ Ｐゴシック" pitchFamily="34" charset="-128"/>
                <a:cs typeface="+mn-cs"/>
              </a:defRPr>
            </a:lvl1pPr>
          </a:lstStyle>
          <a:p>
            <a:pPr lvl="0"/>
            <a:r>
              <a:rPr lang="en-US" dirty="0"/>
              <a:t>Date</a:t>
            </a:r>
          </a:p>
        </p:txBody>
      </p:sp>
      <p:sp>
        <p:nvSpPr>
          <p:cNvPr id="81" name="Content Placeholder 52"/>
          <p:cNvSpPr txBox="1">
            <a:spLocks/>
          </p:cNvSpPr>
          <p:nvPr userDrawn="1"/>
        </p:nvSpPr>
        <p:spPr>
          <a:xfrm>
            <a:off x="704301" y="3842381"/>
            <a:ext cx="2487613" cy="1652265"/>
          </a:xfrm>
          <a:prstGeom prst="rect">
            <a:avLst/>
          </a:prstGeom>
        </p:spPr>
        <p:txBody>
          <a:bodyPr lIns="100584" rIns="100584"/>
          <a:lstStyle>
            <a:lvl1pPr marL="0" indent="0" algn="l" rtl="0" eaLnBrk="0" fontAlgn="base" hangingPunct="0">
              <a:spcBef>
                <a:spcPts val="1200"/>
              </a:spcBef>
              <a:spcAft>
                <a:spcPct val="0"/>
              </a:spcAft>
              <a:buClr>
                <a:schemeClr val="bg1"/>
              </a:buClr>
              <a:buNone/>
              <a:tabLst>
                <a:tab pos="120626" algn="l"/>
                <a:tab pos="299978" algn="l"/>
                <a:tab pos="1034844" algn="l"/>
              </a:tabLst>
              <a:defRPr lang="en-US" sz="1000" b="1" kern="1200" dirty="0" smtClean="0">
                <a:solidFill>
                  <a:schemeClr val="tx1"/>
                </a:solidFill>
                <a:latin typeface="Arial" charset="0"/>
                <a:ea typeface="ＭＳ Ｐゴシック" charset="-128"/>
                <a:cs typeface="+mn-cs"/>
              </a:defRPr>
            </a:lvl1pPr>
            <a:lvl2pPr marL="0" indent="0" algn="l" rtl="0" eaLnBrk="0" fontAlgn="base" hangingPunct="0">
              <a:spcBef>
                <a:spcPct val="20000"/>
              </a:spcBef>
              <a:spcAft>
                <a:spcPct val="0"/>
              </a:spcAft>
              <a:buClr>
                <a:schemeClr val="bg1"/>
              </a:buClr>
              <a:buFontTx/>
              <a:buNone/>
              <a:tabLst>
                <a:tab pos="120626" algn="l"/>
                <a:tab pos="299978" algn="l"/>
                <a:tab pos="1034844" algn="l"/>
              </a:tabLst>
              <a:defRPr lang="en-US" sz="1000" b="1" i="1" kern="1200" dirty="0" smtClean="0">
                <a:solidFill>
                  <a:schemeClr val="tx1"/>
                </a:solidFill>
                <a:latin typeface="Arial" charset="0"/>
                <a:ea typeface="ＭＳ Ｐゴシック" charset="-128"/>
                <a:cs typeface="+mn-cs"/>
              </a:defRPr>
            </a:lvl2pPr>
            <a:lvl3pPr marL="326960" indent="0" algn="l" rtl="0" eaLnBrk="0" fontAlgn="base" hangingPunct="0">
              <a:spcBef>
                <a:spcPct val="20000"/>
              </a:spcBef>
              <a:spcAft>
                <a:spcPct val="0"/>
              </a:spcAft>
              <a:buClr>
                <a:schemeClr val="bg1"/>
              </a:buClr>
              <a:buNone/>
              <a:tabLst>
                <a:tab pos="120626" algn="l"/>
                <a:tab pos="299978" algn="l"/>
                <a:tab pos="1034844" algn="l"/>
              </a:tabLst>
              <a:defRPr sz="1200" b="1">
                <a:solidFill>
                  <a:schemeClr val="accent2"/>
                </a:solidFill>
                <a:latin typeface="+mn-lt"/>
              </a:defRPr>
            </a:lvl3pPr>
            <a:lvl4pPr marL="914218" indent="-114277" algn="l" rtl="0" eaLnBrk="0" fontAlgn="base" hangingPunct="0">
              <a:spcBef>
                <a:spcPct val="20000"/>
              </a:spcBef>
              <a:spcAft>
                <a:spcPct val="0"/>
              </a:spcAft>
              <a:buClr>
                <a:schemeClr val="accent1"/>
              </a:buClr>
              <a:buChar char="•"/>
              <a:tabLst>
                <a:tab pos="120626" algn="l"/>
                <a:tab pos="299978" algn="l"/>
                <a:tab pos="1034844" algn="l"/>
              </a:tabLst>
              <a:defRPr sz="1600" b="1">
                <a:solidFill>
                  <a:schemeClr val="tx1"/>
                </a:solidFill>
                <a:latin typeface="+mn-lt"/>
              </a:defRPr>
            </a:lvl4pPr>
            <a:lvl5pPr marL="1142772" indent="-114277" algn="l" rtl="0" eaLnBrk="0" fontAlgn="base" hangingPunct="0">
              <a:spcBef>
                <a:spcPct val="20000"/>
              </a:spcBef>
              <a:spcAft>
                <a:spcPct val="0"/>
              </a:spcAft>
              <a:buClr>
                <a:schemeClr val="accent1"/>
              </a:buClr>
              <a:buChar char="•"/>
              <a:tabLst>
                <a:tab pos="120626" algn="l"/>
                <a:tab pos="299978" algn="l"/>
                <a:tab pos="1034844" algn="l"/>
              </a:tabLst>
              <a:defRPr sz="1600" b="1">
                <a:solidFill>
                  <a:schemeClr val="tx1"/>
                </a:solidFill>
                <a:latin typeface="+mn-lt"/>
              </a:defRPr>
            </a:lvl5pPr>
            <a:lvl6pPr marL="2514096" indent="-228554" algn="l" rtl="0" fontAlgn="base">
              <a:spcBef>
                <a:spcPct val="20000"/>
              </a:spcBef>
              <a:spcAft>
                <a:spcPct val="0"/>
              </a:spcAft>
              <a:buChar char="»"/>
              <a:defRPr sz="2000">
                <a:solidFill>
                  <a:schemeClr val="tx1"/>
                </a:solidFill>
                <a:latin typeface="+mn-lt"/>
              </a:defRPr>
            </a:lvl6pPr>
            <a:lvl7pPr marL="2971205" indent="-228554" algn="l" rtl="0" fontAlgn="base">
              <a:spcBef>
                <a:spcPct val="20000"/>
              </a:spcBef>
              <a:spcAft>
                <a:spcPct val="0"/>
              </a:spcAft>
              <a:buChar char="»"/>
              <a:defRPr sz="2000">
                <a:solidFill>
                  <a:schemeClr val="tx1"/>
                </a:solidFill>
                <a:latin typeface="+mn-lt"/>
              </a:defRPr>
            </a:lvl7pPr>
            <a:lvl8pPr marL="3428314" indent="-228554" algn="l" rtl="0" fontAlgn="base">
              <a:spcBef>
                <a:spcPct val="20000"/>
              </a:spcBef>
              <a:spcAft>
                <a:spcPct val="0"/>
              </a:spcAft>
              <a:buChar char="»"/>
              <a:defRPr sz="2000">
                <a:solidFill>
                  <a:schemeClr val="tx1"/>
                </a:solidFill>
                <a:latin typeface="+mn-lt"/>
              </a:defRPr>
            </a:lvl8pPr>
            <a:lvl9pPr marL="3885423" indent="-228554" algn="l" rtl="0" fontAlgn="base">
              <a:spcBef>
                <a:spcPct val="20000"/>
              </a:spcBef>
              <a:spcAft>
                <a:spcPct val="0"/>
              </a:spcAft>
              <a:buChar char="»"/>
              <a:defRPr sz="2000">
                <a:solidFill>
                  <a:schemeClr val="tx1"/>
                </a:solidFill>
                <a:latin typeface="+mn-lt"/>
              </a:defRPr>
            </a:lvl9pPr>
          </a:lstStyle>
          <a:p>
            <a:pPr>
              <a:buClr>
                <a:srgbClr val="FFFFFF"/>
              </a:buClr>
            </a:pPr>
            <a:endParaRPr b="0">
              <a:solidFill>
                <a:srgbClr val="000000"/>
              </a:solidFill>
              <a:latin typeface="Arial"/>
            </a:endParaRPr>
          </a:p>
        </p:txBody>
      </p:sp>
      <p:sp>
        <p:nvSpPr>
          <p:cNvPr id="120" name="Content Placeholder 52"/>
          <p:cNvSpPr>
            <a:spLocks noGrp="1"/>
          </p:cNvSpPr>
          <p:nvPr>
            <p:ph sz="quarter" idx="12"/>
          </p:nvPr>
        </p:nvSpPr>
        <p:spPr>
          <a:xfrm>
            <a:off x="704301" y="3978275"/>
            <a:ext cx="2576513" cy="178752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121" name="Content Placeholder 52"/>
          <p:cNvSpPr>
            <a:spLocks noGrp="1"/>
          </p:cNvSpPr>
          <p:nvPr>
            <p:ph sz="quarter" idx="15"/>
          </p:nvPr>
        </p:nvSpPr>
        <p:spPr>
          <a:xfrm>
            <a:off x="3396990" y="3978275"/>
            <a:ext cx="2576513" cy="178752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41" name="Rectangle 9"/>
          <p:cNvSpPr>
            <a:spLocks noGrp="1" noChangeArrowheads="1"/>
          </p:cNvSpPr>
          <p:nvPr>
            <p:ph type="title" hasCustomPrompt="1"/>
          </p:nvPr>
        </p:nvSpPr>
        <p:spPr bwMode="auto">
          <a:xfrm>
            <a:off x="685251" y="1581072"/>
            <a:ext cx="7805762" cy="5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b" anchorCtr="0" compatLnSpc="1">
            <a:prstTxWarp prst="textNoShape">
              <a:avLst/>
            </a:prstTxWarp>
          </a:bodyPr>
          <a:lstStyle>
            <a:lvl1pPr>
              <a:defRPr sz="3000">
                <a:solidFill>
                  <a:schemeClr val="bg2"/>
                </a:solidFill>
              </a:defRPr>
            </a:lvl1pPr>
          </a:lstStyle>
          <a:p>
            <a:pPr lvl="0"/>
            <a:r>
              <a:rPr lang="en-US" altLang="en-US" dirty="0"/>
              <a:t>Click To Edit Master Title Style</a:t>
            </a:r>
          </a:p>
        </p:txBody>
      </p:sp>
      <p:sp>
        <p:nvSpPr>
          <p:cNvPr id="84" name="Rectangle 176">
            <a:extLst>
              <a:ext uri="{FF2B5EF4-FFF2-40B4-BE49-F238E27FC236}">
                <a16:creationId xmlns:a16="http://schemas.microsoft.com/office/drawing/2014/main" id="{BC09911A-462B-46F7-AD5F-24FAF02F2217}"/>
              </a:ext>
            </a:extLst>
          </p:cNvPr>
          <p:cNvSpPr>
            <a:spLocks noGrp="1" noChangeArrowheads="1"/>
          </p:cNvSpPr>
          <p:nvPr>
            <p:ph type="ftr" sz="quarter" idx="13"/>
          </p:nvPr>
        </p:nvSpPr>
        <p:spPr>
          <a:xfrm>
            <a:off x="281401" y="6421008"/>
            <a:ext cx="6014623" cy="260350"/>
          </a:xfrm>
        </p:spPr>
        <p:txBody>
          <a:bodyPr anchor="b" anchorCtr="0"/>
          <a:lstStyle>
            <a:lvl1pPr algn="l">
              <a:defRPr sz="800" b="0" smtClean="0">
                <a:solidFill>
                  <a:srgbClr val="000000"/>
                </a:solidFill>
              </a:defRPr>
            </a:lvl1pPr>
          </a:lstStyle>
          <a:p>
            <a:pPr>
              <a:defRPr/>
            </a:pPr>
            <a:r>
              <a:rPr lang="en-US" b="1" dirty="0"/>
              <a:t>Insert disclosures. </a:t>
            </a:r>
          </a:p>
          <a:p>
            <a:pPr>
              <a:defRPr/>
            </a:pPr>
            <a:r>
              <a:rPr lang="en-US" dirty="0"/>
              <a:t>Insert disclosures.</a:t>
            </a:r>
          </a:p>
          <a:p>
            <a:pPr>
              <a:defRPr/>
            </a:pPr>
            <a:r>
              <a:rPr lang="en-US" b="1" dirty="0"/>
              <a:t>Page footer.  </a:t>
            </a:r>
            <a:r>
              <a:rPr lang="en-US" dirty="0"/>
              <a:t>l  © 20XX FMR LLC. All rights reserved.</a:t>
            </a:r>
            <a:endParaRPr lang="en-US" b="1" dirty="0"/>
          </a:p>
        </p:txBody>
      </p:sp>
      <p:pic>
        <p:nvPicPr>
          <p:cNvPr id="38" name="Picture 37">
            <a:extLst>
              <a:ext uri="{FF2B5EF4-FFF2-40B4-BE49-F238E27FC236}">
                <a16:creationId xmlns:a16="http://schemas.microsoft.com/office/drawing/2014/main" id="{85396965-7D2A-4EA3-A122-5A73E7AC9F7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5502" y="535377"/>
            <a:ext cx="1606299" cy="97536"/>
          </a:xfrm>
          <a:prstGeom prst="rect">
            <a:avLst/>
          </a:prstGeom>
        </p:spPr>
      </p:pic>
    </p:spTree>
    <p:extLst>
      <p:ext uri="{BB962C8B-B14F-4D97-AF65-F5344CB8AC3E}">
        <p14:creationId xmlns:p14="http://schemas.microsoft.com/office/powerpoint/2010/main" val="124075375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6868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hasCustomPrompt="1"/>
          </p:nvPr>
        </p:nvSpPr>
        <p:spPr>
          <a:xfrm>
            <a:off x="317115" y="1004757"/>
            <a:ext cx="4040188" cy="639762"/>
          </a:xfrm>
        </p:spPr>
        <p:txBody>
          <a:bodyPr lIns="91440" anchor="b"/>
          <a:lstStyle>
            <a:lvl1pPr marL="0" indent="0">
              <a:buNone/>
              <a:defRPr sz="14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5" name="Text Placeholder 4"/>
          <p:cNvSpPr>
            <a:spLocks noGrp="1"/>
          </p:cNvSpPr>
          <p:nvPr>
            <p:ph type="body" sz="quarter" idx="3" hasCustomPrompt="1"/>
          </p:nvPr>
        </p:nvSpPr>
        <p:spPr>
          <a:xfrm>
            <a:off x="4449057" y="1004757"/>
            <a:ext cx="4041775" cy="639762"/>
          </a:xfrm>
        </p:spPr>
        <p:txBody>
          <a:bodyPr lIns="91440" anchor="b"/>
          <a:lstStyle>
            <a:lvl1pPr marL="0" indent="0">
              <a:buNone/>
              <a:defRPr sz="14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0" name="Content Placeholder 2"/>
          <p:cNvSpPr>
            <a:spLocks noGrp="1"/>
          </p:cNvSpPr>
          <p:nvPr>
            <p:ph sz="half" idx="13"/>
          </p:nvPr>
        </p:nvSpPr>
        <p:spPr>
          <a:xfrm>
            <a:off x="317115" y="1664594"/>
            <a:ext cx="4041648" cy="4553643"/>
          </a:xfrm>
        </p:spPr>
        <p:txBody>
          <a:bodyPr lIns="91440"/>
          <a:lstStyle>
            <a:lvl1pPr>
              <a:spcBef>
                <a:spcPts val="600"/>
              </a:spcBef>
              <a:defRPr sz="1400">
                <a:solidFill>
                  <a:srgbClr val="7A9B3D"/>
                </a:solidFill>
              </a:defRPr>
            </a:lvl1pPr>
            <a:lvl2pPr marL="114300" indent="-114300">
              <a:spcBef>
                <a:spcPts val="600"/>
              </a:spcBef>
              <a:buClr>
                <a:srgbClr val="7A9B3D"/>
              </a:buClr>
              <a:defRPr sz="1200">
                <a:solidFill>
                  <a:srgbClr val="000000"/>
                </a:solidFill>
              </a:defRPr>
            </a:lvl2pPr>
            <a:lvl3pPr marL="228600" indent="-114300">
              <a:spcBef>
                <a:spcPts val="600"/>
              </a:spcBef>
              <a:defRPr sz="1100">
                <a:solidFill>
                  <a:srgbClr val="000000"/>
                </a:solidFill>
              </a:defRPr>
            </a:lvl3pPr>
            <a:lvl4pPr marL="342900" indent="-114300">
              <a:spcBef>
                <a:spcPts val="600"/>
              </a:spcBef>
              <a:buClr>
                <a:srgbClr val="000000"/>
              </a:buClr>
              <a:defRPr sz="1050">
                <a:solidFill>
                  <a:srgbClr val="000000"/>
                </a:solidFill>
              </a:defRPr>
            </a:lvl4pPr>
            <a:lvl5pPr>
              <a:defRPr sz="105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2"/>
          <p:cNvSpPr>
            <a:spLocks noGrp="1"/>
          </p:cNvSpPr>
          <p:nvPr>
            <p:ph sz="half" idx="14"/>
          </p:nvPr>
        </p:nvSpPr>
        <p:spPr>
          <a:xfrm>
            <a:off x="4449057" y="1665794"/>
            <a:ext cx="4041648" cy="4552443"/>
          </a:xfrm>
        </p:spPr>
        <p:txBody>
          <a:bodyPr lIns="91440"/>
          <a:lstStyle>
            <a:lvl1pPr>
              <a:spcBef>
                <a:spcPts val="600"/>
              </a:spcBef>
              <a:defRPr sz="1400">
                <a:solidFill>
                  <a:srgbClr val="7A9B3D"/>
                </a:solidFill>
              </a:defRPr>
            </a:lvl1pPr>
            <a:lvl2pPr marL="114300" indent="-114300">
              <a:spcBef>
                <a:spcPts val="600"/>
              </a:spcBef>
              <a:buClr>
                <a:srgbClr val="7A9B3D"/>
              </a:buClr>
              <a:defRPr sz="1200">
                <a:solidFill>
                  <a:srgbClr val="000000"/>
                </a:solidFill>
              </a:defRPr>
            </a:lvl2pPr>
            <a:lvl3pPr marL="228600" indent="-114300">
              <a:spcBef>
                <a:spcPts val="600"/>
              </a:spcBef>
              <a:defRPr sz="1100">
                <a:solidFill>
                  <a:srgbClr val="000000"/>
                </a:solidFill>
              </a:defRPr>
            </a:lvl3pPr>
            <a:lvl4pPr marL="342900" indent="-114300">
              <a:spcBef>
                <a:spcPts val="600"/>
              </a:spcBef>
              <a:buClr>
                <a:srgbClr val="000000"/>
              </a:buClr>
              <a:defRPr sz="1050">
                <a:solidFill>
                  <a:srgbClr val="000000"/>
                </a:solidFill>
              </a:defRPr>
            </a:lvl4pPr>
            <a:lvl5pPr>
              <a:defRPr sz="105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Footer Placeholder 4"/>
          <p:cNvSpPr>
            <a:spLocks noGrp="1"/>
          </p:cNvSpPr>
          <p:nvPr>
            <p:ph type="ftr" sz="quarter" idx="16"/>
          </p:nvPr>
        </p:nvSpPr>
        <p:spPr>
          <a:xfrm>
            <a:off x="320040" y="6483290"/>
            <a:ext cx="3933825" cy="172486"/>
          </a:xfrm>
          <a:prstGeom prst="rect">
            <a:avLst/>
          </a:prstGeom>
        </p:spPr>
        <p:txBody>
          <a:bodyPr/>
          <a:lstStyle>
            <a:lvl1pPr algn="r">
              <a:defRPr smtClean="0">
                <a:solidFill>
                  <a:srgbClr val="000000"/>
                </a:solidFill>
              </a:defRPr>
            </a:lvl1pPr>
          </a:lstStyle>
          <a:p>
            <a:pPr algn="l">
              <a:defRPr/>
            </a:pPr>
            <a:r>
              <a:rPr lang="en-US" sz="1800" dirty="0"/>
              <a:t>For institutional use only.</a:t>
            </a:r>
          </a:p>
        </p:txBody>
      </p:sp>
      <p:sp>
        <p:nvSpPr>
          <p:cNvPr id="15" name="Rectangle 155"/>
          <p:cNvSpPr>
            <a:spLocks noGrp="1" noChangeArrowheads="1"/>
          </p:cNvSpPr>
          <p:nvPr>
            <p:ph type="dt" sz="half" idx="17"/>
          </p:nvPr>
        </p:nvSpPr>
        <p:spPr>
          <a:xfrm>
            <a:off x="320040" y="6655654"/>
            <a:ext cx="1983958" cy="120649"/>
          </a:xfrm>
        </p:spPr>
        <p:txBody>
          <a:bodyPr/>
          <a:lstStyle>
            <a:lvl1pPr algn="l">
              <a:defRPr sz="700" smtClean="0">
                <a:solidFill>
                  <a:srgbClr val="000000"/>
                </a:solidFill>
              </a:defRPr>
            </a:lvl1pPr>
          </a:lstStyle>
          <a:p>
            <a:pPr>
              <a:defRPr/>
            </a:pPr>
            <a:endParaRPr lang="en-US" dirty="0"/>
          </a:p>
        </p:txBody>
      </p:sp>
      <p:grpSp>
        <p:nvGrpSpPr>
          <p:cNvPr id="16" name="Group 15"/>
          <p:cNvGrpSpPr/>
          <p:nvPr userDrawn="1"/>
        </p:nvGrpSpPr>
        <p:grpSpPr>
          <a:xfrm>
            <a:off x="7364320" y="6412511"/>
            <a:ext cx="1371600" cy="283464"/>
            <a:chOff x="4291013" y="3178175"/>
            <a:chExt cx="3197225" cy="688975"/>
          </a:xfrm>
        </p:grpSpPr>
        <p:sp>
          <p:nvSpPr>
            <p:cNvPr id="17"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8"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9"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0"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1"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2"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3"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4"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5"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6"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7"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8"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9"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0"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1"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2"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3"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4"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5"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6"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7"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8"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9"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40"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41"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grpSp>
      <p:sp>
        <p:nvSpPr>
          <p:cNvPr id="42" name="Slide Number Placeholder 3"/>
          <p:cNvSpPr>
            <a:spLocks noGrp="1"/>
          </p:cNvSpPr>
          <p:nvPr>
            <p:ph type="sldNum" sz="quarter" idx="18"/>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135087331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8" name="Footer Placeholder 4"/>
          <p:cNvSpPr>
            <a:spLocks noGrp="1"/>
          </p:cNvSpPr>
          <p:nvPr>
            <p:ph type="ftr" sz="quarter" idx="15"/>
          </p:nvPr>
        </p:nvSpPr>
        <p:spPr>
          <a:xfrm>
            <a:off x="320040" y="6483290"/>
            <a:ext cx="3933825" cy="172486"/>
          </a:xfrm>
          <a:prstGeom prst="rect">
            <a:avLst/>
          </a:prstGeom>
        </p:spPr>
        <p:txBody>
          <a:bodyPr/>
          <a:lstStyle>
            <a:lvl1pPr algn="r">
              <a:defRPr smtClean="0">
                <a:solidFill>
                  <a:srgbClr val="000000"/>
                </a:solidFill>
              </a:defRPr>
            </a:lvl1pPr>
          </a:lstStyle>
          <a:p>
            <a:pPr algn="l">
              <a:defRPr/>
            </a:pPr>
            <a:r>
              <a:rPr lang="en-US" sz="1800" dirty="0"/>
              <a:t>For institutional use only.</a:t>
            </a:r>
          </a:p>
        </p:txBody>
      </p:sp>
      <p:sp>
        <p:nvSpPr>
          <p:cNvPr id="9"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endParaRPr lang="en-US" dirty="0"/>
          </a:p>
        </p:txBody>
      </p:sp>
      <p:grpSp>
        <p:nvGrpSpPr>
          <p:cNvPr id="10" name="Group 9"/>
          <p:cNvGrpSpPr/>
          <p:nvPr userDrawn="1"/>
        </p:nvGrpSpPr>
        <p:grpSpPr>
          <a:xfrm>
            <a:off x="7364320" y="6412511"/>
            <a:ext cx="1371600" cy="283464"/>
            <a:chOff x="4291013" y="3178175"/>
            <a:chExt cx="3197225" cy="688975"/>
          </a:xfrm>
        </p:grpSpPr>
        <p:sp>
          <p:nvSpPr>
            <p:cNvPr id="11"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2"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3"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4"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5"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6"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7"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8"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9"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0"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1"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2"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3"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4"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5"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6"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7"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8"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9"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0"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1"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2"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3"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4"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5"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grpSp>
      <p:sp>
        <p:nvSpPr>
          <p:cNvPr id="36"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376911485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3_FIAM_External_Print_Cover">
    <p:spTree>
      <p:nvGrpSpPr>
        <p:cNvPr id="1" name=""/>
        <p:cNvGrpSpPr/>
        <p:nvPr/>
      </p:nvGrpSpPr>
      <p:grpSpPr>
        <a:xfrm>
          <a:off x="0" y="0"/>
          <a:ext cx="0" cy="0"/>
          <a:chOff x="0" y="0"/>
          <a:chExt cx="0" cy="0"/>
        </a:xfrm>
      </p:grpSpPr>
      <p:pic>
        <p:nvPicPr>
          <p:cNvPr id="45" name="Picture 4" descr="C:\Users\a216024\Desktop\stuff\_PPT_107\PowerPoint_Templates_Samples\_10x7.5_Templates\NEW_FIAM\Covers_secondary_slides\2-7_Covers\LightGray_grayscale.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12688" b="17606"/>
          <a:stretch/>
        </p:blipFill>
        <p:spPr bwMode="auto">
          <a:xfrm>
            <a:off x="0" y="0"/>
            <a:ext cx="9144000" cy="3646714"/>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5" descr="C:\Users\a216024\Desktop\stuff\_PPT_107\PowerPoint_Templates_Samples\_10x7.5_Templates\NEW_FIAM\Covers_secondary_slides\2-7_Covers\ColorBar.png"/>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l="1379" r="1716"/>
          <a:stretch/>
        </p:blipFill>
        <p:spPr bwMode="auto">
          <a:xfrm>
            <a:off x="0" y="3481388"/>
            <a:ext cx="9144000" cy="219075"/>
          </a:xfrm>
          <a:prstGeom prst="rect">
            <a:avLst/>
          </a:prstGeom>
          <a:noFill/>
          <a:extLst>
            <a:ext uri="{909E8E84-426E-40DD-AFC4-6F175D3DCCD1}">
              <a14:hiddenFill xmlns:a14="http://schemas.microsoft.com/office/drawing/2010/main">
                <a:solidFill>
                  <a:srgbClr val="FFFFFF"/>
                </a:solidFill>
              </a14:hiddenFill>
            </a:ext>
          </a:extLst>
        </p:spPr>
      </p:pic>
      <p:grpSp>
        <p:nvGrpSpPr>
          <p:cNvPr id="80" name="Group 79"/>
          <p:cNvGrpSpPr/>
          <p:nvPr userDrawn="1"/>
        </p:nvGrpSpPr>
        <p:grpSpPr>
          <a:xfrm>
            <a:off x="6970734" y="6128901"/>
            <a:ext cx="1839928" cy="396052"/>
            <a:chOff x="6923088" y="4475163"/>
            <a:chExt cx="1873251" cy="403225"/>
          </a:xfrm>
        </p:grpSpPr>
        <p:sp>
          <p:nvSpPr>
            <p:cNvPr id="81" name="AutoShape 4"/>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82" name="Freeform 6"/>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83" name="Freeform 7"/>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84" name="Freeform 83"/>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85" name="Freeform 84"/>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86" name="Freeform 85"/>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87" name="Freeform 86"/>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88" name="Freeform 87"/>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89" name="Freeform 88"/>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0" name="Freeform 89"/>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1" name="Freeform 90"/>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2" name="Freeform 91"/>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3" name="Freeform 92"/>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4" name="Freeform 93"/>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5" name="Freeform 94"/>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6" name="Freeform 95"/>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7" name="Freeform 96"/>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8" name="Freeform 97"/>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9" name="Freeform 98"/>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00" name="Freeform 99"/>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01" name="Freeform 100"/>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02" name="Freeform 101"/>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03" name="Freeform 102"/>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04" name="Freeform 103"/>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05" name="Freeform 104"/>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06" name="Freeform 105"/>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grpSp>
      <p:sp>
        <p:nvSpPr>
          <p:cNvPr id="44" name="Text Placeholder 43"/>
          <p:cNvSpPr>
            <a:spLocks noGrp="1"/>
          </p:cNvSpPr>
          <p:nvPr>
            <p:ph type="body" sz="quarter" idx="10"/>
          </p:nvPr>
        </p:nvSpPr>
        <p:spPr>
          <a:xfrm>
            <a:off x="715495" y="3833787"/>
            <a:ext cx="2455544" cy="332365"/>
          </a:xfrm>
        </p:spPr>
        <p:txBody>
          <a:bodyPr/>
          <a:lstStyle>
            <a:lvl1pPr>
              <a:defRPr lang="en-US" sz="1000" b="0" kern="1200" smtClean="0">
                <a:solidFill>
                  <a:srgbClr val="000000"/>
                </a:solidFill>
                <a:latin typeface="Arial"/>
                <a:ea typeface="ＭＳ Ｐゴシック"/>
                <a:cs typeface="ＭＳ Ｐゴシック"/>
              </a:defRPr>
            </a:lvl1pPr>
          </a:lstStyle>
          <a:p>
            <a:pPr lvl="0"/>
            <a:r>
              <a:rPr lang="en-US"/>
              <a:t>Click to edit Master text styles</a:t>
            </a:r>
          </a:p>
        </p:txBody>
      </p:sp>
      <p:sp>
        <p:nvSpPr>
          <p:cNvPr id="53" name="Content Placeholder 52"/>
          <p:cNvSpPr>
            <a:spLocks noGrp="1"/>
          </p:cNvSpPr>
          <p:nvPr>
            <p:ph sz="quarter" idx="12"/>
          </p:nvPr>
        </p:nvSpPr>
        <p:spPr>
          <a:xfrm>
            <a:off x="6280150" y="3842381"/>
            <a:ext cx="2487613" cy="165226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47" name="Rectangle 176"/>
          <p:cNvSpPr>
            <a:spLocks noGrp="1" noChangeArrowheads="1"/>
          </p:cNvSpPr>
          <p:nvPr>
            <p:ph type="ftr" sz="quarter" idx="13"/>
          </p:nvPr>
        </p:nvSpPr>
        <p:spPr>
          <a:xfrm>
            <a:off x="281401" y="5877558"/>
            <a:ext cx="6014623" cy="260350"/>
          </a:xfrm>
        </p:spPr>
        <p:txBody>
          <a:bodyPr anchor="b" anchorCtr="0"/>
          <a:lstStyle>
            <a:lvl1pPr algn="l">
              <a:defRPr sz="800" b="0" smtClean="0">
                <a:solidFill>
                  <a:srgbClr val="000000"/>
                </a:solidFill>
              </a:defRPr>
            </a:lvl1pPr>
          </a:lstStyle>
          <a:p>
            <a:pPr>
              <a:defRPr/>
            </a:pPr>
            <a:r>
              <a:rPr lang="en-US" b="1" dirty="0"/>
              <a:t>For institutional use only.</a:t>
            </a:r>
          </a:p>
        </p:txBody>
      </p:sp>
      <p:sp>
        <p:nvSpPr>
          <p:cNvPr id="72" name="Rectangle 6"/>
          <p:cNvSpPr>
            <a:spLocks noGrp="1" noChangeArrowheads="1"/>
          </p:cNvSpPr>
          <p:nvPr>
            <p:ph type="subTitle" idx="1"/>
          </p:nvPr>
        </p:nvSpPr>
        <p:spPr>
          <a:xfrm>
            <a:off x="685251" y="2091765"/>
            <a:ext cx="7805762" cy="563076"/>
          </a:xfrm>
        </p:spPr>
        <p:txBody>
          <a:bodyPr lIns="100584" rIns="100584"/>
          <a:lstStyle>
            <a:lvl1pPr marL="0" indent="0">
              <a:spcBef>
                <a:spcPts val="0"/>
              </a:spcBef>
              <a:defRPr sz="2000" b="0">
                <a:solidFill>
                  <a:srgbClr val="7A9B3D"/>
                </a:solidFill>
              </a:defRPr>
            </a:lvl1pPr>
          </a:lstStyle>
          <a:p>
            <a:r>
              <a:rPr lang="en-US"/>
              <a:t>Click to edit Master subtitle style</a:t>
            </a:r>
            <a:endParaRPr lang="en-US" dirty="0"/>
          </a:p>
        </p:txBody>
      </p:sp>
      <p:sp>
        <p:nvSpPr>
          <p:cNvPr id="74" name="Text Placeholder 43"/>
          <p:cNvSpPr>
            <a:spLocks noGrp="1"/>
          </p:cNvSpPr>
          <p:nvPr>
            <p:ph type="body" sz="quarter" idx="14" hasCustomPrompt="1"/>
          </p:nvPr>
        </p:nvSpPr>
        <p:spPr>
          <a:xfrm>
            <a:off x="685251" y="2581276"/>
            <a:ext cx="7805762" cy="266850"/>
          </a:xfrm>
        </p:spPr>
        <p:txBody>
          <a:bodyPr lIns="100584" rIns="100584"/>
          <a:lstStyle>
            <a:lvl1pPr>
              <a:spcBef>
                <a:spcPts val="0"/>
              </a:spcBef>
              <a:defRPr lang="en-US" sz="1200" b="0" kern="1200" dirty="0" smtClean="0">
                <a:solidFill>
                  <a:srgbClr val="333F48"/>
                </a:solidFill>
                <a:latin typeface="Arial"/>
                <a:ea typeface="ＭＳ Ｐゴシック" pitchFamily="34" charset="-128"/>
                <a:cs typeface="+mn-cs"/>
              </a:defRPr>
            </a:lvl1pPr>
          </a:lstStyle>
          <a:p>
            <a:pPr lvl="0"/>
            <a:r>
              <a:rPr lang="en-US" dirty="0"/>
              <a:t>Date</a:t>
            </a:r>
          </a:p>
        </p:txBody>
      </p:sp>
      <p:sp>
        <p:nvSpPr>
          <p:cNvPr id="39" name="Rectangle 9"/>
          <p:cNvSpPr>
            <a:spLocks noGrp="1" noChangeArrowheads="1"/>
          </p:cNvSpPr>
          <p:nvPr>
            <p:ph type="title" hasCustomPrompt="1"/>
          </p:nvPr>
        </p:nvSpPr>
        <p:spPr bwMode="auto">
          <a:xfrm>
            <a:off x="685252" y="1581072"/>
            <a:ext cx="7820573" cy="5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b" anchorCtr="0" compatLnSpc="1">
            <a:prstTxWarp prst="textNoShape">
              <a:avLst/>
            </a:prstTxWarp>
          </a:bodyPr>
          <a:lstStyle>
            <a:lvl1pPr>
              <a:defRPr sz="3000">
                <a:solidFill>
                  <a:schemeClr val="bg2"/>
                </a:solidFill>
              </a:defRPr>
            </a:lvl1pPr>
          </a:lstStyle>
          <a:p>
            <a:pPr lvl="0"/>
            <a:r>
              <a:rPr lang="en-US" altLang="en-US" dirty="0"/>
              <a:t>Click To Edit Master Title Style</a:t>
            </a:r>
          </a:p>
        </p:txBody>
      </p:sp>
      <p:grpSp>
        <p:nvGrpSpPr>
          <p:cNvPr id="43" name="Group 42"/>
          <p:cNvGrpSpPr/>
          <p:nvPr userDrawn="1"/>
        </p:nvGrpSpPr>
        <p:grpSpPr>
          <a:xfrm>
            <a:off x="371883" y="6327145"/>
            <a:ext cx="4006611" cy="174407"/>
            <a:chOff x="371883" y="6327145"/>
            <a:chExt cx="4006611" cy="174407"/>
          </a:xfrm>
        </p:grpSpPr>
        <p:grpSp>
          <p:nvGrpSpPr>
            <p:cNvPr id="49" name="Group 48"/>
            <p:cNvGrpSpPr/>
            <p:nvPr userDrawn="1"/>
          </p:nvGrpSpPr>
          <p:grpSpPr>
            <a:xfrm>
              <a:off x="371883" y="6359447"/>
              <a:ext cx="3947551" cy="100654"/>
              <a:chOff x="362358" y="6368972"/>
              <a:chExt cx="3947551" cy="100654"/>
            </a:xfrm>
          </p:grpSpPr>
          <p:pic>
            <p:nvPicPr>
              <p:cNvPr id="51" name="Picture 5"/>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r="1439" b="-2834"/>
              <a:stretch/>
            </p:blipFill>
            <p:spPr bwMode="auto">
              <a:xfrm>
                <a:off x="362358" y="6368972"/>
                <a:ext cx="3848307" cy="100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2" name="AutoShape 4"/>
              <p:cNvSpPr>
                <a:spLocks noChangeAspect="1" noChangeArrowheads="1" noTextEdit="1"/>
              </p:cNvSpPr>
              <p:nvPr userDrawn="1"/>
            </p:nvSpPr>
            <p:spPr bwMode="auto">
              <a:xfrm>
                <a:off x="4213072" y="6374683"/>
                <a:ext cx="96837"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grpSp>
        <p:sp>
          <p:nvSpPr>
            <p:cNvPr id="50" name="TextBox 49"/>
            <p:cNvSpPr txBox="1"/>
            <p:nvPr userDrawn="1"/>
          </p:nvSpPr>
          <p:spPr>
            <a:xfrm>
              <a:off x="4144134" y="6327145"/>
              <a:ext cx="234360" cy="174407"/>
            </a:xfrm>
            <a:prstGeom prst="rect">
              <a:avLst/>
            </a:prstGeom>
            <a:noFill/>
          </p:spPr>
          <p:txBody>
            <a:bodyPr wrap="none" rtlCol="0">
              <a:spAutoFit/>
            </a:bodyPr>
            <a:lstStyle/>
            <a:p>
              <a:pPr fontAlgn="base">
                <a:spcBef>
                  <a:spcPct val="0"/>
                </a:spcBef>
                <a:spcAft>
                  <a:spcPct val="0"/>
                </a:spcAft>
              </a:pPr>
              <a:r>
                <a:rPr lang="en-US" sz="800" b="1" baseline="30000" dirty="0">
                  <a:solidFill>
                    <a:srgbClr val="000000"/>
                  </a:solidFill>
                  <a:ea typeface="ＭＳ Ｐゴシック"/>
                </a:rPr>
                <a:t>®</a:t>
              </a:r>
            </a:p>
          </p:txBody>
        </p:sp>
      </p:grpSp>
    </p:spTree>
    <p:extLst>
      <p:ext uri="{BB962C8B-B14F-4D97-AF65-F5344CB8AC3E}">
        <p14:creationId xmlns:p14="http://schemas.microsoft.com/office/powerpoint/2010/main" val="282737922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grpSp>
        <p:nvGrpSpPr>
          <p:cNvPr id="4" name="Group 6"/>
          <p:cNvGrpSpPr>
            <a:grpSpLocks/>
          </p:cNvGrpSpPr>
          <p:nvPr/>
        </p:nvGrpSpPr>
        <p:grpSpPr bwMode="auto">
          <a:xfrm>
            <a:off x="7364413" y="6411913"/>
            <a:ext cx="1371600" cy="284162"/>
            <a:chOff x="4291013" y="3178175"/>
            <a:chExt cx="3197225" cy="688975"/>
          </a:xfrm>
        </p:grpSpPr>
        <p:sp>
          <p:nvSpPr>
            <p:cNvPr id="5" name="Freeform 6"/>
            <p:cNvSpPr>
              <a:spLocks/>
            </p:cNvSpPr>
            <p:nvPr/>
          </p:nvSpPr>
          <p:spPr bwMode="auto">
            <a:xfrm>
              <a:off x="4300538" y="3190875"/>
              <a:ext cx="644525" cy="644525"/>
            </a:xfrm>
            <a:custGeom>
              <a:avLst/>
              <a:gdLst>
                <a:gd name="T0" fmla="*/ 323850 w 406"/>
                <a:gd name="T1" fmla="*/ 644525 h 406"/>
                <a:gd name="T2" fmla="*/ 387350 w 406"/>
                <a:gd name="T3" fmla="*/ 638175 h 406"/>
                <a:gd name="T4" fmla="*/ 447675 w 406"/>
                <a:gd name="T5" fmla="*/ 619125 h 406"/>
                <a:gd name="T6" fmla="*/ 501650 w 406"/>
                <a:gd name="T7" fmla="*/ 590550 h 406"/>
                <a:gd name="T8" fmla="*/ 549275 w 406"/>
                <a:gd name="T9" fmla="*/ 549275 h 406"/>
                <a:gd name="T10" fmla="*/ 590550 w 406"/>
                <a:gd name="T11" fmla="*/ 501650 h 406"/>
                <a:gd name="T12" fmla="*/ 619125 w 406"/>
                <a:gd name="T13" fmla="*/ 447675 h 406"/>
                <a:gd name="T14" fmla="*/ 638175 w 406"/>
                <a:gd name="T15" fmla="*/ 387350 h 406"/>
                <a:gd name="T16" fmla="*/ 644525 w 406"/>
                <a:gd name="T17" fmla="*/ 323850 h 406"/>
                <a:gd name="T18" fmla="*/ 641350 w 406"/>
                <a:gd name="T19" fmla="*/ 288925 h 406"/>
                <a:gd name="T20" fmla="*/ 628650 w 406"/>
                <a:gd name="T21" fmla="*/ 228600 h 406"/>
                <a:gd name="T22" fmla="*/ 606425 w 406"/>
                <a:gd name="T23" fmla="*/ 168275 h 406"/>
                <a:gd name="T24" fmla="*/ 571500 w 406"/>
                <a:gd name="T25" fmla="*/ 117475 h 406"/>
                <a:gd name="T26" fmla="*/ 527050 w 406"/>
                <a:gd name="T27" fmla="*/ 73025 h 406"/>
                <a:gd name="T28" fmla="*/ 476250 w 406"/>
                <a:gd name="T29" fmla="*/ 41275 h 406"/>
                <a:gd name="T30" fmla="*/ 419100 w 406"/>
                <a:gd name="T31" fmla="*/ 15875 h 406"/>
                <a:gd name="T32" fmla="*/ 355600 w 406"/>
                <a:gd name="T33" fmla="*/ 3175 h 406"/>
                <a:gd name="T34" fmla="*/ 323850 w 406"/>
                <a:gd name="T35" fmla="*/ 0 h 406"/>
                <a:gd name="T36" fmla="*/ 257175 w 406"/>
                <a:gd name="T37" fmla="*/ 6350 h 406"/>
                <a:gd name="T38" fmla="*/ 196850 w 406"/>
                <a:gd name="T39" fmla="*/ 25400 h 406"/>
                <a:gd name="T40" fmla="*/ 142875 w 406"/>
                <a:gd name="T41" fmla="*/ 57150 h 406"/>
                <a:gd name="T42" fmla="*/ 95250 w 406"/>
                <a:gd name="T43" fmla="*/ 95250 h 406"/>
                <a:gd name="T44" fmla="*/ 57150 w 406"/>
                <a:gd name="T45" fmla="*/ 142875 h 406"/>
                <a:gd name="T46" fmla="*/ 25400 w 406"/>
                <a:gd name="T47" fmla="*/ 196850 h 406"/>
                <a:gd name="T48" fmla="*/ 6350 w 406"/>
                <a:gd name="T49" fmla="*/ 257175 h 406"/>
                <a:gd name="T50" fmla="*/ 0 w 406"/>
                <a:gd name="T51" fmla="*/ 323850 h 406"/>
                <a:gd name="T52" fmla="*/ 3175 w 406"/>
                <a:gd name="T53" fmla="*/ 355600 h 406"/>
                <a:gd name="T54" fmla="*/ 15875 w 406"/>
                <a:gd name="T55" fmla="*/ 419100 h 406"/>
                <a:gd name="T56" fmla="*/ 38100 w 406"/>
                <a:gd name="T57" fmla="*/ 476250 h 406"/>
                <a:gd name="T58" fmla="*/ 73025 w 406"/>
                <a:gd name="T59" fmla="*/ 527050 h 406"/>
                <a:gd name="T60" fmla="*/ 117475 w 406"/>
                <a:gd name="T61" fmla="*/ 571500 h 406"/>
                <a:gd name="T62" fmla="*/ 168275 w 406"/>
                <a:gd name="T63" fmla="*/ 606425 h 406"/>
                <a:gd name="T64" fmla="*/ 225425 w 406"/>
                <a:gd name="T65" fmla="*/ 631825 h 406"/>
                <a:gd name="T66" fmla="*/ 288925 w 406"/>
                <a:gd name="T67" fmla="*/ 644525 h 40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200" dirty="0">
                <a:solidFill>
                  <a:srgbClr val="000000"/>
                </a:solidFill>
                <a:ea typeface="ＭＳ Ｐゴシック"/>
              </a:endParaRPr>
            </a:p>
          </p:txBody>
        </p:sp>
        <p:sp>
          <p:nvSpPr>
            <p:cNvPr id="6" name="Freeform 7"/>
            <p:cNvSpPr>
              <a:spLocks/>
            </p:cNvSpPr>
            <p:nvPr/>
          </p:nvSpPr>
          <p:spPr bwMode="auto">
            <a:xfrm>
              <a:off x="4300538" y="3190875"/>
              <a:ext cx="644525" cy="644525"/>
            </a:xfrm>
            <a:custGeom>
              <a:avLst/>
              <a:gdLst>
                <a:gd name="T0" fmla="*/ 323850 w 406"/>
                <a:gd name="T1" fmla="*/ 644525 h 406"/>
                <a:gd name="T2" fmla="*/ 387350 w 406"/>
                <a:gd name="T3" fmla="*/ 638175 h 406"/>
                <a:gd name="T4" fmla="*/ 447675 w 406"/>
                <a:gd name="T5" fmla="*/ 619125 h 406"/>
                <a:gd name="T6" fmla="*/ 501650 w 406"/>
                <a:gd name="T7" fmla="*/ 590550 h 406"/>
                <a:gd name="T8" fmla="*/ 549275 w 406"/>
                <a:gd name="T9" fmla="*/ 549275 h 406"/>
                <a:gd name="T10" fmla="*/ 590550 w 406"/>
                <a:gd name="T11" fmla="*/ 501650 h 406"/>
                <a:gd name="T12" fmla="*/ 619125 w 406"/>
                <a:gd name="T13" fmla="*/ 447675 h 406"/>
                <a:gd name="T14" fmla="*/ 638175 w 406"/>
                <a:gd name="T15" fmla="*/ 387350 h 406"/>
                <a:gd name="T16" fmla="*/ 644525 w 406"/>
                <a:gd name="T17" fmla="*/ 323850 h 406"/>
                <a:gd name="T18" fmla="*/ 641350 w 406"/>
                <a:gd name="T19" fmla="*/ 288925 h 406"/>
                <a:gd name="T20" fmla="*/ 628650 w 406"/>
                <a:gd name="T21" fmla="*/ 228600 h 406"/>
                <a:gd name="T22" fmla="*/ 606425 w 406"/>
                <a:gd name="T23" fmla="*/ 168275 h 406"/>
                <a:gd name="T24" fmla="*/ 571500 w 406"/>
                <a:gd name="T25" fmla="*/ 117475 h 406"/>
                <a:gd name="T26" fmla="*/ 527050 w 406"/>
                <a:gd name="T27" fmla="*/ 73025 h 406"/>
                <a:gd name="T28" fmla="*/ 476250 w 406"/>
                <a:gd name="T29" fmla="*/ 41275 h 406"/>
                <a:gd name="T30" fmla="*/ 419100 w 406"/>
                <a:gd name="T31" fmla="*/ 15875 h 406"/>
                <a:gd name="T32" fmla="*/ 355600 w 406"/>
                <a:gd name="T33" fmla="*/ 3175 h 406"/>
                <a:gd name="T34" fmla="*/ 323850 w 406"/>
                <a:gd name="T35" fmla="*/ 0 h 406"/>
                <a:gd name="T36" fmla="*/ 257175 w 406"/>
                <a:gd name="T37" fmla="*/ 6350 h 406"/>
                <a:gd name="T38" fmla="*/ 196850 w 406"/>
                <a:gd name="T39" fmla="*/ 25400 h 406"/>
                <a:gd name="T40" fmla="*/ 142875 w 406"/>
                <a:gd name="T41" fmla="*/ 57150 h 406"/>
                <a:gd name="T42" fmla="*/ 95250 w 406"/>
                <a:gd name="T43" fmla="*/ 95250 h 406"/>
                <a:gd name="T44" fmla="*/ 57150 w 406"/>
                <a:gd name="T45" fmla="*/ 142875 h 406"/>
                <a:gd name="T46" fmla="*/ 25400 w 406"/>
                <a:gd name="T47" fmla="*/ 196850 h 406"/>
                <a:gd name="T48" fmla="*/ 6350 w 406"/>
                <a:gd name="T49" fmla="*/ 257175 h 406"/>
                <a:gd name="T50" fmla="*/ 0 w 406"/>
                <a:gd name="T51" fmla="*/ 323850 h 406"/>
                <a:gd name="T52" fmla="*/ 3175 w 406"/>
                <a:gd name="T53" fmla="*/ 355600 h 406"/>
                <a:gd name="T54" fmla="*/ 15875 w 406"/>
                <a:gd name="T55" fmla="*/ 419100 h 406"/>
                <a:gd name="T56" fmla="*/ 38100 w 406"/>
                <a:gd name="T57" fmla="*/ 476250 h 406"/>
                <a:gd name="T58" fmla="*/ 73025 w 406"/>
                <a:gd name="T59" fmla="*/ 527050 h 406"/>
                <a:gd name="T60" fmla="*/ 117475 w 406"/>
                <a:gd name="T61" fmla="*/ 571500 h 406"/>
                <a:gd name="T62" fmla="*/ 168275 w 406"/>
                <a:gd name="T63" fmla="*/ 606425 h 406"/>
                <a:gd name="T64" fmla="*/ 225425 w 406"/>
                <a:gd name="T65" fmla="*/ 631825 h 406"/>
                <a:gd name="T66" fmla="*/ 288925 w 406"/>
                <a:gd name="T67" fmla="*/ 644525 h 40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200" dirty="0">
                <a:solidFill>
                  <a:srgbClr val="000000"/>
                </a:solidFill>
                <a:ea typeface="ＭＳ Ｐゴシック"/>
              </a:endParaRPr>
            </a:p>
          </p:txBody>
        </p:sp>
        <p:sp>
          <p:nvSpPr>
            <p:cNvPr id="8" name="Freeform 8"/>
            <p:cNvSpPr>
              <a:spLocks/>
            </p:cNvSpPr>
            <p:nvPr/>
          </p:nvSpPr>
          <p:spPr bwMode="auto">
            <a:xfrm>
              <a:off x="4291013" y="3178175"/>
              <a:ext cx="660400" cy="631825"/>
            </a:xfrm>
            <a:custGeom>
              <a:avLst/>
              <a:gdLst>
                <a:gd name="T0" fmla="*/ 434975 w 416"/>
                <a:gd name="T1" fmla="*/ 412750 h 398"/>
                <a:gd name="T2" fmla="*/ 206375 w 416"/>
                <a:gd name="T3" fmla="*/ 631825 h 398"/>
                <a:gd name="T4" fmla="*/ 149225 w 416"/>
                <a:gd name="T5" fmla="*/ 600075 h 398"/>
                <a:gd name="T6" fmla="*/ 76200 w 416"/>
                <a:gd name="T7" fmla="*/ 533400 h 398"/>
                <a:gd name="T8" fmla="*/ 25400 w 416"/>
                <a:gd name="T9" fmla="*/ 450850 h 398"/>
                <a:gd name="T10" fmla="*/ 6350 w 416"/>
                <a:gd name="T11" fmla="*/ 390525 h 398"/>
                <a:gd name="T12" fmla="*/ 3175 w 416"/>
                <a:gd name="T13" fmla="*/ 292100 h 398"/>
                <a:gd name="T14" fmla="*/ 25400 w 416"/>
                <a:gd name="T15" fmla="*/ 200025 h 398"/>
                <a:gd name="T16" fmla="*/ 57150 w 416"/>
                <a:gd name="T17" fmla="*/ 142875 h 398"/>
                <a:gd name="T18" fmla="*/ 123825 w 416"/>
                <a:gd name="T19" fmla="*/ 69850 h 398"/>
                <a:gd name="T20" fmla="*/ 209550 w 416"/>
                <a:gd name="T21" fmla="*/ 19050 h 398"/>
                <a:gd name="T22" fmla="*/ 260350 w 416"/>
                <a:gd name="T23" fmla="*/ 6350 h 398"/>
                <a:gd name="T24" fmla="*/ 342900 w 416"/>
                <a:gd name="T25" fmla="*/ 0 h 398"/>
                <a:gd name="T26" fmla="*/ 422275 w 416"/>
                <a:gd name="T27" fmla="*/ 12700 h 398"/>
                <a:gd name="T28" fmla="*/ 479425 w 416"/>
                <a:gd name="T29" fmla="*/ 34925 h 398"/>
                <a:gd name="T30" fmla="*/ 555625 w 416"/>
                <a:gd name="T31" fmla="*/ 88900 h 398"/>
                <a:gd name="T32" fmla="*/ 612775 w 416"/>
                <a:gd name="T33" fmla="*/ 158750 h 398"/>
                <a:gd name="T34" fmla="*/ 641350 w 416"/>
                <a:gd name="T35" fmla="*/ 222250 h 398"/>
                <a:gd name="T36" fmla="*/ 660400 w 416"/>
                <a:gd name="T37" fmla="*/ 323850 h 398"/>
                <a:gd name="T38" fmla="*/ 644525 w 416"/>
                <a:gd name="T39" fmla="*/ 425450 h 398"/>
                <a:gd name="T40" fmla="*/ 603250 w 416"/>
                <a:gd name="T41" fmla="*/ 511175 h 398"/>
                <a:gd name="T42" fmla="*/ 539750 w 416"/>
                <a:gd name="T43" fmla="*/ 584200 h 398"/>
                <a:gd name="T44" fmla="*/ 574675 w 416"/>
                <a:gd name="T45" fmla="*/ 504825 h 398"/>
                <a:gd name="T46" fmla="*/ 415925 w 416"/>
                <a:gd name="T47" fmla="*/ 365125 h 398"/>
                <a:gd name="T48" fmla="*/ 622300 w 416"/>
                <a:gd name="T49" fmla="*/ 396875 h 398"/>
                <a:gd name="T50" fmla="*/ 628650 w 416"/>
                <a:gd name="T51" fmla="*/ 279400 h 398"/>
                <a:gd name="T52" fmla="*/ 422275 w 416"/>
                <a:gd name="T53" fmla="*/ 292100 h 398"/>
                <a:gd name="T54" fmla="*/ 584200 w 416"/>
                <a:gd name="T55" fmla="*/ 168275 h 398"/>
                <a:gd name="T56" fmla="*/ 400050 w 416"/>
                <a:gd name="T57" fmla="*/ 260350 h 398"/>
                <a:gd name="T58" fmla="*/ 498475 w 416"/>
                <a:gd name="T59" fmla="*/ 82550 h 398"/>
                <a:gd name="T60" fmla="*/ 393700 w 416"/>
                <a:gd name="T61" fmla="*/ 34925 h 398"/>
                <a:gd name="T62" fmla="*/ 314325 w 416"/>
                <a:gd name="T63" fmla="*/ 168275 h 398"/>
                <a:gd name="T64" fmla="*/ 276225 w 416"/>
                <a:gd name="T65" fmla="*/ 28575 h 398"/>
                <a:gd name="T66" fmla="*/ 168275 w 416"/>
                <a:gd name="T67" fmla="*/ 76200 h 398"/>
                <a:gd name="T68" fmla="*/ 260350 w 416"/>
                <a:gd name="T69" fmla="*/ 254000 h 398"/>
                <a:gd name="T70" fmla="*/ 79375 w 416"/>
                <a:gd name="T71" fmla="*/ 158750 h 398"/>
                <a:gd name="T72" fmla="*/ 38100 w 416"/>
                <a:gd name="T73" fmla="*/ 266700 h 398"/>
                <a:gd name="T74" fmla="*/ 234950 w 416"/>
                <a:gd name="T75" fmla="*/ 327025 h 398"/>
                <a:gd name="T76" fmla="*/ 38100 w 416"/>
                <a:gd name="T77" fmla="*/ 384175 h 398"/>
                <a:gd name="T78" fmla="*/ 82550 w 416"/>
                <a:gd name="T79" fmla="*/ 495300 h 398"/>
                <a:gd name="T80" fmla="*/ 209550 w 416"/>
                <a:gd name="T81" fmla="*/ 431800 h 398"/>
                <a:gd name="T82" fmla="*/ 250825 w 416"/>
                <a:gd name="T83" fmla="*/ 365125 h 398"/>
                <a:gd name="T84" fmla="*/ 282575 w 416"/>
                <a:gd name="T85" fmla="*/ 390525 h 3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16" h="398">
                  <a:moveTo>
                    <a:pt x="178" y="246"/>
                  </a:moveTo>
                  <a:lnTo>
                    <a:pt x="252" y="246"/>
                  </a:lnTo>
                  <a:lnTo>
                    <a:pt x="274" y="260"/>
                  </a:lnTo>
                  <a:lnTo>
                    <a:pt x="174" y="260"/>
                  </a:lnTo>
                  <a:lnTo>
                    <a:pt x="134" y="384"/>
                  </a:lnTo>
                  <a:lnTo>
                    <a:pt x="130" y="398"/>
                  </a:lnTo>
                  <a:lnTo>
                    <a:pt x="112" y="390"/>
                  </a:lnTo>
                  <a:lnTo>
                    <a:pt x="94" y="378"/>
                  </a:lnTo>
                  <a:lnTo>
                    <a:pt x="78" y="366"/>
                  </a:lnTo>
                  <a:lnTo>
                    <a:pt x="62" y="352"/>
                  </a:lnTo>
                  <a:lnTo>
                    <a:pt x="48" y="336"/>
                  </a:lnTo>
                  <a:lnTo>
                    <a:pt x="34" y="320"/>
                  </a:lnTo>
                  <a:lnTo>
                    <a:pt x="24" y="302"/>
                  </a:lnTo>
                  <a:lnTo>
                    <a:pt x="16" y="284"/>
                  </a:lnTo>
                  <a:lnTo>
                    <a:pt x="8" y="266"/>
                  </a:lnTo>
                  <a:lnTo>
                    <a:pt x="4" y="246"/>
                  </a:lnTo>
                  <a:lnTo>
                    <a:pt x="2" y="226"/>
                  </a:lnTo>
                  <a:lnTo>
                    <a:pt x="0" y="206"/>
                  </a:lnTo>
                  <a:lnTo>
                    <a:pt x="2" y="184"/>
                  </a:lnTo>
                  <a:lnTo>
                    <a:pt x="4" y="164"/>
                  </a:lnTo>
                  <a:lnTo>
                    <a:pt x="10" y="146"/>
                  </a:lnTo>
                  <a:lnTo>
                    <a:pt x="16" y="126"/>
                  </a:lnTo>
                  <a:lnTo>
                    <a:pt x="24" y="108"/>
                  </a:lnTo>
                  <a:lnTo>
                    <a:pt x="36" y="90"/>
                  </a:lnTo>
                  <a:lnTo>
                    <a:pt x="48" y="74"/>
                  </a:lnTo>
                  <a:lnTo>
                    <a:pt x="62" y="58"/>
                  </a:lnTo>
                  <a:lnTo>
                    <a:pt x="78" y="44"/>
                  </a:lnTo>
                  <a:lnTo>
                    <a:pt x="96" y="32"/>
                  </a:lnTo>
                  <a:lnTo>
                    <a:pt x="114" y="20"/>
                  </a:lnTo>
                  <a:lnTo>
                    <a:pt x="132" y="12"/>
                  </a:lnTo>
                  <a:lnTo>
                    <a:pt x="148" y="8"/>
                  </a:lnTo>
                  <a:lnTo>
                    <a:pt x="164" y="4"/>
                  </a:lnTo>
                  <a:lnTo>
                    <a:pt x="182" y="0"/>
                  </a:lnTo>
                  <a:lnTo>
                    <a:pt x="198" y="0"/>
                  </a:lnTo>
                  <a:lnTo>
                    <a:pt x="216" y="0"/>
                  </a:lnTo>
                  <a:lnTo>
                    <a:pt x="234" y="0"/>
                  </a:lnTo>
                  <a:lnTo>
                    <a:pt x="250" y="4"/>
                  </a:lnTo>
                  <a:lnTo>
                    <a:pt x="266" y="8"/>
                  </a:lnTo>
                  <a:lnTo>
                    <a:pt x="284" y="14"/>
                  </a:lnTo>
                  <a:lnTo>
                    <a:pt x="302" y="22"/>
                  </a:lnTo>
                  <a:lnTo>
                    <a:pt x="318" y="32"/>
                  </a:lnTo>
                  <a:lnTo>
                    <a:pt x="334" y="42"/>
                  </a:lnTo>
                  <a:lnTo>
                    <a:pt x="350" y="56"/>
                  </a:lnTo>
                  <a:lnTo>
                    <a:pt x="364" y="70"/>
                  </a:lnTo>
                  <a:lnTo>
                    <a:pt x="376" y="84"/>
                  </a:lnTo>
                  <a:lnTo>
                    <a:pt x="386" y="100"/>
                  </a:lnTo>
                  <a:lnTo>
                    <a:pt x="396" y="120"/>
                  </a:lnTo>
                  <a:lnTo>
                    <a:pt x="404" y="140"/>
                  </a:lnTo>
                  <a:lnTo>
                    <a:pt x="410" y="160"/>
                  </a:lnTo>
                  <a:lnTo>
                    <a:pt x="414" y="182"/>
                  </a:lnTo>
                  <a:lnTo>
                    <a:pt x="416" y="204"/>
                  </a:lnTo>
                  <a:lnTo>
                    <a:pt x="414" y="226"/>
                  </a:lnTo>
                  <a:lnTo>
                    <a:pt x="412" y="248"/>
                  </a:lnTo>
                  <a:lnTo>
                    <a:pt x="406" y="268"/>
                  </a:lnTo>
                  <a:lnTo>
                    <a:pt x="396" y="296"/>
                  </a:lnTo>
                  <a:lnTo>
                    <a:pt x="380" y="322"/>
                  </a:lnTo>
                  <a:lnTo>
                    <a:pt x="362" y="346"/>
                  </a:lnTo>
                  <a:lnTo>
                    <a:pt x="352" y="358"/>
                  </a:lnTo>
                  <a:lnTo>
                    <a:pt x="340" y="368"/>
                  </a:lnTo>
                  <a:lnTo>
                    <a:pt x="334" y="358"/>
                  </a:lnTo>
                  <a:lnTo>
                    <a:pt x="284" y="276"/>
                  </a:lnTo>
                  <a:lnTo>
                    <a:pt x="362" y="318"/>
                  </a:lnTo>
                  <a:lnTo>
                    <a:pt x="262" y="230"/>
                  </a:lnTo>
                  <a:lnTo>
                    <a:pt x="392" y="250"/>
                  </a:lnTo>
                  <a:lnTo>
                    <a:pt x="390" y="250"/>
                  </a:lnTo>
                  <a:lnTo>
                    <a:pt x="268" y="206"/>
                  </a:lnTo>
                  <a:lnTo>
                    <a:pt x="396" y="176"/>
                  </a:lnTo>
                  <a:lnTo>
                    <a:pt x="396" y="174"/>
                  </a:lnTo>
                  <a:lnTo>
                    <a:pt x="266" y="184"/>
                  </a:lnTo>
                  <a:lnTo>
                    <a:pt x="358" y="114"/>
                  </a:lnTo>
                  <a:lnTo>
                    <a:pt x="368" y="106"/>
                  </a:lnTo>
                  <a:lnTo>
                    <a:pt x="366" y="106"/>
                  </a:lnTo>
                  <a:lnTo>
                    <a:pt x="270" y="156"/>
                  </a:lnTo>
                  <a:lnTo>
                    <a:pt x="252" y="164"/>
                  </a:lnTo>
                  <a:lnTo>
                    <a:pt x="316" y="52"/>
                  </a:lnTo>
                  <a:lnTo>
                    <a:pt x="314" y="52"/>
                  </a:lnTo>
                  <a:lnTo>
                    <a:pt x="232" y="150"/>
                  </a:lnTo>
                  <a:lnTo>
                    <a:pt x="248" y="22"/>
                  </a:lnTo>
                  <a:lnTo>
                    <a:pt x="208" y="146"/>
                  </a:lnTo>
                  <a:lnTo>
                    <a:pt x="198" y="106"/>
                  </a:lnTo>
                  <a:lnTo>
                    <a:pt x="176" y="18"/>
                  </a:lnTo>
                  <a:lnTo>
                    <a:pt x="174" y="18"/>
                  </a:lnTo>
                  <a:lnTo>
                    <a:pt x="176" y="28"/>
                  </a:lnTo>
                  <a:lnTo>
                    <a:pt x="184" y="150"/>
                  </a:lnTo>
                  <a:lnTo>
                    <a:pt x="106" y="48"/>
                  </a:lnTo>
                  <a:lnTo>
                    <a:pt x="104" y="48"/>
                  </a:lnTo>
                  <a:lnTo>
                    <a:pt x="164" y="160"/>
                  </a:lnTo>
                  <a:lnTo>
                    <a:pt x="52" y="100"/>
                  </a:lnTo>
                  <a:lnTo>
                    <a:pt x="50" y="100"/>
                  </a:lnTo>
                  <a:lnTo>
                    <a:pt x="140" y="174"/>
                  </a:lnTo>
                  <a:lnTo>
                    <a:pt x="150" y="182"/>
                  </a:lnTo>
                  <a:lnTo>
                    <a:pt x="24" y="168"/>
                  </a:lnTo>
                  <a:lnTo>
                    <a:pt x="24" y="170"/>
                  </a:lnTo>
                  <a:lnTo>
                    <a:pt x="148" y="206"/>
                  </a:lnTo>
                  <a:lnTo>
                    <a:pt x="24" y="242"/>
                  </a:lnTo>
                  <a:lnTo>
                    <a:pt x="150" y="228"/>
                  </a:lnTo>
                  <a:lnTo>
                    <a:pt x="52" y="312"/>
                  </a:lnTo>
                  <a:lnTo>
                    <a:pt x="52" y="314"/>
                  </a:lnTo>
                  <a:lnTo>
                    <a:pt x="52" y="312"/>
                  </a:lnTo>
                  <a:lnTo>
                    <a:pt x="132" y="272"/>
                  </a:lnTo>
                  <a:lnTo>
                    <a:pt x="152" y="242"/>
                  </a:lnTo>
                  <a:lnTo>
                    <a:pt x="172" y="242"/>
                  </a:lnTo>
                  <a:lnTo>
                    <a:pt x="158" y="230"/>
                  </a:lnTo>
                  <a:lnTo>
                    <a:pt x="208" y="152"/>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200" dirty="0">
                <a:solidFill>
                  <a:srgbClr val="000000"/>
                </a:solidFill>
                <a:ea typeface="ＭＳ Ｐゴシック"/>
              </a:endParaRPr>
            </a:p>
          </p:txBody>
        </p:sp>
        <p:sp>
          <p:nvSpPr>
            <p:cNvPr id="9" name="Freeform 9"/>
            <p:cNvSpPr>
              <a:spLocks/>
            </p:cNvSpPr>
            <p:nvPr/>
          </p:nvSpPr>
          <p:spPr bwMode="auto">
            <a:xfrm>
              <a:off x="4291013" y="3178175"/>
              <a:ext cx="660400" cy="631825"/>
            </a:xfrm>
            <a:custGeom>
              <a:avLst/>
              <a:gdLst>
                <a:gd name="T0" fmla="*/ 434975 w 416"/>
                <a:gd name="T1" fmla="*/ 412750 h 398"/>
                <a:gd name="T2" fmla="*/ 206375 w 416"/>
                <a:gd name="T3" fmla="*/ 631825 h 398"/>
                <a:gd name="T4" fmla="*/ 149225 w 416"/>
                <a:gd name="T5" fmla="*/ 600075 h 398"/>
                <a:gd name="T6" fmla="*/ 76200 w 416"/>
                <a:gd name="T7" fmla="*/ 533400 h 398"/>
                <a:gd name="T8" fmla="*/ 25400 w 416"/>
                <a:gd name="T9" fmla="*/ 450850 h 398"/>
                <a:gd name="T10" fmla="*/ 6350 w 416"/>
                <a:gd name="T11" fmla="*/ 390525 h 398"/>
                <a:gd name="T12" fmla="*/ 3175 w 416"/>
                <a:gd name="T13" fmla="*/ 292100 h 398"/>
                <a:gd name="T14" fmla="*/ 25400 w 416"/>
                <a:gd name="T15" fmla="*/ 200025 h 398"/>
                <a:gd name="T16" fmla="*/ 57150 w 416"/>
                <a:gd name="T17" fmla="*/ 142875 h 398"/>
                <a:gd name="T18" fmla="*/ 123825 w 416"/>
                <a:gd name="T19" fmla="*/ 69850 h 398"/>
                <a:gd name="T20" fmla="*/ 209550 w 416"/>
                <a:gd name="T21" fmla="*/ 19050 h 398"/>
                <a:gd name="T22" fmla="*/ 260350 w 416"/>
                <a:gd name="T23" fmla="*/ 6350 h 398"/>
                <a:gd name="T24" fmla="*/ 342900 w 416"/>
                <a:gd name="T25" fmla="*/ 0 h 398"/>
                <a:gd name="T26" fmla="*/ 422275 w 416"/>
                <a:gd name="T27" fmla="*/ 12700 h 398"/>
                <a:gd name="T28" fmla="*/ 479425 w 416"/>
                <a:gd name="T29" fmla="*/ 34925 h 398"/>
                <a:gd name="T30" fmla="*/ 555625 w 416"/>
                <a:gd name="T31" fmla="*/ 88900 h 398"/>
                <a:gd name="T32" fmla="*/ 612775 w 416"/>
                <a:gd name="T33" fmla="*/ 158750 h 398"/>
                <a:gd name="T34" fmla="*/ 641350 w 416"/>
                <a:gd name="T35" fmla="*/ 222250 h 398"/>
                <a:gd name="T36" fmla="*/ 660400 w 416"/>
                <a:gd name="T37" fmla="*/ 323850 h 398"/>
                <a:gd name="T38" fmla="*/ 644525 w 416"/>
                <a:gd name="T39" fmla="*/ 425450 h 398"/>
                <a:gd name="T40" fmla="*/ 603250 w 416"/>
                <a:gd name="T41" fmla="*/ 511175 h 398"/>
                <a:gd name="T42" fmla="*/ 539750 w 416"/>
                <a:gd name="T43" fmla="*/ 584200 h 398"/>
                <a:gd name="T44" fmla="*/ 574675 w 416"/>
                <a:gd name="T45" fmla="*/ 504825 h 398"/>
                <a:gd name="T46" fmla="*/ 415925 w 416"/>
                <a:gd name="T47" fmla="*/ 365125 h 398"/>
                <a:gd name="T48" fmla="*/ 622300 w 416"/>
                <a:gd name="T49" fmla="*/ 396875 h 398"/>
                <a:gd name="T50" fmla="*/ 628650 w 416"/>
                <a:gd name="T51" fmla="*/ 279400 h 398"/>
                <a:gd name="T52" fmla="*/ 422275 w 416"/>
                <a:gd name="T53" fmla="*/ 292100 h 398"/>
                <a:gd name="T54" fmla="*/ 584200 w 416"/>
                <a:gd name="T55" fmla="*/ 168275 h 398"/>
                <a:gd name="T56" fmla="*/ 400050 w 416"/>
                <a:gd name="T57" fmla="*/ 260350 h 398"/>
                <a:gd name="T58" fmla="*/ 498475 w 416"/>
                <a:gd name="T59" fmla="*/ 82550 h 398"/>
                <a:gd name="T60" fmla="*/ 393700 w 416"/>
                <a:gd name="T61" fmla="*/ 34925 h 398"/>
                <a:gd name="T62" fmla="*/ 314325 w 416"/>
                <a:gd name="T63" fmla="*/ 168275 h 398"/>
                <a:gd name="T64" fmla="*/ 276225 w 416"/>
                <a:gd name="T65" fmla="*/ 28575 h 398"/>
                <a:gd name="T66" fmla="*/ 168275 w 416"/>
                <a:gd name="T67" fmla="*/ 76200 h 398"/>
                <a:gd name="T68" fmla="*/ 260350 w 416"/>
                <a:gd name="T69" fmla="*/ 254000 h 398"/>
                <a:gd name="T70" fmla="*/ 79375 w 416"/>
                <a:gd name="T71" fmla="*/ 158750 h 398"/>
                <a:gd name="T72" fmla="*/ 38100 w 416"/>
                <a:gd name="T73" fmla="*/ 266700 h 398"/>
                <a:gd name="T74" fmla="*/ 234950 w 416"/>
                <a:gd name="T75" fmla="*/ 327025 h 398"/>
                <a:gd name="T76" fmla="*/ 38100 w 416"/>
                <a:gd name="T77" fmla="*/ 384175 h 398"/>
                <a:gd name="T78" fmla="*/ 82550 w 416"/>
                <a:gd name="T79" fmla="*/ 495300 h 398"/>
                <a:gd name="T80" fmla="*/ 209550 w 416"/>
                <a:gd name="T81" fmla="*/ 431800 h 398"/>
                <a:gd name="T82" fmla="*/ 250825 w 416"/>
                <a:gd name="T83" fmla="*/ 365125 h 398"/>
                <a:gd name="T84" fmla="*/ 282575 w 416"/>
                <a:gd name="T85" fmla="*/ 390525 h 3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16" h="398">
                  <a:moveTo>
                    <a:pt x="178" y="246"/>
                  </a:moveTo>
                  <a:lnTo>
                    <a:pt x="252" y="246"/>
                  </a:lnTo>
                  <a:lnTo>
                    <a:pt x="274" y="260"/>
                  </a:lnTo>
                  <a:lnTo>
                    <a:pt x="174" y="260"/>
                  </a:lnTo>
                  <a:lnTo>
                    <a:pt x="134" y="384"/>
                  </a:lnTo>
                  <a:lnTo>
                    <a:pt x="130" y="398"/>
                  </a:lnTo>
                  <a:lnTo>
                    <a:pt x="112" y="390"/>
                  </a:lnTo>
                  <a:lnTo>
                    <a:pt x="94" y="378"/>
                  </a:lnTo>
                  <a:lnTo>
                    <a:pt x="78" y="366"/>
                  </a:lnTo>
                  <a:lnTo>
                    <a:pt x="62" y="352"/>
                  </a:lnTo>
                  <a:lnTo>
                    <a:pt x="48" y="336"/>
                  </a:lnTo>
                  <a:lnTo>
                    <a:pt x="34" y="320"/>
                  </a:lnTo>
                  <a:lnTo>
                    <a:pt x="24" y="302"/>
                  </a:lnTo>
                  <a:lnTo>
                    <a:pt x="16" y="284"/>
                  </a:lnTo>
                  <a:lnTo>
                    <a:pt x="8" y="266"/>
                  </a:lnTo>
                  <a:lnTo>
                    <a:pt x="4" y="246"/>
                  </a:lnTo>
                  <a:lnTo>
                    <a:pt x="2" y="226"/>
                  </a:lnTo>
                  <a:lnTo>
                    <a:pt x="0" y="206"/>
                  </a:lnTo>
                  <a:lnTo>
                    <a:pt x="2" y="184"/>
                  </a:lnTo>
                  <a:lnTo>
                    <a:pt x="4" y="164"/>
                  </a:lnTo>
                  <a:lnTo>
                    <a:pt x="10" y="146"/>
                  </a:lnTo>
                  <a:lnTo>
                    <a:pt x="16" y="126"/>
                  </a:lnTo>
                  <a:lnTo>
                    <a:pt x="24" y="108"/>
                  </a:lnTo>
                  <a:lnTo>
                    <a:pt x="36" y="90"/>
                  </a:lnTo>
                  <a:lnTo>
                    <a:pt x="48" y="74"/>
                  </a:lnTo>
                  <a:lnTo>
                    <a:pt x="62" y="58"/>
                  </a:lnTo>
                  <a:lnTo>
                    <a:pt x="78" y="44"/>
                  </a:lnTo>
                  <a:lnTo>
                    <a:pt x="96" y="32"/>
                  </a:lnTo>
                  <a:lnTo>
                    <a:pt x="114" y="20"/>
                  </a:lnTo>
                  <a:lnTo>
                    <a:pt x="132" y="12"/>
                  </a:lnTo>
                  <a:lnTo>
                    <a:pt x="148" y="8"/>
                  </a:lnTo>
                  <a:lnTo>
                    <a:pt x="164" y="4"/>
                  </a:lnTo>
                  <a:lnTo>
                    <a:pt x="182" y="0"/>
                  </a:lnTo>
                  <a:lnTo>
                    <a:pt x="198" y="0"/>
                  </a:lnTo>
                  <a:lnTo>
                    <a:pt x="216" y="0"/>
                  </a:lnTo>
                  <a:lnTo>
                    <a:pt x="234" y="0"/>
                  </a:lnTo>
                  <a:lnTo>
                    <a:pt x="250" y="4"/>
                  </a:lnTo>
                  <a:lnTo>
                    <a:pt x="266" y="8"/>
                  </a:lnTo>
                  <a:lnTo>
                    <a:pt x="284" y="14"/>
                  </a:lnTo>
                  <a:lnTo>
                    <a:pt x="302" y="22"/>
                  </a:lnTo>
                  <a:lnTo>
                    <a:pt x="318" y="32"/>
                  </a:lnTo>
                  <a:lnTo>
                    <a:pt x="334" y="42"/>
                  </a:lnTo>
                  <a:lnTo>
                    <a:pt x="350" y="56"/>
                  </a:lnTo>
                  <a:lnTo>
                    <a:pt x="364" y="70"/>
                  </a:lnTo>
                  <a:lnTo>
                    <a:pt x="376" y="84"/>
                  </a:lnTo>
                  <a:lnTo>
                    <a:pt x="386" y="100"/>
                  </a:lnTo>
                  <a:lnTo>
                    <a:pt x="396" y="120"/>
                  </a:lnTo>
                  <a:lnTo>
                    <a:pt x="404" y="140"/>
                  </a:lnTo>
                  <a:lnTo>
                    <a:pt x="410" y="160"/>
                  </a:lnTo>
                  <a:lnTo>
                    <a:pt x="414" y="182"/>
                  </a:lnTo>
                  <a:lnTo>
                    <a:pt x="416" y="204"/>
                  </a:lnTo>
                  <a:lnTo>
                    <a:pt x="414" y="226"/>
                  </a:lnTo>
                  <a:lnTo>
                    <a:pt x="412" y="248"/>
                  </a:lnTo>
                  <a:lnTo>
                    <a:pt x="406" y="268"/>
                  </a:lnTo>
                  <a:lnTo>
                    <a:pt x="396" y="296"/>
                  </a:lnTo>
                  <a:lnTo>
                    <a:pt x="380" y="322"/>
                  </a:lnTo>
                  <a:lnTo>
                    <a:pt x="362" y="346"/>
                  </a:lnTo>
                  <a:lnTo>
                    <a:pt x="352" y="358"/>
                  </a:lnTo>
                  <a:lnTo>
                    <a:pt x="340" y="368"/>
                  </a:lnTo>
                  <a:lnTo>
                    <a:pt x="334" y="358"/>
                  </a:lnTo>
                  <a:lnTo>
                    <a:pt x="284" y="276"/>
                  </a:lnTo>
                  <a:lnTo>
                    <a:pt x="362" y="318"/>
                  </a:lnTo>
                  <a:lnTo>
                    <a:pt x="262" y="230"/>
                  </a:lnTo>
                  <a:lnTo>
                    <a:pt x="392" y="250"/>
                  </a:lnTo>
                  <a:lnTo>
                    <a:pt x="390" y="250"/>
                  </a:lnTo>
                  <a:lnTo>
                    <a:pt x="268" y="206"/>
                  </a:lnTo>
                  <a:lnTo>
                    <a:pt x="396" y="176"/>
                  </a:lnTo>
                  <a:lnTo>
                    <a:pt x="396" y="174"/>
                  </a:lnTo>
                  <a:lnTo>
                    <a:pt x="266" y="184"/>
                  </a:lnTo>
                  <a:lnTo>
                    <a:pt x="358" y="114"/>
                  </a:lnTo>
                  <a:lnTo>
                    <a:pt x="368" y="106"/>
                  </a:lnTo>
                  <a:lnTo>
                    <a:pt x="366" y="106"/>
                  </a:lnTo>
                  <a:lnTo>
                    <a:pt x="270" y="156"/>
                  </a:lnTo>
                  <a:lnTo>
                    <a:pt x="252" y="164"/>
                  </a:lnTo>
                  <a:lnTo>
                    <a:pt x="316" y="52"/>
                  </a:lnTo>
                  <a:lnTo>
                    <a:pt x="314" y="52"/>
                  </a:lnTo>
                  <a:lnTo>
                    <a:pt x="232" y="150"/>
                  </a:lnTo>
                  <a:lnTo>
                    <a:pt x="248" y="22"/>
                  </a:lnTo>
                  <a:lnTo>
                    <a:pt x="208" y="146"/>
                  </a:lnTo>
                  <a:lnTo>
                    <a:pt x="198" y="106"/>
                  </a:lnTo>
                  <a:lnTo>
                    <a:pt x="176" y="18"/>
                  </a:lnTo>
                  <a:lnTo>
                    <a:pt x="174" y="18"/>
                  </a:lnTo>
                  <a:lnTo>
                    <a:pt x="176" y="28"/>
                  </a:lnTo>
                  <a:lnTo>
                    <a:pt x="184" y="150"/>
                  </a:lnTo>
                  <a:lnTo>
                    <a:pt x="106" y="48"/>
                  </a:lnTo>
                  <a:lnTo>
                    <a:pt x="104" y="48"/>
                  </a:lnTo>
                  <a:lnTo>
                    <a:pt x="164" y="160"/>
                  </a:lnTo>
                  <a:lnTo>
                    <a:pt x="52" y="100"/>
                  </a:lnTo>
                  <a:lnTo>
                    <a:pt x="50" y="100"/>
                  </a:lnTo>
                  <a:lnTo>
                    <a:pt x="140" y="174"/>
                  </a:lnTo>
                  <a:lnTo>
                    <a:pt x="150" y="182"/>
                  </a:lnTo>
                  <a:lnTo>
                    <a:pt x="24" y="168"/>
                  </a:lnTo>
                  <a:lnTo>
                    <a:pt x="24" y="170"/>
                  </a:lnTo>
                  <a:lnTo>
                    <a:pt x="148" y="206"/>
                  </a:lnTo>
                  <a:lnTo>
                    <a:pt x="24" y="242"/>
                  </a:lnTo>
                  <a:lnTo>
                    <a:pt x="150" y="228"/>
                  </a:lnTo>
                  <a:lnTo>
                    <a:pt x="52" y="312"/>
                  </a:lnTo>
                  <a:lnTo>
                    <a:pt x="52" y="314"/>
                  </a:lnTo>
                  <a:lnTo>
                    <a:pt x="52" y="312"/>
                  </a:lnTo>
                  <a:lnTo>
                    <a:pt x="132" y="272"/>
                  </a:lnTo>
                  <a:lnTo>
                    <a:pt x="152" y="242"/>
                  </a:lnTo>
                  <a:lnTo>
                    <a:pt x="172" y="242"/>
                  </a:lnTo>
                  <a:lnTo>
                    <a:pt x="158" y="230"/>
                  </a:lnTo>
                  <a:lnTo>
                    <a:pt x="208" y="152"/>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200" dirty="0">
                <a:solidFill>
                  <a:srgbClr val="000000"/>
                </a:solidFill>
                <a:ea typeface="ＭＳ Ｐゴシック"/>
              </a:endParaRPr>
            </a:p>
          </p:txBody>
        </p:sp>
        <p:sp>
          <p:nvSpPr>
            <p:cNvPr id="10" name="Freeform 10"/>
            <p:cNvSpPr>
              <a:spLocks/>
            </p:cNvSpPr>
            <p:nvPr/>
          </p:nvSpPr>
          <p:spPr bwMode="auto">
            <a:xfrm>
              <a:off x="4999038" y="3279775"/>
              <a:ext cx="450850" cy="454025"/>
            </a:xfrm>
            <a:custGeom>
              <a:avLst/>
              <a:gdLst>
                <a:gd name="T0" fmla="*/ 158750 w 284"/>
                <a:gd name="T1" fmla="*/ 454025 h 286"/>
                <a:gd name="T2" fmla="*/ 0 w 284"/>
                <a:gd name="T3" fmla="*/ 454025 h 286"/>
                <a:gd name="T4" fmla="*/ 127000 w 284"/>
                <a:gd name="T5" fmla="*/ 0 h 286"/>
                <a:gd name="T6" fmla="*/ 450850 w 284"/>
                <a:gd name="T7" fmla="*/ 0 h 286"/>
                <a:gd name="T8" fmla="*/ 422275 w 284"/>
                <a:gd name="T9" fmla="*/ 107950 h 286"/>
                <a:gd name="T10" fmla="*/ 257175 w 284"/>
                <a:gd name="T11" fmla="*/ 107950 h 286"/>
                <a:gd name="T12" fmla="*/ 234950 w 284"/>
                <a:gd name="T13" fmla="*/ 184150 h 286"/>
                <a:gd name="T14" fmla="*/ 400050 w 284"/>
                <a:gd name="T15" fmla="*/ 184150 h 286"/>
                <a:gd name="T16" fmla="*/ 371475 w 284"/>
                <a:gd name="T17" fmla="*/ 285750 h 286"/>
                <a:gd name="T18" fmla="*/ 206375 w 284"/>
                <a:gd name="T19" fmla="*/ 285750 h 286"/>
                <a:gd name="T20" fmla="*/ 158750 w 284"/>
                <a:gd name="T21" fmla="*/ 454025 h 28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200" dirty="0">
                <a:solidFill>
                  <a:srgbClr val="000000"/>
                </a:solidFill>
                <a:ea typeface="ＭＳ Ｐゴシック"/>
              </a:endParaRPr>
            </a:p>
          </p:txBody>
        </p:sp>
        <p:sp>
          <p:nvSpPr>
            <p:cNvPr id="11" name="Freeform 11"/>
            <p:cNvSpPr>
              <a:spLocks noEditPoints="1"/>
            </p:cNvSpPr>
            <p:nvPr/>
          </p:nvSpPr>
          <p:spPr bwMode="auto">
            <a:xfrm>
              <a:off x="5367338" y="3279775"/>
              <a:ext cx="282575" cy="454025"/>
            </a:xfrm>
            <a:custGeom>
              <a:avLst/>
              <a:gdLst>
                <a:gd name="T0" fmla="*/ 158750 w 178"/>
                <a:gd name="T1" fmla="*/ 454025 h 286"/>
                <a:gd name="T2" fmla="*/ 0 w 178"/>
                <a:gd name="T3" fmla="*/ 454025 h 286"/>
                <a:gd name="T4" fmla="*/ 92075 w 178"/>
                <a:gd name="T5" fmla="*/ 123825 h 286"/>
                <a:gd name="T6" fmla="*/ 250825 w 178"/>
                <a:gd name="T7" fmla="*/ 123825 h 286"/>
                <a:gd name="T8" fmla="*/ 158750 w 178"/>
                <a:gd name="T9" fmla="*/ 454025 h 286"/>
                <a:gd name="T10" fmla="*/ 257175 w 178"/>
                <a:gd name="T11" fmla="*/ 92075 h 286"/>
                <a:gd name="T12" fmla="*/ 101600 w 178"/>
                <a:gd name="T13" fmla="*/ 92075 h 286"/>
                <a:gd name="T14" fmla="*/ 127000 w 178"/>
                <a:gd name="T15" fmla="*/ 0 h 286"/>
                <a:gd name="T16" fmla="*/ 282575 w 178"/>
                <a:gd name="T17" fmla="*/ 0 h 286"/>
                <a:gd name="T18" fmla="*/ 257175 w 178"/>
                <a:gd name="T19" fmla="*/ 92075 h 28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200" dirty="0">
                <a:solidFill>
                  <a:srgbClr val="000000"/>
                </a:solidFill>
                <a:ea typeface="ＭＳ Ｐゴシック"/>
              </a:endParaRPr>
            </a:p>
          </p:txBody>
        </p:sp>
        <p:sp>
          <p:nvSpPr>
            <p:cNvPr id="12" name="Freeform 12"/>
            <p:cNvSpPr>
              <a:spLocks noEditPoints="1"/>
            </p:cNvSpPr>
            <p:nvPr/>
          </p:nvSpPr>
          <p:spPr bwMode="auto">
            <a:xfrm>
              <a:off x="5592763" y="3279775"/>
              <a:ext cx="463550" cy="460375"/>
            </a:xfrm>
            <a:custGeom>
              <a:avLst/>
              <a:gdLst>
                <a:gd name="T0" fmla="*/ 336550 w 292"/>
                <a:gd name="T1" fmla="*/ 454025 h 290"/>
                <a:gd name="T2" fmla="*/ 184150 w 292"/>
                <a:gd name="T3" fmla="*/ 454025 h 290"/>
                <a:gd name="T4" fmla="*/ 193675 w 292"/>
                <a:gd name="T5" fmla="*/ 415925 h 290"/>
                <a:gd name="T6" fmla="*/ 193675 w 292"/>
                <a:gd name="T7" fmla="*/ 415925 h 290"/>
                <a:gd name="T8" fmla="*/ 171450 w 292"/>
                <a:gd name="T9" fmla="*/ 434975 h 290"/>
                <a:gd name="T10" fmla="*/ 146050 w 292"/>
                <a:gd name="T11" fmla="*/ 447675 h 290"/>
                <a:gd name="T12" fmla="*/ 117475 w 292"/>
                <a:gd name="T13" fmla="*/ 457200 h 290"/>
                <a:gd name="T14" fmla="*/ 82550 w 292"/>
                <a:gd name="T15" fmla="*/ 460375 h 290"/>
                <a:gd name="T16" fmla="*/ 82550 w 292"/>
                <a:gd name="T17" fmla="*/ 460375 h 290"/>
                <a:gd name="T18" fmla="*/ 63500 w 292"/>
                <a:gd name="T19" fmla="*/ 460375 h 290"/>
                <a:gd name="T20" fmla="*/ 47625 w 292"/>
                <a:gd name="T21" fmla="*/ 457200 h 290"/>
                <a:gd name="T22" fmla="*/ 34925 w 292"/>
                <a:gd name="T23" fmla="*/ 450850 h 290"/>
                <a:gd name="T24" fmla="*/ 22225 w 292"/>
                <a:gd name="T25" fmla="*/ 441325 h 290"/>
                <a:gd name="T26" fmla="*/ 12700 w 292"/>
                <a:gd name="T27" fmla="*/ 431800 h 290"/>
                <a:gd name="T28" fmla="*/ 6350 w 292"/>
                <a:gd name="T29" fmla="*/ 419100 h 290"/>
                <a:gd name="T30" fmla="*/ 0 w 292"/>
                <a:gd name="T31" fmla="*/ 403225 h 290"/>
                <a:gd name="T32" fmla="*/ 0 w 292"/>
                <a:gd name="T33" fmla="*/ 384175 h 290"/>
                <a:gd name="T34" fmla="*/ 0 w 292"/>
                <a:gd name="T35" fmla="*/ 384175 h 290"/>
                <a:gd name="T36" fmla="*/ 3175 w 292"/>
                <a:gd name="T37" fmla="*/ 339725 h 290"/>
                <a:gd name="T38" fmla="*/ 15875 w 292"/>
                <a:gd name="T39" fmla="*/ 285750 h 290"/>
                <a:gd name="T40" fmla="*/ 31750 w 292"/>
                <a:gd name="T41" fmla="*/ 231775 h 290"/>
                <a:gd name="T42" fmla="*/ 53975 w 292"/>
                <a:gd name="T43" fmla="*/ 184150 h 290"/>
                <a:gd name="T44" fmla="*/ 53975 w 292"/>
                <a:gd name="T45" fmla="*/ 184150 h 290"/>
                <a:gd name="T46" fmla="*/ 63500 w 292"/>
                <a:gd name="T47" fmla="*/ 168275 h 290"/>
                <a:gd name="T48" fmla="*/ 76200 w 292"/>
                <a:gd name="T49" fmla="*/ 155575 h 290"/>
                <a:gd name="T50" fmla="*/ 88900 w 292"/>
                <a:gd name="T51" fmla="*/ 142875 h 290"/>
                <a:gd name="T52" fmla="*/ 104775 w 292"/>
                <a:gd name="T53" fmla="*/ 133350 h 290"/>
                <a:gd name="T54" fmla="*/ 120650 w 292"/>
                <a:gd name="T55" fmla="*/ 127000 h 290"/>
                <a:gd name="T56" fmla="*/ 136525 w 292"/>
                <a:gd name="T57" fmla="*/ 120650 h 290"/>
                <a:gd name="T58" fmla="*/ 155575 w 292"/>
                <a:gd name="T59" fmla="*/ 117475 h 290"/>
                <a:gd name="T60" fmla="*/ 174625 w 292"/>
                <a:gd name="T61" fmla="*/ 117475 h 290"/>
                <a:gd name="T62" fmla="*/ 174625 w 292"/>
                <a:gd name="T63" fmla="*/ 117475 h 290"/>
                <a:gd name="T64" fmla="*/ 206375 w 292"/>
                <a:gd name="T65" fmla="*/ 120650 h 290"/>
                <a:gd name="T66" fmla="*/ 231775 w 292"/>
                <a:gd name="T67" fmla="*/ 130175 h 290"/>
                <a:gd name="T68" fmla="*/ 250825 w 292"/>
                <a:gd name="T69" fmla="*/ 142875 h 290"/>
                <a:gd name="T70" fmla="*/ 263525 w 292"/>
                <a:gd name="T71" fmla="*/ 161925 h 290"/>
                <a:gd name="T72" fmla="*/ 307975 w 292"/>
                <a:gd name="T73" fmla="*/ 0 h 290"/>
                <a:gd name="T74" fmla="*/ 463550 w 292"/>
                <a:gd name="T75" fmla="*/ 0 h 290"/>
                <a:gd name="T76" fmla="*/ 336550 w 292"/>
                <a:gd name="T77" fmla="*/ 454025 h 290"/>
                <a:gd name="T78" fmla="*/ 219075 w 292"/>
                <a:gd name="T79" fmla="*/ 222250 h 290"/>
                <a:gd name="T80" fmla="*/ 219075 w 292"/>
                <a:gd name="T81" fmla="*/ 222250 h 290"/>
                <a:gd name="T82" fmla="*/ 209550 w 292"/>
                <a:gd name="T83" fmla="*/ 222250 h 290"/>
                <a:gd name="T84" fmla="*/ 200025 w 292"/>
                <a:gd name="T85" fmla="*/ 225425 h 290"/>
                <a:gd name="T86" fmla="*/ 190500 w 292"/>
                <a:gd name="T87" fmla="*/ 231775 h 290"/>
                <a:gd name="T88" fmla="*/ 184150 w 292"/>
                <a:gd name="T89" fmla="*/ 244475 h 290"/>
                <a:gd name="T90" fmla="*/ 184150 w 292"/>
                <a:gd name="T91" fmla="*/ 244475 h 290"/>
                <a:gd name="T92" fmla="*/ 168275 w 292"/>
                <a:gd name="T93" fmla="*/ 285750 h 290"/>
                <a:gd name="T94" fmla="*/ 165100 w 292"/>
                <a:gd name="T95" fmla="*/ 307975 h 290"/>
                <a:gd name="T96" fmla="*/ 161925 w 292"/>
                <a:gd name="T97" fmla="*/ 327025 h 290"/>
                <a:gd name="T98" fmla="*/ 161925 w 292"/>
                <a:gd name="T99" fmla="*/ 327025 h 290"/>
                <a:gd name="T100" fmla="*/ 165100 w 292"/>
                <a:gd name="T101" fmla="*/ 336550 h 290"/>
                <a:gd name="T102" fmla="*/ 168275 w 292"/>
                <a:gd name="T103" fmla="*/ 342900 h 290"/>
                <a:gd name="T104" fmla="*/ 177800 w 292"/>
                <a:gd name="T105" fmla="*/ 349250 h 290"/>
                <a:gd name="T106" fmla="*/ 187325 w 292"/>
                <a:gd name="T107" fmla="*/ 352425 h 290"/>
                <a:gd name="T108" fmla="*/ 187325 w 292"/>
                <a:gd name="T109" fmla="*/ 352425 h 290"/>
                <a:gd name="T110" fmla="*/ 203200 w 292"/>
                <a:gd name="T111" fmla="*/ 349250 h 290"/>
                <a:gd name="T112" fmla="*/ 212725 w 292"/>
                <a:gd name="T113" fmla="*/ 342900 h 290"/>
                <a:gd name="T114" fmla="*/ 244475 w 292"/>
                <a:gd name="T115" fmla="*/ 234950 h 290"/>
                <a:gd name="T116" fmla="*/ 244475 w 292"/>
                <a:gd name="T117" fmla="*/ 234950 h 290"/>
                <a:gd name="T118" fmla="*/ 234950 w 292"/>
                <a:gd name="T119" fmla="*/ 225425 h 290"/>
                <a:gd name="T120" fmla="*/ 219075 w 292"/>
                <a:gd name="T121" fmla="*/ 222250 h 290"/>
                <a:gd name="T122" fmla="*/ 219075 w 292"/>
                <a:gd name="T123" fmla="*/ 222250 h 29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92" h="290">
                  <a:moveTo>
                    <a:pt x="212" y="286"/>
                  </a:moveTo>
                  <a:lnTo>
                    <a:pt x="116" y="286"/>
                  </a:lnTo>
                  <a:lnTo>
                    <a:pt x="122" y="262"/>
                  </a:lnTo>
                  <a:lnTo>
                    <a:pt x="108" y="274"/>
                  </a:lnTo>
                  <a:lnTo>
                    <a:pt x="92" y="282"/>
                  </a:lnTo>
                  <a:lnTo>
                    <a:pt x="74" y="288"/>
                  </a:lnTo>
                  <a:lnTo>
                    <a:pt x="52" y="290"/>
                  </a:lnTo>
                  <a:lnTo>
                    <a:pt x="40" y="290"/>
                  </a:lnTo>
                  <a:lnTo>
                    <a:pt x="30" y="288"/>
                  </a:lnTo>
                  <a:lnTo>
                    <a:pt x="22" y="284"/>
                  </a:lnTo>
                  <a:lnTo>
                    <a:pt x="14" y="278"/>
                  </a:lnTo>
                  <a:lnTo>
                    <a:pt x="8" y="272"/>
                  </a:lnTo>
                  <a:lnTo>
                    <a:pt x="4" y="264"/>
                  </a:lnTo>
                  <a:lnTo>
                    <a:pt x="0" y="254"/>
                  </a:lnTo>
                  <a:lnTo>
                    <a:pt x="0" y="242"/>
                  </a:lnTo>
                  <a:lnTo>
                    <a:pt x="2" y="214"/>
                  </a:lnTo>
                  <a:lnTo>
                    <a:pt x="10" y="180"/>
                  </a:lnTo>
                  <a:lnTo>
                    <a:pt x="20" y="146"/>
                  </a:lnTo>
                  <a:lnTo>
                    <a:pt x="34" y="116"/>
                  </a:lnTo>
                  <a:lnTo>
                    <a:pt x="40" y="106"/>
                  </a:lnTo>
                  <a:lnTo>
                    <a:pt x="48" y="98"/>
                  </a:lnTo>
                  <a:lnTo>
                    <a:pt x="56" y="90"/>
                  </a:lnTo>
                  <a:lnTo>
                    <a:pt x="66" y="84"/>
                  </a:lnTo>
                  <a:lnTo>
                    <a:pt x="76" y="80"/>
                  </a:lnTo>
                  <a:lnTo>
                    <a:pt x="86" y="76"/>
                  </a:lnTo>
                  <a:lnTo>
                    <a:pt x="98"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06" y="180"/>
                  </a:lnTo>
                  <a:lnTo>
                    <a:pt x="104" y="194"/>
                  </a:lnTo>
                  <a:lnTo>
                    <a:pt x="102" y="206"/>
                  </a:lnTo>
                  <a:lnTo>
                    <a:pt x="104" y="212"/>
                  </a:lnTo>
                  <a:lnTo>
                    <a:pt x="106" y="216"/>
                  </a:lnTo>
                  <a:lnTo>
                    <a:pt x="112" y="220"/>
                  </a:lnTo>
                  <a:lnTo>
                    <a:pt x="118" y="222"/>
                  </a:lnTo>
                  <a:lnTo>
                    <a:pt x="128" y="220"/>
                  </a:lnTo>
                  <a:lnTo>
                    <a:pt x="134" y="216"/>
                  </a:lnTo>
                  <a:lnTo>
                    <a:pt x="154" y="148"/>
                  </a:lnTo>
                  <a:lnTo>
                    <a:pt x="148" y="142"/>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200" dirty="0">
                <a:solidFill>
                  <a:srgbClr val="000000"/>
                </a:solidFill>
                <a:ea typeface="ＭＳ Ｐゴシック"/>
              </a:endParaRPr>
            </a:p>
          </p:txBody>
        </p:sp>
        <p:sp>
          <p:nvSpPr>
            <p:cNvPr id="13" name="Freeform 13"/>
            <p:cNvSpPr>
              <a:spLocks noEditPoints="1"/>
            </p:cNvSpPr>
            <p:nvPr/>
          </p:nvSpPr>
          <p:spPr bwMode="auto">
            <a:xfrm>
              <a:off x="5999163" y="3394075"/>
              <a:ext cx="390525" cy="346075"/>
            </a:xfrm>
            <a:custGeom>
              <a:avLst/>
              <a:gdLst>
                <a:gd name="T0" fmla="*/ 155575 w 246"/>
                <a:gd name="T1" fmla="*/ 193675 h 218"/>
                <a:gd name="T2" fmla="*/ 152400 w 246"/>
                <a:gd name="T3" fmla="*/ 219075 h 218"/>
                <a:gd name="T4" fmla="*/ 149225 w 246"/>
                <a:gd name="T5" fmla="*/ 238125 h 218"/>
                <a:gd name="T6" fmla="*/ 152400 w 246"/>
                <a:gd name="T7" fmla="*/ 254000 h 218"/>
                <a:gd name="T8" fmla="*/ 171450 w 246"/>
                <a:gd name="T9" fmla="*/ 263525 h 218"/>
                <a:gd name="T10" fmla="*/ 184150 w 246"/>
                <a:gd name="T11" fmla="*/ 260350 h 218"/>
                <a:gd name="T12" fmla="*/ 206375 w 246"/>
                <a:gd name="T13" fmla="*/ 241300 h 218"/>
                <a:gd name="T14" fmla="*/ 365125 w 246"/>
                <a:gd name="T15" fmla="*/ 222250 h 218"/>
                <a:gd name="T16" fmla="*/ 361950 w 246"/>
                <a:gd name="T17" fmla="*/ 238125 h 218"/>
                <a:gd name="T18" fmla="*/ 346075 w 246"/>
                <a:gd name="T19" fmla="*/ 266700 h 218"/>
                <a:gd name="T20" fmla="*/ 311150 w 246"/>
                <a:gd name="T21" fmla="*/ 301625 h 218"/>
                <a:gd name="T22" fmla="*/ 254000 w 246"/>
                <a:gd name="T23" fmla="*/ 333375 h 218"/>
                <a:gd name="T24" fmla="*/ 193675 w 246"/>
                <a:gd name="T25" fmla="*/ 346075 h 218"/>
                <a:gd name="T26" fmla="*/ 165100 w 246"/>
                <a:gd name="T27" fmla="*/ 346075 h 218"/>
                <a:gd name="T28" fmla="*/ 101600 w 246"/>
                <a:gd name="T29" fmla="*/ 342900 h 218"/>
                <a:gd name="T30" fmla="*/ 47625 w 246"/>
                <a:gd name="T31" fmla="*/ 330200 h 218"/>
                <a:gd name="T32" fmla="*/ 12700 w 246"/>
                <a:gd name="T33" fmla="*/ 298450 h 218"/>
                <a:gd name="T34" fmla="*/ 3175 w 246"/>
                <a:gd name="T35" fmla="*/ 276225 h 218"/>
                <a:gd name="T36" fmla="*/ 0 w 246"/>
                <a:gd name="T37" fmla="*/ 244475 h 218"/>
                <a:gd name="T38" fmla="*/ 6350 w 246"/>
                <a:gd name="T39" fmla="*/ 203200 h 218"/>
                <a:gd name="T40" fmla="*/ 34925 w 246"/>
                <a:gd name="T41" fmla="*/ 111125 h 218"/>
                <a:gd name="T42" fmla="*/ 57150 w 246"/>
                <a:gd name="T43" fmla="*/ 73025 h 218"/>
                <a:gd name="T44" fmla="*/ 76200 w 246"/>
                <a:gd name="T45" fmla="*/ 53975 h 218"/>
                <a:gd name="T46" fmla="*/ 114300 w 246"/>
                <a:gd name="T47" fmla="*/ 25400 h 218"/>
                <a:gd name="T48" fmla="*/ 158750 w 246"/>
                <a:gd name="T49" fmla="*/ 9525 h 218"/>
                <a:gd name="T50" fmla="*/ 206375 w 246"/>
                <a:gd name="T51" fmla="*/ 3175 h 218"/>
                <a:gd name="T52" fmla="*/ 228600 w 246"/>
                <a:gd name="T53" fmla="*/ 0 h 218"/>
                <a:gd name="T54" fmla="*/ 295275 w 246"/>
                <a:gd name="T55" fmla="*/ 6350 h 218"/>
                <a:gd name="T56" fmla="*/ 346075 w 246"/>
                <a:gd name="T57" fmla="*/ 22225 h 218"/>
                <a:gd name="T58" fmla="*/ 377825 w 246"/>
                <a:gd name="T59" fmla="*/ 53975 h 218"/>
                <a:gd name="T60" fmla="*/ 390525 w 246"/>
                <a:gd name="T61" fmla="*/ 104775 h 218"/>
                <a:gd name="T62" fmla="*/ 384175 w 246"/>
                <a:gd name="T63" fmla="*/ 146050 h 218"/>
                <a:gd name="T64" fmla="*/ 371475 w 246"/>
                <a:gd name="T65" fmla="*/ 193675 h 218"/>
                <a:gd name="T66" fmla="*/ 215900 w 246"/>
                <a:gd name="T67" fmla="*/ 82550 h 218"/>
                <a:gd name="T68" fmla="*/ 190500 w 246"/>
                <a:gd name="T69" fmla="*/ 95250 h 218"/>
                <a:gd name="T70" fmla="*/ 174625 w 246"/>
                <a:gd name="T71" fmla="*/ 130175 h 218"/>
                <a:gd name="T72" fmla="*/ 238125 w 246"/>
                <a:gd name="T73" fmla="*/ 130175 h 218"/>
                <a:gd name="T74" fmla="*/ 244475 w 246"/>
                <a:gd name="T75" fmla="*/ 107950 h 218"/>
                <a:gd name="T76" fmla="*/ 234950 w 246"/>
                <a:gd name="T77" fmla="*/ 88900 h 218"/>
                <a:gd name="T78" fmla="*/ 215900 w 246"/>
                <a:gd name="T79" fmla="*/ 82550 h 21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46" h="218">
                  <a:moveTo>
                    <a:pt x="234" y="122"/>
                  </a:moveTo>
                  <a:lnTo>
                    <a:pt x="98" y="122"/>
                  </a:lnTo>
                  <a:lnTo>
                    <a:pt x="96" y="138"/>
                  </a:lnTo>
                  <a:lnTo>
                    <a:pt x="94" y="150"/>
                  </a:lnTo>
                  <a:lnTo>
                    <a:pt x="94" y="154"/>
                  </a:lnTo>
                  <a:lnTo>
                    <a:pt x="96" y="160"/>
                  </a:lnTo>
                  <a:lnTo>
                    <a:pt x="100" y="164"/>
                  </a:lnTo>
                  <a:lnTo>
                    <a:pt x="108" y="166"/>
                  </a:lnTo>
                  <a:lnTo>
                    <a:pt x="116" y="164"/>
                  </a:lnTo>
                  <a:lnTo>
                    <a:pt x="124" y="160"/>
                  </a:lnTo>
                  <a:lnTo>
                    <a:pt x="130" y="152"/>
                  </a:lnTo>
                  <a:lnTo>
                    <a:pt x="134"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84" y="218"/>
                  </a:lnTo>
                  <a:lnTo>
                    <a:pt x="64" y="216"/>
                  </a:lnTo>
                  <a:lnTo>
                    <a:pt x="46" y="214"/>
                  </a:lnTo>
                  <a:lnTo>
                    <a:pt x="30" y="208"/>
                  </a:lnTo>
                  <a:lnTo>
                    <a:pt x="18" y="200"/>
                  </a:lnTo>
                  <a:lnTo>
                    <a:pt x="8" y="188"/>
                  </a:lnTo>
                  <a:lnTo>
                    <a:pt x="6" y="182"/>
                  </a:lnTo>
                  <a:lnTo>
                    <a:pt x="2" y="174"/>
                  </a:lnTo>
                  <a:lnTo>
                    <a:pt x="0" y="154"/>
                  </a:lnTo>
                  <a:lnTo>
                    <a:pt x="2" y="142"/>
                  </a:lnTo>
                  <a:lnTo>
                    <a:pt x="4" y="128"/>
                  </a:lnTo>
                  <a:lnTo>
                    <a:pt x="12" y="98"/>
                  </a:lnTo>
                  <a:lnTo>
                    <a:pt x="22" y="70"/>
                  </a:lnTo>
                  <a:lnTo>
                    <a:pt x="30" y="56"/>
                  </a:lnTo>
                  <a:lnTo>
                    <a:pt x="36" y="46"/>
                  </a:lnTo>
                  <a:lnTo>
                    <a:pt x="48" y="34"/>
                  </a:lnTo>
                  <a:lnTo>
                    <a:pt x="58" y="24"/>
                  </a:lnTo>
                  <a:lnTo>
                    <a:pt x="72" y="16"/>
                  </a:lnTo>
                  <a:lnTo>
                    <a:pt x="86" y="10"/>
                  </a:lnTo>
                  <a:lnTo>
                    <a:pt x="100" y="6"/>
                  </a:lnTo>
                  <a:lnTo>
                    <a:pt x="114" y="2"/>
                  </a:lnTo>
                  <a:lnTo>
                    <a:pt x="130" y="2"/>
                  </a:lnTo>
                  <a:lnTo>
                    <a:pt x="144" y="0"/>
                  </a:lnTo>
                  <a:lnTo>
                    <a:pt x="166" y="2"/>
                  </a:lnTo>
                  <a:lnTo>
                    <a:pt x="186" y="4"/>
                  </a:lnTo>
                  <a:lnTo>
                    <a:pt x="204" y="8"/>
                  </a:lnTo>
                  <a:lnTo>
                    <a:pt x="218" y="14"/>
                  </a:lnTo>
                  <a:lnTo>
                    <a:pt x="230" y="22"/>
                  </a:lnTo>
                  <a:lnTo>
                    <a:pt x="238" y="34"/>
                  </a:lnTo>
                  <a:lnTo>
                    <a:pt x="244" y="48"/>
                  </a:lnTo>
                  <a:lnTo>
                    <a:pt x="246" y="66"/>
                  </a:lnTo>
                  <a:lnTo>
                    <a:pt x="242" y="92"/>
                  </a:lnTo>
                  <a:lnTo>
                    <a:pt x="234" y="122"/>
                  </a:lnTo>
                  <a:close/>
                  <a:moveTo>
                    <a:pt x="136" y="52"/>
                  </a:moveTo>
                  <a:lnTo>
                    <a:pt x="136" y="52"/>
                  </a:lnTo>
                  <a:lnTo>
                    <a:pt x="128" y="54"/>
                  </a:lnTo>
                  <a:lnTo>
                    <a:pt x="120" y="60"/>
                  </a:lnTo>
                  <a:lnTo>
                    <a:pt x="114" y="68"/>
                  </a:lnTo>
                  <a:lnTo>
                    <a:pt x="110" y="82"/>
                  </a:lnTo>
                  <a:lnTo>
                    <a:pt x="150" y="82"/>
                  </a:lnTo>
                  <a:lnTo>
                    <a:pt x="154" y="68"/>
                  </a:lnTo>
                  <a:lnTo>
                    <a:pt x="152" y="60"/>
                  </a:lnTo>
                  <a:lnTo>
                    <a:pt x="148" y="56"/>
                  </a:lnTo>
                  <a:lnTo>
                    <a:pt x="144" y="54"/>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200" dirty="0">
                <a:solidFill>
                  <a:srgbClr val="000000"/>
                </a:solidFill>
                <a:ea typeface="ＭＳ Ｐゴシック"/>
              </a:endParaRPr>
            </a:p>
          </p:txBody>
        </p:sp>
        <p:sp>
          <p:nvSpPr>
            <p:cNvPr id="14" name="Freeform 14"/>
            <p:cNvSpPr>
              <a:spLocks/>
            </p:cNvSpPr>
            <p:nvPr/>
          </p:nvSpPr>
          <p:spPr bwMode="auto">
            <a:xfrm>
              <a:off x="6373813" y="3279775"/>
              <a:ext cx="282575" cy="454025"/>
            </a:xfrm>
            <a:custGeom>
              <a:avLst/>
              <a:gdLst>
                <a:gd name="T0" fmla="*/ 155575 w 178"/>
                <a:gd name="T1" fmla="*/ 454025 h 286"/>
                <a:gd name="T2" fmla="*/ 0 w 178"/>
                <a:gd name="T3" fmla="*/ 454025 h 286"/>
                <a:gd name="T4" fmla="*/ 127000 w 178"/>
                <a:gd name="T5" fmla="*/ 0 h 286"/>
                <a:gd name="T6" fmla="*/ 282575 w 178"/>
                <a:gd name="T7" fmla="*/ 0 h 286"/>
                <a:gd name="T8" fmla="*/ 155575 w 178"/>
                <a:gd name="T9" fmla="*/ 454025 h 28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200" dirty="0">
                <a:solidFill>
                  <a:srgbClr val="000000"/>
                </a:solidFill>
                <a:ea typeface="ＭＳ Ｐゴシック"/>
              </a:endParaRPr>
            </a:p>
          </p:txBody>
        </p:sp>
        <p:sp>
          <p:nvSpPr>
            <p:cNvPr id="15" name="Freeform 15"/>
            <p:cNvSpPr>
              <a:spLocks noEditPoints="1"/>
            </p:cNvSpPr>
            <p:nvPr/>
          </p:nvSpPr>
          <p:spPr bwMode="auto">
            <a:xfrm>
              <a:off x="6580188" y="3279775"/>
              <a:ext cx="282575" cy="454025"/>
            </a:xfrm>
            <a:custGeom>
              <a:avLst/>
              <a:gdLst>
                <a:gd name="T0" fmla="*/ 155575 w 178"/>
                <a:gd name="T1" fmla="*/ 454025 h 286"/>
                <a:gd name="T2" fmla="*/ 0 w 178"/>
                <a:gd name="T3" fmla="*/ 454025 h 286"/>
                <a:gd name="T4" fmla="*/ 92075 w 178"/>
                <a:gd name="T5" fmla="*/ 123825 h 286"/>
                <a:gd name="T6" fmla="*/ 247650 w 178"/>
                <a:gd name="T7" fmla="*/ 123825 h 286"/>
                <a:gd name="T8" fmla="*/ 155575 w 178"/>
                <a:gd name="T9" fmla="*/ 454025 h 286"/>
                <a:gd name="T10" fmla="*/ 257175 w 178"/>
                <a:gd name="T11" fmla="*/ 92075 h 286"/>
                <a:gd name="T12" fmla="*/ 101600 w 178"/>
                <a:gd name="T13" fmla="*/ 92075 h 286"/>
                <a:gd name="T14" fmla="*/ 127000 w 178"/>
                <a:gd name="T15" fmla="*/ 0 h 286"/>
                <a:gd name="T16" fmla="*/ 282575 w 178"/>
                <a:gd name="T17" fmla="*/ 0 h 286"/>
                <a:gd name="T18" fmla="*/ 257175 w 178"/>
                <a:gd name="T19" fmla="*/ 92075 h 28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200" dirty="0">
                <a:solidFill>
                  <a:srgbClr val="000000"/>
                </a:solidFill>
                <a:ea typeface="ＭＳ Ｐゴシック"/>
              </a:endParaRPr>
            </a:p>
          </p:txBody>
        </p:sp>
        <p:sp>
          <p:nvSpPr>
            <p:cNvPr id="16" name="Freeform 16"/>
            <p:cNvSpPr>
              <a:spLocks/>
            </p:cNvSpPr>
            <p:nvPr/>
          </p:nvSpPr>
          <p:spPr bwMode="auto">
            <a:xfrm>
              <a:off x="6805613" y="3330575"/>
              <a:ext cx="327025" cy="403225"/>
            </a:xfrm>
            <a:custGeom>
              <a:avLst/>
              <a:gdLst>
                <a:gd name="T0" fmla="*/ 311150 w 206"/>
                <a:gd name="T1" fmla="*/ 73025 h 254"/>
                <a:gd name="T2" fmla="*/ 327025 w 206"/>
                <a:gd name="T3" fmla="*/ 146050 h 254"/>
                <a:gd name="T4" fmla="*/ 206375 w 206"/>
                <a:gd name="T5" fmla="*/ 146050 h 254"/>
                <a:gd name="T6" fmla="*/ 171450 w 206"/>
                <a:gd name="T7" fmla="*/ 273050 h 254"/>
                <a:gd name="T8" fmla="*/ 171450 w 206"/>
                <a:gd name="T9" fmla="*/ 273050 h 254"/>
                <a:gd name="T10" fmla="*/ 168275 w 206"/>
                <a:gd name="T11" fmla="*/ 288925 h 254"/>
                <a:gd name="T12" fmla="*/ 165100 w 206"/>
                <a:gd name="T13" fmla="*/ 301625 h 254"/>
                <a:gd name="T14" fmla="*/ 165100 w 206"/>
                <a:gd name="T15" fmla="*/ 301625 h 254"/>
                <a:gd name="T16" fmla="*/ 168275 w 206"/>
                <a:gd name="T17" fmla="*/ 311150 h 254"/>
                <a:gd name="T18" fmla="*/ 171450 w 206"/>
                <a:gd name="T19" fmla="*/ 317500 h 254"/>
                <a:gd name="T20" fmla="*/ 180975 w 206"/>
                <a:gd name="T21" fmla="*/ 320675 h 254"/>
                <a:gd name="T22" fmla="*/ 193675 w 206"/>
                <a:gd name="T23" fmla="*/ 320675 h 254"/>
                <a:gd name="T24" fmla="*/ 225425 w 206"/>
                <a:gd name="T25" fmla="*/ 320675 h 254"/>
                <a:gd name="T26" fmla="*/ 203200 w 206"/>
                <a:gd name="T27" fmla="*/ 403225 h 254"/>
                <a:gd name="T28" fmla="*/ 63500 w 206"/>
                <a:gd name="T29" fmla="*/ 403225 h 254"/>
                <a:gd name="T30" fmla="*/ 63500 w 206"/>
                <a:gd name="T31" fmla="*/ 403225 h 254"/>
                <a:gd name="T32" fmla="*/ 47625 w 206"/>
                <a:gd name="T33" fmla="*/ 400050 h 254"/>
                <a:gd name="T34" fmla="*/ 34925 w 206"/>
                <a:gd name="T35" fmla="*/ 400050 h 254"/>
                <a:gd name="T36" fmla="*/ 22225 w 206"/>
                <a:gd name="T37" fmla="*/ 393700 h 254"/>
                <a:gd name="T38" fmla="*/ 15875 w 206"/>
                <a:gd name="T39" fmla="*/ 387350 h 254"/>
                <a:gd name="T40" fmla="*/ 9525 w 206"/>
                <a:gd name="T41" fmla="*/ 377825 h 254"/>
                <a:gd name="T42" fmla="*/ 3175 w 206"/>
                <a:gd name="T43" fmla="*/ 368300 h 254"/>
                <a:gd name="T44" fmla="*/ 0 w 206"/>
                <a:gd name="T45" fmla="*/ 358775 h 254"/>
                <a:gd name="T46" fmla="*/ 0 w 206"/>
                <a:gd name="T47" fmla="*/ 346075 h 254"/>
                <a:gd name="T48" fmla="*/ 0 w 206"/>
                <a:gd name="T49" fmla="*/ 346075 h 254"/>
                <a:gd name="T50" fmla="*/ 3175 w 206"/>
                <a:gd name="T51" fmla="*/ 323850 h 254"/>
                <a:gd name="T52" fmla="*/ 6350 w 206"/>
                <a:gd name="T53" fmla="*/ 301625 h 254"/>
                <a:gd name="T54" fmla="*/ 92075 w 206"/>
                <a:gd name="T55" fmla="*/ 0 h 254"/>
                <a:gd name="T56" fmla="*/ 247650 w 206"/>
                <a:gd name="T57" fmla="*/ 0 h 254"/>
                <a:gd name="T58" fmla="*/ 228600 w 206"/>
                <a:gd name="T59" fmla="*/ 73025 h 254"/>
                <a:gd name="T60" fmla="*/ 311150 w 206"/>
                <a:gd name="T61" fmla="*/ 73025 h 25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06" h="254">
                  <a:moveTo>
                    <a:pt x="196" y="46"/>
                  </a:moveTo>
                  <a:lnTo>
                    <a:pt x="206" y="92"/>
                  </a:lnTo>
                  <a:lnTo>
                    <a:pt x="130" y="92"/>
                  </a:lnTo>
                  <a:lnTo>
                    <a:pt x="108" y="172"/>
                  </a:lnTo>
                  <a:lnTo>
                    <a:pt x="106" y="182"/>
                  </a:lnTo>
                  <a:lnTo>
                    <a:pt x="104" y="190"/>
                  </a:lnTo>
                  <a:lnTo>
                    <a:pt x="106" y="196"/>
                  </a:lnTo>
                  <a:lnTo>
                    <a:pt x="108" y="200"/>
                  </a:lnTo>
                  <a:lnTo>
                    <a:pt x="114" y="202"/>
                  </a:lnTo>
                  <a:lnTo>
                    <a:pt x="122" y="202"/>
                  </a:lnTo>
                  <a:lnTo>
                    <a:pt x="142" y="202"/>
                  </a:lnTo>
                  <a:lnTo>
                    <a:pt x="128" y="254"/>
                  </a:lnTo>
                  <a:lnTo>
                    <a:pt x="40" y="254"/>
                  </a:lnTo>
                  <a:lnTo>
                    <a:pt x="30" y="252"/>
                  </a:lnTo>
                  <a:lnTo>
                    <a:pt x="22" y="252"/>
                  </a:lnTo>
                  <a:lnTo>
                    <a:pt x="14" y="248"/>
                  </a:lnTo>
                  <a:lnTo>
                    <a:pt x="10" y="244"/>
                  </a:lnTo>
                  <a:lnTo>
                    <a:pt x="6" y="238"/>
                  </a:lnTo>
                  <a:lnTo>
                    <a:pt x="2" y="232"/>
                  </a:lnTo>
                  <a:lnTo>
                    <a:pt x="0" y="226"/>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200" dirty="0">
                <a:solidFill>
                  <a:srgbClr val="000000"/>
                </a:solidFill>
                <a:ea typeface="ＭＳ Ｐゴシック"/>
              </a:endParaRPr>
            </a:p>
          </p:txBody>
        </p:sp>
        <p:sp>
          <p:nvSpPr>
            <p:cNvPr id="17" name="Freeform 17"/>
            <p:cNvSpPr>
              <a:spLocks/>
            </p:cNvSpPr>
            <p:nvPr/>
          </p:nvSpPr>
          <p:spPr bwMode="auto">
            <a:xfrm>
              <a:off x="4973638" y="3784600"/>
              <a:ext cx="63500" cy="79375"/>
            </a:xfrm>
            <a:custGeom>
              <a:avLst/>
              <a:gdLst>
                <a:gd name="T0" fmla="*/ 22225 w 40"/>
                <a:gd name="T1" fmla="*/ 0 h 50"/>
                <a:gd name="T2" fmla="*/ 63500 w 40"/>
                <a:gd name="T3" fmla="*/ 0 h 50"/>
                <a:gd name="T4" fmla="*/ 38100 w 40"/>
                <a:gd name="T5" fmla="*/ 79375 h 50"/>
                <a:gd name="T6" fmla="*/ 0 w 40"/>
                <a:gd name="T7" fmla="*/ 79375 h 50"/>
                <a:gd name="T8" fmla="*/ 22225 w 40"/>
                <a:gd name="T9" fmla="*/ 0 h 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200" dirty="0">
                <a:solidFill>
                  <a:srgbClr val="000000"/>
                </a:solidFill>
                <a:ea typeface="ＭＳ Ｐゴシック"/>
              </a:endParaRPr>
            </a:p>
          </p:txBody>
        </p:sp>
        <p:sp>
          <p:nvSpPr>
            <p:cNvPr id="18" name="Freeform 18"/>
            <p:cNvSpPr>
              <a:spLocks/>
            </p:cNvSpPr>
            <p:nvPr/>
          </p:nvSpPr>
          <p:spPr bwMode="auto">
            <a:xfrm>
              <a:off x="5110163" y="3784600"/>
              <a:ext cx="146050" cy="79375"/>
            </a:xfrm>
            <a:custGeom>
              <a:avLst/>
              <a:gdLst>
                <a:gd name="T0" fmla="*/ 22225 w 92"/>
                <a:gd name="T1" fmla="*/ 0 h 50"/>
                <a:gd name="T2" fmla="*/ 79375 w 92"/>
                <a:gd name="T3" fmla="*/ 0 h 50"/>
                <a:gd name="T4" fmla="*/ 95250 w 92"/>
                <a:gd name="T5" fmla="*/ 53975 h 50"/>
                <a:gd name="T6" fmla="*/ 95250 w 92"/>
                <a:gd name="T7" fmla="*/ 53975 h 50"/>
                <a:gd name="T8" fmla="*/ 111125 w 92"/>
                <a:gd name="T9" fmla="*/ 0 h 50"/>
                <a:gd name="T10" fmla="*/ 146050 w 92"/>
                <a:gd name="T11" fmla="*/ 0 h 50"/>
                <a:gd name="T12" fmla="*/ 120650 w 92"/>
                <a:gd name="T13" fmla="*/ 79375 h 50"/>
                <a:gd name="T14" fmla="*/ 66675 w 92"/>
                <a:gd name="T15" fmla="*/ 79375 h 50"/>
                <a:gd name="T16" fmla="*/ 50800 w 92"/>
                <a:gd name="T17" fmla="*/ 22225 h 50"/>
                <a:gd name="T18" fmla="*/ 50800 w 92"/>
                <a:gd name="T19" fmla="*/ 22225 h 50"/>
                <a:gd name="T20" fmla="*/ 31750 w 92"/>
                <a:gd name="T21" fmla="*/ 79375 h 50"/>
                <a:gd name="T22" fmla="*/ 0 w 92"/>
                <a:gd name="T23" fmla="*/ 79375 h 50"/>
                <a:gd name="T24" fmla="*/ 22225 w 92"/>
                <a:gd name="T25" fmla="*/ 0 h 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2" h="50">
                  <a:moveTo>
                    <a:pt x="14" y="0"/>
                  </a:moveTo>
                  <a:lnTo>
                    <a:pt x="50" y="0"/>
                  </a:lnTo>
                  <a:lnTo>
                    <a:pt x="60" y="34"/>
                  </a:lnTo>
                  <a:lnTo>
                    <a:pt x="70" y="0"/>
                  </a:lnTo>
                  <a:lnTo>
                    <a:pt x="92" y="0"/>
                  </a:lnTo>
                  <a:lnTo>
                    <a:pt x="76" y="50"/>
                  </a:lnTo>
                  <a:lnTo>
                    <a:pt x="42" y="50"/>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200" dirty="0">
                <a:solidFill>
                  <a:srgbClr val="000000"/>
                </a:solidFill>
                <a:ea typeface="ＭＳ Ｐゴシック"/>
              </a:endParaRPr>
            </a:p>
          </p:txBody>
        </p:sp>
        <p:sp>
          <p:nvSpPr>
            <p:cNvPr id="19" name="Freeform 19"/>
            <p:cNvSpPr>
              <a:spLocks/>
            </p:cNvSpPr>
            <p:nvPr/>
          </p:nvSpPr>
          <p:spPr bwMode="auto">
            <a:xfrm>
              <a:off x="5329238" y="3784600"/>
              <a:ext cx="130175" cy="79375"/>
            </a:xfrm>
            <a:custGeom>
              <a:avLst/>
              <a:gdLst>
                <a:gd name="T0" fmla="*/ 0 w 82"/>
                <a:gd name="T1" fmla="*/ 0 h 50"/>
                <a:gd name="T2" fmla="*/ 44450 w 82"/>
                <a:gd name="T3" fmla="*/ 0 h 50"/>
                <a:gd name="T4" fmla="*/ 50800 w 82"/>
                <a:gd name="T5" fmla="*/ 50800 h 50"/>
                <a:gd name="T6" fmla="*/ 88900 w 82"/>
                <a:gd name="T7" fmla="*/ 0 h 50"/>
                <a:gd name="T8" fmla="*/ 130175 w 82"/>
                <a:gd name="T9" fmla="*/ 0 h 50"/>
                <a:gd name="T10" fmla="*/ 63500 w 82"/>
                <a:gd name="T11" fmla="*/ 79375 h 50"/>
                <a:gd name="T12" fmla="*/ 15875 w 82"/>
                <a:gd name="T13" fmla="*/ 79375 h 50"/>
                <a:gd name="T14" fmla="*/ 0 w 82"/>
                <a:gd name="T15" fmla="*/ 0 h 5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200" dirty="0">
                <a:solidFill>
                  <a:srgbClr val="000000"/>
                </a:solidFill>
                <a:ea typeface="ＭＳ Ｐゴシック"/>
              </a:endParaRPr>
            </a:p>
          </p:txBody>
        </p:sp>
        <p:sp>
          <p:nvSpPr>
            <p:cNvPr id="20" name="Freeform 20"/>
            <p:cNvSpPr>
              <a:spLocks/>
            </p:cNvSpPr>
            <p:nvPr/>
          </p:nvSpPr>
          <p:spPr bwMode="auto">
            <a:xfrm>
              <a:off x="5510213" y="3784600"/>
              <a:ext cx="111125" cy="79375"/>
            </a:xfrm>
            <a:custGeom>
              <a:avLst/>
              <a:gdLst>
                <a:gd name="T0" fmla="*/ 22225 w 70"/>
                <a:gd name="T1" fmla="*/ 0 h 50"/>
                <a:gd name="T2" fmla="*/ 111125 w 70"/>
                <a:gd name="T3" fmla="*/ 0 h 50"/>
                <a:gd name="T4" fmla="*/ 107950 w 70"/>
                <a:gd name="T5" fmla="*/ 15875 h 50"/>
                <a:gd name="T6" fmla="*/ 57150 w 70"/>
                <a:gd name="T7" fmla="*/ 15875 h 50"/>
                <a:gd name="T8" fmla="*/ 50800 w 70"/>
                <a:gd name="T9" fmla="*/ 31750 h 50"/>
                <a:gd name="T10" fmla="*/ 98425 w 70"/>
                <a:gd name="T11" fmla="*/ 31750 h 50"/>
                <a:gd name="T12" fmla="*/ 95250 w 70"/>
                <a:gd name="T13" fmla="*/ 47625 h 50"/>
                <a:gd name="T14" fmla="*/ 47625 w 70"/>
                <a:gd name="T15" fmla="*/ 47625 h 50"/>
                <a:gd name="T16" fmla="*/ 41275 w 70"/>
                <a:gd name="T17" fmla="*/ 63500 h 50"/>
                <a:gd name="T18" fmla="*/ 92075 w 70"/>
                <a:gd name="T19" fmla="*/ 63500 h 50"/>
                <a:gd name="T20" fmla="*/ 88900 w 70"/>
                <a:gd name="T21" fmla="*/ 79375 h 50"/>
                <a:gd name="T22" fmla="*/ 0 w 70"/>
                <a:gd name="T23" fmla="*/ 79375 h 50"/>
                <a:gd name="T24" fmla="*/ 22225 w 70"/>
                <a:gd name="T25" fmla="*/ 0 h 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200" dirty="0">
                <a:solidFill>
                  <a:srgbClr val="000000"/>
                </a:solidFill>
                <a:ea typeface="ＭＳ Ｐゴシック"/>
              </a:endParaRPr>
            </a:p>
          </p:txBody>
        </p:sp>
        <p:sp>
          <p:nvSpPr>
            <p:cNvPr id="21" name="Freeform 21"/>
            <p:cNvSpPr>
              <a:spLocks/>
            </p:cNvSpPr>
            <p:nvPr/>
          </p:nvSpPr>
          <p:spPr bwMode="auto">
            <a:xfrm>
              <a:off x="5884863" y="3784600"/>
              <a:ext cx="104775" cy="79375"/>
            </a:xfrm>
            <a:custGeom>
              <a:avLst/>
              <a:gdLst>
                <a:gd name="T0" fmla="*/ 28575 w 66"/>
                <a:gd name="T1" fmla="*/ 19050 h 50"/>
                <a:gd name="T2" fmla="*/ 0 w 66"/>
                <a:gd name="T3" fmla="*/ 19050 h 50"/>
                <a:gd name="T4" fmla="*/ 6350 w 66"/>
                <a:gd name="T5" fmla="*/ 0 h 50"/>
                <a:gd name="T6" fmla="*/ 104775 w 66"/>
                <a:gd name="T7" fmla="*/ 0 h 50"/>
                <a:gd name="T8" fmla="*/ 98425 w 66"/>
                <a:gd name="T9" fmla="*/ 19050 h 50"/>
                <a:gd name="T10" fmla="*/ 69850 w 66"/>
                <a:gd name="T11" fmla="*/ 19050 h 50"/>
                <a:gd name="T12" fmla="*/ 50800 w 66"/>
                <a:gd name="T13" fmla="*/ 79375 h 50"/>
                <a:gd name="T14" fmla="*/ 9525 w 66"/>
                <a:gd name="T15" fmla="*/ 79375 h 50"/>
                <a:gd name="T16" fmla="*/ 28575 w 66"/>
                <a:gd name="T17" fmla="*/ 19050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200" dirty="0">
                <a:solidFill>
                  <a:srgbClr val="000000"/>
                </a:solidFill>
                <a:ea typeface="ＭＳ Ｐゴシック"/>
              </a:endParaRPr>
            </a:p>
          </p:txBody>
        </p:sp>
        <p:sp>
          <p:nvSpPr>
            <p:cNvPr id="22" name="Freeform 22"/>
            <p:cNvSpPr>
              <a:spLocks/>
            </p:cNvSpPr>
            <p:nvPr/>
          </p:nvSpPr>
          <p:spPr bwMode="auto">
            <a:xfrm>
              <a:off x="6046788" y="3784600"/>
              <a:ext cx="180975" cy="79375"/>
            </a:xfrm>
            <a:custGeom>
              <a:avLst/>
              <a:gdLst>
                <a:gd name="T0" fmla="*/ 22225 w 114"/>
                <a:gd name="T1" fmla="*/ 0 h 50"/>
                <a:gd name="T2" fmla="*/ 82550 w 114"/>
                <a:gd name="T3" fmla="*/ 0 h 50"/>
                <a:gd name="T4" fmla="*/ 85725 w 114"/>
                <a:gd name="T5" fmla="*/ 53975 h 50"/>
                <a:gd name="T6" fmla="*/ 85725 w 114"/>
                <a:gd name="T7" fmla="*/ 53975 h 50"/>
                <a:gd name="T8" fmla="*/ 120650 w 114"/>
                <a:gd name="T9" fmla="*/ 0 h 50"/>
                <a:gd name="T10" fmla="*/ 180975 w 114"/>
                <a:gd name="T11" fmla="*/ 0 h 50"/>
                <a:gd name="T12" fmla="*/ 155575 w 114"/>
                <a:gd name="T13" fmla="*/ 79375 h 50"/>
                <a:gd name="T14" fmla="*/ 120650 w 114"/>
                <a:gd name="T15" fmla="*/ 79375 h 50"/>
                <a:gd name="T16" fmla="*/ 136525 w 114"/>
                <a:gd name="T17" fmla="*/ 19050 h 50"/>
                <a:gd name="T18" fmla="*/ 136525 w 114"/>
                <a:gd name="T19" fmla="*/ 19050 h 50"/>
                <a:gd name="T20" fmla="*/ 95250 w 114"/>
                <a:gd name="T21" fmla="*/ 79375 h 50"/>
                <a:gd name="T22" fmla="*/ 57150 w 114"/>
                <a:gd name="T23" fmla="*/ 79375 h 50"/>
                <a:gd name="T24" fmla="*/ 50800 w 114"/>
                <a:gd name="T25" fmla="*/ 19050 h 50"/>
                <a:gd name="T26" fmla="*/ 50800 w 114"/>
                <a:gd name="T27" fmla="*/ 19050 h 50"/>
                <a:gd name="T28" fmla="*/ 31750 w 114"/>
                <a:gd name="T29" fmla="*/ 79375 h 50"/>
                <a:gd name="T30" fmla="*/ 0 w 114"/>
                <a:gd name="T31" fmla="*/ 79375 h 50"/>
                <a:gd name="T32" fmla="*/ 22225 w 114"/>
                <a:gd name="T33" fmla="*/ 0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14" h="50">
                  <a:moveTo>
                    <a:pt x="14" y="0"/>
                  </a:moveTo>
                  <a:lnTo>
                    <a:pt x="52" y="0"/>
                  </a:lnTo>
                  <a:lnTo>
                    <a:pt x="54" y="34"/>
                  </a:lnTo>
                  <a:lnTo>
                    <a:pt x="76" y="0"/>
                  </a:lnTo>
                  <a:lnTo>
                    <a:pt x="114" y="0"/>
                  </a:lnTo>
                  <a:lnTo>
                    <a:pt x="98" y="50"/>
                  </a:lnTo>
                  <a:lnTo>
                    <a:pt x="76" y="50"/>
                  </a:lnTo>
                  <a:lnTo>
                    <a:pt x="86" y="12"/>
                  </a:lnTo>
                  <a:lnTo>
                    <a:pt x="60" y="50"/>
                  </a:lnTo>
                  <a:lnTo>
                    <a:pt x="36" y="50"/>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200" dirty="0">
                <a:solidFill>
                  <a:srgbClr val="000000"/>
                </a:solidFill>
                <a:ea typeface="ＭＳ Ｐゴシック"/>
              </a:endParaRPr>
            </a:p>
          </p:txBody>
        </p:sp>
        <p:sp>
          <p:nvSpPr>
            <p:cNvPr id="23" name="Freeform 23"/>
            <p:cNvSpPr>
              <a:spLocks/>
            </p:cNvSpPr>
            <p:nvPr/>
          </p:nvSpPr>
          <p:spPr bwMode="auto">
            <a:xfrm>
              <a:off x="6450013" y="3784600"/>
              <a:ext cx="146050" cy="79375"/>
            </a:xfrm>
            <a:custGeom>
              <a:avLst/>
              <a:gdLst>
                <a:gd name="T0" fmla="*/ 25400 w 92"/>
                <a:gd name="T1" fmla="*/ 0 h 50"/>
                <a:gd name="T2" fmla="*/ 82550 w 92"/>
                <a:gd name="T3" fmla="*/ 0 h 50"/>
                <a:gd name="T4" fmla="*/ 98425 w 92"/>
                <a:gd name="T5" fmla="*/ 53975 h 50"/>
                <a:gd name="T6" fmla="*/ 98425 w 92"/>
                <a:gd name="T7" fmla="*/ 53975 h 50"/>
                <a:gd name="T8" fmla="*/ 114300 w 92"/>
                <a:gd name="T9" fmla="*/ 0 h 50"/>
                <a:gd name="T10" fmla="*/ 146050 w 92"/>
                <a:gd name="T11" fmla="*/ 0 h 50"/>
                <a:gd name="T12" fmla="*/ 123825 w 92"/>
                <a:gd name="T13" fmla="*/ 79375 h 50"/>
                <a:gd name="T14" fmla="*/ 66675 w 92"/>
                <a:gd name="T15" fmla="*/ 79375 h 50"/>
                <a:gd name="T16" fmla="*/ 50800 w 92"/>
                <a:gd name="T17" fmla="*/ 22225 h 50"/>
                <a:gd name="T18" fmla="*/ 50800 w 92"/>
                <a:gd name="T19" fmla="*/ 22225 h 50"/>
                <a:gd name="T20" fmla="*/ 34925 w 92"/>
                <a:gd name="T21" fmla="*/ 79375 h 50"/>
                <a:gd name="T22" fmla="*/ 0 w 92"/>
                <a:gd name="T23" fmla="*/ 79375 h 50"/>
                <a:gd name="T24" fmla="*/ 25400 w 92"/>
                <a:gd name="T25" fmla="*/ 0 h 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2" h="50">
                  <a:moveTo>
                    <a:pt x="16" y="0"/>
                  </a:moveTo>
                  <a:lnTo>
                    <a:pt x="52" y="0"/>
                  </a:lnTo>
                  <a:lnTo>
                    <a:pt x="62" y="34"/>
                  </a:lnTo>
                  <a:lnTo>
                    <a:pt x="72" y="0"/>
                  </a:lnTo>
                  <a:lnTo>
                    <a:pt x="92" y="0"/>
                  </a:lnTo>
                  <a:lnTo>
                    <a:pt x="78" y="50"/>
                  </a:lnTo>
                  <a:lnTo>
                    <a:pt x="42" y="50"/>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200" dirty="0">
                <a:solidFill>
                  <a:srgbClr val="000000"/>
                </a:solidFill>
                <a:ea typeface="ＭＳ Ｐゴシック"/>
              </a:endParaRPr>
            </a:p>
          </p:txBody>
        </p:sp>
        <p:sp>
          <p:nvSpPr>
            <p:cNvPr id="24" name="Freeform 24"/>
            <p:cNvSpPr>
              <a:spLocks/>
            </p:cNvSpPr>
            <p:nvPr/>
          </p:nvSpPr>
          <p:spPr bwMode="auto">
            <a:xfrm>
              <a:off x="6659563" y="3784600"/>
              <a:ext cx="107950" cy="79375"/>
            </a:xfrm>
            <a:custGeom>
              <a:avLst/>
              <a:gdLst>
                <a:gd name="T0" fmla="*/ 31750 w 68"/>
                <a:gd name="T1" fmla="*/ 19050 h 50"/>
                <a:gd name="T2" fmla="*/ 0 w 68"/>
                <a:gd name="T3" fmla="*/ 19050 h 50"/>
                <a:gd name="T4" fmla="*/ 6350 w 68"/>
                <a:gd name="T5" fmla="*/ 0 h 50"/>
                <a:gd name="T6" fmla="*/ 107950 w 68"/>
                <a:gd name="T7" fmla="*/ 0 h 50"/>
                <a:gd name="T8" fmla="*/ 101600 w 68"/>
                <a:gd name="T9" fmla="*/ 19050 h 50"/>
                <a:gd name="T10" fmla="*/ 69850 w 68"/>
                <a:gd name="T11" fmla="*/ 19050 h 50"/>
                <a:gd name="T12" fmla="*/ 50800 w 68"/>
                <a:gd name="T13" fmla="*/ 79375 h 50"/>
                <a:gd name="T14" fmla="*/ 12700 w 68"/>
                <a:gd name="T15" fmla="*/ 79375 h 50"/>
                <a:gd name="T16" fmla="*/ 31750 w 68"/>
                <a:gd name="T17" fmla="*/ 19050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200" dirty="0">
                <a:solidFill>
                  <a:srgbClr val="000000"/>
                </a:solidFill>
                <a:ea typeface="ＭＳ Ｐゴシック"/>
              </a:endParaRPr>
            </a:p>
          </p:txBody>
        </p:sp>
        <p:sp>
          <p:nvSpPr>
            <p:cNvPr id="25" name="Freeform 25"/>
            <p:cNvSpPr>
              <a:spLocks noEditPoints="1"/>
            </p:cNvSpPr>
            <p:nvPr/>
          </p:nvSpPr>
          <p:spPr bwMode="auto">
            <a:xfrm>
              <a:off x="7326313" y="3667125"/>
              <a:ext cx="85725" cy="85725"/>
            </a:xfrm>
            <a:custGeom>
              <a:avLst/>
              <a:gdLst>
                <a:gd name="T0" fmla="*/ 41275 w 54"/>
                <a:gd name="T1" fmla="*/ 0 h 54"/>
                <a:gd name="T2" fmla="*/ 41275 w 54"/>
                <a:gd name="T3" fmla="*/ 0 h 54"/>
                <a:gd name="T4" fmla="*/ 25400 w 54"/>
                <a:gd name="T5" fmla="*/ 3175 h 54"/>
                <a:gd name="T6" fmla="*/ 12700 w 54"/>
                <a:gd name="T7" fmla="*/ 12700 h 54"/>
                <a:gd name="T8" fmla="*/ 3175 w 54"/>
                <a:gd name="T9" fmla="*/ 25400 h 54"/>
                <a:gd name="T10" fmla="*/ 0 w 54"/>
                <a:gd name="T11" fmla="*/ 41275 h 54"/>
                <a:gd name="T12" fmla="*/ 0 w 54"/>
                <a:gd name="T13" fmla="*/ 41275 h 54"/>
                <a:gd name="T14" fmla="*/ 3175 w 54"/>
                <a:gd name="T15" fmla="*/ 57150 h 54"/>
                <a:gd name="T16" fmla="*/ 12700 w 54"/>
                <a:gd name="T17" fmla="*/ 73025 h 54"/>
                <a:gd name="T18" fmla="*/ 25400 w 54"/>
                <a:gd name="T19" fmla="*/ 82550 h 54"/>
                <a:gd name="T20" fmla="*/ 41275 w 54"/>
                <a:gd name="T21" fmla="*/ 85725 h 54"/>
                <a:gd name="T22" fmla="*/ 41275 w 54"/>
                <a:gd name="T23" fmla="*/ 85725 h 54"/>
                <a:gd name="T24" fmla="*/ 57150 w 54"/>
                <a:gd name="T25" fmla="*/ 82550 h 54"/>
                <a:gd name="T26" fmla="*/ 73025 w 54"/>
                <a:gd name="T27" fmla="*/ 73025 h 54"/>
                <a:gd name="T28" fmla="*/ 82550 w 54"/>
                <a:gd name="T29" fmla="*/ 57150 h 54"/>
                <a:gd name="T30" fmla="*/ 85725 w 54"/>
                <a:gd name="T31" fmla="*/ 41275 h 54"/>
                <a:gd name="T32" fmla="*/ 85725 w 54"/>
                <a:gd name="T33" fmla="*/ 41275 h 54"/>
                <a:gd name="T34" fmla="*/ 82550 w 54"/>
                <a:gd name="T35" fmla="*/ 25400 h 54"/>
                <a:gd name="T36" fmla="*/ 73025 w 54"/>
                <a:gd name="T37" fmla="*/ 12700 h 54"/>
                <a:gd name="T38" fmla="*/ 57150 w 54"/>
                <a:gd name="T39" fmla="*/ 3175 h 54"/>
                <a:gd name="T40" fmla="*/ 41275 w 54"/>
                <a:gd name="T41" fmla="*/ 0 h 54"/>
                <a:gd name="T42" fmla="*/ 41275 w 54"/>
                <a:gd name="T43" fmla="*/ 0 h 54"/>
                <a:gd name="T44" fmla="*/ 41275 w 54"/>
                <a:gd name="T45" fmla="*/ 76200 h 54"/>
                <a:gd name="T46" fmla="*/ 41275 w 54"/>
                <a:gd name="T47" fmla="*/ 76200 h 54"/>
                <a:gd name="T48" fmla="*/ 28575 w 54"/>
                <a:gd name="T49" fmla="*/ 73025 h 54"/>
                <a:gd name="T50" fmla="*/ 15875 w 54"/>
                <a:gd name="T51" fmla="*/ 66675 h 54"/>
                <a:gd name="T52" fmla="*/ 9525 w 54"/>
                <a:gd name="T53" fmla="*/ 57150 h 54"/>
                <a:gd name="T54" fmla="*/ 6350 w 54"/>
                <a:gd name="T55" fmla="*/ 41275 h 54"/>
                <a:gd name="T56" fmla="*/ 6350 w 54"/>
                <a:gd name="T57" fmla="*/ 41275 h 54"/>
                <a:gd name="T58" fmla="*/ 9525 w 54"/>
                <a:gd name="T59" fmla="*/ 28575 h 54"/>
                <a:gd name="T60" fmla="*/ 15875 w 54"/>
                <a:gd name="T61" fmla="*/ 15875 h 54"/>
                <a:gd name="T62" fmla="*/ 28575 w 54"/>
                <a:gd name="T63" fmla="*/ 9525 h 54"/>
                <a:gd name="T64" fmla="*/ 41275 w 54"/>
                <a:gd name="T65" fmla="*/ 6350 h 54"/>
                <a:gd name="T66" fmla="*/ 41275 w 54"/>
                <a:gd name="T67" fmla="*/ 6350 h 54"/>
                <a:gd name="T68" fmla="*/ 57150 w 54"/>
                <a:gd name="T69" fmla="*/ 9525 h 54"/>
                <a:gd name="T70" fmla="*/ 66675 w 54"/>
                <a:gd name="T71" fmla="*/ 15875 h 54"/>
                <a:gd name="T72" fmla="*/ 73025 w 54"/>
                <a:gd name="T73" fmla="*/ 28575 h 54"/>
                <a:gd name="T74" fmla="*/ 76200 w 54"/>
                <a:gd name="T75" fmla="*/ 41275 h 54"/>
                <a:gd name="T76" fmla="*/ 76200 w 54"/>
                <a:gd name="T77" fmla="*/ 41275 h 54"/>
                <a:gd name="T78" fmla="*/ 73025 w 54"/>
                <a:gd name="T79" fmla="*/ 57150 h 54"/>
                <a:gd name="T80" fmla="*/ 66675 w 54"/>
                <a:gd name="T81" fmla="*/ 66675 h 54"/>
                <a:gd name="T82" fmla="*/ 57150 w 54"/>
                <a:gd name="T83" fmla="*/ 73025 h 54"/>
                <a:gd name="T84" fmla="*/ 41275 w 54"/>
                <a:gd name="T85" fmla="*/ 76200 h 54"/>
                <a:gd name="T86" fmla="*/ 41275 w 54"/>
                <a:gd name="T87" fmla="*/ 76200 h 5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4" h="54">
                  <a:moveTo>
                    <a:pt x="26" y="0"/>
                  </a:moveTo>
                  <a:lnTo>
                    <a:pt x="26" y="0"/>
                  </a:lnTo>
                  <a:lnTo>
                    <a:pt x="16" y="2"/>
                  </a:lnTo>
                  <a:lnTo>
                    <a:pt x="8" y="8"/>
                  </a:lnTo>
                  <a:lnTo>
                    <a:pt x="2" y="16"/>
                  </a:lnTo>
                  <a:lnTo>
                    <a:pt x="0" y="26"/>
                  </a:lnTo>
                  <a:lnTo>
                    <a:pt x="2" y="36"/>
                  </a:lnTo>
                  <a:lnTo>
                    <a:pt x="8" y="46"/>
                  </a:lnTo>
                  <a:lnTo>
                    <a:pt x="16" y="52"/>
                  </a:lnTo>
                  <a:lnTo>
                    <a:pt x="26" y="54"/>
                  </a:lnTo>
                  <a:lnTo>
                    <a:pt x="36" y="52"/>
                  </a:lnTo>
                  <a:lnTo>
                    <a:pt x="46" y="46"/>
                  </a:lnTo>
                  <a:lnTo>
                    <a:pt x="52" y="36"/>
                  </a:lnTo>
                  <a:lnTo>
                    <a:pt x="54" y="26"/>
                  </a:lnTo>
                  <a:lnTo>
                    <a:pt x="52" y="16"/>
                  </a:lnTo>
                  <a:lnTo>
                    <a:pt x="46" y="8"/>
                  </a:lnTo>
                  <a:lnTo>
                    <a:pt x="36" y="2"/>
                  </a:lnTo>
                  <a:lnTo>
                    <a:pt x="26" y="0"/>
                  </a:lnTo>
                  <a:close/>
                  <a:moveTo>
                    <a:pt x="26" y="48"/>
                  </a:moveTo>
                  <a:lnTo>
                    <a:pt x="26" y="48"/>
                  </a:lnTo>
                  <a:lnTo>
                    <a:pt x="18" y="46"/>
                  </a:lnTo>
                  <a:lnTo>
                    <a:pt x="10" y="42"/>
                  </a:lnTo>
                  <a:lnTo>
                    <a:pt x="6" y="36"/>
                  </a:lnTo>
                  <a:lnTo>
                    <a:pt x="4" y="26"/>
                  </a:lnTo>
                  <a:lnTo>
                    <a:pt x="6" y="18"/>
                  </a:lnTo>
                  <a:lnTo>
                    <a:pt x="10" y="10"/>
                  </a:lnTo>
                  <a:lnTo>
                    <a:pt x="18" y="6"/>
                  </a:lnTo>
                  <a:lnTo>
                    <a:pt x="26" y="4"/>
                  </a:lnTo>
                  <a:lnTo>
                    <a:pt x="36" y="6"/>
                  </a:lnTo>
                  <a:lnTo>
                    <a:pt x="42" y="10"/>
                  </a:lnTo>
                  <a:lnTo>
                    <a:pt x="46" y="18"/>
                  </a:lnTo>
                  <a:lnTo>
                    <a:pt x="48" y="26"/>
                  </a:lnTo>
                  <a:lnTo>
                    <a:pt x="46" y="36"/>
                  </a:lnTo>
                  <a:lnTo>
                    <a:pt x="42" y="42"/>
                  </a:lnTo>
                  <a:lnTo>
                    <a:pt x="36" y="46"/>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200" dirty="0">
                <a:solidFill>
                  <a:srgbClr val="000000"/>
                </a:solidFill>
                <a:ea typeface="ＭＳ Ｐゴシック"/>
              </a:endParaRPr>
            </a:p>
          </p:txBody>
        </p:sp>
        <p:sp>
          <p:nvSpPr>
            <p:cNvPr id="26" name="Freeform 26"/>
            <p:cNvSpPr>
              <a:spLocks noEditPoints="1"/>
            </p:cNvSpPr>
            <p:nvPr/>
          </p:nvSpPr>
          <p:spPr bwMode="auto">
            <a:xfrm>
              <a:off x="7354888" y="3686175"/>
              <a:ext cx="31750" cy="44450"/>
            </a:xfrm>
            <a:custGeom>
              <a:avLst/>
              <a:gdLst>
                <a:gd name="T0" fmla="*/ 31750 w 20"/>
                <a:gd name="T1" fmla="*/ 15875 h 28"/>
                <a:gd name="T2" fmla="*/ 31750 w 20"/>
                <a:gd name="T3" fmla="*/ 15875 h 28"/>
                <a:gd name="T4" fmla="*/ 28575 w 20"/>
                <a:gd name="T5" fmla="*/ 9525 h 28"/>
                <a:gd name="T6" fmla="*/ 25400 w 20"/>
                <a:gd name="T7" fmla="*/ 3175 h 28"/>
                <a:gd name="T8" fmla="*/ 22225 w 20"/>
                <a:gd name="T9" fmla="*/ 3175 h 28"/>
                <a:gd name="T10" fmla="*/ 15875 w 20"/>
                <a:gd name="T11" fmla="*/ 0 h 28"/>
                <a:gd name="T12" fmla="*/ 0 w 20"/>
                <a:gd name="T13" fmla="*/ 0 h 28"/>
                <a:gd name="T14" fmla="*/ 0 w 20"/>
                <a:gd name="T15" fmla="*/ 44450 h 28"/>
                <a:gd name="T16" fmla="*/ 6350 w 20"/>
                <a:gd name="T17" fmla="*/ 44450 h 28"/>
                <a:gd name="T18" fmla="*/ 6350 w 20"/>
                <a:gd name="T19" fmla="*/ 28575 h 28"/>
                <a:gd name="T20" fmla="*/ 12700 w 20"/>
                <a:gd name="T21" fmla="*/ 28575 h 28"/>
                <a:gd name="T22" fmla="*/ 22225 w 20"/>
                <a:gd name="T23" fmla="*/ 44450 h 28"/>
                <a:gd name="T24" fmla="*/ 31750 w 20"/>
                <a:gd name="T25" fmla="*/ 44450 h 28"/>
                <a:gd name="T26" fmla="*/ 19050 w 20"/>
                <a:gd name="T27" fmla="*/ 25400 h 28"/>
                <a:gd name="T28" fmla="*/ 19050 w 20"/>
                <a:gd name="T29" fmla="*/ 25400 h 28"/>
                <a:gd name="T30" fmla="*/ 28575 w 20"/>
                <a:gd name="T31" fmla="*/ 22225 h 28"/>
                <a:gd name="T32" fmla="*/ 31750 w 20"/>
                <a:gd name="T33" fmla="*/ 15875 h 28"/>
                <a:gd name="T34" fmla="*/ 31750 w 20"/>
                <a:gd name="T35" fmla="*/ 15875 h 28"/>
                <a:gd name="T36" fmla="*/ 6350 w 20"/>
                <a:gd name="T37" fmla="*/ 19050 h 28"/>
                <a:gd name="T38" fmla="*/ 6350 w 20"/>
                <a:gd name="T39" fmla="*/ 6350 h 28"/>
                <a:gd name="T40" fmla="*/ 12700 w 20"/>
                <a:gd name="T41" fmla="*/ 6350 h 28"/>
                <a:gd name="T42" fmla="*/ 12700 w 20"/>
                <a:gd name="T43" fmla="*/ 6350 h 28"/>
                <a:gd name="T44" fmla="*/ 19050 w 20"/>
                <a:gd name="T45" fmla="*/ 9525 h 28"/>
                <a:gd name="T46" fmla="*/ 22225 w 20"/>
                <a:gd name="T47" fmla="*/ 9525 h 28"/>
                <a:gd name="T48" fmla="*/ 22225 w 20"/>
                <a:gd name="T49" fmla="*/ 12700 h 28"/>
                <a:gd name="T50" fmla="*/ 22225 w 20"/>
                <a:gd name="T51" fmla="*/ 12700 h 28"/>
                <a:gd name="T52" fmla="*/ 22225 w 20"/>
                <a:gd name="T53" fmla="*/ 19050 h 28"/>
                <a:gd name="T54" fmla="*/ 19050 w 20"/>
                <a:gd name="T55" fmla="*/ 19050 h 28"/>
                <a:gd name="T56" fmla="*/ 12700 w 20"/>
                <a:gd name="T57" fmla="*/ 19050 h 28"/>
                <a:gd name="T58" fmla="*/ 6350 w 20"/>
                <a:gd name="T59" fmla="*/ 19050 h 2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8" y="14"/>
                  </a:lnTo>
                  <a:lnTo>
                    <a:pt x="20" y="10"/>
                  </a:lnTo>
                  <a:close/>
                  <a:moveTo>
                    <a:pt x="4" y="12"/>
                  </a:moveTo>
                  <a:lnTo>
                    <a:pt x="4" y="4"/>
                  </a:lnTo>
                  <a:lnTo>
                    <a:pt x="8" y="4"/>
                  </a:lnTo>
                  <a:lnTo>
                    <a:pt x="12" y="6"/>
                  </a:lnTo>
                  <a:lnTo>
                    <a:pt x="14" y="6"/>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200" dirty="0">
                <a:solidFill>
                  <a:srgbClr val="000000"/>
                </a:solidFill>
                <a:ea typeface="ＭＳ Ｐゴシック"/>
              </a:endParaRPr>
            </a:p>
          </p:txBody>
        </p:sp>
        <p:sp>
          <p:nvSpPr>
            <p:cNvPr id="27" name="Freeform 27"/>
            <p:cNvSpPr>
              <a:spLocks/>
            </p:cNvSpPr>
            <p:nvPr/>
          </p:nvSpPr>
          <p:spPr bwMode="auto">
            <a:xfrm>
              <a:off x="5688013" y="3784600"/>
              <a:ext cx="120650" cy="82550"/>
            </a:xfrm>
            <a:custGeom>
              <a:avLst/>
              <a:gdLst>
                <a:gd name="T0" fmla="*/ 53975 w 76"/>
                <a:gd name="T1" fmla="*/ 25400 h 52"/>
                <a:gd name="T2" fmla="*/ 53975 w 76"/>
                <a:gd name="T3" fmla="*/ 19050 h 52"/>
                <a:gd name="T4" fmla="*/ 66675 w 76"/>
                <a:gd name="T5" fmla="*/ 12700 h 52"/>
                <a:gd name="T6" fmla="*/ 76200 w 76"/>
                <a:gd name="T7" fmla="*/ 12700 h 52"/>
                <a:gd name="T8" fmla="*/ 82550 w 76"/>
                <a:gd name="T9" fmla="*/ 15875 h 52"/>
                <a:gd name="T10" fmla="*/ 85725 w 76"/>
                <a:gd name="T11" fmla="*/ 22225 h 52"/>
                <a:gd name="T12" fmla="*/ 117475 w 76"/>
                <a:gd name="T13" fmla="*/ 22225 h 52"/>
                <a:gd name="T14" fmla="*/ 114300 w 76"/>
                <a:gd name="T15" fmla="*/ 6350 h 52"/>
                <a:gd name="T16" fmla="*/ 76200 w 76"/>
                <a:gd name="T17" fmla="*/ 0 h 52"/>
                <a:gd name="T18" fmla="*/ 50800 w 76"/>
                <a:gd name="T19" fmla="*/ 0 h 52"/>
                <a:gd name="T20" fmla="*/ 19050 w 76"/>
                <a:gd name="T21" fmla="*/ 12700 h 52"/>
                <a:gd name="T22" fmla="*/ 12700 w 76"/>
                <a:gd name="T23" fmla="*/ 25400 h 52"/>
                <a:gd name="T24" fmla="*/ 12700 w 76"/>
                <a:gd name="T25" fmla="*/ 38100 h 52"/>
                <a:gd name="T26" fmla="*/ 25400 w 76"/>
                <a:gd name="T27" fmla="*/ 44450 h 52"/>
                <a:gd name="T28" fmla="*/ 60325 w 76"/>
                <a:gd name="T29" fmla="*/ 53975 h 52"/>
                <a:gd name="T30" fmla="*/ 69850 w 76"/>
                <a:gd name="T31" fmla="*/ 57150 h 52"/>
                <a:gd name="T32" fmla="*/ 69850 w 76"/>
                <a:gd name="T33" fmla="*/ 60325 h 52"/>
                <a:gd name="T34" fmla="*/ 63500 w 76"/>
                <a:gd name="T35" fmla="*/ 66675 h 52"/>
                <a:gd name="T36" fmla="*/ 50800 w 76"/>
                <a:gd name="T37" fmla="*/ 69850 h 52"/>
                <a:gd name="T38" fmla="*/ 38100 w 76"/>
                <a:gd name="T39" fmla="*/ 66675 h 52"/>
                <a:gd name="T40" fmla="*/ 34925 w 76"/>
                <a:gd name="T41" fmla="*/ 60325 h 52"/>
                <a:gd name="T42" fmla="*/ 0 w 76"/>
                <a:gd name="T43" fmla="*/ 57150 h 52"/>
                <a:gd name="T44" fmla="*/ 0 w 76"/>
                <a:gd name="T45" fmla="*/ 66675 h 52"/>
                <a:gd name="T46" fmla="*/ 3175 w 76"/>
                <a:gd name="T47" fmla="*/ 76200 h 52"/>
                <a:gd name="T48" fmla="*/ 15875 w 76"/>
                <a:gd name="T49" fmla="*/ 82550 h 52"/>
                <a:gd name="T50" fmla="*/ 44450 w 76"/>
                <a:gd name="T51" fmla="*/ 82550 h 52"/>
                <a:gd name="T52" fmla="*/ 92075 w 76"/>
                <a:gd name="T53" fmla="*/ 76200 h 52"/>
                <a:gd name="T54" fmla="*/ 111125 w 76"/>
                <a:gd name="T55" fmla="*/ 57150 h 52"/>
                <a:gd name="T56" fmla="*/ 111125 w 76"/>
                <a:gd name="T57" fmla="*/ 47625 h 52"/>
                <a:gd name="T58" fmla="*/ 107950 w 76"/>
                <a:gd name="T59" fmla="*/ 41275 h 52"/>
                <a:gd name="T60" fmla="*/ 79375 w 76"/>
                <a:gd name="T61" fmla="*/ 31750 h 52"/>
                <a:gd name="T62" fmla="*/ 53975 w 76"/>
                <a:gd name="T63" fmla="*/ 25400 h 5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76" h="52">
                  <a:moveTo>
                    <a:pt x="34" y="16"/>
                  </a:moveTo>
                  <a:lnTo>
                    <a:pt x="34" y="16"/>
                  </a:lnTo>
                  <a:lnTo>
                    <a:pt x="34" y="12"/>
                  </a:lnTo>
                  <a:lnTo>
                    <a:pt x="36" y="10"/>
                  </a:lnTo>
                  <a:lnTo>
                    <a:pt x="42" y="8"/>
                  </a:lnTo>
                  <a:lnTo>
                    <a:pt x="48" y="8"/>
                  </a:lnTo>
                  <a:lnTo>
                    <a:pt x="52" y="10"/>
                  </a:lnTo>
                  <a:lnTo>
                    <a:pt x="54" y="12"/>
                  </a:lnTo>
                  <a:lnTo>
                    <a:pt x="54" y="14"/>
                  </a:lnTo>
                  <a:lnTo>
                    <a:pt x="74" y="14"/>
                  </a:lnTo>
                  <a:lnTo>
                    <a:pt x="76" y="8"/>
                  </a:lnTo>
                  <a:lnTo>
                    <a:pt x="72" y="4"/>
                  </a:lnTo>
                  <a:lnTo>
                    <a:pt x="62" y="0"/>
                  </a:lnTo>
                  <a:lnTo>
                    <a:pt x="48" y="0"/>
                  </a:lnTo>
                  <a:lnTo>
                    <a:pt x="32" y="0"/>
                  </a:lnTo>
                  <a:lnTo>
                    <a:pt x="20" y="4"/>
                  </a:lnTo>
                  <a:lnTo>
                    <a:pt x="12" y="8"/>
                  </a:lnTo>
                  <a:lnTo>
                    <a:pt x="8" y="16"/>
                  </a:lnTo>
                  <a:lnTo>
                    <a:pt x="6" y="20"/>
                  </a:lnTo>
                  <a:lnTo>
                    <a:pt x="8" y="24"/>
                  </a:lnTo>
                  <a:lnTo>
                    <a:pt x="16" y="28"/>
                  </a:lnTo>
                  <a:lnTo>
                    <a:pt x="28" y="32"/>
                  </a:lnTo>
                  <a:lnTo>
                    <a:pt x="38" y="34"/>
                  </a:lnTo>
                  <a:lnTo>
                    <a:pt x="44" y="36"/>
                  </a:lnTo>
                  <a:lnTo>
                    <a:pt x="44" y="38"/>
                  </a:lnTo>
                  <a:lnTo>
                    <a:pt x="42" y="40"/>
                  </a:lnTo>
                  <a:lnTo>
                    <a:pt x="40" y="42"/>
                  </a:lnTo>
                  <a:lnTo>
                    <a:pt x="32" y="44"/>
                  </a:lnTo>
                  <a:lnTo>
                    <a:pt x="28" y="42"/>
                  </a:lnTo>
                  <a:lnTo>
                    <a:pt x="24" y="42"/>
                  </a:lnTo>
                  <a:lnTo>
                    <a:pt x="22" y="38"/>
                  </a:lnTo>
                  <a:lnTo>
                    <a:pt x="24" y="36"/>
                  </a:lnTo>
                  <a:lnTo>
                    <a:pt x="0" y="36"/>
                  </a:lnTo>
                  <a:lnTo>
                    <a:pt x="0" y="42"/>
                  </a:lnTo>
                  <a:lnTo>
                    <a:pt x="0" y="46"/>
                  </a:lnTo>
                  <a:lnTo>
                    <a:pt x="2" y="48"/>
                  </a:lnTo>
                  <a:lnTo>
                    <a:pt x="6" y="50"/>
                  </a:lnTo>
                  <a:lnTo>
                    <a:pt x="10" y="52"/>
                  </a:lnTo>
                  <a:lnTo>
                    <a:pt x="28" y="52"/>
                  </a:lnTo>
                  <a:lnTo>
                    <a:pt x="46" y="52"/>
                  </a:lnTo>
                  <a:lnTo>
                    <a:pt x="58" y="48"/>
                  </a:lnTo>
                  <a:lnTo>
                    <a:pt x="66" y="42"/>
                  </a:lnTo>
                  <a:lnTo>
                    <a:pt x="70" y="36"/>
                  </a:lnTo>
                  <a:lnTo>
                    <a:pt x="70" y="30"/>
                  </a:lnTo>
                  <a:lnTo>
                    <a:pt x="68" y="26"/>
                  </a:lnTo>
                  <a:lnTo>
                    <a:pt x="62" y="22"/>
                  </a:lnTo>
                  <a:lnTo>
                    <a:pt x="50" y="20"/>
                  </a:lnTo>
                  <a:lnTo>
                    <a:pt x="40" y="18"/>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200" dirty="0">
                <a:solidFill>
                  <a:srgbClr val="000000"/>
                </a:solidFill>
                <a:ea typeface="ＭＳ Ｐゴシック"/>
              </a:endParaRPr>
            </a:p>
          </p:txBody>
        </p:sp>
        <p:sp>
          <p:nvSpPr>
            <p:cNvPr id="28" name="Freeform 28"/>
            <p:cNvSpPr>
              <a:spLocks/>
            </p:cNvSpPr>
            <p:nvPr/>
          </p:nvSpPr>
          <p:spPr bwMode="auto">
            <a:xfrm>
              <a:off x="6281738" y="3784600"/>
              <a:ext cx="114300" cy="79375"/>
            </a:xfrm>
            <a:custGeom>
              <a:avLst/>
              <a:gdLst>
                <a:gd name="T0" fmla="*/ 25400 w 72"/>
                <a:gd name="T1" fmla="*/ 0 h 50"/>
                <a:gd name="T2" fmla="*/ 114300 w 72"/>
                <a:gd name="T3" fmla="*/ 0 h 50"/>
                <a:gd name="T4" fmla="*/ 107950 w 72"/>
                <a:gd name="T5" fmla="*/ 15875 h 50"/>
                <a:gd name="T6" fmla="*/ 57150 w 72"/>
                <a:gd name="T7" fmla="*/ 15875 h 50"/>
                <a:gd name="T8" fmla="*/ 53975 w 72"/>
                <a:gd name="T9" fmla="*/ 31750 h 50"/>
                <a:gd name="T10" fmla="*/ 101600 w 72"/>
                <a:gd name="T11" fmla="*/ 31750 h 50"/>
                <a:gd name="T12" fmla="*/ 95250 w 72"/>
                <a:gd name="T13" fmla="*/ 47625 h 50"/>
                <a:gd name="T14" fmla="*/ 47625 w 72"/>
                <a:gd name="T15" fmla="*/ 47625 h 50"/>
                <a:gd name="T16" fmla="*/ 41275 w 72"/>
                <a:gd name="T17" fmla="*/ 63500 h 50"/>
                <a:gd name="T18" fmla="*/ 95250 w 72"/>
                <a:gd name="T19" fmla="*/ 63500 h 50"/>
                <a:gd name="T20" fmla="*/ 88900 w 72"/>
                <a:gd name="T21" fmla="*/ 79375 h 50"/>
                <a:gd name="T22" fmla="*/ 0 w 72"/>
                <a:gd name="T23" fmla="*/ 79375 h 50"/>
                <a:gd name="T24" fmla="*/ 25400 w 72"/>
                <a:gd name="T25" fmla="*/ 0 h 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200" dirty="0">
                <a:solidFill>
                  <a:srgbClr val="000000"/>
                </a:solidFill>
                <a:ea typeface="ＭＳ Ｐゴシック"/>
              </a:endParaRPr>
            </a:p>
          </p:txBody>
        </p:sp>
        <p:sp>
          <p:nvSpPr>
            <p:cNvPr id="29" name="Freeform 29"/>
            <p:cNvSpPr>
              <a:spLocks/>
            </p:cNvSpPr>
            <p:nvPr/>
          </p:nvSpPr>
          <p:spPr bwMode="auto">
            <a:xfrm>
              <a:off x="7015163" y="3403600"/>
              <a:ext cx="473075" cy="460375"/>
            </a:xfrm>
            <a:custGeom>
              <a:avLst/>
              <a:gdLst>
                <a:gd name="T0" fmla="*/ 314325 w 298"/>
                <a:gd name="T1" fmla="*/ 0 h 290"/>
                <a:gd name="T2" fmla="*/ 228600 w 298"/>
                <a:gd name="T3" fmla="*/ 180975 h 290"/>
                <a:gd name="T4" fmla="*/ 231775 w 298"/>
                <a:gd name="T5" fmla="*/ 0 h 290"/>
                <a:gd name="T6" fmla="*/ 73025 w 298"/>
                <a:gd name="T7" fmla="*/ 0 h 290"/>
                <a:gd name="T8" fmla="*/ 104775 w 298"/>
                <a:gd name="T9" fmla="*/ 330200 h 290"/>
                <a:gd name="T10" fmla="*/ 104775 w 298"/>
                <a:gd name="T11" fmla="*/ 330200 h 290"/>
                <a:gd name="T12" fmla="*/ 101600 w 298"/>
                <a:gd name="T13" fmla="*/ 342900 h 290"/>
                <a:gd name="T14" fmla="*/ 95250 w 298"/>
                <a:gd name="T15" fmla="*/ 352425 h 290"/>
                <a:gd name="T16" fmla="*/ 88900 w 298"/>
                <a:gd name="T17" fmla="*/ 358775 h 290"/>
                <a:gd name="T18" fmla="*/ 82550 w 298"/>
                <a:gd name="T19" fmla="*/ 365125 h 290"/>
                <a:gd name="T20" fmla="*/ 82550 w 298"/>
                <a:gd name="T21" fmla="*/ 365125 h 290"/>
                <a:gd name="T22" fmla="*/ 69850 w 298"/>
                <a:gd name="T23" fmla="*/ 368300 h 290"/>
                <a:gd name="T24" fmla="*/ 53975 w 298"/>
                <a:gd name="T25" fmla="*/ 368300 h 290"/>
                <a:gd name="T26" fmla="*/ 28575 w 298"/>
                <a:gd name="T27" fmla="*/ 368300 h 290"/>
                <a:gd name="T28" fmla="*/ 25400 w 298"/>
                <a:gd name="T29" fmla="*/ 368300 h 290"/>
                <a:gd name="T30" fmla="*/ 0 w 298"/>
                <a:gd name="T31" fmla="*/ 460375 h 290"/>
                <a:gd name="T32" fmla="*/ 107950 w 298"/>
                <a:gd name="T33" fmla="*/ 460375 h 290"/>
                <a:gd name="T34" fmla="*/ 107950 w 298"/>
                <a:gd name="T35" fmla="*/ 460375 h 290"/>
                <a:gd name="T36" fmla="*/ 130175 w 298"/>
                <a:gd name="T37" fmla="*/ 457200 h 290"/>
                <a:gd name="T38" fmla="*/ 149225 w 298"/>
                <a:gd name="T39" fmla="*/ 454025 h 290"/>
                <a:gd name="T40" fmla="*/ 168275 w 298"/>
                <a:gd name="T41" fmla="*/ 444500 h 290"/>
                <a:gd name="T42" fmla="*/ 184150 w 298"/>
                <a:gd name="T43" fmla="*/ 434975 h 290"/>
                <a:gd name="T44" fmla="*/ 200025 w 298"/>
                <a:gd name="T45" fmla="*/ 422275 h 290"/>
                <a:gd name="T46" fmla="*/ 215900 w 298"/>
                <a:gd name="T47" fmla="*/ 403225 h 290"/>
                <a:gd name="T48" fmla="*/ 247650 w 298"/>
                <a:gd name="T49" fmla="*/ 358775 h 290"/>
                <a:gd name="T50" fmla="*/ 473075 w 298"/>
                <a:gd name="T51" fmla="*/ 0 h 290"/>
                <a:gd name="T52" fmla="*/ 314325 w 298"/>
                <a:gd name="T53" fmla="*/ 0 h 29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98" h="290">
                  <a:moveTo>
                    <a:pt x="198" y="0"/>
                  </a:moveTo>
                  <a:lnTo>
                    <a:pt x="144" y="114"/>
                  </a:lnTo>
                  <a:lnTo>
                    <a:pt x="146" y="0"/>
                  </a:lnTo>
                  <a:lnTo>
                    <a:pt x="46" y="0"/>
                  </a:lnTo>
                  <a:lnTo>
                    <a:pt x="66" y="208"/>
                  </a:lnTo>
                  <a:lnTo>
                    <a:pt x="64" y="216"/>
                  </a:lnTo>
                  <a:lnTo>
                    <a:pt x="60" y="222"/>
                  </a:lnTo>
                  <a:lnTo>
                    <a:pt x="56" y="226"/>
                  </a:lnTo>
                  <a:lnTo>
                    <a:pt x="52" y="230"/>
                  </a:lnTo>
                  <a:lnTo>
                    <a:pt x="44" y="232"/>
                  </a:lnTo>
                  <a:lnTo>
                    <a:pt x="34" y="232"/>
                  </a:lnTo>
                  <a:lnTo>
                    <a:pt x="18" y="232"/>
                  </a:lnTo>
                  <a:lnTo>
                    <a:pt x="16" y="232"/>
                  </a:lnTo>
                  <a:lnTo>
                    <a:pt x="0"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200" dirty="0">
                <a:solidFill>
                  <a:srgbClr val="000000"/>
                </a:solidFill>
                <a:ea typeface="ＭＳ Ｐゴシック"/>
              </a:endParaRPr>
            </a:p>
          </p:txBody>
        </p:sp>
        <p:sp>
          <p:nvSpPr>
            <p:cNvPr id="30" name="Freeform 30"/>
            <p:cNvSpPr>
              <a:spLocks/>
            </p:cNvSpPr>
            <p:nvPr/>
          </p:nvSpPr>
          <p:spPr bwMode="auto">
            <a:xfrm>
              <a:off x="6811963" y="3781425"/>
              <a:ext cx="120650" cy="85725"/>
            </a:xfrm>
            <a:custGeom>
              <a:avLst/>
              <a:gdLst>
                <a:gd name="T0" fmla="*/ 53975 w 76"/>
                <a:gd name="T1" fmla="*/ 28575 h 54"/>
                <a:gd name="T2" fmla="*/ 53975 w 76"/>
                <a:gd name="T3" fmla="*/ 22225 h 54"/>
                <a:gd name="T4" fmla="*/ 69850 w 76"/>
                <a:gd name="T5" fmla="*/ 15875 h 54"/>
                <a:gd name="T6" fmla="*/ 79375 w 76"/>
                <a:gd name="T7" fmla="*/ 15875 h 54"/>
                <a:gd name="T8" fmla="*/ 82550 w 76"/>
                <a:gd name="T9" fmla="*/ 19050 h 54"/>
                <a:gd name="T10" fmla="*/ 85725 w 76"/>
                <a:gd name="T11" fmla="*/ 25400 h 54"/>
                <a:gd name="T12" fmla="*/ 120650 w 76"/>
                <a:gd name="T13" fmla="*/ 25400 h 54"/>
                <a:gd name="T14" fmla="*/ 114300 w 76"/>
                <a:gd name="T15" fmla="*/ 9525 h 54"/>
                <a:gd name="T16" fmla="*/ 76200 w 76"/>
                <a:gd name="T17" fmla="*/ 0 h 54"/>
                <a:gd name="T18" fmla="*/ 50800 w 76"/>
                <a:gd name="T19" fmla="*/ 3175 h 54"/>
                <a:gd name="T20" fmla="*/ 19050 w 76"/>
                <a:gd name="T21" fmla="*/ 15875 h 54"/>
                <a:gd name="T22" fmla="*/ 12700 w 76"/>
                <a:gd name="T23" fmla="*/ 28575 h 54"/>
                <a:gd name="T24" fmla="*/ 15875 w 76"/>
                <a:gd name="T25" fmla="*/ 41275 h 54"/>
                <a:gd name="T26" fmla="*/ 28575 w 76"/>
                <a:gd name="T27" fmla="*/ 47625 h 54"/>
                <a:gd name="T28" fmla="*/ 63500 w 76"/>
                <a:gd name="T29" fmla="*/ 57150 h 54"/>
                <a:gd name="T30" fmla="*/ 73025 w 76"/>
                <a:gd name="T31" fmla="*/ 60325 h 54"/>
                <a:gd name="T32" fmla="*/ 73025 w 76"/>
                <a:gd name="T33" fmla="*/ 63500 h 54"/>
                <a:gd name="T34" fmla="*/ 63500 w 76"/>
                <a:gd name="T35" fmla="*/ 69850 h 54"/>
                <a:gd name="T36" fmla="*/ 53975 w 76"/>
                <a:gd name="T37" fmla="*/ 73025 h 54"/>
                <a:gd name="T38" fmla="*/ 38100 w 76"/>
                <a:gd name="T39" fmla="*/ 69850 h 54"/>
                <a:gd name="T40" fmla="*/ 38100 w 76"/>
                <a:gd name="T41" fmla="*/ 63500 h 54"/>
                <a:gd name="T42" fmla="*/ 3175 w 76"/>
                <a:gd name="T43" fmla="*/ 60325 h 54"/>
                <a:gd name="T44" fmla="*/ 0 w 76"/>
                <a:gd name="T45" fmla="*/ 69850 h 54"/>
                <a:gd name="T46" fmla="*/ 6350 w 76"/>
                <a:gd name="T47" fmla="*/ 79375 h 54"/>
                <a:gd name="T48" fmla="*/ 19050 w 76"/>
                <a:gd name="T49" fmla="*/ 85725 h 54"/>
                <a:gd name="T50" fmla="*/ 47625 w 76"/>
                <a:gd name="T51" fmla="*/ 85725 h 54"/>
                <a:gd name="T52" fmla="*/ 95250 w 76"/>
                <a:gd name="T53" fmla="*/ 79375 h 54"/>
                <a:gd name="T54" fmla="*/ 114300 w 76"/>
                <a:gd name="T55" fmla="*/ 60325 h 54"/>
                <a:gd name="T56" fmla="*/ 114300 w 76"/>
                <a:gd name="T57" fmla="*/ 50800 h 54"/>
                <a:gd name="T58" fmla="*/ 111125 w 76"/>
                <a:gd name="T59" fmla="*/ 44450 h 54"/>
                <a:gd name="T60" fmla="*/ 82550 w 76"/>
                <a:gd name="T61" fmla="*/ 34925 h 54"/>
                <a:gd name="T62" fmla="*/ 53975 w 76"/>
                <a:gd name="T63" fmla="*/ 28575 h 5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76" h="54">
                  <a:moveTo>
                    <a:pt x="34" y="18"/>
                  </a:moveTo>
                  <a:lnTo>
                    <a:pt x="34" y="18"/>
                  </a:lnTo>
                  <a:lnTo>
                    <a:pt x="34" y="14"/>
                  </a:lnTo>
                  <a:lnTo>
                    <a:pt x="38" y="12"/>
                  </a:lnTo>
                  <a:lnTo>
                    <a:pt x="44" y="10"/>
                  </a:lnTo>
                  <a:lnTo>
                    <a:pt x="50" y="10"/>
                  </a:lnTo>
                  <a:lnTo>
                    <a:pt x="52" y="12"/>
                  </a:lnTo>
                  <a:lnTo>
                    <a:pt x="54" y="14"/>
                  </a:lnTo>
                  <a:lnTo>
                    <a:pt x="54" y="16"/>
                  </a:lnTo>
                  <a:lnTo>
                    <a:pt x="76" y="16"/>
                  </a:lnTo>
                  <a:lnTo>
                    <a:pt x="76" y="10"/>
                  </a:lnTo>
                  <a:lnTo>
                    <a:pt x="72" y="6"/>
                  </a:lnTo>
                  <a:lnTo>
                    <a:pt x="64" y="2"/>
                  </a:lnTo>
                  <a:lnTo>
                    <a:pt x="48" y="0"/>
                  </a:lnTo>
                  <a:lnTo>
                    <a:pt x="32" y="2"/>
                  </a:lnTo>
                  <a:lnTo>
                    <a:pt x="20" y="4"/>
                  </a:lnTo>
                  <a:lnTo>
                    <a:pt x="12" y="10"/>
                  </a:lnTo>
                  <a:lnTo>
                    <a:pt x="8" y="18"/>
                  </a:lnTo>
                  <a:lnTo>
                    <a:pt x="8" y="22"/>
                  </a:lnTo>
                  <a:lnTo>
                    <a:pt x="10" y="26"/>
                  </a:lnTo>
                  <a:lnTo>
                    <a:pt x="18" y="30"/>
                  </a:lnTo>
                  <a:lnTo>
                    <a:pt x="28" y="32"/>
                  </a:lnTo>
                  <a:lnTo>
                    <a:pt x="40" y="36"/>
                  </a:lnTo>
                  <a:lnTo>
                    <a:pt x="46" y="38"/>
                  </a:lnTo>
                  <a:lnTo>
                    <a:pt x="46" y="40"/>
                  </a:lnTo>
                  <a:lnTo>
                    <a:pt x="44" y="42"/>
                  </a:lnTo>
                  <a:lnTo>
                    <a:pt x="40" y="44"/>
                  </a:lnTo>
                  <a:lnTo>
                    <a:pt x="34" y="46"/>
                  </a:lnTo>
                  <a:lnTo>
                    <a:pt x="28" y="44"/>
                  </a:lnTo>
                  <a:lnTo>
                    <a:pt x="24" y="44"/>
                  </a:lnTo>
                  <a:lnTo>
                    <a:pt x="24" y="40"/>
                  </a:lnTo>
                  <a:lnTo>
                    <a:pt x="24" y="38"/>
                  </a:lnTo>
                  <a:lnTo>
                    <a:pt x="2" y="38"/>
                  </a:lnTo>
                  <a:lnTo>
                    <a:pt x="0" y="44"/>
                  </a:lnTo>
                  <a:lnTo>
                    <a:pt x="2" y="48"/>
                  </a:lnTo>
                  <a:lnTo>
                    <a:pt x="4" y="50"/>
                  </a:lnTo>
                  <a:lnTo>
                    <a:pt x="6" y="52"/>
                  </a:lnTo>
                  <a:lnTo>
                    <a:pt x="12" y="54"/>
                  </a:lnTo>
                  <a:lnTo>
                    <a:pt x="30" y="54"/>
                  </a:lnTo>
                  <a:lnTo>
                    <a:pt x="48" y="54"/>
                  </a:lnTo>
                  <a:lnTo>
                    <a:pt x="60" y="50"/>
                  </a:lnTo>
                  <a:lnTo>
                    <a:pt x="68" y="44"/>
                  </a:lnTo>
                  <a:lnTo>
                    <a:pt x="72" y="38"/>
                  </a:lnTo>
                  <a:lnTo>
                    <a:pt x="72" y="32"/>
                  </a:lnTo>
                  <a:lnTo>
                    <a:pt x="70" y="28"/>
                  </a:lnTo>
                  <a:lnTo>
                    <a:pt x="62" y="24"/>
                  </a:lnTo>
                  <a:lnTo>
                    <a:pt x="52" y="22"/>
                  </a:lnTo>
                  <a:lnTo>
                    <a:pt x="40" y="20"/>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200" dirty="0">
                <a:solidFill>
                  <a:srgbClr val="000000"/>
                </a:solidFill>
                <a:ea typeface="ＭＳ Ｐゴシック"/>
              </a:endParaRPr>
            </a:p>
          </p:txBody>
        </p:sp>
      </p:grpSp>
      <p:sp>
        <p:nvSpPr>
          <p:cNvPr id="2" name="Title 1"/>
          <p:cNvSpPr>
            <a:spLocks noGrp="1"/>
          </p:cNvSpPr>
          <p:nvPr>
            <p:ph type="title"/>
          </p:nvPr>
        </p:nvSpPr>
        <p:spPr>
          <a:xfrm>
            <a:off x="317116" y="228600"/>
            <a:ext cx="8188710" cy="838200"/>
          </a:xfrm>
        </p:spPr>
        <p:txBody>
          <a:bodyPr/>
          <a:lstStyle/>
          <a:p>
            <a:r>
              <a:rPr lang="en-US" dirty="0"/>
              <a:t>Click to edit Master title style</a:t>
            </a:r>
          </a:p>
        </p:txBody>
      </p:sp>
      <p:sp>
        <p:nvSpPr>
          <p:cNvPr id="7" name="Content Placeholder 2"/>
          <p:cNvSpPr>
            <a:spLocks noGrp="1"/>
          </p:cNvSpPr>
          <p:nvPr>
            <p:ph idx="13"/>
          </p:nvPr>
        </p:nvSpPr>
        <p:spPr>
          <a:xfrm>
            <a:off x="317116" y="1339850"/>
            <a:ext cx="8188710" cy="4878388"/>
          </a:xfrm>
        </p:spPr>
        <p:txBody>
          <a:bodyPr/>
          <a:lstStyle>
            <a:lvl1pPr marL="0" indent="0" algn="l" rtl="0" fontAlgn="base">
              <a:spcBef>
                <a:spcPts val="480"/>
              </a:spcBef>
              <a:spcAft>
                <a:spcPct val="0"/>
              </a:spcAft>
              <a:buSzPct val="40000"/>
              <a:defRPr lang="en-US" sz="1600" b="1" dirty="0" smtClean="0">
                <a:solidFill>
                  <a:schemeClr val="accent3"/>
                </a:solidFill>
                <a:latin typeface="+mn-lt"/>
                <a:ea typeface="+mn-ea"/>
                <a:cs typeface="+mn-cs"/>
              </a:defRPr>
            </a:lvl1pPr>
            <a:lvl2pPr>
              <a:spcBef>
                <a:spcPts val="1999"/>
              </a:spcBef>
              <a:defRPr lang="en-US" dirty="0" smtClean="0">
                <a:solidFill>
                  <a:schemeClr val="tx1"/>
                </a:solidFill>
                <a:latin typeface="+mn-lt"/>
              </a:defRPr>
            </a:lvl2pPr>
            <a:lvl3pPr>
              <a:defRPr lang="en-US" sz="1600" dirty="0" smtClean="0">
                <a:solidFill>
                  <a:schemeClr val="accent1"/>
                </a:solidFill>
                <a:latin typeface="+mn-lt"/>
              </a:defRPr>
            </a:lvl3pPr>
            <a:lvl4pPr>
              <a:buClr>
                <a:schemeClr val="bg2"/>
              </a:buClr>
              <a:buSzPct val="80000"/>
              <a:buFont typeface="Arial" pitchFamily="34" charset="0"/>
              <a:buChar char="•"/>
              <a:defRPr sz="1400">
                <a:solidFill>
                  <a:schemeClr val="accent1"/>
                </a:solidFill>
              </a:defRPr>
            </a:lvl4pPr>
          </a:lstStyle>
          <a:p>
            <a:pPr lvl="0"/>
            <a:r>
              <a:rPr lang="en-US" dirty="0"/>
              <a:t>Click to edit Master text styles</a:t>
            </a:r>
          </a:p>
        </p:txBody>
      </p:sp>
      <p:sp>
        <p:nvSpPr>
          <p:cNvPr id="31" name="Slide Number Placeholder 3"/>
          <p:cNvSpPr>
            <a:spLocks noGrp="1"/>
          </p:cNvSpPr>
          <p:nvPr>
            <p:ph type="sldNum" sz="quarter" idx="14"/>
          </p:nvPr>
        </p:nvSpPr>
        <p:spPr>
          <a:xfrm>
            <a:off x="1" y="6384925"/>
            <a:ext cx="328613" cy="268288"/>
          </a:xfrm>
        </p:spPr>
        <p:txBody>
          <a:bodyPr/>
          <a:lstStyle>
            <a:lvl1pPr>
              <a:defRPr smtClean="0">
                <a:solidFill>
                  <a:srgbClr val="000000"/>
                </a:solidFill>
              </a:defRPr>
            </a:lvl1pPr>
          </a:lstStyle>
          <a:p>
            <a:pPr>
              <a:defRPr/>
            </a:pPr>
            <a:fld id="{D61BB4A6-003F-49C2-BE48-E7D8BCBF86DF}" type="slidenum">
              <a:rPr lang="en-US"/>
              <a:pPr>
                <a:defRPr/>
              </a:pPr>
              <a:t>‹#›</a:t>
            </a:fld>
            <a:endParaRPr lang="en-US" dirty="0"/>
          </a:p>
        </p:txBody>
      </p:sp>
      <p:sp>
        <p:nvSpPr>
          <p:cNvPr id="32" name="Footer Placeholder 4"/>
          <p:cNvSpPr>
            <a:spLocks noGrp="1"/>
          </p:cNvSpPr>
          <p:nvPr>
            <p:ph type="ftr" sz="quarter" idx="15"/>
          </p:nvPr>
        </p:nvSpPr>
        <p:spPr>
          <a:xfrm>
            <a:off x="320676" y="6483350"/>
            <a:ext cx="3933825" cy="173038"/>
          </a:xfrm>
        </p:spPr>
        <p:txBody>
          <a:bodyPr/>
          <a:lstStyle>
            <a:lvl1pPr algn="l">
              <a:defRPr smtClean="0">
                <a:solidFill>
                  <a:srgbClr val="000000"/>
                </a:solidFill>
              </a:defRPr>
            </a:lvl1pPr>
          </a:lstStyle>
          <a:p>
            <a:pPr>
              <a:defRPr/>
            </a:pPr>
            <a:r>
              <a:rPr lang="en-US" dirty="0"/>
              <a:t>For institutional use only.</a:t>
            </a:r>
          </a:p>
        </p:txBody>
      </p:sp>
      <p:sp>
        <p:nvSpPr>
          <p:cNvPr id="33" name="Rectangle 155"/>
          <p:cNvSpPr>
            <a:spLocks noGrp="1" noChangeArrowheads="1"/>
          </p:cNvSpPr>
          <p:nvPr>
            <p:ph type="dt" sz="half" idx="16"/>
          </p:nvPr>
        </p:nvSpPr>
        <p:spPr>
          <a:xfrm>
            <a:off x="320675" y="6656388"/>
            <a:ext cx="1982788" cy="120650"/>
          </a:xfrm>
        </p:spPr>
        <p:txBody>
          <a:bodyPr/>
          <a:lstStyle>
            <a:lvl1pPr algn="l">
              <a:defRPr sz="700" smtClean="0">
                <a:solidFill>
                  <a:srgbClr val="000000"/>
                </a:solidFill>
              </a:defRPr>
            </a:lvl1pPr>
          </a:lstStyle>
          <a:p>
            <a:pPr>
              <a:defRPr/>
            </a:pPr>
            <a:endParaRPr lang="en-US" dirty="0"/>
          </a:p>
        </p:txBody>
      </p:sp>
    </p:spTree>
    <p:extLst>
      <p:ext uri="{BB962C8B-B14F-4D97-AF65-F5344CB8AC3E}">
        <p14:creationId xmlns:p14="http://schemas.microsoft.com/office/powerpoint/2010/main" val="95200660"/>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6363" y="470647"/>
            <a:ext cx="5957455" cy="470647"/>
          </a:xfrm>
        </p:spPr>
        <p:txBody>
          <a:bodyPr>
            <a:normAutofit/>
          </a:bodyPr>
          <a:lstStyle>
            <a:lvl1pPr algn="l">
              <a:defRPr sz="1600">
                <a:solidFill>
                  <a:schemeClr val="tx2"/>
                </a:solidFill>
                <a:latin typeface="PT Serif Caption" pitchFamily="18" charset="0"/>
              </a:defRPr>
            </a:lvl1pPr>
          </a:lstStyle>
          <a:p>
            <a:r>
              <a:rPr lang="en-US" dirty="0"/>
              <a:t>Click to edit Master Title Style</a:t>
            </a:r>
          </a:p>
        </p:txBody>
      </p:sp>
      <p:sp>
        <p:nvSpPr>
          <p:cNvPr id="3" name="Content Placeholder 2"/>
          <p:cNvSpPr>
            <a:spLocks noGrp="1"/>
          </p:cNvSpPr>
          <p:nvPr>
            <p:ph idx="1"/>
          </p:nvPr>
        </p:nvSpPr>
        <p:spPr>
          <a:xfrm>
            <a:off x="554182" y="2420471"/>
            <a:ext cx="8132618" cy="3638457"/>
          </a:xfrm>
        </p:spPr>
        <p:txBody>
          <a:bodyPr/>
          <a:lstStyle>
            <a:lvl1pPr marL="152435" indent="-152435">
              <a:lnSpc>
                <a:spcPts val="1077"/>
              </a:lnSpc>
              <a:spcBef>
                <a:spcPts val="1615"/>
              </a:spcBef>
              <a:spcAft>
                <a:spcPts val="538"/>
              </a:spcAft>
              <a:buClr>
                <a:schemeClr val="accent3"/>
              </a:buClr>
              <a:buSzPct val="111000"/>
              <a:buFont typeface="Arial" pitchFamily="34" charset="0"/>
              <a:buChar char="•"/>
              <a:defRPr sz="1300">
                <a:solidFill>
                  <a:schemeClr val="tx2"/>
                </a:solidFill>
                <a:latin typeface="PT Serif" pitchFamily="18" charset="0"/>
              </a:defRPr>
            </a:lvl1pPr>
            <a:lvl2pPr marL="354731" indent="-146737">
              <a:buClr>
                <a:schemeClr val="accent3"/>
              </a:buClr>
              <a:buSzPct val="111000"/>
              <a:buFont typeface="Arial" pitchFamily="34" charset="0"/>
              <a:buChar char="•"/>
              <a:defRPr sz="1100">
                <a:solidFill>
                  <a:schemeClr val="tx1"/>
                </a:solidFill>
                <a:latin typeface="PT Serif" pitchFamily="18" charset="0"/>
              </a:defRPr>
            </a:lvl2pPr>
            <a:lvl3pPr marL="514289" indent="-159558">
              <a:buClr>
                <a:schemeClr val="accent5"/>
              </a:buClr>
              <a:buFont typeface="Franklin Gothic Book" pitchFamily="34" charset="0"/>
              <a:buChar char="―"/>
              <a:defRPr sz="1100">
                <a:solidFill>
                  <a:schemeClr val="tx1"/>
                </a:solidFill>
                <a:latin typeface="PT Serif" pitchFamily="18" charset="0"/>
              </a:defRPr>
            </a:lvl3pPr>
          </a:lstStyle>
          <a:p>
            <a:pPr lvl="0"/>
            <a:r>
              <a:rPr lang="en-US" dirty="0"/>
              <a:t>Click to edit Master text styles</a:t>
            </a:r>
          </a:p>
          <a:p>
            <a:pPr lvl="1"/>
            <a:r>
              <a:rPr lang="en-US" dirty="0"/>
              <a:t>Second level</a:t>
            </a:r>
          </a:p>
          <a:p>
            <a:pPr lvl="2"/>
            <a:r>
              <a:rPr lang="en-US" dirty="0"/>
              <a:t>Third level</a:t>
            </a:r>
          </a:p>
        </p:txBody>
      </p:sp>
      <p:cxnSp>
        <p:nvCxnSpPr>
          <p:cNvPr id="8" name="Straight Connector 7"/>
          <p:cNvCxnSpPr/>
          <p:nvPr userDrawn="1"/>
        </p:nvCxnSpPr>
        <p:spPr>
          <a:xfrm>
            <a:off x="415636" y="941294"/>
            <a:ext cx="6442364"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277091" y="6454588"/>
            <a:ext cx="8589818" cy="2017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rtlCol="0" anchor="ctr"/>
          <a:lstStyle/>
          <a:p>
            <a:pPr algn="ctr" fontAlgn="base">
              <a:spcBef>
                <a:spcPct val="0"/>
              </a:spcBef>
              <a:spcAft>
                <a:spcPct val="0"/>
              </a:spcAft>
            </a:pPr>
            <a:endParaRPr lang="en-US" sz="1200" dirty="0">
              <a:solidFill>
                <a:srgbClr val="FFFFFF"/>
              </a:solidFill>
            </a:endParaRPr>
          </a:p>
        </p:txBody>
      </p:sp>
      <p:sp>
        <p:nvSpPr>
          <p:cNvPr id="9" name="TextBox 8"/>
          <p:cNvSpPr txBox="1"/>
          <p:nvPr userDrawn="1"/>
        </p:nvSpPr>
        <p:spPr>
          <a:xfrm>
            <a:off x="277091" y="6454589"/>
            <a:ext cx="1941601" cy="241465"/>
          </a:xfrm>
          <a:prstGeom prst="rect">
            <a:avLst/>
          </a:prstGeom>
          <a:noFill/>
        </p:spPr>
        <p:txBody>
          <a:bodyPr wrap="square" lIns="86730" tIns="43365" rIns="86730" bIns="43365" rtlCol="0">
            <a:spAutoFit/>
          </a:bodyPr>
          <a:lstStyle/>
          <a:p>
            <a:pPr fontAlgn="base">
              <a:spcBef>
                <a:spcPct val="0"/>
              </a:spcBef>
              <a:spcAft>
                <a:spcPct val="0"/>
              </a:spcAft>
            </a:pPr>
            <a:r>
              <a:rPr lang="en-US" sz="1000" b="1" dirty="0">
                <a:solidFill>
                  <a:srgbClr val="FFFFFF"/>
                </a:solidFill>
                <a:latin typeface="Calibri"/>
                <a:ea typeface="ＭＳ Ｐゴシック"/>
              </a:rPr>
              <a:t>FOR INSTITUTIONAL USE ONLY</a:t>
            </a:r>
          </a:p>
        </p:txBody>
      </p:sp>
      <p:pic>
        <p:nvPicPr>
          <p:cNvPr id="13" name="Picture 12" descr="Logo - new colors goldies.jpg"/>
          <p:cNvPicPr>
            <a:picLocks noChangeAspect="1"/>
          </p:cNvPicPr>
          <p:nvPr userDrawn="1"/>
        </p:nvPicPr>
        <p:blipFill>
          <a:blip r:embed="rId2" cstate="print"/>
          <a:stretch>
            <a:fillRect/>
          </a:stretch>
        </p:blipFill>
        <p:spPr>
          <a:xfrm>
            <a:off x="6957687" y="662636"/>
            <a:ext cx="1978495" cy="547599"/>
          </a:xfrm>
          <a:prstGeom prst="rect">
            <a:avLst/>
          </a:prstGeom>
        </p:spPr>
      </p:pic>
      <p:sp>
        <p:nvSpPr>
          <p:cNvPr id="12" name="Slide Number Placeholder 5"/>
          <p:cNvSpPr>
            <a:spLocks noGrp="1"/>
          </p:cNvSpPr>
          <p:nvPr>
            <p:ph type="sldNum" sz="quarter" idx="4"/>
          </p:nvPr>
        </p:nvSpPr>
        <p:spPr>
          <a:xfrm>
            <a:off x="6650182" y="6089463"/>
            <a:ext cx="2133600" cy="365125"/>
          </a:xfrm>
          <a:prstGeom prst="rect">
            <a:avLst/>
          </a:prstGeom>
        </p:spPr>
        <p:txBody>
          <a:bodyPr vert="horz" lIns="91429" tIns="45714" rIns="91429" bIns="45714" rtlCol="0" anchor="ctr"/>
          <a:lstStyle>
            <a:lvl1pPr algn="r">
              <a:defRPr sz="1000" i="1">
                <a:solidFill>
                  <a:schemeClr val="tx2"/>
                </a:solidFill>
                <a:latin typeface="PT Serif" pitchFamily="18" charset="0"/>
              </a:defRPr>
            </a:lvl1pPr>
          </a:lstStyle>
          <a:p>
            <a:fld id="{08D9734A-995F-4986-BDFF-65B05E3CF6BB}" type="slidenum">
              <a:rPr lang="en-US" smtClean="0">
                <a:solidFill>
                  <a:srgbClr val="212425"/>
                </a:solidFill>
              </a:rPr>
              <a:pPr/>
              <a:t>‹#›</a:t>
            </a:fld>
            <a:endParaRPr lang="en-US" dirty="0">
              <a:solidFill>
                <a:srgbClr val="212425"/>
              </a:solidFill>
            </a:endParaRPr>
          </a:p>
        </p:txBody>
      </p:sp>
      <p:sp>
        <p:nvSpPr>
          <p:cNvPr id="27" name="Text Placeholder 26"/>
          <p:cNvSpPr>
            <a:spLocks noGrp="1"/>
          </p:cNvSpPr>
          <p:nvPr>
            <p:ph type="body" sz="quarter" idx="10" hasCustomPrompt="1"/>
          </p:nvPr>
        </p:nvSpPr>
        <p:spPr>
          <a:xfrm>
            <a:off x="346363" y="1075765"/>
            <a:ext cx="6442364" cy="605118"/>
          </a:xfrm>
        </p:spPr>
        <p:txBody>
          <a:bodyPr/>
          <a:lstStyle>
            <a:lvl1pPr>
              <a:buFontTx/>
              <a:buNone/>
              <a:defRPr sz="1400">
                <a:solidFill>
                  <a:schemeClr val="tx2"/>
                </a:solidFill>
                <a:latin typeface="Open Sans Condensed Light" pitchFamily="34" charset="0"/>
                <a:ea typeface="Open Sans Condensed Light" pitchFamily="34" charset="0"/>
                <a:cs typeface="Open Sans Condensed Light" pitchFamily="34" charset="0"/>
              </a:defRPr>
            </a:lvl1pPr>
            <a:lvl2pPr>
              <a:buFontTx/>
              <a:buNone/>
              <a:defRPr/>
            </a:lvl2pPr>
            <a:lvl3pPr>
              <a:buFontTx/>
              <a:buNone/>
              <a:defRPr/>
            </a:lvl3pPr>
            <a:lvl4pPr>
              <a:buFontTx/>
              <a:buNone/>
              <a:defRPr/>
            </a:lvl4pPr>
            <a:lvl5pPr>
              <a:buFontTx/>
              <a:buNone/>
              <a:defRPr/>
            </a:lvl5pPr>
          </a:lstStyle>
          <a:p>
            <a:pPr lvl="0"/>
            <a:r>
              <a:rPr lang="en-US" dirty="0"/>
              <a:t>Click to add Master Sub Title</a:t>
            </a:r>
          </a:p>
          <a:p>
            <a:pPr lvl="0"/>
            <a:endParaRPr lang="en-US" dirty="0"/>
          </a:p>
        </p:txBody>
      </p:sp>
      <p:sp>
        <p:nvSpPr>
          <p:cNvPr id="4" name="TextBox 3"/>
          <p:cNvSpPr txBox="1"/>
          <p:nvPr userDrawn="1"/>
        </p:nvSpPr>
        <p:spPr>
          <a:xfrm>
            <a:off x="7946934" y="6493353"/>
            <a:ext cx="919975" cy="162941"/>
          </a:xfrm>
          <a:prstGeom prst="rect">
            <a:avLst/>
          </a:prstGeom>
          <a:noFill/>
        </p:spPr>
        <p:txBody>
          <a:bodyPr wrap="square" lIns="82058" tIns="41029" rIns="82058" bIns="41029" rtlCol="0">
            <a:spAutoFit/>
          </a:bodyPr>
          <a:lstStyle/>
          <a:p>
            <a:pPr algn="r" fontAlgn="base">
              <a:spcBef>
                <a:spcPct val="0"/>
              </a:spcBef>
              <a:spcAft>
                <a:spcPct val="0"/>
              </a:spcAft>
            </a:pPr>
            <a:r>
              <a:rPr lang="en-US" sz="500" dirty="0">
                <a:solidFill>
                  <a:srgbClr val="FFFFFF"/>
                </a:solidFill>
                <a:latin typeface="Open Sans" panose="020B0606030504020204" pitchFamily="34" charset="0"/>
                <a:ea typeface="Open Sans" panose="020B0606030504020204" pitchFamily="34" charset="0"/>
                <a:cs typeface="Open Sans" panose="020B0606030504020204" pitchFamily="34" charset="0"/>
              </a:rPr>
              <a:t>GCM Exp. 06.30.15</a:t>
            </a:r>
          </a:p>
        </p:txBody>
      </p:sp>
    </p:spTree>
    <p:extLst>
      <p:ext uri="{BB962C8B-B14F-4D97-AF65-F5344CB8AC3E}">
        <p14:creationId xmlns:p14="http://schemas.microsoft.com/office/powerpoint/2010/main" val="2503323759"/>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lvl1pPr>
              <a:defRPr>
                <a:solidFill>
                  <a:srgbClr val="333F48"/>
                </a:solidFill>
              </a:defRPr>
            </a:lvl1pPr>
          </a:lstStyle>
          <a:p>
            <a:r>
              <a:rPr lang="en-US"/>
              <a:t>Click to edit Master title style</a:t>
            </a:r>
            <a:endParaRPr lang="en-US" dirty="0"/>
          </a:p>
        </p:txBody>
      </p:sp>
      <p:sp>
        <p:nvSpPr>
          <p:cNvPr id="8"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9"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a:t>201803-23594</a:t>
            </a:r>
            <a:endParaRPr lang="en-US" dirty="0"/>
          </a:p>
        </p:txBody>
      </p:sp>
      <p:grpSp>
        <p:nvGrpSpPr>
          <p:cNvPr id="10" name="Group 9"/>
          <p:cNvGrpSpPr/>
          <p:nvPr userDrawn="1"/>
        </p:nvGrpSpPr>
        <p:grpSpPr>
          <a:xfrm>
            <a:off x="7364320" y="6412511"/>
            <a:ext cx="1371600" cy="283464"/>
            <a:chOff x="4291013" y="3178175"/>
            <a:chExt cx="3197225" cy="688975"/>
          </a:xfrm>
        </p:grpSpPr>
        <p:sp>
          <p:nvSpPr>
            <p:cNvPr id="11"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ＭＳ Ｐゴシック"/>
              </a:endParaRPr>
            </a:p>
          </p:txBody>
        </p:sp>
        <p:sp>
          <p:nvSpPr>
            <p:cNvPr id="12"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ＭＳ Ｐゴシック"/>
              </a:endParaRPr>
            </a:p>
          </p:txBody>
        </p:sp>
        <p:sp>
          <p:nvSpPr>
            <p:cNvPr id="13"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ＭＳ Ｐゴシック"/>
              </a:endParaRPr>
            </a:p>
          </p:txBody>
        </p:sp>
        <p:sp>
          <p:nvSpPr>
            <p:cNvPr id="14"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ＭＳ Ｐゴシック"/>
              </a:endParaRPr>
            </a:p>
          </p:txBody>
        </p:sp>
        <p:sp>
          <p:nvSpPr>
            <p:cNvPr id="15"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ＭＳ Ｐゴシック"/>
              </a:endParaRPr>
            </a:p>
          </p:txBody>
        </p:sp>
        <p:sp>
          <p:nvSpPr>
            <p:cNvPr id="16"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ＭＳ Ｐゴシック"/>
              </a:endParaRPr>
            </a:p>
          </p:txBody>
        </p:sp>
        <p:sp>
          <p:nvSpPr>
            <p:cNvPr id="17"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ＭＳ Ｐゴシック"/>
              </a:endParaRPr>
            </a:p>
          </p:txBody>
        </p:sp>
        <p:sp>
          <p:nvSpPr>
            <p:cNvPr id="18"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ＭＳ Ｐゴシック"/>
              </a:endParaRPr>
            </a:p>
          </p:txBody>
        </p:sp>
        <p:sp>
          <p:nvSpPr>
            <p:cNvPr id="19"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ＭＳ Ｐゴシック"/>
              </a:endParaRPr>
            </a:p>
          </p:txBody>
        </p:sp>
        <p:sp>
          <p:nvSpPr>
            <p:cNvPr id="20"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ＭＳ Ｐゴシック"/>
              </a:endParaRPr>
            </a:p>
          </p:txBody>
        </p:sp>
        <p:sp>
          <p:nvSpPr>
            <p:cNvPr id="21"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ＭＳ Ｐゴシック"/>
              </a:endParaRPr>
            </a:p>
          </p:txBody>
        </p:sp>
        <p:sp>
          <p:nvSpPr>
            <p:cNvPr id="22"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ＭＳ Ｐゴシック"/>
              </a:endParaRPr>
            </a:p>
          </p:txBody>
        </p:sp>
        <p:sp>
          <p:nvSpPr>
            <p:cNvPr id="23"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ＭＳ Ｐゴシック"/>
              </a:endParaRPr>
            </a:p>
          </p:txBody>
        </p:sp>
        <p:sp>
          <p:nvSpPr>
            <p:cNvPr id="24"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ＭＳ Ｐゴシック"/>
              </a:endParaRPr>
            </a:p>
          </p:txBody>
        </p:sp>
        <p:sp>
          <p:nvSpPr>
            <p:cNvPr id="25"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ＭＳ Ｐゴシック"/>
              </a:endParaRPr>
            </a:p>
          </p:txBody>
        </p:sp>
        <p:sp>
          <p:nvSpPr>
            <p:cNvPr id="26"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ＭＳ Ｐゴシック"/>
              </a:endParaRPr>
            </a:p>
          </p:txBody>
        </p:sp>
        <p:sp>
          <p:nvSpPr>
            <p:cNvPr id="27"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ＭＳ Ｐゴシック"/>
              </a:endParaRPr>
            </a:p>
          </p:txBody>
        </p:sp>
        <p:sp>
          <p:nvSpPr>
            <p:cNvPr id="28"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ＭＳ Ｐゴシック"/>
              </a:endParaRPr>
            </a:p>
          </p:txBody>
        </p:sp>
        <p:sp>
          <p:nvSpPr>
            <p:cNvPr id="29"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ＭＳ Ｐゴシック"/>
              </a:endParaRPr>
            </a:p>
          </p:txBody>
        </p:sp>
        <p:sp>
          <p:nvSpPr>
            <p:cNvPr id="30"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ＭＳ Ｐゴシック"/>
              </a:endParaRPr>
            </a:p>
          </p:txBody>
        </p:sp>
        <p:sp>
          <p:nvSpPr>
            <p:cNvPr id="31"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ＭＳ Ｐゴシック"/>
              </a:endParaRPr>
            </a:p>
          </p:txBody>
        </p:sp>
        <p:sp>
          <p:nvSpPr>
            <p:cNvPr id="32"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ＭＳ Ｐゴシック"/>
              </a:endParaRPr>
            </a:p>
          </p:txBody>
        </p:sp>
        <p:sp>
          <p:nvSpPr>
            <p:cNvPr id="33"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ＭＳ Ｐゴシック"/>
              </a:endParaRPr>
            </a:p>
          </p:txBody>
        </p:sp>
        <p:sp>
          <p:nvSpPr>
            <p:cNvPr id="34"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ＭＳ Ｐゴシック"/>
              </a:endParaRPr>
            </a:p>
          </p:txBody>
        </p:sp>
        <p:sp>
          <p:nvSpPr>
            <p:cNvPr id="35"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a typeface="ＭＳ Ｐゴシック"/>
              </a:endParaRPr>
            </a:p>
          </p:txBody>
        </p:sp>
      </p:grpSp>
      <p:sp>
        <p:nvSpPr>
          <p:cNvPr id="36"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8598543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p>
            <a:r>
              <a:rPr lang="en-US"/>
              <a:t>Click to edit Master title style</a:t>
            </a:r>
            <a:endParaRPr lang="en-US" dirty="0"/>
          </a:p>
        </p:txBody>
      </p:sp>
      <p:sp>
        <p:nvSpPr>
          <p:cNvPr id="7" name="Content Placeholder 2"/>
          <p:cNvSpPr>
            <a:spLocks noGrp="1"/>
          </p:cNvSpPr>
          <p:nvPr>
            <p:ph idx="13"/>
          </p:nvPr>
        </p:nvSpPr>
        <p:spPr>
          <a:xfrm>
            <a:off x="317115" y="1339850"/>
            <a:ext cx="8188710" cy="4878388"/>
          </a:xfrm>
        </p:spPr>
        <p:txBody>
          <a:bodyPr lIns="91440"/>
          <a:lstStyle>
            <a:lvl1pPr marL="0" indent="0" algn="l" rtl="0" fontAlgn="base">
              <a:spcBef>
                <a:spcPts val="480"/>
              </a:spcBef>
              <a:spcAft>
                <a:spcPct val="0"/>
              </a:spcAft>
              <a:buSzPct val="40000"/>
              <a:defRPr lang="en-US" sz="1600" b="1" dirty="0" smtClean="0">
                <a:solidFill>
                  <a:schemeClr val="accent3"/>
                </a:solidFill>
                <a:latin typeface="+mn-lt"/>
                <a:ea typeface="+mn-ea"/>
                <a:cs typeface="+mn-cs"/>
              </a:defRPr>
            </a:lvl1pPr>
            <a:lvl2pPr>
              <a:spcBef>
                <a:spcPts val="2000"/>
              </a:spcBef>
              <a:defRPr lang="en-US" dirty="0" smtClean="0">
                <a:solidFill>
                  <a:schemeClr val="tx1"/>
                </a:solidFill>
                <a:latin typeface="+mn-lt"/>
              </a:defRPr>
            </a:lvl2pPr>
            <a:lvl3pPr>
              <a:defRPr lang="en-US" sz="1600" dirty="0" smtClean="0">
                <a:solidFill>
                  <a:schemeClr val="accent1"/>
                </a:solidFill>
                <a:latin typeface="+mn-lt"/>
              </a:defRPr>
            </a:lvl3pPr>
            <a:lvl4pPr>
              <a:buClr>
                <a:schemeClr val="bg2"/>
              </a:buClr>
              <a:buSzPct val="80000"/>
              <a:buFont typeface="Arial" pitchFamily="34" charset="0"/>
              <a:buChar char="•"/>
              <a:defRPr sz="1400">
                <a:solidFill>
                  <a:schemeClr val="accent1"/>
                </a:solidFill>
              </a:defRPr>
            </a:lvl4pPr>
          </a:lstStyle>
          <a:p>
            <a:pPr lvl="0"/>
            <a:r>
              <a:rPr lang="en-US"/>
              <a:t>Click to edit Master text styles</a:t>
            </a:r>
          </a:p>
        </p:txBody>
      </p:sp>
      <p:sp>
        <p:nvSpPr>
          <p:cNvPr id="10"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11"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a:t>201801-23085</a:t>
            </a:r>
            <a:endParaRPr lang="en-US" dirty="0"/>
          </a:p>
        </p:txBody>
      </p:sp>
      <p:grpSp>
        <p:nvGrpSpPr>
          <p:cNvPr id="12" name="Group 11"/>
          <p:cNvGrpSpPr/>
          <p:nvPr userDrawn="1"/>
        </p:nvGrpSpPr>
        <p:grpSpPr>
          <a:xfrm>
            <a:off x="7364320" y="6412511"/>
            <a:ext cx="1371600" cy="283464"/>
            <a:chOff x="4291013" y="3178175"/>
            <a:chExt cx="3197225" cy="688975"/>
          </a:xfrm>
        </p:grpSpPr>
        <p:sp>
          <p:nvSpPr>
            <p:cNvPr id="13"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4"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5"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6"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7"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8"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9"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0"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1"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2"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3"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4"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5"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6"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7"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8"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9"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0"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1"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2"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3"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4"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5"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6"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7"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38"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138670397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1_FIAM_External_Print_Cover_IA">
    <p:spTree>
      <p:nvGrpSpPr>
        <p:cNvPr id="1" name=""/>
        <p:cNvGrpSpPr/>
        <p:nvPr/>
      </p:nvGrpSpPr>
      <p:grpSpPr>
        <a:xfrm>
          <a:off x="0" y="0"/>
          <a:ext cx="0" cy="0"/>
          <a:chOff x="0" y="0"/>
          <a:chExt cx="0" cy="0"/>
        </a:xfrm>
      </p:grpSpPr>
      <p:pic>
        <p:nvPicPr>
          <p:cNvPr id="45" name="Picture 4" descr="C:\Users\a216024\Desktop\stuff\_PPT_107\PowerPoint_Templates_Samples\_10x7.5_Templates\NEW_FIAM\Covers_secondary_slides\2-7_Covers\LightGray_grayscale.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12688" b="17606"/>
          <a:stretch/>
        </p:blipFill>
        <p:spPr bwMode="auto">
          <a:xfrm>
            <a:off x="0" y="2"/>
            <a:ext cx="9144000" cy="3646714"/>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5" descr="C:\Users\a216024\Desktop\stuff\_PPT_107\PowerPoint_Templates_Samples\_10x7.5_Templates\NEW_FIAM\Covers_secondary_slides\2-7_Covers\ColorBar.png"/>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0" y="3481392"/>
            <a:ext cx="9144000" cy="219075"/>
          </a:xfrm>
          <a:prstGeom prst="rect">
            <a:avLst/>
          </a:prstGeom>
          <a:noFill/>
          <a:extLst>
            <a:ext uri="{909E8E84-426E-40DD-AFC4-6F175D3DCCD1}">
              <a14:hiddenFill xmlns:a14="http://schemas.microsoft.com/office/drawing/2010/main">
                <a:solidFill>
                  <a:srgbClr val="FFFFFF"/>
                </a:solidFill>
              </a14:hiddenFill>
            </a:ext>
          </a:extLst>
        </p:spPr>
      </p:pic>
      <p:grpSp>
        <p:nvGrpSpPr>
          <p:cNvPr id="80" name="Group 79"/>
          <p:cNvGrpSpPr/>
          <p:nvPr userDrawn="1"/>
        </p:nvGrpSpPr>
        <p:grpSpPr>
          <a:xfrm>
            <a:off x="6970734" y="6128903"/>
            <a:ext cx="1839928" cy="396052"/>
            <a:chOff x="6923088" y="4475163"/>
            <a:chExt cx="1873251" cy="403225"/>
          </a:xfrm>
        </p:grpSpPr>
        <p:sp>
          <p:nvSpPr>
            <p:cNvPr id="81" name="AutoShape 4"/>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82" name="Freeform 6"/>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83" name="Freeform 7"/>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84" name="Freeform 83"/>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85" name="Freeform 84"/>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86" name="Freeform 85"/>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87" name="Freeform 86"/>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88" name="Freeform 87"/>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89" name="Freeform 88"/>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0" name="Freeform 89"/>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1" name="Freeform 90"/>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2" name="Freeform 91"/>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3" name="Freeform 92"/>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4" name="Freeform 93"/>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5" name="Freeform 94"/>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6" name="Freeform 95"/>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7" name="Freeform 96"/>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8" name="Freeform 97"/>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9" name="Freeform 98"/>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00" name="Freeform 99"/>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01" name="Freeform 100"/>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02" name="Freeform 101"/>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03" name="Freeform 102"/>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04" name="Freeform 103"/>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05" name="Freeform 104"/>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06" name="Freeform 105"/>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grpSp>
      <p:sp>
        <p:nvSpPr>
          <p:cNvPr id="44" name="Text Placeholder 43"/>
          <p:cNvSpPr>
            <a:spLocks noGrp="1"/>
          </p:cNvSpPr>
          <p:nvPr>
            <p:ph type="body" sz="quarter" idx="10"/>
          </p:nvPr>
        </p:nvSpPr>
        <p:spPr>
          <a:xfrm>
            <a:off x="715495" y="3833787"/>
            <a:ext cx="2455544" cy="332365"/>
          </a:xfrm>
        </p:spPr>
        <p:txBody>
          <a:bodyPr/>
          <a:lstStyle>
            <a:lvl1pPr>
              <a:defRPr lang="en-US" sz="1000" b="0" kern="1200" smtClean="0">
                <a:solidFill>
                  <a:srgbClr val="000000"/>
                </a:solidFill>
                <a:latin typeface="Arial"/>
                <a:ea typeface="ＭＳ Ｐゴシック"/>
                <a:cs typeface="ＭＳ Ｐゴシック"/>
              </a:defRPr>
            </a:lvl1pPr>
          </a:lstStyle>
          <a:p>
            <a:pPr lvl="0"/>
            <a:r>
              <a:rPr lang="en-US"/>
              <a:t>Click to edit Master text styles</a:t>
            </a:r>
          </a:p>
        </p:txBody>
      </p:sp>
      <p:sp>
        <p:nvSpPr>
          <p:cNvPr id="53" name="Content Placeholder 52"/>
          <p:cNvSpPr>
            <a:spLocks noGrp="1"/>
          </p:cNvSpPr>
          <p:nvPr>
            <p:ph sz="quarter" idx="12"/>
          </p:nvPr>
        </p:nvSpPr>
        <p:spPr>
          <a:xfrm>
            <a:off x="6280154" y="3842385"/>
            <a:ext cx="2487613" cy="165226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47" name="Rectangle 176"/>
          <p:cNvSpPr>
            <a:spLocks noGrp="1" noChangeArrowheads="1"/>
          </p:cNvSpPr>
          <p:nvPr>
            <p:ph type="ftr" sz="quarter" idx="13"/>
          </p:nvPr>
        </p:nvSpPr>
        <p:spPr>
          <a:xfrm>
            <a:off x="272779" y="5877561"/>
            <a:ext cx="6014623" cy="260350"/>
          </a:xfrm>
        </p:spPr>
        <p:txBody>
          <a:bodyPr anchor="b" anchorCtr="0"/>
          <a:lstStyle>
            <a:lvl1pPr algn="l">
              <a:defRPr sz="800" b="0" smtClean="0">
                <a:solidFill>
                  <a:srgbClr val="000000"/>
                </a:solidFill>
              </a:defRPr>
            </a:lvl1pPr>
          </a:lstStyle>
          <a:p>
            <a:pPr>
              <a:defRPr/>
            </a:pPr>
            <a:r>
              <a:rPr lang="en-US" b="1" dirty="0"/>
              <a:t>For institutional use only.</a:t>
            </a:r>
          </a:p>
        </p:txBody>
      </p:sp>
      <p:sp>
        <p:nvSpPr>
          <p:cNvPr id="72" name="Rectangle 6"/>
          <p:cNvSpPr>
            <a:spLocks noGrp="1" noChangeArrowheads="1"/>
          </p:cNvSpPr>
          <p:nvPr>
            <p:ph type="subTitle" idx="1"/>
          </p:nvPr>
        </p:nvSpPr>
        <p:spPr>
          <a:xfrm>
            <a:off x="685251" y="2091766"/>
            <a:ext cx="7805762" cy="563076"/>
          </a:xfrm>
        </p:spPr>
        <p:txBody>
          <a:bodyPr lIns="100538" rIns="100538"/>
          <a:lstStyle>
            <a:lvl1pPr marL="0" indent="0">
              <a:spcBef>
                <a:spcPts val="0"/>
              </a:spcBef>
              <a:defRPr sz="2000" b="0">
                <a:solidFill>
                  <a:srgbClr val="7A9B3D"/>
                </a:solidFill>
              </a:defRPr>
            </a:lvl1pPr>
          </a:lstStyle>
          <a:p>
            <a:r>
              <a:rPr lang="en-US"/>
              <a:t>Click to edit Master subtitle style</a:t>
            </a:r>
            <a:endParaRPr lang="en-US" dirty="0"/>
          </a:p>
        </p:txBody>
      </p:sp>
      <p:sp>
        <p:nvSpPr>
          <p:cNvPr id="74" name="Text Placeholder 43"/>
          <p:cNvSpPr>
            <a:spLocks noGrp="1"/>
          </p:cNvSpPr>
          <p:nvPr>
            <p:ph type="body" sz="quarter" idx="14" hasCustomPrompt="1"/>
          </p:nvPr>
        </p:nvSpPr>
        <p:spPr>
          <a:xfrm>
            <a:off x="685251" y="2581276"/>
            <a:ext cx="7805762" cy="266850"/>
          </a:xfrm>
        </p:spPr>
        <p:txBody>
          <a:bodyPr lIns="100538" rIns="100538"/>
          <a:lstStyle>
            <a:lvl1pPr>
              <a:spcBef>
                <a:spcPts val="0"/>
              </a:spcBef>
              <a:defRPr lang="en-US" sz="1200" b="0" kern="1200" dirty="0" smtClean="0">
                <a:solidFill>
                  <a:srgbClr val="333F48"/>
                </a:solidFill>
                <a:latin typeface="Arial"/>
                <a:ea typeface="ＭＳ Ｐゴシック" pitchFamily="34" charset="-128"/>
                <a:cs typeface="+mn-cs"/>
              </a:defRPr>
            </a:lvl1pPr>
          </a:lstStyle>
          <a:p>
            <a:pPr lvl="0"/>
            <a:r>
              <a:rPr lang="en-US" dirty="0"/>
              <a:t>Date</a:t>
            </a:r>
          </a:p>
        </p:txBody>
      </p:sp>
      <p:sp>
        <p:nvSpPr>
          <p:cNvPr id="39" name="Rectangle 9"/>
          <p:cNvSpPr>
            <a:spLocks noGrp="1" noChangeArrowheads="1"/>
          </p:cNvSpPr>
          <p:nvPr>
            <p:ph type="title" hasCustomPrompt="1"/>
          </p:nvPr>
        </p:nvSpPr>
        <p:spPr bwMode="auto">
          <a:xfrm>
            <a:off x="685253" y="1581076"/>
            <a:ext cx="7820573" cy="5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97" tIns="0" rIns="91397" bIns="0" numCol="1" anchor="b" anchorCtr="0" compatLnSpc="1">
            <a:prstTxWarp prst="textNoShape">
              <a:avLst/>
            </a:prstTxWarp>
          </a:bodyPr>
          <a:lstStyle>
            <a:lvl1pPr>
              <a:defRPr sz="3000">
                <a:solidFill>
                  <a:schemeClr val="bg2"/>
                </a:solidFill>
              </a:defRPr>
            </a:lvl1pPr>
          </a:lstStyle>
          <a:p>
            <a:pPr lvl="0"/>
            <a:r>
              <a:rPr lang="en-US" altLang="en-US" dirty="0"/>
              <a:t>Click To Edit Master Title Style</a:t>
            </a:r>
          </a:p>
        </p:txBody>
      </p:sp>
      <p:sp>
        <p:nvSpPr>
          <p:cNvPr id="50" name="Picture Placeholder 47"/>
          <p:cNvSpPr>
            <a:spLocks noGrp="1"/>
          </p:cNvSpPr>
          <p:nvPr>
            <p:ph type="pic" sz="quarter" idx="11" hasCustomPrompt="1"/>
          </p:nvPr>
        </p:nvSpPr>
        <p:spPr>
          <a:xfrm>
            <a:off x="804672" y="4105656"/>
            <a:ext cx="2424112" cy="609600"/>
          </a:xfrm>
          <a:noFill/>
        </p:spPr>
        <p:txBody>
          <a:bodyPr anchor="ctr"/>
          <a:lstStyle>
            <a:lvl1pPr>
              <a:defRPr sz="1000" b="0"/>
            </a:lvl1pPr>
          </a:lstStyle>
          <a:p>
            <a:pPr lvl="0"/>
            <a:r>
              <a:rPr lang="en-US" noProof="0" dirty="0"/>
              <a:t>Click icon to add logo</a:t>
            </a:r>
          </a:p>
        </p:txBody>
      </p:sp>
      <p:grpSp>
        <p:nvGrpSpPr>
          <p:cNvPr id="49" name="Group 48"/>
          <p:cNvGrpSpPr/>
          <p:nvPr userDrawn="1"/>
        </p:nvGrpSpPr>
        <p:grpSpPr>
          <a:xfrm>
            <a:off x="371883" y="6327117"/>
            <a:ext cx="4006611" cy="174407"/>
            <a:chOff x="371883" y="6327145"/>
            <a:chExt cx="4006611" cy="174407"/>
          </a:xfrm>
        </p:grpSpPr>
        <p:grpSp>
          <p:nvGrpSpPr>
            <p:cNvPr id="51" name="Group 50"/>
            <p:cNvGrpSpPr/>
            <p:nvPr userDrawn="1"/>
          </p:nvGrpSpPr>
          <p:grpSpPr>
            <a:xfrm>
              <a:off x="371883" y="6359447"/>
              <a:ext cx="3947551" cy="100654"/>
              <a:chOff x="362358" y="6368972"/>
              <a:chExt cx="3947551" cy="100654"/>
            </a:xfrm>
          </p:grpSpPr>
          <p:pic>
            <p:nvPicPr>
              <p:cNvPr id="54" name="Picture 5"/>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r="1439" b="-2834"/>
              <a:stretch/>
            </p:blipFill>
            <p:spPr bwMode="auto">
              <a:xfrm>
                <a:off x="362358" y="6368972"/>
                <a:ext cx="3848307" cy="100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5" name="AutoShape 4"/>
              <p:cNvSpPr>
                <a:spLocks noChangeAspect="1" noChangeArrowheads="1" noTextEdit="1"/>
              </p:cNvSpPr>
              <p:nvPr userDrawn="1"/>
            </p:nvSpPr>
            <p:spPr bwMode="auto">
              <a:xfrm>
                <a:off x="4213072" y="6374683"/>
                <a:ext cx="96837"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grpSp>
        <p:sp>
          <p:nvSpPr>
            <p:cNvPr id="52" name="TextBox 51"/>
            <p:cNvSpPr txBox="1"/>
            <p:nvPr userDrawn="1"/>
          </p:nvSpPr>
          <p:spPr>
            <a:xfrm>
              <a:off x="4144134" y="6327145"/>
              <a:ext cx="234360" cy="174407"/>
            </a:xfrm>
            <a:prstGeom prst="rect">
              <a:avLst/>
            </a:prstGeom>
            <a:noFill/>
          </p:spPr>
          <p:txBody>
            <a:bodyPr wrap="none" rtlCol="0">
              <a:spAutoFit/>
            </a:bodyPr>
            <a:lstStyle/>
            <a:p>
              <a:pPr fontAlgn="base">
                <a:spcBef>
                  <a:spcPct val="0"/>
                </a:spcBef>
                <a:spcAft>
                  <a:spcPct val="0"/>
                </a:spcAft>
              </a:pPr>
              <a:r>
                <a:rPr lang="en-US" sz="800" b="1" baseline="30000" dirty="0">
                  <a:solidFill>
                    <a:srgbClr val="000000"/>
                  </a:solidFill>
                  <a:ea typeface="ＭＳ Ｐゴシック"/>
                </a:rPr>
                <a:t>®</a:t>
              </a:r>
            </a:p>
          </p:txBody>
        </p:sp>
      </p:grpSp>
    </p:spTree>
    <p:extLst>
      <p:ext uri="{BB962C8B-B14F-4D97-AF65-F5344CB8AC3E}">
        <p14:creationId xmlns:p14="http://schemas.microsoft.com/office/powerpoint/2010/main" val="221242752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1_FIAM_External_Print_Cover_BD">
    <p:spTree>
      <p:nvGrpSpPr>
        <p:cNvPr id="1" name=""/>
        <p:cNvGrpSpPr/>
        <p:nvPr/>
      </p:nvGrpSpPr>
      <p:grpSpPr>
        <a:xfrm>
          <a:off x="0" y="0"/>
          <a:ext cx="0" cy="0"/>
          <a:chOff x="0" y="0"/>
          <a:chExt cx="0" cy="0"/>
        </a:xfrm>
      </p:grpSpPr>
      <p:pic>
        <p:nvPicPr>
          <p:cNvPr id="45" name="Picture 4" descr="C:\Users\a216024\Desktop\stuff\_PPT_107\PowerPoint_Templates_Samples\_10x7.5_Templates\NEW_FIAM\Covers_secondary_slides\2-7_Covers\LightGray_grayscale.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12688" b="17606"/>
          <a:stretch/>
        </p:blipFill>
        <p:spPr bwMode="auto">
          <a:xfrm>
            <a:off x="0" y="2"/>
            <a:ext cx="9144000" cy="3646714"/>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5" descr="C:\Users\a216024\Desktop\stuff\_PPT_107\PowerPoint_Templates_Samples\_10x7.5_Templates\NEW_FIAM\Covers_secondary_slides\2-7_Covers\ColorBar.png"/>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0" y="3481392"/>
            <a:ext cx="9144000" cy="219075"/>
          </a:xfrm>
          <a:prstGeom prst="rect">
            <a:avLst/>
          </a:prstGeom>
          <a:noFill/>
          <a:extLst>
            <a:ext uri="{909E8E84-426E-40DD-AFC4-6F175D3DCCD1}">
              <a14:hiddenFill xmlns:a14="http://schemas.microsoft.com/office/drawing/2010/main">
                <a:solidFill>
                  <a:srgbClr val="FFFFFF"/>
                </a:solidFill>
              </a14:hiddenFill>
            </a:ext>
          </a:extLst>
        </p:spPr>
      </p:pic>
      <p:grpSp>
        <p:nvGrpSpPr>
          <p:cNvPr id="80" name="Group 79"/>
          <p:cNvGrpSpPr/>
          <p:nvPr userDrawn="1"/>
        </p:nvGrpSpPr>
        <p:grpSpPr>
          <a:xfrm>
            <a:off x="6970734" y="6128903"/>
            <a:ext cx="1839928" cy="396052"/>
            <a:chOff x="6923088" y="4475163"/>
            <a:chExt cx="1873251" cy="403225"/>
          </a:xfrm>
        </p:grpSpPr>
        <p:sp>
          <p:nvSpPr>
            <p:cNvPr id="81" name="AutoShape 4"/>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82" name="Freeform 6"/>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83" name="Freeform 7"/>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84" name="Freeform 83"/>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85" name="Freeform 84"/>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86" name="Freeform 85"/>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87" name="Freeform 86"/>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88" name="Freeform 87"/>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89" name="Freeform 88"/>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0" name="Freeform 89"/>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1" name="Freeform 90"/>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2" name="Freeform 91"/>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3" name="Freeform 92"/>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4" name="Freeform 93"/>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5" name="Freeform 94"/>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6" name="Freeform 95"/>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7" name="Freeform 96"/>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8" name="Freeform 97"/>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9" name="Freeform 98"/>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00" name="Freeform 99"/>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01" name="Freeform 100"/>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02" name="Freeform 101"/>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03" name="Freeform 102"/>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04" name="Freeform 103"/>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05" name="Freeform 104"/>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06" name="Freeform 105"/>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grpSp>
      <p:sp>
        <p:nvSpPr>
          <p:cNvPr id="44" name="Text Placeholder 43"/>
          <p:cNvSpPr>
            <a:spLocks noGrp="1"/>
          </p:cNvSpPr>
          <p:nvPr>
            <p:ph type="body" sz="quarter" idx="10"/>
          </p:nvPr>
        </p:nvSpPr>
        <p:spPr>
          <a:xfrm>
            <a:off x="715495" y="3833787"/>
            <a:ext cx="2455544" cy="332365"/>
          </a:xfrm>
        </p:spPr>
        <p:txBody>
          <a:bodyPr/>
          <a:lstStyle>
            <a:lvl1pPr>
              <a:defRPr lang="en-US" sz="1000" b="0" kern="1200" smtClean="0">
                <a:solidFill>
                  <a:srgbClr val="000000"/>
                </a:solidFill>
                <a:latin typeface="Arial"/>
                <a:ea typeface="ＭＳ Ｐゴシック"/>
                <a:cs typeface="ＭＳ Ｐゴシック"/>
              </a:defRPr>
            </a:lvl1pPr>
          </a:lstStyle>
          <a:p>
            <a:pPr lvl="0"/>
            <a:r>
              <a:rPr lang="en-US"/>
              <a:t>Click to edit Master text styles</a:t>
            </a:r>
          </a:p>
        </p:txBody>
      </p:sp>
      <p:sp>
        <p:nvSpPr>
          <p:cNvPr id="53" name="Content Placeholder 52"/>
          <p:cNvSpPr>
            <a:spLocks noGrp="1"/>
          </p:cNvSpPr>
          <p:nvPr>
            <p:ph sz="quarter" idx="12"/>
          </p:nvPr>
        </p:nvSpPr>
        <p:spPr>
          <a:xfrm>
            <a:off x="6280154" y="3842385"/>
            <a:ext cx="2487613" cy="165226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47" name="Rectangle 176"/>
          <p:cNvSpPr>
            <a:spLocks noGrp="1" noChangeArrowheads="1"/>
          </p:cNvSpPr>
          <p:nvPr>
            <p:ph type="ftr" sz="quarter" idx="13"/>
          </p:nvPr>
        </p:nvSpPr>
        <p:spPr>
          <a:xfrm>
            <a:off x="281405" y="5877561"/>
            <a:ext cx="6014623" cy="260350"/>
          </a:xfrm>
        </p:spPr>
        <p:txBody>
          <a:bodyPr anchor="b" anchorCtr="0"/>
          <a:lstStyle>
            <a:lvl1pPr algn="l">
              <a:defRPr sz="800" b="0" smtClean="0">
                <a:solidFill>
                  <a:srgbClr val="000000"/>
                </a:solidFill>
              </a:defRPr>
            </a:lvl1pPr>
          </a:lstStyle>
          <a:p>
            <a:pPr>
              <a:defRPr/>
            </a:pPr>
            <a:r>
              <a:rPr lang="en-US" b="1" dirty="0"/>
              <a:t>For institutional use only.</a:t>
            </a:r>
          </a:p>
        </p:txBody>
      </p:sp>
      <p:sp>
        <p:nvSpPr>
          <p:cNvPr id="72" name="Rectangle 6"/>
          <p:cNvSpPr>
            <a:spLocks noGrp="1" noChangeArrowheads="1"/>
          </p:cNvSpPr>
          <p:nvPr>
            <p:ph type="subTitle" idx="1"/>
          </p:nvPr>
        </p:nvSpPr>
        <p:spPr>
          <a:xfrm>
            <a:off x="685251" y="2091766"/>
            <a:ext cx="7805762" cy="563076"/>
          </a:xfrm>
        </p:spPr>
        <p:txBody>
          <a:bodyPr lIns="100538" rIns="100538"/>
          <a:lstStyle>
            <a:lvl1pPr marL="0" indent="0">
              <a:spcBef>
                <a:spcPts val="0"/>
              </a:spcBef>
              <a:defRPr sz="2000" b="0">
                <a:solidFill>
                  <a:srgbClr val="7A9B3D"/>
                </a:solidFill>
              </a:defRPr>
            </a:lvl1pPr>
          </a:lstStyle>
          <a:p>
            <a:r>
              <a:rPr lang="en-US"/>
              <a:t>Click to edit Master subtitle style</a:t>
            </a:r>
            <a:endParaRPr lang="en-US" dirty="0"/>
          </a:p>
        </p:txBody>
      </p:sp>
      <p:sp>
        <p:nvSpPr>
          <p:cNvPr id="74" name="Text Placeholder 43"/>
          <p:cNvSpPr>
            <a:spLocks noGrp="1"/>
          </p:cNvSpPr>
          <p:nvPr>
            <p:ph type="body" sz="quarter" idx="14" hasCustomPrompt="1"/>
          </p:nvPr>
        </p:nvSpPr>
        <p:spPr>
          <a:xfrm>
            <a:off x="685251" y="2581276"/>
            <a:ext cx="7805762" cy="266850"/>
          </a:xfrm>
        </p:spPr>
        <p:txBody>
          <a:bodyPr lIns="100538" rIns="100538"/>
          <a:lstStyle>
            <a:lvl1pPr>
              <a:spcBef>
                <a:spcPts val="0"/>
              </a:spcBef>
              <a:defRPr lang="en-US" sz="1200" b="0" kern="1200" dirty="0" smtClean="0">
                <a:solidFill>
                  <a:srgbClr val="333F48"/>
                </a:solidFill>
                <a:latin typeface="Arial"/>
                <a:ea typeface="ＭＳ Ｐゴシック" pitchFamily="34" charset="-128"/>
                <a:cs typeface="+mn-cs"/>
              </a:defRPr>
            </a:lvl1pPr>
          </a:lstStyle>
          <a:p>
            <a:pPr lvl="0"/>
            <a:r>
              <a:rPr lang="en-US" dirty="0"/>
              <a:t>Date</a:t>
            </a:r>
          </a:p>
        </p:txBody>
      </p:sp>
      <p:sp>
        <p:nvSpPr>
          <p:cNvPr id="39" name="Rectangle 9"/>
          <p:cNvSpPr>
            <a:spLocks noGrp="1" noChangeArrowheads="1"/>
          </p:cNvSpPr>
          <p:nvPr>
            <p:ph type="title" hasCustomPrompt="1"/>
          </p:nvPr>
        </p:nvSpPr>
        <p:spPr bwMode="auto">
          <a:xfrm>
            <a:off x="685253" y="1581076"/>
            <a:ext cx="7820573" cy="5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97" tIns="0" rIns="91397" bIns="0" numCol="1" anchor="b" anchorCtr="0" compatLnSpc="1">
            <a:prstTxWarp prst="textNoShape">
              <a:avLst/>
            </a:prstTxWarp>
          </a:bodyPr>
          <a:lstStyle>
            <a:lvl1pPr>
              <a:defRPr sz="3000">
                <a:solidFill>
                  <a:schemeClr val="bg2"/>
                </a:solidFill>
              </a:defRPr>
            </a:lvl1pPr>
          </a:lstStyle>
          <a:p>
            <a:pPr lvl="0"/>
            <a:r>
              <a:rPr lang="en-US" altLang="en-US" dirty="0"/>
              <a:t>Click To Edit Master Title Style</a:t>
            </a:r>
          </a:p>
        </p:txBody>
      </p:sp>
      <p:sp>
        <p:nvSpPr>
          <p:cNvPr id="49" name="Text Box 15"/>
          <p:cNvSpPr txBox="1">
            <a:spLocks noChangeArrowheads="1"/>
          </p:cNvSpPr>
          <p:nvPr userDrawn="1"/>
        </p:nvSpPr>
        <p:spPr bwMode="ltGray">
          <a:xfrm>
            <a:off x="383501" y="5535110"/>
            <a:ext cx="2868671" cy="184616"/>
          </a:xfrm>
          <a:prstGeom prst="rect">
            <a:avLst/>
          </a:prstGeom>
          <a:noFill/>
          <a:ln w="9525">
            <a:solidFill>
              <a:srgbClr val="000000"/>
            </a:solidFill>
            <a:miter lim="800000"/>
            <a:headEnd/>
            <a:tailEnd/>
          </a:ln>
        </p:spPr>
        <p:txBody>
          <a:bodyPr wrap="none" lIns="45689" tIns="45689" rIns="45689" bIns="27414" anchor="ctr">
            <a:spAutoFit/>
          </a:bodyP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defTabSz="913972">
              <a:lnSpc>
                <a:spcPct val="90000"/>
              </a:lnSpc>
              <a:defRPr/>
            </a:pPr>
            <a:r>
              <a:rPr lang="en-US" sz="800" b="1" kern="0" dirty="0">
                <a:solidFill>
                  <a:srgbClr val="000000"/>
                </a:solidFill>
                <a:latin typeface="Arial"/>
              </a:rPr>
              <a:t>Not FDIC Insured </a:t>
            </a:r>
            <a:r>
              <a:rPr lang="en-US" sz="800" b="1" kern="0" dirty="0">
                <a:solidFill>
                  <a:srgbClr val="000000"/>
                </a:solidFill>
                <a:latin typeface="Arial"/>
                <a:sym typeface="Wingdings" pitchFamily="2" charset="2"/>
              </a:rPr>
              <a:t> May Lose Value  No Bank Guarantee</a:t>
            </a:r>
          </a:p>
        </p:txBody>
      </p:sp>
      <p:sp>
        <p:nvSpPr>
          <p:cNvPr id="50" name="Picture Placeholder 47"/>
          <p:cNvSpPr>
            <a:spLocks noGrp="1"/>
          </p:cNvSpPr>
          <p:nvPr>
            <p:ph type="pic" sz="quarter" idx="11" hasCustomPrompt="1"/>
          </p:nvPr>
        </p:nvSpPr>
        <p:spPr>
          <a:xfrm>
            <a:off x="804672" y="4105656"/>
            <a:ext cx="2424112" cy="609600"/>
          </a:xfrm>
          <a:noFill/>
        </p:spPr>
        <p:txBody>
          <a:bodyPr anchor="ctr"/>
          <a:lstStyle>
            <a:lvl1pPr>
              <a:defRPr sz="1000" b="0"/>
            </a:lvl1pPr>
          </a:lstStyle>
          <a:p>
            <a:pPr lvl="0"/>
            <a:r>
              <a:rPr lang="en-US" noProof="0" dirty="0"/>
              <a:t>Click icon to add logo</a:t>
            </a:r>
          </a:p>
        </p:txBody>
      </p:sp>
      <p:grpSp>
        <p:nvGrpSpPr>
          <p:cNvPr id="51" name="Group 50"/>
          <p:cNvGrpSpPr/>
          <p:nvPr userDrawn="1"/>
        </p:nvGrpSpPr>
        <p:grpSpPr>
          <a:xfrm>
            <a:off x="371883" y="6327117"/>
            <a:ext cx="4006611" cy="174407"/>
            <a:chOff x="371883" y="6327145"/>
            <a:chExt cx="4006611" cy="174407"/>
          </a:xfrm>
        </p:grpSpPr>
        <p:grpSp>
          <p:nvGrpSpPr>
            <p:cNvPr id="52" name="Group 51"/>
            <p:cNvGrpSpPr/>
            <p:nvPr userDrawn="1"/>
          </p:nvGrpSpPr>
          <p:grpSpPr>
            <a:xfrm>
              <a:off x="371883" y="6359447"/>
              <a:ext cx="3947551" cy="100654"/>
              <a:chOff x="362358" y="6368972"/>
              <a:chExt cx="3947551" cy="100654"/>
            </a:xfrm>
          </p:grpSpPr>
          <p:pic>
            <p:nvPicPr>
              <p:cNvPr id="55" name="Picture 5"/>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r="1439" b="-2834"/>
              <a:stretch/>
            </p:blipFill>
            <p:spPr bwMode="auto">
              <a:xfrm>
                <a:off x="362358" y="6368972"/>
                <a:ext cx="3848307" cy="100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AutoShape 4"/>
              <p:cNvSpPr>
                <a:spLocks noChangeAspect="1" noChangeArrowheads="1" noTextEdit="1"/>
              </p:cNvSpPr>
              <p:nvPr userDrawn="1"/>
            </p:nvSpPr>
            <p:spPr bwMode="auto">
              <a:xfrm>
                <a:off x="4213072" y="6374683"/>
                <a:ext cx="96837"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grpSp>
        <p:sp>
          <p:nvSpPr>
            <p:cNvPr id="54" name="TextBox 53"/>
            <p:cNvSpPr txBox="1"/>
            <p:nvPr userDrawn="1"/>
          </p:nvSpPr>
          <p:spPr>
            <a:xfrm>
              <a:off x="4144134" y="6327145"/>
              <a:ext cx="234360" cy="174407"/>
            </a:xfrm>
            <a:prstGeom prst="rect">
              <a:avLst/>
            </a:prstGeom>
            <a:noFill/>
          </p:spPr>
          <p:txBody>
            <a:bodyPr wrap="none" rtlCol="0">
              <a:spAutoFit/>
            </a:bodyPr>
            <a:lstStyle/>
            <a:p>
              <a:pPr fontAlgn="base">
                <a:spcBef>
                  <a:spcPct val="0"/>
                </a:spcBef>
                <a:spcAft>
                  <a:spcPct val="0"/>
                </a:spcAft>
              </a:pPr>
              <a:r>
                <a:rPr lang="en-US" sz="800" b="1" baseline="30000" dirty="0">
                  <a:solidFill>
                    <a:srgbClr val="000000"/>
                  </a:solidFill>
                  <a:ea typeface="ＭＳ Ｐゴシック"/>
                </a:rPr>
                <a:t>®</a:t>
              </a:r>
            </a:p>
          </p:txBody>
        </p:sp>
      </p:grpSp>
    </p:spTree>
    <p:extLst>
      <p:ext uri="{BB962C8B-B14F-4D97-AF65-F5344CB8AC3E}">
        <p14:creationId xmlns:p14="http://schemas.microsoft.com/office/powerpoint/2010/main" val="769101175"/>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1_GIS Cover">
    <p:spTree>
      <p:nvGrpSpPr>
        <p:cNvPr id="1" name=""/>
        <p:cNvGrpSpPr/>
        <p:nvPr/>
      </p:nvGrpSpPr>
      <p:grpSpPr>
        <a:xfrm>
          <a:off x="0" y="0"/>
          <a:ext cx="0" cy="0"/>
          <a:chOff x="0" y="0"/>
          <a:chExt cx="0" cy="0"/>
        </a:xfrm>
      </p:grpSpPr>
      <p:pic>
        <p:nvPicPr>
          <p:cNvPr id="45" name="Picture 4" descr="C:\Users\a216024\Desktop\stuff\_PPT_107\PowerPoint_Templates_Samples\_10x7.5_Templates\NEW_FIAM\Covers_secondary_slides\2-7_Covers\LightGray_grayscale.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12688" b="17606"/>
          <a:stretch/>
        </p:blipFill>
        <p:spPr bwMode="auto">
          <a:xfrm>
            <a:off x="0" y="2"/>
            <a:ext cx="9144000" cy="3646714"/>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5" descr="C:\Users\a216024\Desktop\stuff\_PPT_107\PowerPoint_Templates_Samples\_10x7.5_Templates\NEW_FIAM\Covers_secondary_slides\2-7_Covers\ColorBar.png"/>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l="1379" r="1716"/>
          <a:stretch/>
        </p:blipFill>
        <p:spPr bwMode="auto">
          <a:xfrm>
            <a:off x="0" y="3481392"/>
            <a:ext cx="9144000" cy="219075"/>
          </a:xfrm>
          <a:prstGeom prst="rect">
            <a:avLst/>
          </a:prstGeom>
          <a:noFill/>
          <a:extLst>
            <a:ext uri="{909E8E84-426E-40DD-AFC4-6F175D3DCCD1}">
              <a14:hiddenFill xmlns:a14="http://schemas.microsoft.com/office/drawing/2010/main">
                <a:solidFill>
                  <a:srgbClr val="FFFFFF"/>
                </a:solidFill>
              </a14:hiddenFill>
            </a:ext>
          </a:extLst>
        </p:spPr>
      </p:pic>
      <p:grpSp>
        <p:nvGrpSpPr>
          <p:cNvPr id="80" name="Group 79"/>
          <p:cNvGrpSpPr/>
          <p:nvPr userDrawn="1"/>
        </p:nvGrpSpPr>
        <p:grpSpPr>
          <a:xfrm>
            <a:off x="6970734" y="6128903"/>
            <a:ext cx="1839928" cy="396052"/>
            <a:chOff x="6923088" y="4475163"/>
            <a:chExt cx="1873251" cy="403225"/>
          </a:xfrm>
        </p:grpSpPr>
        <p:sp>
          <p:nvSpPr>
            <p:cNvPr id="81" name="AutoShape 4"/>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82" name="Freeform 6"/>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83" name="Freeform 7"/>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84" name="Freeform 83"/>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85" name="Freeform 84"/>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86" name="Freeform 85"/>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87" name="Freeform 86"/>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88" name="Freeform 87"/>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89" name="Freeform 88"/>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0" name="Freeform 89"/>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1" name="Freeform 90"/>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2" name="Freeform 91"/>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3" name="Freeform 92"/>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4" name="Freeform 93"/>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5" name="Freeform 94"/>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6" name="Freeform 95"/>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7" name="Freeform 96"/>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8" name="Freeform 97"/>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99" name="Freeform 98"/>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00" name="Freeform 99"/>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01" name="Freeform 100"/>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02" name="Freeform 101"/>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03" name="Freeform 102"/>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04" name="Freeform 103"/>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05" name="Freeform 104"/>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06" name="Freeform 105"/>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grpSp>
      <p:sp>
        <p:nvSpPr>
          <p:cNvPr id="44" name="Text Placeholder 43"/>
          <p:cNvSpPr>
            <a:spLocks noGrp="1"/>
          </p:cNvSpPr>
          <p:nvPr>
            <p:ph type="body" sz="quarter" idx="10" hasCustomPrompt="1"/>
          </p:nvPr>
        </p:nvSpPr>
        <p:spPr>
          <a:xfrm>
            <a:off x="715495" y="3833787"/>
            <a:ext cx="2455544" cy="332365"/>
          </a:xfrm>
        </p:spPr>
        <p:txBody>
          <a:bodyPr/>
          <a:lstStyle>
            <a:lvl1pPr marL="0" indent="0">
              <a:defRPr lang="en-US" sz="1000" b="1" kern="1200" smtClean="0">
                <a:solidFill>
                  <a:srgbClr val="000000"/>
                </a:solidFill>
                <a:latin typeface="Arial"/>
                <a:ea typeface="ＭＳ Ｐゴシック"/>
                <a:cs typeface="ＭＳ Ｐゴシック"/>
              </a:defRPr>
            </a:lvl1pPr>
          </a:lstStyle>
          <a:p>
            <a:pPr marL="0" indent="0"/>
            <a:r>
              <a:rPr lang="en-US" sz="1200" dirty="0"/>
              <a:t>Global Institutional Solutions</a:t>
            </a:r>
            <a:br>
              <a:rPr lang="en-US" sz="1200" dirty="0"/>
            </a:br>
            <a:endParaRPr lang="en-US" sz="1200" dirty="0"/>
          </a:p>
        </p:txBody>
      </p:sp>
      <p:sp>
        <p:nvSpPr>
          <p:cNvPr id="53" name="Content Placeholder 52"/>
          <p:cNvSpPr>
            <a:spLocks noGrp="1"/>
          </p:cNvSpPr>
          <p:nvPr>
            <p:ph sz="quarter" idx="12"/>
          </p:nvPr>
        </p:nvSpPr>
        <p:spPr>
          <a:xfrm>
            <a:off x="6280154" y="3842385"/>
            <a:ext cx="2487613" cy="165226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72" name="Rectangle 6"/>
          <p:cNvSpPr>
            <a:spLocks noGrp="1" noChangeArrowheads="1"/>
          </p:cNvSpPr>
          <p:nvPr>
            <p:ph type="subTitle" idx="1"/>
          </p:nvPr>
        </p:nvSpPr>
        <p:spPr>
          <a:xfrm>
            <a:off x="685251" y="2091766"/>
            <a:ext cx="7805762" cy="563076"/>
          </a:xfrm>
        </p:spPr>
        <p:txBody>
          <a:bodyPr lIns="100538" rIns="100538"/>
          <a:lstStyle>
            <a:lvl1pPr marL="0" indent="0">
              <a:spcBef>
                <a:spcPts val="0"/>
              </a:spcBef>
              <a:defRPr sz="2600" b="0">
                <a:solidFill>
                  <a:srgbClr val="7A9B3D"/>
                </a:solidFill>
              </a:defRPr>
            </a:lvl1pPr>
          </a:lstStyle>
          <a:p>
            <a:r>
              <a:rPr lang="en-US"/>
              <a:t>Click to edit Master subtitle style</a:t>
            </a:r>
            <a:endParaRPr lang="en-US" dirty="0"/>
          </a:p>
        </p:txBody>
      </p:sp>
      <p:sp>
        <p:nvSpPr>
          <p:cNvPr id="74" name="Text Placeholder 43"/>
          <p:cNvSpPr>
            <a:spLocks noGrp="1"/>
          </p:cNvSpPr>
          <p:nvPr>
            <p:ph type="body" sz="quarter" idx="14" hasCustomPrompt="1"/>
          </p:nvPr>
        </p:nvSpPr>
        <p:spPr>
          <a:xfrm>
            <a:off x="685251" y="2581276"/>
            <a:ext cx="7805762" cy="266850"/>
          </a:xfrm>
        </p:spPr>
        <p:txBody>
          <a:bodyPr lIns="100538" rIns="100538"/>
          <a:lstStyle>
            <a:lvl1pPr>
              <a:spcBef>
                <a:spcPts val="0"/>
              </a:spcBef>
              <a:defRPr lang="en-US" sz="1200" b="0" kern="1200" dirty="0" smtClean="0">
                <a:solidFill>
                  <a:srgbClr val="333F48"/>
                </a:solidFill>
                <a:latin typeface="Arial"/>
                <a:ea typeface="ＭＳ Ｐゴシック" pitchFamily="34" charset="-128"/>
                <a:cs typeface="+mn-cs"/>
              </a:defRPr>
            </a:lvl1pPr>
          </a:lstStyle>
          <a:p>
            <a:pPr lvl="0"/>
            <a:r>
              <a:rPr lang="en-US" dirty="0"/>
              <a:t>Date</a:t>
            </a:r>
          </a:p>
        </p:txBody>
      </p:sp>
      <p:sp>
        <p:nvSpPr>
          <p:cNvPr id="50" name="Rectangle 176"/>
          <p:cNvSpPr>
            <a:spLocks noGrp="1" noChangeArrowheads="1"/>
          </p:cNvSpPr>
          <p:nvPr>
            <p:ph type="ftr" sz="quarter" idx="13"/>
          </p:nvPr>
        </p:nvSpPr>
        <p:spPr>
          <a:xfrm>
            <a:off x="272779" y="5877561"/>
            <a:ext cx="6014623" cy="260350"/>
          </a:xfrm>
        </p:spPr>
        <p:txBody>
          <a:bodyPr anchor="b" anchorCtr="0"/>
          <a:lstStyle>
            <a:lvl1pPr algn="l">
              <a:defRPr sz="800" b="0" smtClean="0">
                <a:solidFill>
                  <a:srgbClr val="000000"/>
                </a:solidFill>
              </a:defRPr>
            </a:lvl1pPr>
          </a:lstStyle>
          <a:p>
            <a:pPr>
              <a:defRPr/>
            </a:pPr>
            <a:r>
              <a:rPr lang="en-US" b="1" dirty="0"/>
              <a:t>For institutional use only.</a:t>
            </a:r>
          </a:p>
        </p:txBody>
      </p:sp>
      <p:sp>
        <p:nvSpPr>
          <p:cNvPr id="3" name="Rectangle 2"/>
          <p:cNvSpPr/>
          <p:nvPr userDrawn="1"/>
        </p:nvSpPr>
        <p:spPr>
          <a:xfrm>
            <a:off x="709199" y="1901645"/>
            <a:ext cx="1356462" cy="276999"/>
          </a:xfrm>
          <a:prstGeom prst="rect">
            <a:avLst/>
          </a:prstGeom>
        </p:spPr>
        <p:txBody>
          <a:bodyPr wrap="none" lIns="91397" tIns="45698" rIns="91397" bIns="45698">
            <a:spAutoFit/>
          </a:bodyPr>
          <a:lstStyle/>
          <a:p>
            <a:pPr fontAlgn="base">
              <a:spcBef>
                <a:spcPct val="0"/>
              </a:spcBef>
              <a:spcAft>
                <a:spcPct val="0"/>
              </a:spcAft>
            </a:pPr>
            <a:r>
              <a:rPr lang="en-US" sz="1200" b="1" dirty="0">
                <a:solidFill>
                  <a:srgbClr val="333F48"/>
                </a:solidFill>
                <a:ea typeface="ＭＳ Ｐゴシック"/>
              </a:rPr>
              <a:t>Presentation to:</a:t>
            </a:r>
            <a:endParaRPr lang="en-US" sz="1200" dirty="0">
              <a:solidFill>
                <a:srgbClr val="000000"/>
              </a:solidFill>
              <a:ea typeface="ＭＳ Ｐゴシック"/>
            </a:endParaRPr>
          </a:p>
        </p:txBody>
      </p:sp>
      <p:grpSp>
        <p:nvGrpSpPr>
          <p:cNvPr id="43" name="Group 42"/>
          <p:cNvGrpSpPr/>
          <p:nvPr userDrawn="1"/>
        </p:nvGrpSpPr>
        <p:grpSpPr>
          <a:xfrm>
            <a:off x="371883" y="6327117"/>
            <a:ext cx="4006611" cy="174407"/>
            <a:chOff x="371883" y="6327145"/>
            <a:chExt cx="4006611" cy="174407"/>
          </a:xfrm>
        </p:grpSpPr>
        <p:grpSp>
          <p:nvGrpSpPr>
            <p:cNvPr id="47" name="Group 46"/>
            <p:cNvGrpSpPr/>
            <p:nvPr userDrawn="1"/>
          </p:nvGrpSpPr>
          <p:grpSpPr>
            <a:xfrm>
              <a:off x="371883" y="6359447"/>
              <a:ext cx="3947551" cy="100654"/>
              <a:chOff x="362358" y="6368972"/>
              <a:chExt cx="3947551" cy="100654"/>
            </a:xfrm>
          </p:grpSpPr>
          <p:pic>
            <p:nvPicPr>
              <p:cNvPr id="51" name="Picture 5"/>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r="1439" b="-2834"/>
              <a:stretch/>
            </p:blipFill>
            <p:spPr bwMode="auto">
              <a:xfrm>
                <a:off x="362358" y="6368972"/>
                <a:ext cx="3848307" cy="100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2" name="AutoShape 4"/>
              <p:cNvSpPr>
                <a:spLocks noChangeAspect="1" noChangeArrowheads="1" noTextEdit="1"/>
              </p:cNvSpPr>
              <p:nvPr userDrawn="1"/>
            </p:nvSpPr>
            <p:spPr bwMode="auto">
              <a:xfrm>
                <a:off x="4213072" y="6374683"/>
                <a:ext cx="96837"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grpSp>
        <p:sp>
          <p:nvSpPr>
            <p:cNvPr id="49" name="TextBox 48"/>
            <p:cNvSpPr txBox="1"/>
            <p:nvPr userDrawn="1"/>
          </p:nvSpPr>
          <p:spPr>
            <a:xfrm>
              <a:off x="4144134" y="6327145"/>
              <a:ext cx="234360" cy="174407"/>
            </a:xfrm>
            <a:prstGeom prst="rect">
              <a:avLst/>
            </a:prstGeom>
            <a:noFill/>
          </p:spPr>
          <p:txBody>
            <a:bodyPr wrap="none" rtlCol="0">
              <a:spAutoFit/>
            </a:bodyPr>
            <a:lstStyle/>
            <a:p>
              <a:pPr fontAlgn="base">
                <a:spcBef>
                  <a:spcPct val="0"/>
                </a:spcBef>
                <a:spcAft>
                  <a:spcPct val="0"/>
                </a:spcAft>
              </a:pPr>
              <a:r>
                <a:rPr lang="en-US" sz="800" b="1" baseline="30000" dirty="0">
                  <a:solidFill>
                    <a:srgbClr val="000000"/>
                  </a:solidFill>
                  <a:ea typeface="ＭＳ Ｐゴシック"/>
                </a:rPr>
                <a:t>®</a:t>
              </a:r>
            </a:p>
          </p:txBody>
        </p:sp>
      </p:grpSp>
    </p:spTree>
    <p:extLst>
      <p:ext uri="{BB962C8B-B14F-4D97-AF65-F5344CB8AC3E}">
        <p14:creationId xmlns:p14="http://schemas.microsoft.com/office/powerpoint/2010/main" val="22870044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FIAM_External_Print_Cover_BD">
    <p:spTree>
      <p:nvGrpSpPr>
        <p:cNvPr id="1" name=""/>
        <p:cNvGrpSpPr/>
        <p:nvPr/>
      </p:nvGrpSpPr>
      <p:grpSpPr>
        <a:xfrm>
          <a:off x="0" y="0"/>
          <a:ext cx="0" cy="0"/>
          <a:chOff x="0" y="0"/>
          <a:chExt cx="0" cy="0"/>
        </a:xfrm>
      </p:grpSpPr>
      <p:pic>
        <p:nvPicPr>
          <p:cNvPr id="45" name="Picture 4" descr="C:\Users\a216024\Desktop\stuff\_PPT_107\PowerPoint_Templates_Samples\_10x7.5_Templates\NEW_FIAM\Covers_secondary_slides\2-7_Covers\LightGray_grayscale.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12688" b="17606"/>
          <a:stretch/>
        </p:blipFill>
        <p:spPr bwMode="auto">
          <a:xfrm>
            <a:off x="0" y="0"/>
            <a:ext cx="9144000" cy="3646714"/>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5" descr="C:\Users\a216024\Desktop\stuff\_PPT_107\PowerPoint_Templates_Samples\_10x7.5_Templates\NEW_FIAM\Covers_secondary_slides\2-7_Covers\ColorBar.png"/>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0" y="3481388"/>
            <a:ext cx="9144000" cy="219075"/>
          </a:xfrm>
          <a:prstGeom prst="rect">
            <a:avLst/>
          </a:prstGeom>
          <a:noFill/>
          <a:extLst>
            <a:ext uri="{909E8E84-426E-40DD-AFC4-6F175D3DCCD1}">
              <a14:hiddenFill xmlns:a14="http://schemas.microsoft.com/office/drawing/2010/main">
                <a:solidFill>
                  <a:srgbClr val="FFFFFF"/>
                </a:solidFill>
              </a14:hiddenFill>
            </a:ext>
          </a:extLst>
        </p:spPr>
      </p:pic>
      <p:grpSp>
        <p:nvGrpSpPr>
          <p:cNvPr id="80" name="Group 79"/>
          <p:cNvGrpSpPr/>
          <p:nvPr userDrawn="1"/>
        </p:nvGrpSpPr>
        <p:grpSpPr>
          <a:xfrm>
            <a:off x="6970734" y="6128901"/>
            <a:ext cx="1839928" cy="396052"/>
            <a:chOff x="6923088" y="4475163"/>
            <a:chExt cx="1873251" cy="403225"/>
          </a:xfrm>
        </p:grpSpPr>
        <p:sp>
          <p:nvSpPr>
            <p:cNvPr id="81" name="AutoShape 4"/>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 name="Freeform 6"/>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 name="Freeform 7"/>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 name="Freeform 83"/>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 name="Freeform 84"/>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 name="Freeform 85"/>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 name="Freeform 86"/>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8" name="Freeform 87"/>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 name="Freeform 88"/>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 name="Freeform 89"/>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 name="Freeform 90"/>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 name="Freeform 91"/>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 name="Freeform 92"/>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 name="Freeform 93"/>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 name="Freeform 94"/>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 name="Freeform 95"/>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 name="Freeform 96"/>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 name="Freeform 97"/>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 name="Freeform 98"/>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 name="Freeform 99"/>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 name="Freeform 100"/>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 name="Freeform 101"/>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 name="Freeform 102"/>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4" name="Freeform 103"/>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5" name="Freeform 104"/>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6" name="Freeform 105"/>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44" name="Text Placeholder 43"/>
          <p:cNvSpPr>
            <a:spLocks noGrp="1"/>
          </p:cNvSpPr>
          <p:nvPr>
            <p:ph type="body" sz="quarter" idx="10"/>
          </p:nvPr>
        </p:nvSpPr>
        <p:spPr>
          <a:xfrm>
            <a:off x="715495" y="3833787"/>
            <a:ext cx="2455544" cy="332365"/>
          </a:xfrm>
        </p:spPr>
        <p:txBody>
          <a:bodyPr/>
          <a:lstStyle>
            <a:lvl1pPr>
              <a:defRPr lang="en-US" sz="1000" b="0" kern="1200" smtClean="0">
                <a:solidFill>
                  <a:srgbClr val="000000"/>
                </a:solidFill>
                <a:latin typeface="Arial"/>
                <a:ea typeface="ＭＳ Ｐゴシック"/>
                <a:cs typeface="ＭＳ Ｐゴシック"/>
              </a:defRPr>
            </a:lvl1pPr>
          </a:lstStyle>
          <a:p>
            <a:pPr lvl="0"/>
            <a:r>
              <a:rPr lang="en-US"/>
              <a:t>Click to edit Master text styles</a:t>
            </a:r>
          </a:p>
        </p:txBody>
      </p:sp>
      <p:sp>
        <p:nvSpPr>
          <p:cNvPr id="53" name="Content Placeholder 52"/>
          <p:cNvSpPr>
            <a:spLocks noGrp="1"/>
          </p:cNvSpPr>
          <p:nvPr>
            <p:ph sz="quarter" idx="12"/>
          </p:nvPr>
        </p:nvSpPr>
        <p:spPr>
          <a:xfrm>
            <a:off x="6280150" y="3842381"/>
            <a:ext cx="2487613" cy="165226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47" name="Rectangle 176"/>
          <p:cNvSpPr>
            <a:spLocks noGrp="1" noChangeArrowheads="1"/>
          </p:cNvSpPr>
          <p:nvPr>
            <p:ph type="ftr" sz="quarter" idx="13"/>
          </p:nvPr>
        </p:nvSpPr>
        <p:spPr>
          <a:xfrm>
            <a:off x="281401" y="5877558"/>
            <a:ext cx="6014623" cy="260350"/>
          </a:xfrm>
        </p:spPr>
        <p:txBody>
          <a:bodyPr anchor="b" anchorCtr="0"/>
          <a:lstStyle>
            <a:lvl1pPr algn="l">
              <a:defRPr sz="800" b="0" smtClean="0">
                <a:solidFill>
                  <a:srgbClr val="000000"/>
                </a:solidFill>
              </a:defRPr>
            </a:lvl1pPr>
          </a:lstStyle>
          <a:p>
            <a:pPr>
              <a:defRPr/>
            </a:pPr>
            <a:r>
              <a:rPr lang="en-US" b="1"/>
              <a:t>For institutional use only</a:t>
            </a:r>
            <a:endParaRPr lang="en-US" b="1" dirty="0"/>
          </a:p>
        </p:txBody>
      </p:sp>
      <p:sp>
        <p:nvSpPr>
          <p:cNvPr id="72" name="Rectangle 6"/>
          <p:cNvSpPr>
            <a:spLocks noGrp="1" noChangeArrowheads="1"/>
          </p:cNvSpPr>
          <p:nvPr>
            <p:ph type="subTitle" idx="1"/>
          </p:nvPr>
        </p:nvSpPr>
        <p:spPr>
          <a:xfrm>
            <a:off x="685251" y="2091765"/>
            <a:ext cx="7805762" cy="563076"/>
          </a:xfrm>
        </p:spPr>
        <p:txBody>
          <a:bodyPr lIns="100584" rIns="100584"/>
          <a:lstStyle>
            <a:lvl1pPr marL="0" indent="0">
              <a:spcBef>
                <a:spcPts val="0"/>
              </a:spcBef>
              <a:defRPr sz="2000" b="0">
                <a:solidFill>
                  <a:srgbClr val="7A9B3D"/>
                </a:solidFill>
              </a:defRPr>
            </a:lvl1pPr>
          </a:lstStyle>
          <a:p>
            <a:r>
              <a:rPr lang="en-US"/>
              <a:t>Click to edit Master subtitle style</a:t>
            </a:r>
            <a:endParaRPr lang="en-US" dirty="0"/>
          </a:p>
        </p:txBody>
      </p:sp>
      <p:sp>
        <p:nvSpPr>
          <p:cNvPr id="74" name="Text Placeholder 43"/>
          <p:cNvSpPr>
            <a:spLocks noGrp="1"/>
          </p:cNvSpPr>
          <p:nvPr>
            <p:ph type="body" sz="quarter" idx="14" hasCustomPrompt="1"/>
          </p:nvPr>
        </p:nvSpPr>
        <p:spPr>
          <a:xfrm>
            <a:off x="685251" y="2581276"/>
            <a:ext cx="7805762" cy="266850"/>
          </a:xfrm>
        </p:spPr>
        <p:txBody>
          <a:bodyPr lIns="100584" rIns="100584"/>
          <a:lstStyle>
            <a:lvl1pPr>
              <a:spcBef>
                <a:spcPts val="0"/>
              </a:spcBef>
              <a:defRPr lang="en-US" sz="1200" b="0" kern="1200" dirty="0" smtClean="0">
                <a:solidFill>
                  <a:srgbClr val="333F48"/>
                </a:solidFill>
                <a:latin typeface="Arial"/>
                <a:ea typeface="ＭＳ Ｐゴシック" pitchFamily="34" charset="-128"/>
                <a:cs typeface="+mn-cs"/>
              </a:defRPr>
            </a:lvl1pPr>
          </a:lstStyle>
          <a:p>
            <a:pPr lvl="0"/>
            <a:r>
              <a:rPr lang="en-US" dirty="0"/>
              <a:t>Date</a:t>
            </a:r>
          </a:p>
        </p:txBody>
      </p:sp>
      <p:sp>
        <p:nvSpPr>
          <p:cNvPr id="39" name="Rectangle 9"/>
          <p:cNvSpPr>
            <a:spLocks noGrp="1" noChangeArrowheads="1"/>
          </p:cNvSpPr>
          <p:nvPr>
            <p:ph type="title" hasCustomPrompt="1"/>
          </p:nvPr>
        </p:nvSpPr>
        <p:spPr bwMode="auto">
          <a:xfrm>
            <a:off x="685252" y="1581072"/>
            <a:ext cx="7820573" cy="5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b" anchorCtr="0" compatLnSpc="1">
            <a:prstTxWarp prst="textNoShape">
              <a:avLst/>
            </a:prstTxWarp>
          </a:bodyPr>
          <a:lstStyle>
            <a:lvl1pPr>
              <a:defRPr sz="3000">
                <a:solidFill>
                  <a:schemeClr val="bg2"/>
                </a:solidFill>
              </a:defRPr>
            </a:lvl1pPr>
          </a:lstStyle>
          <a:p>
            <a:pPr lvl="0"/>
            <a:r>
              <a:rPr lang="en-US" altLang="en-US" dirty="0"/>
              <a:t>Click To Edit Master Title Style</a:t>
            </a:r>
          </a:p>
        </p:txBody>
      </p:sp>
      <p:grpSp>
        <p:nvGrpSpPr>
          <p:cNvPr id="46" name="Group 45"/>
          <p:cNvGrpSpPr/>
          <p:nvPr userDrawn="1"/>
        </p:nvGrpSpPr>
        <p:grpSpPr>
          <a:xfrm>
            <a:off x="371883" y="6359447"/>
            <a:ext cx="3947551" cy="100654"/>
            <a:chOff x="362358" y="6368972"/>
            <a:chExt cx="3947551" cy="100654"/>
          </a:xfrm>
        </p:grpSpPr>
        <p:pic>
          <p:nvPicPr>
            <p:cNvPr id="48" name="Picture 5"/>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r="1439" b="-2834"/>
            <a:stretch/>
          </p:blipFill>
          <p:spPr bwMode="auto">
            <a:xfrm>
              <a:off x="362358" y="6368972"/>
              <a:ext cx="3848307" cy="100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56" name="Group 55"/>
            <p:cNvGrpSpPr/>
            <p:nvPr userDrawn="1"/>
          </p:nvGrpSpPr>
          <p:grpSpPr>
            <a:xfrm>
              <a:off x="4213072" y="6373095"/>
              <a:ext cx="96837" cy="53976"/>
              <a:chOff x="4217988" y="6370637"/>
              <a:chExt cx="96837" cy="53976"/>
            </a:xfrm>
          </p:grpSpPr>
          <p:sp>
            <p:nvSpPr>
              <p:cNvPr id="57" name="AutoShape 4"/>
              <p:cNvSpPr>
                <a:spLocks noChangeAspect="1" noChangeArrowheads="1" noTextEdit="1"/>
              </p:cNvSpPr>
              <p:nvPr userDrawn="1"/>
            </p:nvSpPr>
            <p:spPr bwMode="auto">
              <a:xfrm>
                <a:off x="4217988" y="6372225"/>
                <a:ext cx="96837"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6"/>
              <p:cNvSpPr>
                <a:spLocks/>
              </p:cNvSpPr>
              <p:nvPr userDrawn="1"/>
            </p:nvSpPr>
            <p:spPr bwMode="auto">
              <a:xfrm>
                <a:off x="4217988" y="6370637"/>
                <a:ext cx="30162" cy="52388"/>
              </a:xfrm>
              <a:custGeom>
                <a:avLst/>
                <a:gdLst>
                  <a:gd name="T0" fmla="*/ 14 w 14"/>
                  <a:gd name="T1" fmla="*/ 5 h 24"/>
                  <a:gd name="T2" fmla="*/ 7 w 14"/>
                  <a:gd name="T3" fmla="*/ 2 h 24"/>
                  <a:gd name="T4" fmla="*/ 3 w 14"/>
                  <a:gd name="T5" fmla="*/ 7 h 24"/>
                  <a:gd name="T6" fmla="*/ 8 w 14"/>
                  <a:gd name="T7" fmla="*/ 11 h 24"/>
                  <a:gd name="T8" fmla="*/ 14 w 14"/>
                  <a:gd name="T9" fmla="*/ 17 h 24"/>
                  <a:gd name="T10" fmla="*/ 7 w 14"/>
                  <a:gd name="T11" fmla="*/ 24 h 24"/>
                  <a:gd name="T12" fmla="*/ 0 w 14"/>
                  <a:gd name="T13" fmla="*/ 22 h 24"/>
                  <a:gd name="T14" fmla="*/ 0 w 14"/>
                  <a:gd name="T15" fmla="*/ 19 h 24"/>
                  <a:gd name="T16" fmla="*/ 7 w 14"/>
                  <a:gd name="T17" fmla="*/ 22 h 24"/>
                  <a:gd name="T18" fmla="*/ 11 w 14"/>
                  <a:gd name="T19" fmla="*/ 18 h 24"/>
                  <a:gd name="T20" fmla="*/ 6 w 14"/>
                  <a:gd name="T21" fmla="*/ 13 h 24"/>
                  <a:gd name="T22" fmla="*/ 0 w 14"/>
                  <a:gd name="T23" fmla="*/ 7 h 24"/>
                  <a:gd name="T24" fmla="*/ 8 w 14"/>
                  <a:gd name="T25" fmla="*/ 0 h 24"/>
                  <a:gd name="T26" fmla="*/ 14 w 14"/>
                  <a:gd name="T27" fmla="*/ 2 h 24"/>
                  <a:gd name="T28" fmla="*/ 14 w 14"/>
                  <a:gd name="T29"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4">
                    <a:moveTo>
                      <a:pt x="14" y="5"/>
                    </a:moveTo>
                    <a:cubicBezTo>
                      <a:pt x="12" y="4"/>
                      <a:pt x="10" y="2"/>
                      <a:pt x="7" y="2"/>
                    </a:cubicBezTo>
                    <a:cubicBezTo>
                      <a:pt x="5" y="2"/>
                      <a:pt x="3" y="4"/>
                      <a:pt x="3" y="7"/>
                    </a:cubicBezTo>
                    <a:cubicBezTo>
                      <a:pt x="3" y="9"/>
                      <a:pt x="5" y="10"/>
                      <a:pt x="8" y="11"/>
                    </a:cubicBezTo>
                    <a:cubicBezTo>
                      <a:pt x="12" y="12"/>
                      <a:pt x="14" y="14"/>
                      <a:pt x="14" y="17"/>
                    </a:cubicBezTo>
                    <a:cubicBezTo>
                      <a:pt x="14" y="22"/>
                      <a:pt x="11" y="24"/>
                      <a:pt x="7" y="24"/>
                    </a:cubicBezTo>
                    <a:cubicBezTo>
                      <a:pt x="4" y="24"/>
                      <a:pt x="2" y="23"/>
                      <a:pt x="0" y="22"/>
                    </a:cubicBezTo>
                    <a:cubicBezTo>
                      <a:pt x="0" y="19"/>
                      <a:pt x="0" y="19"/>
                      <a:pt x="0" y="19"/>
                    </a:cubicBezTo>
                    <a:cubicBezTo>
                      <a:pt x="2" y="21"/>
                      <a:pt x="5" y="22"/>
                      <a:pt x="7" y="22"/>
                    </a:cubicBezTo>
                    <a:cubicBezTo>
                      <a:pt x="10" y="22"/>
                      <a:pt x="11" y="20"/>
                      <a:pt x="11" y="18"/>
                    </a:cubicBezTo>
                    <a:cubicBezTo>
                      <a:pt x="11" y="15"/>
                      <a:pt x="9" y="14"/>
                      <a:pt x="6" y="13"/>
                    </a:cubicBezTo>
                    <a:cubicBezTo>
                      <a:pt x="2" y="12"/>
                      <a:pt x="0" y="10"/>
                      <a:pt x="0" y="7"/>
                    </a:cubicBezTo>
                    <a:cubicBezTo>
                      <a:pt x="0" y="3"/>
                      <a:pt x="3" y="0"/>
                      <a:pt x="8" y="0"/>
                    </a:cubicBezTo>
                    <a:cubicBezTo>
                      <a:pt x="10" y="0"/>
                      <a:pt x="12" y="1"/>
                      <a:pt x="14" y="2"/>
                    </a:cubicBezTo>
                    <a:lnTo>
                      <a:pt x="14"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7"/>
              <p:cNvSpPr>
                <a:spLocks/>
              </p:cNvSpPr>
              <p:nvPr userDrawn="1"/>
            </p:nvSpPr>
            <p:spPr bwMode="auto">
              <a:xfrm>
                <a:off x="4262438" y="6372225"/>
                <a:ext cx="52387" cy="47625"/>
              </a:xfrm>
              <a:custGeom>
                <a:avLst/>
                <a:gdLst>
                  <a:gd name="T0" fmla="*/ 5 w 33"/>
                  <a:gd name="T1" fmla="*/ 4 h 30"/>
                  <a:gd name="T2" fmla="*/ 5 w 33"/>
                  <a:gd name="T3" fmla="*/ 30 h 30"/>
                  <a:gd name="T4" fmla="*/ 0 w 33"/>
                  <a:gd name="T5" fmla="*/ 30 h 30"/>
                  <a:gd name="T6" fmla="*/ 0 w 33"/>
                  <a:gd name="T7" fmla="*/ 0 h 30"/>
                  <a:gd name="T8" fmla="*/ 6 w 33"/>
                  <a:gd name="T9" fmla="*/ 0 h 30"/>
                  <a:gd name="T10" fmla="*/ 17 w 33"/>
                  <a:gd name="T11" fmla="*/ 25 h 30"/>
                  <a:gd name="T12" fmla="*/ 17 w 33"/>
                  <a:gd name="T13" fmla="*/ 25 h 30"/>
                  <a:gd name="T14" fmla="*/ 26 w 33"/>
                  <a:gd name="T15" fmla="*/ 0 h 30"/>
                  <a:gd name="T16" fmla="*/ 33 w 33"/>
                  <a:gd name="T17" fmla="*/ 0 h 30"/>
                  <a:gd name="T18" fmla="*/ 33 w 33"/>
                  <a:gd name="T19" fmla="*/ 30 h 30"/>
                  <a:gd name="T20" fmla="*/ 29 w 33"/>
                  <a:gd name="T21" fmla="*/ 30 h 30"/>
                  <a:gd name="T22" fmla="*/ 29 w 33"/>
                  <a:gd name="T23" fmla="*/ 4 h 30"/>
                  <a:gd name="T24" fmla="*/ 29 w 33"/>
                  <a:gd name="T25" fmla="*/ 4 h 30"/>
                  <a:gd name="T26" fmla="*/ 18 w 33"/>
                  <a:gd name="T27" fmla="*/ 30 h 30"/>
                  <a:gd name="T28" fmla="*/ 15 w 33"/>
                  <a:gd name="T29" fmla="*/ 30 h 30"/>
                  <a:gd name="T30" fmla="*/ 5 w 33"/>
                  <a:gd name="T31" fmla="*/ 4 h 30"/>
                  <a:gd name="T32" fmla="*/ 5 w 33"/>
                  <a:gd name="T33"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 h="30">
                    <a:moveTo>
                      <a:pt x="5" y="4"/>
                    </a:moveTo>
                    <a:lnTo>
                      <a:pt x="5" y="30"/>
                    </a:lnTo>
                    <a:lnTo>
                      <a:pt x="0" y="30"/>
                    </a:lnTo>
                    <a:lnTo>
                      <a:pt x="0" y="0"/>
                    </a:lnTo>
                    <a:lnTo>
                      <a:pt x="6" y="0"/>
                    </a:lnTo>
                    <a:lnTo>
                      <a:pt x="17" y="25"/>
                    </a:lnTo>
                    <a:lnTo>
                      <a:pt x="17" y="25"/>
                    </a:lnTo>
                    <a:lnTo>
                      <a:pt x="26" y="0"/>
                    </a:lnTo>
                    <a:lnTo>
                      <a:pt x="33" y="0"/>
                    </a:lnTo>
                    <a:lnTo>
                      <a:pt x="33" y="30"/>
                    </a:lnTo>
                    <a:lnTo>
                      <a:pt x="29" y="30"/>
                    </a:lnTo>
                    <a:lnTo>
                      <a:pt x="29" y="4"/>
                    </a:lnTo>
                    <a:lnTo>
                      <a:pt x="29" y="4"/>
                    </a:lnTo>
                    <a:lnTo>
                      <a:pt x="18" y="30"/>
                    </a:lnTo>
                    <a:lnTo>
                      <a:pt x="15" y="30"/>
                    </a:lnTo>
                    <a:lnTo>
                      <a:pt x="5" y="4"/>
                    </a:lnTo>
                    <a:lnTo>
                      <a:pt x="5"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sp>
        <p:nvSpPr>
          <p:cNvPr id="49" name="Text Box 15"/>
          <p:cNvSpPr txBox="1">
            <a:spLocks noChangeArrowheads="1"/>
          </p:cNvSpPr>
          <p:nvPr userDrawn="1"/>
        </p:nvSpPr>
        <p:spPr bwMode="ltGray">
          <a:xfrm>
            <a:off x="383501" y="5535090"/>
            <a:ext cx="2868716" cy="184652"/>
          </a:xfrm>
          <a:prstGeom prst="rect">
            <a:avLst/>
          </a:prstGeom>
          <a:noFill/>
          <a:ln w="9525">
            <a:solidFill>
              <a:srgbClr val="000000"/>
            </a:solidFill>
            <a:miter lim="800000"/>
            <a:headEnd/>
            <a:tailEnd/>
          </a:ln>
        </p:spPr>
        <p:txBody>
          <a:bodyPr wrap="none" lIns="45711" tIns="45711" rIns="45711" bIns="27427" anchor="ctr">
            <a:spAutoFit/>
          </a:bodyP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fontAlgn="auto">
              <a:lnSpc>
                <a:spcPct val="90000"/>
              </a:lnSpc>
              <a:spcBef>
                <a:spcPts val="0"/>
              </a:spcBef>
              <a:spcAft>
                <a:spcPts val="0"/>
              </a:spcAft>
              <a:defRPr/>
            </a:pPr>
            <a:r>
              <a:rPr lang="en-US" sz="800" b="1" kern="0" dirty="0">
                <a:solidFill>
                  <a:srgbClr val="000000"/>
                </a:solidFill>
                <a:latin typeface="Arial"/>
                <a:cs typeface="+mn-cs"/>
              </a:rPr>
              <a:t>Not FDIC Insured </a:t>
            </a:r>
            <a:r>
              <a:rPr lang="en-US" sz="800" b="1" kern="0" dirty="0">
                <a:solidFill>
                  <a:srgbClr val="000000"/>
                </a:solidFill>
                <a:latin typeface="Arial"/>
                <a:cs typeface="+mn-cs"/>
                <a:sym typeface="Wingdings" pitchFamily="2" charset="2"/>
              </a:rPr>
              <a:t> May Lose Value  No Bank Guarantee</a:t>
            </a:r>
          </a:p>
        </p:txBody>
      </p:sp>
      <p:sp>
        <p:nvSpPr>
          <p:cNvPr id="50" name="Picture Placeholder 47"/>
          <p:cNvSpPr>
            <a:spLocks noGrp="1"/>
          </p:cNvSpPr>
          <p:nvPr>
            <p:ph type="pic" sz="quarter" idx="11" hasCustomPrompt="1"/>
          </p:nvPr>
        </p:nvSpPr>
        <p:spPr>
          <a:xfrm>
            <a:off x="804672" y="4105656"/>
            <a:ext cx="2424112" cy="609600"/>
          </a:xfrm>
          <a:noFill/>
        </p:spPr>
        <p:txBody>
          <a:bodyPr anchor="ctr"/>
          <a:lstStyle>
            <a:lvl1pPr>
              <a:defRPr sz="1000" b="0"/>
            </a:lvl1pPr>
          </a:lstStyle>
          <a:p>
            <a:pPr lvl="0"/>
            <a:r>
              <a:rPr lang="en-US" noProof="0" dirty="0"/>
              <a:t>Click icon to add logo</a:t>
            </a:r>
          </a:p>
        </p:txBody>
      </p:sp>
    </p:spTree>
    <p:extLst>
      <p:ext uri="{BB962C8B-B14F-4D97-AF65-F5344CB8AC3E}">
        <p14:creationId xmlns:p14="http://schemas.microsoft.com/office/powerpoint/2010/main" val="13259454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1_Print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58488" name="Rectangle 56"/>
          <p:cNvSpPr>
            <a:spLocks noGrp="1" noChangeArrowheads="1"/>
          </p:cNvSpPr>
          <p:nvPr>
            <p:ph type="ctrTitle"/>
          </p:nvPr>
        </p:nvSpPr>
        <p:spPr>
          <a:xfrm>
            <a:off x="679879" y="2040360"/>
            <a:ext cx="7825945" cy="608013"/>
          </a:xfrm>
          <a:ln algn="ctr"/>
        </p:spPr>
        <p:txBody>
          <a:bodyPr lIns="91440" tIns="45720" anchor="b"/>
          <a:lstStyle>
            <a:lvl1pPr>
              <a:defRPr sz="2800">
                <a:solidFill>
                  <a:srgbClr val="333F48"/>
                </a:solidFill>
              </a:defRPr>
            </a:lvl1pPr>
          </a:lstStyle>
          <a:p>
            <a:r>
              <a:rPr lang="en-US"/>
              <a:t>Click to edit Master title style</a:t>
            </a:r>
            <a:endParaRPr lang="en-US" dirty="0"/>
          </a:p>
        </p:txBody>
      </p:sp>
      <p:sp>
        <p:nvSpPr>
          <p:cNvPr id="658489" name="Rectangle 57"/>
          <p:cNvSpPr>
            <a:spLocks noGrp="1" noChangeArrowheads="1"/>
          </p:cNvSpPr>
          <p:nvPr>
            <p:ph type="subTitle" idx="1"/>
          </p:nvPr>
        </p:nvSpPr>
        <p:spPr>
          <a:xfrm>
            <a:off x="679880" y="2752344"/>
            <a:ext cx="7825946" cy="283464"/>
          </a:xfrm>
          <a:ln algn="ctr"/>
        </p:spPr>
        <p:txBody>
          <a:bodyPr tIns="0"/>
          <a:lstStyle>
            <a:lvl1pPr marL="0" indent="0" algn="l" rtl="0" fontAlgn="base">
              <a:lnSpc>
                <a:spcPct val="100000"/>
              </a:lnSpc>
              <a:spcBef>
                <a:spcPct val="0"/>
              </a:spcBef>
              <a:spcAft>
                <a:spcPct val="0"/>
              </a:spcAft>
              <a:defRPr lang="en-US" sz="2000" b="0" kern="1200" dirty="0">
                <a:solidFill>
                  <a:srgbClr val="768692"/>
                </a:solidFill>
                <a:latin typeface="Arial"/>
                <a:ea typeface="ＭＳ Ｐゴシック" pitchFamily="34" charset="-128"/>
                <a:cs typeface="+mn-cs"/>
              </a:defRPr>
            </a:lvl1pPr>
          </a:lstStyle>
          <a:p>
            <a:r>
              <a:rPr lang="en-US"/>
              <a:t>Click to edit Master subtitle style</a:t>
            </a:r>
            <a:endParaRPr lang="en-US" dirty="0"/>
          </a:p>
        </p:txBody>
      </p:sp>
      <p:sp>
        <p:nvSpPr>
          <p:cNvPr id="60" name="Rectangle 176"/>
          <p:cNvSpPr>
            <a:spLocks noGrp="1" noChangeArrowheads="1"/>
          </p:cNvSpPr>
          <p:nvPr>
            <p:ph type="ftr" sz="quarter" idx="13"/>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cxnSp>
        <p:nvCxnSpPr>
          <p:cNvPr id="6" name="Straight Connector 5"/>
          <p:cNvCxnSpPr/>
          <p:nvPr userDrawn="1"/>
        </p:nvCxnSpPr>
        <p:spPr bwMode="auto">
          <a:xfrm>
            <a:off x="791746" y="2642460"/>
            <a:ext cx="8352254" cy="0"/>
          </a:xfrm>
          <a:prstGeom prst="line">
            <a:avLst/>
          </a:prstGeom>
          <a:solidFill>
            <a:srgbClr val="009681"/>
          </a:solidFill>
          <a:ln w="9525" cap="flat" cmpd="sng" algn="ctr">
            <a:solidFill>
              <a:srgbClr val="768692"/>
            </a:solidFill>
            <a:prstDash val="solid"/>
            <a:round/>
            <a:headEnd type="none" w="med" len="med"/>
            <a:tailEnd type="none" w="med" len="med"/>
          </a:ln>
          <a:effectLst/>
        </p:spPr>
      </p:cxnSp>
      <p:grpSp>
        <p:nvGrpSpPr>
          <p:cNvPr id="89" name="Group 88">
            <a:extLst>
              <a:ext uri="{FF2B5EF4-FFF2-40B4-BE49-F238E27FC236}">
                <a16:creationId xmlns:a16="http://schemas.microsoft.com/office/drawing/2014/main" id="{991DE967-0F82-408F-B89A-AE232A778E53}"/>
              </a:ext>
            </a:extLst>
          </p:cNvPr>
          <p:cNvGrpSpPr/>
          <p:nvPr userDrawn="1"/>
        </p:nvGrpSpPr>
        <p:grpSpPr>
          <a:xfrm>
            <a:off x="7358173" y="6361974"/>
            <a:ext cx="1382376" cy="297562"/>
            <a:chOff x="6923088" y="4475163"/>
            <a:chExt cx="1873251" cy="403225"/>
          </a:xfrm>
        </p:grpSpPr>
        <p:sp>
          <p:nvSpPr>
            <p:cNvPr id="90" name="AutoShape 4">
              <a:extLst>
                <a:ext uri="{FF2B5EF4-FFF2-40B4-BE49-F238E27FC236}">
                  <a16:creationId xmlns:a16="http://schemas.microsoft.com/office/drawing/2014/main" id="{C79E7ACA-A263-4539-87E6-BB3032A565AA}"/>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 name="Freeform 6">
              <a:extLst>
                <a:ext uri="{FF2B5EF4-FFF2-40B4-BE49-F238E27FC236}">
                  <a16:creationId xmlns:a16="http://schemas.microsoft.com/office/drawing/2014/main" id="{3CD4FC34-780F-4C6A-9C1E-6E2EEF836D95}"/>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 name="Freeform 7">
              <a:extLst>
                <a:ext uri="{FF2B5EF4-FFF2-40B4-BE49-F238E27FC236}">
                  <a16:creationId xmlns:a16="http://schemas.microsoft.com/office/drawing/2014/main" id="{AC5BB2A0-5794-42B6-9410-3747DA00DA15}"/>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 name="Freeform 83">
              <a:extLst>
                <a:ext uri="{FF2B5EF4-FFF2-40B4-BE49-F238E27FC236}">
                  <a16:creationId xmlns:a16="http://schemas.microsoft.com/office/drawing/2014/main" id="{C6E5C4C3-0AB4-4023-8682-F0AD227294CB}"/>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 name="Freeform 84">
              <a:extLst>
                <a:ext uri="{FF2B5EF4-FFF2-40B4-BE49-F238E27FC236}">
                  <a16:creationId xmlns:a16="http://schemas.microsoft.com/office/drawing/2014/main" id="{B97EA17F-E820-4EFF-8C60-95A06BCDF11D}"/>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 name="Freeform 85">
              <a:extLst>
                <a:ext uri="{FF2B5EF4-FFF2-40B4-BE49-F238E27FC236}">
                  <a16:creationId xmlns:a16="http://schemas.microsoft.com/office/drawing/2014/main" id="{131E540F-55D2-4006-8834-0F1FD1907314}"/>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 name="Freeform 86">
              <a:extLst>
                <a:ext uri="{FF2B5EF4-FFF2-40B4-BE49-F238E27FC236}">
                  <a16:creationId xmlns:a16="http://schemas.microsoft.com/office/drawing/2014/main" id="{7D987961-3243-40A6-90CA-00D9AD162875}"/>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 name="Freeform 87">
              <a:extLst>
                <a:ext uri="{FF2B5EF4-FFF2-40B4-BE49-F238E27FC236}">
                  <a16:creationId xmlns:a16="http://schemas.microsoft.com/office/drawing/2014/main" id="{ABD33F16-3509-4F80-988B-665950CB0ABC}"/>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 name="Freeform 88">
              <a:extLst>
                <a:ext uri="{FF2B5EF4-FFF2-40B4-BE49-F238E27FC236}">
                  <a16:creationId xmlns:a16="http://schemas.microsoft.com/office/drawing/2014/main" id="{DB1ED5A2-3B59-4AF0-AAE6-0501EDDB26AC}"/>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 name="Freeform 89">
              <a:extLst>
                <a:ext uri="{FF2B5EF4-FFF2-40B4-BE49-F238E27FC236}">
                  <a16:creationId xmlns:a16="http://schemas.microsoft.com/office/drawing/2014/main" id="{2106603A-8F39-42D6-B1DE-070FA0889A24}"/>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 name="Freeform 90">
              <a:extLst>
                <a:ext uri="{FF2B5EF4-FFF2-40B4-BE49-F238E27FC236}">
                  <a16:creationId xmlns:a16="http://schemas.microsoft.com/office/drawing/2014/main" id="{D72B8D90-A6D2-4469-AD0F-753A37590509}"/>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 name="Freeform 91">
              <a:extLst>
                <a:ext uri="{FF2B5EF4-FFF2-40B4-BE49-F238E27FC236}">
                  <a16:creationId xmlns:a16="http://schemas.microsoft.com/office/drawing/2014/main" id="{4086A718-DC10-4ABD-9A39-16979BFA7BC5}"/>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 name="Freeform 92">
              <a:extLst>
                <a:ext uri="{FF2B5EF4-FFF2-40B4-BE49-F238E27FC236}">
                  <a16:creationId xmlns:a16="http://schemas.microsoft.com/office/drawing/2014/main" id="{1812FAEA-94DB-40EC-9B4F-B679C51A0EC6}"/>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 name="Freeform 93">
              <a:extLst>
                <a:ext uri="{FF2B5EF4-FFF2-40B4-BE49-F238E27FC236}">
                  <a16:creationId xmlns:a16="http://schemas.microsoft.com/office/drawing/2014/main" id="{BA5E2700-F933-47D2-862C-A932A805ACB4}"/>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4" name="Freeform 94">
              <a:extLst>
                <a:ext uri="{FF2B5EF4-FFF2-40B4-BE49-F238E27FC236}">
                  <a16:creationId xmlns:a16="http://schemas.microsoft.com/office/drawing/2014/main" id="{0847955D-0A8E-45C2-8997-36D1499E7884}"/>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5" name="Freeform 95">
              <a:extLst>
                <a:ext uri="{FF2B5EF4-FFF2-40B4-BE49-F238E27FC236}">
                  <a16:creationId xmlns:a16="http://schemas.microsoft.com/office/drawing/2014/main" id="{17A8DFA0-F304-4C63-84BD-624306BBB1D6}"/>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6" name="Freeform 96">
              <a:extLst>
                <a:ext uri="{FF2B5EF4-FFF2-40B4-BE49-F238E27FC236}">
                  <a16:creationId xmlns:a16="http://schemas.microsoft.com/office/drawing/2014/main" id="{B95E7678-6DD0-4442-98C6-25A0965E8677}"/>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7" name="Freeform 97">
              <a:extLst>
                <a:ext uri="{FF2B5EF4-FFF2-40B4-BE49-F238E27FC236}">
                  <a16:creationId xmlns:a16="http://schemas.microsoft.com/office/drawing/2014/main" id="{2BCDC77B-2728-463D-82CF-73C96D77BFDF}"/>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8" name="Freeform 98">
              <a:extLst>
                <a:ext uri="{FF2B5EF4-FFF2-40B4-BE49-F238E27FC236}">
                  <a16:creationId xmlns:a16="http://schemas.microsoft.com/office/drawing/2014/main" id="{00173041-5C5E-4364-A960-B9F14DF6920E}"/>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9" name="Freeform 99">
              <a:extLst>
                <a:ext uri="{FF2B5EF4-FFF2-40B4-BE49-F238E27FC236}">
                  <a16:creationId xmlns:a16="http://schemas.microsoft.com/office/drawing/2014/main" id="{5B0A6D3D-9806-4EF1-8579-E41C636148B4}"/>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0" name="Freeform 100">
              <a:extLst>
                <a:ext uri="{FF2B5EF4-FFF2-40B4-BE49-F238E27FC236}">
                  <a16:creationId xmlns:a16="http://schemas.microsoft.com/office/drawing/2014/main" id="{8D4ADC7B-2D9B-4B07-A90D-211BD4DCB60F}"/>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1" name="Freeform 101">
              <a:extLst>
                <a:ext uri="{FF2B5EF4-FFF2-40B4-BE49-F238E27FC236}">
                  <a16:creationId xmlns:a16="http://schemas.microsoft.com/office/drawing/2014/main" id="{9965128A-520F-4D47-831E-7C40AC7A83C6}"/>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2" name="Freeform 102">
              <a:extLst>
                <a:ext uri="{FF2B5EF4-FFF2-40B4-BE49-F238E27FC236}">
                  <a16:creationId xmlns:a16="http://schemas.microsoft.com/office/drawing/2014/main" id="{A4DD5B32-4303-4B40-BE62-DD6157C9CE62}"/>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3" name="Freeform 103">
              <a:extLst>
                <a:ext uri="{FF2B5EF4-FFF2-40B4-BE49-F238E27FC236}">
                  <a16:creationId xmlns:a16="http://schemas.microsoft.com/office/drawing/2014/main" id="{40ED94EA-2D3E-4BDC-8C6C-75AD6879FA04}"/>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4" name="Freeform 104">
              <a:extLst>
                <a:ext uri="{FF2B5EF4-FFF2-40B4-BE49-F238E27FC236}">
                  <a16:creationId xmlns:a16="http://schemas.microsoft.com/office/drawing/2014/main" id="{54780562-5C1B-44EA-BDBB-F1B15F1C136B}"/>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5" name="Freeform 105">
              <a:extLst>
                <a:ext uri="{FF2B5EF4-FFF2-40B4-BE49-F238E27FC236}">
                  <a16:creationId xmlns:a16="http://schemas.microsoft.com/office/drawing/2014/main" id="{50AA1CE6-E207-402A-B793-294ED2A09D42}"/>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Tree>
    <p:extLst>
      <p:ext uri="{BB962C8B-B14F-4D97-AF65-F5344CB8AC3E}">
        <p14:creationId xmlns:p14="http://schemas.microsoft.com/office/powerpoint/2010/main" val="3430318943"/>
      </p:ext>
    </p:extLst>
  </p:cSld>
  <p:clrMapOvr>
    <a:masterClrMapping/>
  </p:clrMapOvr>
  <p:extLst>
    <p:ext uri="{DCECCB84-F9BA-43D5-87BE-67443E8EF086}">
      <p15:sldGuideLst xmlns:p15="http://schemas.microsoft.com/office/powerpoint/2012/main">
        <p15:guide id="1" orient="horz" pos="4200" userDrawn="1">
          <p15:clr>
            <a:srgbClr val="FBAE40"/>
          </p15:clr>
        </p15:guide>
        <p15:guide id="4" pos="5496" userDrawn="1">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4_TOC/Agenda">
    <p:spTree>
      <p:nvGrpSpPr>
        <p:cNvPr id="1" name=""/>
        <p:cNvGrpSpPr/>
        <p:nvPr/>
      </p:nvGrpSpPr>
      <p:grpSpPr>
        <a:xfrm>
          <a:off x="0" y="0"/>
          <a:ext cx="0" cy="0"/>
          <a:chOff x="0" y="0"/>
          <a:chExt cx="0" cy="0"/>
        </a:xfrm>
      </p:grpSpPr>
      <p:sp>
        <p:nvSpPr>
          <p:cNvPr id="2" name="Title 1"/>
          <p:cNvSpPr>
            <a:spLocks noGrp="1"/>
          </p:cNvSpPr>
          <p:nvPr>
            <p:ph type="title"/>
          </p:nvPr>
        </p:nvSpPr>
        <p:spPr>
          <a:xfrm>
            <a:off x="317119" y="228600"/>
            <a:ext cx="8188710" cy="838200"/>
          </a:xfrm>
          <a:noFill/>
          <a:ln w="9525">
            <a:noFill/>
            <a:miter lim="800000"/>
            <a:headEnd/>
            <a:tailEnd/>
          </a:ln>
          <a:effectLst/>
        </p:spPr>
        <p:txBody>
          <a:bodyPr tIns="45698" anchor="t" anchorCtr="0"/>
          <a:lstStyle>
            <a:lvl1pPr>
              <a:defRPr kumimoji="0" lang="en-US" sz="2400" b="0" i="0" u="none" strike="noStrike" kern="0" cap="none" spc="0" normalizeH="0" baseline="0" noProof="0" dirty="0">
                <a:ln>
                  <a:noFill/>
                </a:ln>
                <a:solidFill>
                  <a:srgbClr val="333F48"/>
                </a:solidFill>
                <a:effectLst/>
                <a:uLnTx/>
                <a:uFillTx/>
                <a:latin typeface="+mj-lt"/>
                <a:ea typeface="+mj-ea"/>
                <a:cs typeface="+mj-cs"/>
              </a:defRPr>
            </a:lvl1pPr>
          </a:lstStyle>
          <a:p>
            <a:pPr lvl="0"/>
            <a:r>
              <a:rPr lang="en-US"/>
              <a:t>Click to edit Master title style</a:t>
            </a:r>
            <a:endParaRPr lang="en-US" dirty="0"/>
          </a:p>
        </p:txBody>
      </p:sp>
      <p:sp>
        <p:nvSpPr>
          <p:cNvPr id="10" name="Content Placeholder 9"/>
          <p:cNvSpPr>
            <a:spLocks noGrp="1"/>
          </p:cNvSpPr>
          <p:nvPr>
            <p:ph sz="quarter" idx="13"/>
          </p:nvPr>
        </p:nvSpPr>
        <p:spPr>
          <a:xfrm>
            <a:off x="317119" y="1339850"/>
            <a:ext cx="8188710" cy="3879131"/>
          </a:xfrm>
        </p:spPr>
        <p:txBody>
          <a:bodyPr/>
          <a:lstStyle>
            <a:lvl1pPr marL="226908" indent="-226908">
              <a:spcBef>
                <a:spcPts val="600"/>
              </a:spcBef>
              <a:buClr>
                <a:srgbClr val="7A9B3D"/>
              </a:buClr>
              <a:buSzPct val="100000"/>
              <a:buFont typeface="+mj-lt"/>
              <a:buAutoNum type="arabicPeriod"/>
              <a:defRPr sz="1400" b="0" i="0" baseline="0">
                <a:solidFill>
                  <a:srgbClr val="000000"/>
                </a:solidFill>
                <a:latin typeface="Arial" pitchFamily="34" charset="0"/>
              </a:defRPr>
            </a:lvl1pPr>
            <a:lvl2pPr marL="461747" indent="-217384">
              <a:spcBef>
                <a:spcPts val="600"/>
              </a:spcBef>
              <a:buClr>
                <a:srgbClr val="768692"/>
              </a:buClr>
              <a:buFont typeface="+mj-lt"/>
              <a:buAutoNum type="alphaUcPeriod"/>
              <a:defRPr sz="1200" baseline="0">
                <a:solidFill>
                  <a:srgbClr val="000000"/>
                </a:solidFill>
                <a:latin typeface="Arial" pitchFamily="34" charset="0"/>
              </a:defRPr>
            </a:lvl2pPr>
            <a:lvl3pPr>
              <a:spcBef>
                <a:spcPts val="600"/>
              </a:spcBef>
              <a:buClr>
                <a:srgbClr val="000000"/>
              </a:buClr>
              <a:defRPr baseline="0">
                <a:solidFill>
                  <a:srgbClr val="000000"/>
                </a:solidFill>
              </a:defRPr>
            </a:lvl3pPr>
          </a:lstStyle>
          <a:p>
            <a:pPr lvl="0"/>
            <a:r>
              <a:rPr lang="en-US"/>
              <a:t>Click to edit Master text styles</a:t>
            </a:r>
          </a:p>
          <a:p>
            <a:pPr lvl="1"/>
            <a:r>
              <a:rPr lang="en-US"/>
              <a:t>Second level</a:t>
            </a:r>
          </a:p>
          <a:p>
            <a:pPr lvl="2"/>
            <a:r>
              <a:rPr lang="en-US"/>
              <a:t>Third level</a:t>
            </a:r>
          </a:p>
        </p:txBody>
      </p:sp>
      <p:sp>
        <p:nvSpPr>
          <p:cNvPr id="5"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dirty="0"/>
              <a:t>For institutional use only.</a:t>
            </a:r>
          </a:p>
        </p:txBody>
      </p:sp>
      <p:sp>
        <p:nvSpPr>
          <p:cNvPr id="7" name="Rectangle 155"/>
          <p:cNvSpPr>
            <a:spLocks noGrp="1" noChangeArrowheads="1"/>
          </p:cNvSpPr>
          <p:nvPr>
            <p:ph type="dt" sz="half" idx="16"/>
          </p:nvPr>
        </p:nvSpPr>
        <p:spPr>
          <a:xfrm>
            <a:off x="320040" y="6655656"/>
            <a:ext cx="1983958" cy="120649"/>
          </a:xfrm>
        </p:spPr>
        <p:txBody>
          <a:bodyPr/>
          <a:lstStyle>
            <a:lvl1pPr algn="l">
              <a:defRPr sz="700" smtClean="0">
                <a:solidFill>
                  <a:srgbClr val="000000"/>
                </a:solidFill>
              </a:defRPr>
            </a:lvl1pPr>
          </a:lstStyle>
          <a:p>
            <a:pPr>
              <a:defRPr/>
            </a:pPr>
            <a:r>
              <a:rPr lang="en-US" dirty="0"/>
              <a:t>Production code #</a:t>
            </a:r>
          </a:p>
        </p:txBody>
      </p:sp>
      <p:grpSp>
        <p:nvGrpSpPr>
          <p:cNvPr id="8" name="Group 7"/>
          <p:cNvGrpSpPr/>
          <p:nvPr userDrawn="1"/>
        </p:nvGrpSpPr>
        <p:grpSpPr>
          <a:xfrm>
            <a:off x="7364320" y="6412514"/>
            <a:ext cx="1371600" cy="283464"/>
            <a:chOff x="4291013" y="3178175"/>
            <a:chExt cx="3197225" cy="688975"/>
          </a:xfrm>
        </p:grpSpPr>
        <p:sp>
          <p:nvSpPr>
            <p:cNvPr id="9"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1"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2"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3"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4"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5"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6"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7"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8"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9"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0"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1"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2"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3"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4"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5"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6"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7"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8"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9"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0"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1"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2"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3"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4"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grpSp>
      <p:sp>
        <p:nvSpPr>
          <p:cNvPr id="35" name="Text Box 5"/>
          <p:cNvSpPr txBox="1">
            <a:spLocks noChangeArrowheads="1"/>
          </p:cNvSpPr>
          <p:nvPr userDrawn="1"/>
        </p:nvSpPr>
        <p:spPr bwMode="auto">
          <a:xfrm>
            <a:off x="320041" y="6336796"/>
            <a:ext cx="6933168" cy="219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397" tIns="45698" rIns="91397" bIns="45698" anchor="b"/>
          <a:lstStyle>
            <a:lvl1pPr eaLnBrk="0" hangingPunct="0">
              <a:spcBef>
                <a:spcPct val="20000"/>
              </a:spcBef>
              <a:buSzPct val="40000"/>
              <a:defRPr sz="1600" b="1">
                <a:solidFill>
                  <a:schemeClr val="accent1"/>
                </a:solidFill>
                <a:latin typeface="Arial" charset="0"/>
              </a:defRPr>
            </a:lvl1pPr>
            <a:lvl2pPr marL="742950" indent="-285750" eaLnBrk="0" hangingPunct="0">
              <a:spcBef>
                <a:spcPct val="20000"/>
              </a:spcBef>
              <a:buClr>
                <a:srgbClr val="978981"/>
              </a:buClr>
              <a:buChar char="•"/>
              <a:defRPr sz="1400">
                <a:solidFill>
                  <a:schemeClr val="tx1"/>
                </a:solidFill>
                <a:latin typeface="Arial" charset="0"/>
              </a:defRPr>
            </a:lvl2pPr>
            <a:lvl3pPr marL="1143000" indent="-228600" eaLnBrk="0" hangingPunct="0">
              <a:spcBef>
                <a:spcPct val="20000"/>
              </a:spcBef>
              <a:buClr>
                <a:schemeClr val="accent1"/>
              </a:buClr>
              <a:buFont typeface="Arial" charset="0"/>
              <a:buChar char="–"/>
              <a:defRPr sz="1200">
                <a:solidFill>
                  <a:schemeClr val="accent1"/>
                </a:solidFill>
                <a:latin typeface="Arial" charset="0"/>
              </a:defRPr>
            </a:lvl3pPr>
            <a:lvl4pPr marL="1600200" indent="-228600" eaLnBrk="0" hangingPunct="0">
              <a:spcBef>
                <a:spcPct val="20000"/>
              </a:spcBef>
              <a:buFont typeface="Arial" charset="0"/>
              <a:buChar char="•"/>
              <a:defRPr sz="1200">
                <a:solidFill>
                  <a:srgbClr val="4C5F6C"/>
                </a:solidFill>
                <a:latin typeface="Arial" charset="0"/>
              </a:defRPr>
            </a:lvl4pPr>
            <a:lvl5pPr marL="2057400" indent="-228600" eaLnBrk="0" hangingPunct="0">
              <a:lnSpc>
                <a:spcPts val="2400"/>
              </a:lnSpc>
              <a:defRPr sz="1400">
                <a:solidFill>
                  <a:schemeClr val="tx1"/>
                </a:solidFill>
                <a:latin typeface="Arial" charset="0"/>
              </a:defRPr>
            </a:lvl5pPr>
            <a:lvl6pPr marL="2514600" indent="-228600" eaLnBrk="0" fontAlgn="base" hangingPunct="0">
              <a:lnSpc>
                <a:spcPts val="2400"/>
              </a:lnSpc>
              <a:spcBef>
                <a:spcPct val="0"/>
              </a:spcBef>
              <a:spcAft>
                <a:spcPct val="0"/>
              </a:spcAft>
              <a:defRPr sz="1400">
                <a:solidFill>
                  <a:schemeClr val="tx1"/>
                </a:solidFill>
                <a:latin typeface="Arial" charset="0"/>
              </a:defRPr>
            </a:lvl6pPr>
            <a:lvl7pPr marL="2971800" indent="-228600" eaLnBrk="0" fontAlgn="base" hangingPunct="0">
              <a:lnSpc>
                <a:spcPts val="2400"/>
              </a:lnSpc>
              <a:spcBef>
                <a:spcPct val="0"/>
              </a:spcBef>
              <a:spcAft>
                <a:spcPct val="0"/>
              </a:spcAft>
              <a:defRPr sz="1400">
                <a:solidFill>
                  <a:schemeClr val="tx1"/>
                </a:solidFill>
                <a:latin typeface="Arial" charset="0"/>
              </a:defRPr>
            </a:lvl7pPr>
            <a:lvl8pPr marL="3429000" indent="-228600" eaLnBrk="0" fontAlgn="base" hangingPunct="0">
              <a:lnSpc>
                <a:spcPts val="2400"/>
              </a:lnSpc>
              <a:spcBef>
                <a:spcPct val="0"/>
              </a:spcBef>
              <a:spcAft>
                <a:spcPct val="0"/>
              </a:spcAft>
              <a:defRPr sz="1400">
                <a:solidFill>
                  <a:schemeClr val="tx1"/>
                </a:solidFill>
                <a:latin typeface="Arial" charset="0"/>
              </a:defRPr>
            </a:lvl8pPr>
            <a:lvl9pPr marL="3886200" indent="-228600" eaLnBrk="0" fontAlgn="base" hangingPunct="0">
              <a:lnSpc>
                <a:spcPts val="2400"/>
              </a:lnSpc>
              <a:spcBef>
                <a:spcPct val="0"/>
              </a:spcBef>
              <a:spcAft>
                <a:spcPct val="0"/>
              </a:spcAft>
              <a:defRPr sz="1400">
                <a:solidFill>
                  <a:schemeClr val="tx1"/>
                </a:solidFill>
                <a:latin typeface="Arial" charset="0"/>
              </a:defRPr>
            </a:lvl9pPr>
          </a:lstStyle>
          <a:p>
            <a:pPr fontAlgn="base">
              <a:spcBef>
                <a:spcPts val="300"/>
              </a:spcBef>
              <a:spcAft>
                <a:spcPct val="0"/>
              </a:spcAft>
            </a:pPr>
            <a:r>
              <a:rPr lang="en-US" sz="800" i="1" dirty="0">
                <a:solidFill>
                  <a:srgbClr val="000000"/>
                </a:solidFill>
                <a:ea typeface="ＭＳ Ｐゴシック"/>
              </a:rPr>
              <a:t>This document does not make an offer or solicitation to buy or sell any securities or services, and is not investment advice. FIAM does not provide legal or tax advice and we encourage you to consult your own lawyer, accountant or other advisor before making an investment.</a:t>
            </a:r>
          </a:p>
          <a:p>
            <a:pPr fontAlgn="base">
              <a:spcBef>
                <a:spcPts val="0"/>
              </a:spcBef>
              <a:spcAft>
                <a:spcPct val="0"/>
              </a:spcAft>
            </a:pPr>
            <a:r>
              <a:rPr lang="en-US" sz="800" b="0" i="1" dirty="0">
                <a:solidFill>
                  <a:srgbClr val="000000"/>
                </a:solidFill>
                <a:ea typeface="ＭＳ Ｐゴシック"/>
              </a:rPr>
              <a:t>Information provided in this document is for informational and educational purposes only. To the extent any investment information in this material is deemed to be a recommendation, it is not meant to be impartial investment advice or advice in a fiduciary capacity and is not intended to be used as a primary basis for you or your client’s investment decisions. Fidelity and its representatives may have a conflict of interest in the products or services mentioned in this material because they have a financial interest in them, and receive compensation, directly or indirectly, in connection with the management, distribution, and/or servicing of these products or services, including Fidelity funds, certain third-party funds and products, and certain investment services.</a:t>
            </a:r>
          </a:p>
          <a:p>
            <a:pPr fontAlgn="base">
              <a:lnSpc>
                <a:spcPts val="1000"/>
              </a:lnSpc>
              <a:spcBef>
                <a:spcPct val="0"/>
              </a:spcBef>
              <a:spcAft>
                <a:spcPts val="300"/>
              </a:spcAft>
              <a:buSzTx/>
            </a:pPr>
            <a:r>
              <a:rPr lang="en-US" altLang="en-US" sz="800" b="0" dirty="0">
                <a:solidFill>
                  <a:srgbClr val="000000"/>
                </a:solidFill>
                <a:latin typeface="Arial"/>
                <a:ea typeface="ＭＳ Ｐゴシック"/>
              </a:rPr>
              <a:t>See “Important Information” for a discussion of performance data, some of the principal risks related to any of the investment strategies referred to in this presentation and other information related to this presentation.</a:t>
            </a:r>
          </a:p>
        </p:txBody>
      </p:sp>
    </p:spTree>
    <p:extLst>
      <p:ext uri="{BB962C8B-B14F-4D97-AF65-F5344CB8AC3E}">
        <p14:creationId xmlns:p14="http://schemas.microsoft.com/office/powerpoint/2010/main" val="3519699843"/>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TOC/Agenda_CFA">
    <p:spTree>
      <p:nvGrpSpPr>
        <p:cNvPr id="1" name=""/>
        <p:cNvGrpSpPr/>
        <p:nvPr/>
      </p:nvGrpSpPr>
      <p:grpSpPr>
        <a:xfrm>
          <a:off x="0" y="0"/>
          <a:ext cx="0" cy="0"/>
          <a:chOff x="0" y="0"/>
          <a:chExt cx="0" cy="0"/>
        </a:xfrm>
      </p:grpSpPr>
      <p:sp>
        <p:nvSpPr>
          <p:cNvPr id="2" name="Title 1"/>
          <p:cNvSpPr>
            <a:spLocks noGrp="1"/>
          </p:cNvSpPr>
          <p:nvPr>
            <p:ph type="title"/>
          </p:nvPr>
        </p:nvSpPr>
        <p:spPr>
          <a:xfrm>
            <a:off x="317119" y="228600"/>
            <a:ext cx="8188710" cy="838200"/>
          </a:xfrm>
          <a:noFill/>
          <a:ln w="9525">
            <a:noFill/>
            <a:miter lim="800000"/>
            <a:headEnd/>
            <a:tailEnd/>
          </a:ln>
          <a:effectLst/>
        </p:spPr>
        <p:txBody>
          <a:bodyPr tIns="45698" anchor="t" anchorCtr="0"/>
          <a:lstStyle>
            <a:lvl1pPr>
              <a:defRPr kumimoji="0" lang="en-US" sz="2400" b="0" i="0" u="none" strike="noStrike" kern="0" cap="none" spc="0" normalizeH="0" baseline="0" noProof="0" dirty="0">
                <a:ln>
                  <a:noFill/>
                </a:ln>
                <a:solidFill>
                  <a:srgbClr val="333F48"/>
                </a:solidFill>
                <a:effectLst/>
                <a:uLnTx/>
                <a:uFillTx/>
                <a:latin typeface="+mj-lt"/>
                <a:ea typeface="+mj-ea"/>
                <a:cs typeface="+mj-cs"/>
              </a:defRPr>
            </a:lvl1pPr>
          </a:lstStyle>
          <a:p>
            <a:pPr lvl="0"/>
            <a:r>
              <a:rPr lang="en-US"/>
              <a:t>Click to edit Master title style</a:t>
            </a:r>
            <a:endParaRPr lang="en-US" dirty="0"/>
          </a:p>
        </p:txBody>
      </p:sp>
      <p:sp>
        <p:nvSpPr>
          <p:cNvPr id="10" name="Content Placeholder 9"/>
          <p:cNvSpPr>
            <a:spLocks noGrp="1"/>
          </p:cNvSpPr>
          <p:nvPr>
            <p:ph sz="quarter" idx="13"/>
          </p:nvPr>
        </p:nvSpPr>
        <p:spPr>
          <a:xfrm>
            <a:off x="317119" y="1339850"/>
            <a:ext cx="8188710" cy="3879131"/>
          </a:xfrm>
        </p:spPr>
        <p:txBody>
          <a:bodyPr/>
          <a:lstStyle>
            <a:lvl1pPr marL="226908" indent="-226908">
              <a:spcBef>
                <a:spcPts val="600"/>
              </a:spcBef>
              <a:buClr>
                <a:srgbClr val="7A9B3D"/>
              </a:buClr>
              <a:buSzPct val="100000"/>
              <a:buFont typeface="+mj-lt"/>
              <a:buAutoNum type="arabicPeriod"/>
              <a:defRPr sz="1400" b="0" i="0" baseline="0">
                <a:solidFill>
                  <a:srgbClr val="000000"/>
                </a:solidFill>
                <a:latin typeface="Arial" pitchFamily="34" charset="0"/>
              </a:defRPr>
            </a:lvl1pPr>
            <a:lvl2pPr marL="461747" indent="-217384">
              <a:spcBef>
                <a:spcPts val="600"/>
              </a:spcBef>
              <a:buClr>
                <a:srgbClr val="768692"/>
              </a:buClr>
              <a:buFont typeface="+mj-lt"/>
              <a:buAutoNum type="alphaUcPeriod"/>
              <a:defRPr sz="1200" baseline="0">
                <a:solidFill>
                  <a:srgbClr val="000000"/>
                </a:solidFill>
                <a:latin typeface="Arial" pitchFamily="34" charset="0"/>
              </a:defRPr>
            </a:lvl2pPr>
            <a:lvl3pPr>
              <a:spcBef>
                <a:spcPts val="600"/>
              </a:spcBef>
              <a:buClr>
                <a:srgbClr val="000000"/>
              </a:buClr>
              <a:defRPr baseline="0">
                <a:solidFill>
                  <a:srgbClr val="000000"/>
                </a:solidFill>
              </a:defRPr>
            </a:lvl3pPr>
          </a:lstStyle>
          <a:p>
            <a:pPr lvl="0"/>
            <a:r>
              <a:rPr lang="en-US"/>
              <a:t>Click to edit Master text styles</a:t>
            </a:r>
          </a:p>
          <a:p>
            <a:pPr lvl="1"/>
            <a:r>
              <a:rPr lang="en-US"/>
              <a:t>Second level</a:t>
            </a:r>
          </a:p>
          <a:p>
            <a:pPr lvl="2"/>
            <a:r>
              <a:rPr lang="en-US"/>
              <a:t>Third level</a:t>
            </a:r>
          </a:p>
        </p:txBody>
      </p:sp>
      <p:sp>
        <p:nvSpPr>
          <p:cNvPr id="5"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dirty="0"/>
              <a:t>For institutional use only.</a:t>
            </a:r>
          </a:p>
        </p:txBody>
      </p:sp>
      <p:sp>
        <p:nvSpPr>
          <p:cNvPr id="7" name="Rectangle 155"/>
          <p:cNvSpPr>
            <a:spLocks noGrp="1" noChangeArrowheads="1"/>
          </p:cNvSpPr>
          <p:nvPr>
            <p:ph type="dt" sz="half" idx="16"/>
          </p:nvPr>
        </p:nvSpPr>
        <p:spPr>
          <a:xfrm>
            <a:off x="320040" y="6655656"/>
            <a:ext cx="1983958" cy="120649"/>
          </a:xfrm>
        </p:spPr>
        <p:txBody>
          <a:bodyPr/>
          <a:lstStyle>
            <a:lvl1pPr algn="l">
              <a:defRPr sz="700" smtClean="0">
                <a:solidFill>
                  <a:srgbClr val="000000"/>
                </a:solidFill>
              </a:defRPr>
            </a:lvl1pPr>
          </a:lstStyle>
          <a:p>
            <a:pPr>
              <a:defRPr/>
            </a:pPr>
            <a:r>
              <a:rPr lang="en-US" dirty="0"/>
              <a:t>Production code #</a:t>
            </a:r>
          </a:p>
        </p:txBody>
      </p:sp>
      <p:grpSp>
        <p:nvGrpSpPr>
          <p:cNvPr id="8" name="Group 7"/>
          <p:cNvGrpSpPr/>
          <p:nvPr userDrawn="1"/>
        </p:nvGrpSpPr>
        <p:grpSpPr>
          <a:xfrm>
            <a:off x="7364320" y="6412514"/>
            <a:ext cx="1371600" cy="283464"/>
            <a:chOff x="4291013" y="3178175"/>
            <a:chExt cx="3197225" cy="688975"/>
          </a:xfrm>
        </p:grpSpPr>
        <p:sp>
          <p:nvSpPr>
            <p:cNvPr id="9"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1"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2"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3"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4"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5"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6"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7"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8"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9"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0"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1"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2"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3"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4"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5"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6"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7"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8"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9"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0"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1"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2"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3"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4"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grpSp>
      <p:sp>
        <p:nvSpPr>
          <p:cNvPr id="36" name="Text Box 5"/>
          <p:cNvSpPr txBox="1">
            <a:spLocks noChangeArrowheads="1"/>
          </p:cNvSpPr>
          <p:nvPr userDrawn="1"/>
        </p:nvSpPr>
        <p:spPr bwMode="auto">
          <a:xfrm>
            <a:off x="320039" y="6336796"/>
            <a:ext cx="6770189" cy="219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397" tIns="45698" rIns="91397" bIns="45698" anchor="b"/>
          <a:lstStyle>
            <a:lvl1pPr eaLnBrk="0" hangingPunct="0">
              <a:spcBef>
                <a:spcPct val="20000"/>
              </a:spcBef>
              <a:buSzPct val="40000"/>
              <a:defRPr sz="1600" b="1">
                <a:solidFill>
                  <a:schemeClr val="accent1"/>
                </a:solidFill>
                <a:latin typeface="Arial" charset="0"/>
              </a:defRPr>
            </a:lvl1pPr>
            <a:lvl2pPr marL="742950" indent="-285750" eaLnBrk="0" hangingPunct="0">
              <a:spcBef>
                <a:spcPct val="20000"/>
              </a:spcBef>
              <a:buClr>
                <a:srgbClr val="978981"/>
              </a:buClr>
              <a:buChar char="•"/>
              <a:defRPr sz="1400">
                <a:solidFill>
                  <a:schemeClr val="tx1"/>
                </a:solidFill>
                <a:latin typeface="Arial" charset="0"/>
              </a:defRPr>
            </a:lvl2pPr>
            <a:lvl3pPr marL="1143000" indent="-228600" eaLnBrk="0" hangingPunct="0">
              <a:spcBef>
                <a:spcPct val="20000"/>
              </a:spcBef>
              <a:buClr>
                <a:schemeClr val="accent1"/>
              </a:buClr>
              <a:buFont typeface="Arial" charset="0"/>
              <a:buChar char="–"/>
              <a:defRPr sz="1200">
                <a:solidFill>
                  <a:schemeClr val="accent1"/>
                </a:solidFill>
                <a:latin typeface="Arial" charset="0"/>
              </a:defRPr>
            </a:lvl3pPr>
            <a:lvl4pPr marL="1600200" indent="-228600" eaLnBrk="0" hangingPunct="0">
              <a:spcBef>
                <a:spcPct val="20000"/>
              </a:spcBef>
              <a:buFont typeface="Arial" charset="0"/>
              <a:buChar char="•"/>
              <a:defRPr sz="1200">
                <a:solidFill>
                  <a:srgbClr val="4C5F6C"/>
                </a:solidFill>
                <a:latin typeface="Arial" charset="0"/>
              </a:defRPr>
            </a:lvl4pPr>
            <a:lvl5pPr marL="2057400" indent="-228600" eaLnBrk="0" hangingPunct="0">
              <a:lnSpc>
                <a:spcPts val="2400"/>
              </a:lnSpc>
              <a:defRPr sz="1400">
                <a:solidFill>
                  <a:schemeClr val="tx1"/>
                </a:solidFill>
                <a:latin typeface="Arial" charset="0"/>
              </a:defRPr>
            </a:lvl5pPr>
            <a:lvl6pPr marL="2514600" indent="-228600" eaLnBrk="0" fontAlgn="base" hangingPunct="0">
              <a:lnSpc>
                <a:spcPts val="2400"/>
              </a:lnSpc>
              <a:spcBef>
                <a:spcPct val="0"/>
              </a:spcBef>
              <a:spcAft>
                <a:spcPct val="0"/>
              </a:spcAft>
              <a:defRPr sz="1400">
                <a:solidFill>
                  <a:schemeClr val="tx1"/>
                </a:solidFill>
                <a:latin typeface="Arial" charset="0"/>
              </a:defRPr>
            </a:lvl6pPr>
            <a:lvl7pPr marL="2971800" indent="-228600" eaLnBrk="0" fontAlgn="base" hangingPunct="0">
              <a:lnSpc>
                <a:spcPts val="2400"/>
              </a:lnSpc>
              <a:spcBef>
                <a:spcPct val="0"/>
              </a:spcBef>
              <a:spcAft>
                <a:spcPct val="0"/>
              </a:spcAft>
              <a:defRPr sz="1400">
                <a:solidFill>
                  <a:schemeClr val="tx1"/>
                </a:solidFill>
                <a:latin typeface="Arial" charset="0"/>
              </a:defRPr>
            </a:lvl7pPr>
            <a:lvl8pPr marL="3429000" indent="-228600" eaLnBrk="0" fontAlgn="base" hangingPunct="0">
              <a:lnSpc>
                <a:spcPts val="2400"/>
              </a:lnSpc>
              <a:spcBef>
                <a:spcPct val="0"/>
              </a:spcBef>
              <a:spcAft>
                <a:spcPct val="0"/>
              </a:spcAft>
              <a:defRPr sz="1400">
                <a:solidFill>
                  <a:schemeClr val="tx1"/>
                </a:solidFill>
                <a:latin typeface="Arial" charset="0"/>
              </a:defRPr>
            </a:lvl8pPr>
            <a:lvl9pPr marL="3886200" indent="-228600" eaLnBrk="0" fontAlgn="base" hangingPunct="0">
              <a:lnSpc>
                <a:spcPts val="2400"/>
              </a:lnSpc>
              <a:spcBef>
                <a:spcPct val="0"/>
              </a:spcBef>
              <a:spcAft>
                <a:spcPct val="0"/>
              </a:spcAft>
              <a:defRPr sz="1400">
                <a:solidFill>
                  <a:schemeClr val="tx1"/>
                </a:solidFill>
                <a:latin typeface="Arial" charset="0"/>
              </a:defRPr>
            </a:lvl9pPr>
          </a:lstStyle>
          <a:p>
            <a:pPr fontAlgn="base">
              <a:lnSpc>
                <a:spcPts val="1000"/>
              </a:lnSpc>
              <a:spcBef>
                <a:spcPct val="0"/>
              </a:spcBef>
              <a:spcAft>
                <a:spcPts val="300"/>
              </a:spcAft>
              <a:buSzTx/>
            </a:pPr>
            <a:r>
              <a:rPr lang="en-US" altLang="en-US" sz="800" b="0" i="1" dirty="0">
                <a:solidFill>
                  <a:srgbClr val="000000"/>
                </a:solidFill>
                <a:latin typeface="Arial"/>
                <a:ea typeface="ＭＳ Ｐゴシック"/>
              </a:rPr>
              <a:t>Unless otherwise disclosed to you, in providing this information, Fidelity is not undertaking to provide impartial investment advice, or to give advice in a fiduciary capacity, in connection with any investment or transaction described herein. Fiduciaries are solely responsible for exercising independent judgment in evaluating any transaction(s) and are assumed to be capable of evaluating investment risks independently, both in general and with regard to particular transactions and investment strategies. Fidelity has a financial interest in any transaction(s) that fiduciaries, and if applicable, their clients, may enter into involving Fidelity's products or services.</a:t>
            </a:r>
          </a:p>
          <a:p>
            <a:pPr fontAlgn="base">
              <a:lnSpc>
                <a:spcPts val="1000"/>
              </a:lnSpc>
              <a:spcBef>
                <a:spcPct val="0"/>
              </a:spcBef>
              <a:spcAft>
                <a:spcPts val="300"/>
              </a:spcAft>
              <a:buSzTx/>
            </a:pPr>
            <a:r>
              <a:rPr lang="en-US" altLang="en-US" sz="800" b="0" dirty="0">
                <a:solidFill>
                  <a:srgbClr val="000000"/>
                </a:solidFill>
                <a:latin typeface="Arial"/>
                <a:ea typeface="ＭＳ Ｐゴシック"/>
              </a:rPr>
              <a:t>See “Important Information” for a discussion of performance data, some of the principal risks related to any of the investment strategies referred to in this presentation, professional designations and how they are obtained, and other information related to this presentation.</a:t>
            </a:r>
          </a:p>
        </p:txBody>
      </p:sp>
    </p:spTree>
    <p:extLst>
      <p:ext uri="{BB962C8B-B14F-4D97-AF65-F5344CB8AC3E}">
        <p14:creationId xmlns:p14="http://schemas.microsoft.com/office/powerpoint/2010/main" val="257704685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17119" y="228600"/>
            <a:ext cx="8188710" cy="838200"/>
          </a:xfrm>
        </p:spPr>
        <p:txBody>
          <a:bodyPr/>
          <a:lstStyle>
            <a:lvl1pPr>
              <a:defRPr>
                <a:solidFill>
                  <a:srgbClr val="333F48"/>
                </a:solidFill>
              </a:defRPr>
            </a:lvl1pPr>
          </a:lstStyle>
          <a:p>
            <a:r>
              <a:rPr lang="en-US"/>
              <a:t>Click to edit Master title style</a:t>
            </a:r>
            <a:endParaRPr lang="en-US" dirty="0"/>
          </a:p>
        </p:txBody>
      </p:sp>
      <p:sp>
        <p:nvSpPr>
          <p:cNvPr id="8"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dirty="0"/>
              <a:t>For institutional use only.</a:t>
            </a:r>
          </a:p>
        </p:txBody>
      </p:sp>
      <p:sp>
        <p:nvSpPr>
          <p:cNvPr id="9" name="Rectangle 155"/>
          <p:cNvSpPr>
            <a:spLocks noGrp="1" noChangeArrowheads="1"/>
          </p:cNvSpPr>
          <p:nvPr>
            <p:ph type="dt" sz="half" idx="16"/>
          </p:nvPr>
        </p:nvSpPr>
        <p:spPr>
          <a:xfrm>
            <a:off x="320040" y="6655656"/>
            <a:ext cx="1983958" cy="120649"/>
          </a:xfrm>
        </p:spPr>
        <p:txBody>
          <a:bodyPr/>
          <a:lstStyle>
            <a:lvl1pPr algn="l">
              <a:defRPr sz="700" smtClean="0">
                <a:solidFill>
                  <a:srgbClr val="000000"/>
                </a:solidFill>
              </a:defRPr>
            </a:lvl1pPr>
          </a:lstStyle>
          <a:p>
            <a:pPr>
              <a:defRPr/>
            </a:pPr>
            <a:r>
              <a:rPr lang="en-US" dirty="0"/>
              <a:t>Production code #</a:t>
            </a:r>
          </a:p>
        </p:txBody>
      </p:sp>
      <p:grpSp>
        <p:nvGrpSpPr>
          <p:cNvPr id="10" name="Group 9"/>
          <p:cNvGrpSpPr/>
          <p:nvPr userDrawn="1"/>
        </p:nvGrpSpPr>
        <p:grpSpPr>
          <a:xfrm>
            <a:off x="7364320" y="6412514"/>
            <a:ext cx="1371600" cy="283464"/>
            <a:chOff x="4291013" y="3178175"/>
            <a:chExt cx="3197225" cy="688975"/>
          </a:xfrm>
        </p:grpSpPr>
        <p:sp>
          <p:nvSpPr>
            <p:cNvPr id="11"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2"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3"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4"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5"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6"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7"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8"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9"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0"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1"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2"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3"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4"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5"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6"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7"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8"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9"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0"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1"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2"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3"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4"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5"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grpSp>
      <p:sp>
        <p:nvSpPr>
          <p:cNvPr id="36"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4099873960"/>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17119" y="228600"/>
            <a:ext cx="8188710" cy="838200"/>
          </a:xfrm>
        </p:spPr>
        <p:txBody>
          <a:bodyPr/>
          <a:lstStyle/>
          <a:p>
            <a:r>
              <a:rPr lang="en-US"/>
              <a:t>Click to edit Master title style</a:t>
            </a:r>
            <a:endParaRPr lang="en-US" dirty="0"/>
          </a:p>
        </p:txBody>
      </p:sp>
      <p:sp>
        <p:nvSpPr>
          <p:cNvPr id="7" name="Content Placeholder 2"/>
          <p:cNvSpPr>
            <a:spLocks noGrp="1"/>
          </p:cNvSpPr>
          <p:nvPr>
            <p:ph idx="13"/>
          </p:nvPr>
        </p:nvSpPr>
        <p:spPr>
          <a:xfrm>
            <a:off x="317119" y="1339850"/>
            <a:ext cx="8188710" cy="4878388"/>
          </a:xfrm>
        </p:spPr>
        <p:txBody>
          <a:bodyPr lIns="91397"/>
          <a:lstStyle>
            <a:lvl1pPr marL="0" indent="0" algn="l" rtl="0" fontAlgn="base">
              <a:spcBef>
                <a:spcPts val="480"/>
              </a:spcBef>
              <a:spcAft>
                <a:spcPct val="0"/>
              </a:spcAft>
              <a:buSzPct val="40000"/>
              <a:defRPr lang="en-US" sz="1600" b="1" dirty="0" smtClean="0">
                <a:solidFill>
                  <a:schemeClr val="accent3"/>
                </a:solidFill>
                <a:latin typeface="+mn-lt"/>
                <a:ea typeface="+mn-ea"/>
                <a:cs typeface="+mn-cs"/>
              </a:defRPr>
            </a:lvl1pPr>
            <a:lvl2pPr>
              <a:spcBef>
                <a:spcPts val="1999"/>
              </a:spcBef>
              <a:defRPr lang="en-US" dirty="0" smtClean="0">
                <a:solidFill>
                  <a:schemeClr val="tx1"/>
                </a:solidFill>
                <a:latin typeface="+mn-lt"/>
              </a:defRPr>
            </a:lvl2pPr>
            <a:lvl3pPr>
              <a:defRPr lang="en-US" sz="1600" dirty="0" smtClean="0">
                <a:solidFill>
                  <a:schemeClr val="accent1"/>
                </a:solidFill>
                <a:latin typeface="+mn-lt"/>
              </a:defRPr>
            </a:lvl3pPr>
            <a:lvl4pPr>
              <a:buClr>
                <a:schemeClr val="bg2"/>
              </a:buClr>
              <a:buSzPct val="80000"/>
              <a:buFont typeface="Arial" pitchFamily="34" charset="0"/>
              <a:buChar char="•"/>
              <a:defRPr sz="1400">
                <a:solidFill>
                  <a:schemeClr val="accent1"/>
                </a:solidFill>
              </a:defRPr>
            </a:lvl4pPr>
          </a:lstStyle>
          <a:p>
            <a:pPr lvl="0"/>
            <a:r>
              <a:rPr lang="en-US"/>
              <a:t>Click to edit Master text styles</a:t>
            </a:r>
          </a:p>
        </p:txBody>
      </p:sp>
      <p:sp>
        <p:nvSpPr>
          <p:cNvPr id="10"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dirty="0"/>
              <a:t>For institutional use only.</a:t>
            </a:r>
          </a:p>
        </p:txBody>
      </p:sp>
      <p:sp>
        <p:nvSpPr>
          <p:cNvPr id="11" name="Rectangle 155"/>
          <p:cNvSpPr>
            <a:spLocks noGrp="1" noChangeArrowheads="1"/>
          </p:cNvSpPr>
          <p:nvPr>
            <p:ph type="dt" sz="half" idx="16"/>
          </p:nvPr>
        </p:nvSpPr>
        <p:spPr>
          <a:xfrm>
            <a:off x="320040" y="6655656"/>
            <a:ext cx="1983958" cy="120649"/>
          </a:xfrm>
        </p:spPr>
        <p:txBody>
          <a:bodyPr/>
          <a:lstStyle>
            <a:lvl1pPr algn="l">
              <a:defRPr sz="700" smtClean="0">
                <a:solidFill>
                  <a:srgbClr val="000000"/>
                </a:solidFill>
              </a:defRPr>
            </a:lvl1pPr>
          </a:lstStyle>
          <a:p>
            <a:pPr>
              <a:defRPr/>
            </a:pPr>
            <a:r>
              <a:rPr lang="en-US" dirty="0"/>
              <a:t>Production code #</a:t>
            </a:r>
          </a:p>
        </p:txBody>
      </p:sp>
      <p:grpSp>
        <p:nvGrpSpPr>
          <p:cNvPr id="12" name="Group 11"/>
          <p:cNvGrpSpPr/>
          <p:nvPr userDrawn="1"/>
        </p:nvGrpSpPr>
        <p:grpSpPr>
          <a:xfrm>
            <a:off x="7364320" y="6412514"/>
            <a:ext cx="1371600" cy="283464"/>
            <a:chOff x="4291013" y="3178175"/>
            <a:chExt cx="3197225" cy="688975"/>
          </a:xfrm>
        </p:grpSpPr>
        <p:sp>
          <p:nvSpPr>
            <p:cNvPr id="13"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4"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5"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6"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7"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8"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9"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0"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1"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2"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3"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4"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5"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6"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7"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8"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9"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0"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1"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2"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3"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4"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5"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6"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7"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grpSp>
      <p:sp>
        <p:nvSpPr>
          <p:cNvPr id="38"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12097637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5_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119" y="228600"/>
            <a:ext cx="8188710" cy="841248"/>
          </a:xfrm>
        </p:spPr>
        <p:txBody>
          <a:bodyPr/>
          <a:lstStyle>
            <a:lvl1pPr>
              <a:defRPr>
                <a:solidFill>
                  <a:srgbClr val="333F48"/>
                </a:solidFill>
              </a:defRPr>
            </a:lvl1pPr>
          </a:lstStyle>
          <a:p>
            <a:r>
              <a:rPr lang="en-US"/>
              <a:t>Click to edit Master title style</a:t>
            </a:r>
            <a:endParaRPr lang="en-US" dirty="0"/>
          </a:p>
        </p:txBody>
      </p:sp>
      <p:sp>
        <p:nvSpPr>
          <p:cNvPr id="11" name="Content Placeholder 2"/>
          <p:cNvSpPr>
            <a:spLocks noGrp="1"/>
          </p:cNvSpPr>
          <p:nvPr>
            <p:ph idx="12"/>
          </p:nvPr>
        </p:nvSpPr>
        <p:spPr>
          <a:xfrm>
            <a:off x="317119" y="1339850"/>
            <a:ext cx="8188710" cy="4878388"/>
          </a:xfrm>
        </p:spPr>
        <p:txBody>
          <a:bodyPr lIns="91397"/>
          <a:lstStyle>
            <a:lvl1pPr marL="0" indent="0" algn="l" rtl="0" fontAlgn="base">
              <a:spcBef>
                <a:spcPts val="480"/>
              </a:spcBef>
              <a:spcAft>
                <a:spcPct val="0"/>
              </a:spcAft>
              <a:buSzPct val="40000"/>
              <a:defRPr lang="en-US" sz="1600" b="1" dirty="0" smtClean="0">
                <a:solidFill>
                  <a:srgbClr val="7A9B3D"/>
                </a:solidFill>
                <a:latin typeface="+mn-lt"/>
                <a:ea typeface="+mn-ea"/>
                <a:cs typeface="+mn-cs"/>
              </a:defRPr>
            </a:lvl1pPr>
            <a:lvl2pPr marL="114248" indent="-114248">
              <a:spcBef>
                <a:spcPts val="288"/>
              </a:spcBef>
              <a:buClr>
                <a:srgbClr val="7A9B3D"/>
              </a:buClr>
              <a:defRPr lang="en-US" dirty="0" smtClean="0">
                <a:solidFill>
                  <a:srgbClr val="000000"/>
                </a:solidFill>
                <a:latin typeface="+mn-lt"/>
              </a:defRPr>
            </a:lvl2pPr>
            <a:lvl3pPr marL="228492" indent="-114248">
              <a:buClr>
                <a:srgbClr val="768692"/>
              </a:buClr>
              <a:defRPr lang="en-US" sz="1200" dirty="0" smtClean="0">
                <a:solidFill>
                  <a:srgbClr val="000000"/>
                </a:solidFill>
                <a:latin typeface="+mn-lt"/>
              </a:defRPr>
            </a:lvl3pPr>
            <a:lvl4pPr marL="342739" indent="-114248">
              <a:buClr>
                <a:srgbClr val="000000"/>
              </a:buClr>
              <a:buSzPct val="100000"/>
              <a:buFont typeface="Arial" pitchFamily="34" charset="0"/>
              <a:buChar char="•"/>
              <a:defRPr sz="1200">
                <a:solidFill>
                  <a:srgbClr val="000000"/>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dirty="0"/>
              <a:t>For institutional use only.</a:t>
            </a:r>
          </a:p>
        </p:txBody>
      </p:sp>
      <p:sp>
        <p:nvSpPr>
          <p:cNvPr id="13" name="Rectangle 155"/>
          <p:cNvSpPr>
            <a:spLocks noGrp="1" noChangeArrowheads="1"/>
          </p:cNvSpPr>
          <p:nvPr>
            <p:ph type="dt" sz="half" idx="16"/>
          </p:nvPr>
        </p:nvSpPr>
        <p:spPr>
          <a:xfrm>
            <a:off x="320040" y="6655656"/>
            <a:ext cx="1983958" cy="120649"/>
          </a:xfrm>
        </p:spPr>
        <p:txBody>
          <a:bodyPr/>
          <a:lstStyle>
            <a:lvl1pPr algn="l">
              <a:defRPr sz="700" smtClean="0">
                <a:solidFill>
                  <a:srgbClr val="000000"/>
                </a:solidFill>
              </a:defRPr>
            </a:lvl1pPr>
          </a:lstStyle>
          <a:p>
            <a:pPr>
              <a:defRPr/>
            </a:pPr>
            <a:r>
              <a:rPr lang="en-US" dirty="0"/>
              <a:t>Production code #</a:t>
            </a:r>
          </a:p>
        </p:txBody>
      </p:sp>
      <p:grpSp>
        <p:nvGrpSpPr>
          <p:cNvPr id="14" name="Group 13"/>
          <p:cNvGrpSpPr/>
          <p:nvPr userDrawn="1"/>
        </p:nvGrpSpPr>
        <p:grpSpPr>
          <a:xfrm>
            <a:off x="7364320" y="6412514"/>
            <a:ext cx="1371600" cy="283464"/>
            <a:chOff x="4291013" y="3178175"/>
            <a:chExt cx="3197225" cy="688975"/>
          </a:xfrm>
        </p:grpSpPr>
        <p:sp>
          <p:nvSpPr>
            <p:cNvPr id="15"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6"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7"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8"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9"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0"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1"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2"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3"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4"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5"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6"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7"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8"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9"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0"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1"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2"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3"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4"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5"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6"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7"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8"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9"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grpSp>
      <p:sp>
        <p:nvSpPr>
          <p:cNvPr id="40"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803070551"/>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4_Bulleted List - with subhead">
    <p:spTree>
      <p:nvGrpSpPr>
        <p:cNvPr id="1" name=""/>
        <p:cNvGrpSpPr/>
        <p:nvPr/>
      </p:nvGrpSpPr>
      <p:grpSpPr>
        <a:xfrm>
          <a:off x="0" y="0"/>
          <a:ext cx="0" cy="0"/>
          <a:chOff x="0" y="0"/>
          <a:chExt cx="0" cy="0"/>
        </a:xfrm>
      </p:grpSpPr>
      <p:sp>
        <p:nvSpPr>
          <p:cNvPr id="2" name="Title 1"/>
          <p:cNvSpPr>
            <a:spLocks noGrp="1"/>
          </p:cNvSpPr>
          <p:nvPr>
            <p:ph type="title"/>
          </p:nvPr>
        </p:nvSpPr>
        <p:spPr>
          <a:xfrm>
            <a:off x="317119" y="228600"/>
            <a:ext cx="8188710" cy="841248"/>
          </a:xfrm>
        </p:spPr>
        <p:txBody>
          <a:bodyPr/>
          <a:lstStyle/>
          <a:p>
            <a:r>
              <a:rPr lang="en-US"/>
              <a:t>Click to edit Master title style</a:t>
            </a:r>
            <a:endParaRPr lang="en-US" dirty="0"/>
          </a:p>
        </p:txBody>
      </p:sp>
      <p:sp>
        <p:nvSpPr>
          <p:cNvPr id="11" name="Content Placeholder 2"/>
          <p:cNvSpPr>
            <a:spLocks noGrp="1"/>
          </p:cNvSpPr>
          <p:nvPr>
            <p:ph idx="12"/>
          </p:nvPr>
        </p:nvSpPr>
        <p:spPr>
          <a:xfrm>
            <a:off x="317119" y="1339850"/>
            <a:ext cx="8188710" cy="4878388"/>
          </a:xfrm>
        </p:spPr>
        <p:txBody>
          <a:bodyPr lIns="91397"/>
          <a:lstStyle>
            <a:lvl1pPr marL="0" indent="0" algn="l" rtl="0" fontAlgn="base">
              <a:spcBef>
                <a:spcPts val="480"/>
              </a:spcBef>
              <a:spcAft>
                <a:spcPct val="0"/>
              </a:spcAft>
              <a:buSzPct val="40000"/>
              <a:defRPr lang="en-US" sz="1600" b="1" dirty="0" smtClean="0">
                <a:solidFill>
                  <a:srgbClr val="7A9B3D"/>
                </a:solidFill>
                <a:latin typeface="+mn-lt"/>
                <a:ea typeface="+mn-ea"/>
                <a:cs typeface="+mn-cs"/>
              </a:defRPr>
            </a:lvl1pPr>
            <a:lvl2pPr marL="114248" indent="-114248">
              <a:spcBef>
                <a:spcPts val="288"/>
              </a:spcBef>
              <a:buClr>
                <a:srgbClr val="7A9B3D"/>
              </a:buClr>
              <a:defRPr lang="en-US" dirty="0" smtClean="0">
                <a:solidFill>
                  <a:srgbClr val="000000"/>
                </a:solidFill>
                <a:latin typeface="+mn-lt"/>
              </a:defRPr>
            </a:lvl2pPr>
            <a:lvl3pPr marL="228492" indent="-114248">
              <a:buClr>
                <a:srgbClr val="768692"/>
              </a:buClr>
              <a:defRPr lang="en-US" sz="1200" dirty="0" smtClean="0">
                <a:solidFill>
                  <a:srgbClr val="000000"/>
                </a:solidFill>
                <a:latin typeface="+mn-lt"/>
              </a:defRPr>
            </a:lvl3pPr>
            <a:lvl4pPr marL="342739" indent="-114248">
              <a:buClr>
                <a:srgbClr val="000000"/>
              </a:buClr>
              <a:buSzPct val="100000"/>
              <a:buFont typeface="Arial" pitchFamily="34" charset="0"/>
              <a:buChar char="•"/>
              <a:defRPr sz="1200">
                <a:solidFill>
                  <a:srgbClr val="000000"/>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dirty="0"/>
              <a:t>For institutional use only.</a:t>
            </a:r>
          </a:p>
        </p:txBody>
      </p:sp>
      <p:sp>
        <p:nvSpPr>
          <p:cNvPr id="13" name="Rectangle 155"/>
          <p:cNvSpPr>
            <a:spLocks noGrp="1" noChangeArrowheads="1"/>
          </p:cNvSpPr>
          <p:nvPr>
            <p:ph type="dt" sz="half" idx="16"/>
          </p:nvPr>
        </p:nvSpPr>
        <p:spPr>
          <a:xfrm>
            <a:off x="320040" y="6655656"/>
            <a:ext cx="1983958" cy="120649"/>
          </a:xfrm>
        </p:spPr>
        <p:txBody>
          <a:bodyPr/>
          <a:lstStyle>
            <a:lvl1pPr algn="l">
              <a:defRPr sz="700" smtClean="0">
                <a:solidFill>
                  <a:srgbClr val="000000"/>
                </a:solidFill>
              </a:defRPr>
            </a:lvl1pPr>
          </a:lstStyle>
          <a:p>
            <a:pPr>
              <a:defRPr/>
            </a:pPr>
            <a:r>
              <a:rPr lang="en-US" dirty="0"/>
              <a:t>Production code #</a:t>
            </a:r>
          </a:p>
        </p:txBody>
      </p:sp>
      <p:grpSp>
        <p:nvGrpSpPr>
          <p:cNvPr id="14" name="Group 13"/>
          <p:cNvGrpSpPr/>
          <p:nvPr userDrawn="1"/>
        </p:nvGrpSpPr>
        <p:grpSpPr>
          <a:xfrm>
            <a:off x="7364320" y="6412514"/>
            <a:ext cx="1371600" cy="283464"/>
            <a:chOff x="4291013" y="3178175"/>
            <a:chExt cx="3197225" cy="688975"/>
          </a:xfrm>
        </p:grpSpPr>
        <p:sp>
          <p:nvSpPr>
            <p:cNvPr id="15"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6"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7"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8"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9"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0"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1"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2"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3"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4"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5"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6"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7"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8"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9"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0"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1"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2"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3"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4"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5"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6"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7"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8"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9"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grpSp>
      <p:sp>
        <p:nvSpPr>
          <p:cNvPr id="40"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418877612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_Important Information">
    <p:spTree>
      <p:nvGrpSpPr>
        <p:cNvPr id="1" name=""/>
        <p:cNvGrpSpPr/>
        <p:nvPr/>
      </p:nvGrpSpPr>
      <p:grpSpPr>
        <a:xfrm>
          <a:off x="0" y="0"/>
          <a:ext cx="0" cy="0"/>
          <a:chOff x="0" y="0"/>
          <a:chExt cx="0" cy="0"/>
        </a:xfrm>
      </p:grpSpPr>
      <p:sp>
        <p:nvSpPr>
          <p:cNvPr id="2" name="Title 1"/>
          <p:cNvSpPr>
            <a:spLocks noGrp="1"/>
          </p:cNvSpPr>
          <p:nvPr>
            <p:ph type="title"/>
          </p:nvPr>
        </p:nvSpPr>
        <p:spPr>
          <a:xfrm>
            <a:off x="317119" y="228600"/>
            <a:ext cx="8188710" cy="838200"/>
          </a:xfrm>
        </p:spPr>
        <p:txBody>
          <a:bodyPr/>
          <a:lstStyle>
            <a:lvl1pPr>
              <a:defRPr>
                <a:solidFill>
                  <a:srgbClr val="333F48"/>
                </a:solidFill>
              </a:defRPr>
            </a:lvl1pPr>
          </a:lstStyle>
          <a:p>
            <a:r>
              <a:rPr lang="en-US"/>
              <a:t>Click to edit Master title style</a:t>
            </a:r>
            <a:endParaRPr lang="en-US" dirty="0"/>
          </a:p>
        </p:txBody>
      </p:sp>
      <p:sp>
        <p:nvSpPr>
          <p:cNvPr id="3" name="Content Placeholder 2"/>
          <p:cNvSpPr>
            <a:spLocks noGrp="1"/>
          </p:cNvSpPr>
          <p:nvPr>
            <p:ph idx="1"/>
          </p:nvPr>
        </p:nvSpPr>
        <p:spPr>
          <a:xfrm>
            <a:off x="317119" y="1076325"/>
            <a:ext cx="8188710" cy="4808538"/>
          </a:xfrm>
          <a:noFill/>
          <a:ln w="9525">
            <a:noFill/>
            <a:miter lim="800000"/>
            <a:headEnd/>
            <a:tailEnd/>
          </a:ln>
          <a:effectLst/>
        </p:spPr>
        <p:txBody>
          <a:bodyPr lIns="91397"/>
          <a:lstStyle>
            <a:lvl1pPr marL="0" indent="0" algn="l" rtl="0" eaLnBrk="1" fontAlgn="base" hangingPunct="1">
              <a:spcAft>
                <a:spcPct val="0"/>
              </a:spcAft>
              <a:buSzPct val="40000"/>
              <a:defRPr lang="en-US" sz="1000" b="0" dirty="0" smtClean="0">
                <a:solidFill>
                  <a:srgbClr val="000000"/>
                </a:solidFill>
                <a:latin typeface="+mn-lt"/>
                <a:ea typeface="+mn-ea"/>
                <a:cs typeface="+mn-cs"/>
              </a:defRPr>
            </a:lvl1pPr>
            <a:lvl2pPr marL="0" indent="0" algn="l" rtl="0" eaLnBrk="1" fontAlgn="base" hangingPunct="1">
              <a:spcBef>
                <a:spcPts val="600"/>
              </a:spcBef>
              <a:spcAft>
                <a:spcPct val="0"/>
              </a:spcAft>
              <a:buSzPct val="40000"/>
              <a:buNone/>
              <a:defRPr lang="en-US" sz="1000" b="1" dirty="0">
                <a:solidFill>
                  <a:srgbClr val="000000"/>
                </a:solidFill>
                <a:latin typeface="+mn-lt"/>
                <a:ea typeface="+mn-ea"/>
                <a:cs typeface="+mn-cs"/>
              </a:defRPr>
            </a:lvl2pPr>
          </a:lstStyle>
          <a:p>
            <a:pPr lvl="0"/>
            <a:r>
              <a:rPr lang="en-US"/>
              <a:t>Click to edit Master text styles</a:t>
            </a:r>
          </a:p>
          <a:p>
            <a:pPr lvl="1"/>
            <a:r>
              <a:rPr lang="en-US"/>
              <a:t>Second level</a:t>
            </a:r>
          </a:p>
        </p:txBody>
      </p:sp>
      <p:sp>
        <p:nvSpPr>
          <p:cNvPr id="9"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dirty="0"/>
              <a:t>For institutional use only.</a:t>
            </a:r>
          </a:p>
        </p:txBody>
      </p:sp>
      <p:sp>
        <p:nvSpPr>
          <p:cNvPr id="10" name="Rectangle 155"/>
          <p:cNvSpPr>
            <a:spLocks noGrp="1" noChangeArrowheads="1"/>
          </p:cNvSpPr>
          <p:nvPr>
            <p:ph type="dt" sz="half" idx="16"/>
          </p:nvPr>
        </p:nvSpPr>
        <p:spPr>
          <a:xfrm>
            <a:off x="320040" y="6655656"/>
            <a:ext cx="1983958" cy="120649"/>
          </a:xfrm>
        </p:spPr>
        <p:txBody>
          <a:bodyPr/>
          <a:lstStyle>
            <a:lvl1pPr algn="l">
              <a:defRPr sz="700" smtClean="0">
                <a:solidFill>
                  <a:srgbClr val="000000"/>
                </a:solidFill>
              </a:defRPr>
            </a:lvl1pPr>
          </a:lstStyle>
          <a:p>
            <a:pPr>
              <a:defRPr/>
            </a:pPr>
            <a:r>
              <a:rPr lang="en-US" dirty="0"/>
              <a:t>Production code #</a:t>
            </a:r>
          </a:p>
        </p:txBody>
      </p:sp>
      <p:grpSp>
        <p:nvGrpSpPr>
          <p:cNvPr id="11" name="Group 10"/>
          <p:cNvGrpSpPr/>
          <p:nvPr userDrawn="1"/>
        </p:nvGrpSpPr>
        <p:grpSpPr>
          <a:xfrm>
            <a:off x="7364320" y="6412514"/>
            <a:ext cx="1371600" cy="283464"/>
            <a:chOff x="4291013" y="3178175"/>
            <a:chExt cx="3197225" cy="688975"/>
          </a:xfrm>
        </p:grpSpPr>
        <p:sp>
          <p:nvSpPr>
            <p:cNvPr id="12"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3"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4"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5"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6"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7"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8"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9"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0"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1"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2"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3"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4"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5"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6"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7"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8"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9"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0"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1"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2"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3"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4"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5"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6"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grpSp>
      <p:sp>
        <p:nvSpPr>
          <p:cNvPr id="37"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45068706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4_Biography">
    <p:spTree>
      <p:nvGrpSpPr>
        <p:cNvPr id="1" name=""/>
        <p:cNvGrpSpPr/>
        <p:nvPr/>
      </p:nvGrpSpPr>
      <p:grpSpPr>
        <a:xfrm>
          <a:off x="0" y="0"/>
          <a:ext cx="0" cy="0"/>
          <a:chOff x="0" y="0"/>
          <a:chExt cx="0" cy="0"/>
        </a:xfrm>
      </p:grpSpPr>
      <p:sp>
        <p:nvSpPr>
          <p:cNvPr id="2" name="Title 1"/>
          <p:cNvSpPr>
            <a:spLocks noGrp="1"/>
          </p:cNvSpPr>
          <p:nvPr>
            <p:ph type="title"/>
          </p:nvPr>
        </p:nvSpPr>
        <p:spPr>
          <a:xfrm>
            <a:off x="317119" y="228600"/>
            <a:ext cx="8188710" cy="838200"/>
          </a:xfrm>
        </p:spPr>
        <p:txBody>
          <a:bodyPr/>
          <a:lstStyle/>
          <a:p>
            <a:r>
              <a:rPr lang="en-US"/>
              <a:t>Click to edit Master title style</a:t>
            </a:r>
            <a:endParaRPr lang="en-US" dirty="0"/>
          </a:p>
        </p:txBody>
      </p:sp>
      <p:sp>
        <p:nvSpPr>
          <p:cNvPr id="3" name="Content Placeholder 2"/>
          <p:cNvSpPr>
            <a:spLocks noGrp="1"/>
          </p:cNvSpPr>
          <p:nvPr>
            <p:ph idx="1"/>
          </p:nvPr>
        </p:nvSpPr>
        <p:spPr>
          <a:xfrm>
            <a:off x="317119" y="1073262"/>
            <a:ext cx="8188710" cy="439305"/>
          </a:xfrm>
        </p:spPr>
        <p:txBody>
          <a:bodyPr lIns="91397"/>
          <a:lstStyle>
            <a:lvl1pPr marL="0" indent="0">
              <a:spcBef>
                <a:spcPts val="0"/>
              </a:spcBef>
              <a:defRPr lang="en-US" sz="1200" b="1" dirty="0" smtClean="0">
                <a:solidFill>
                  <a:srgbClr val="7A9B3D"/>
                </a:solidFill>
                <a:latin typeface="+mn-lt"/>
                <a:ea typeface="+mn-ea"/>
                <a:cs typeface="+mn-cs"/>
              </a:defRPr>
            </a:lvl1pPr>
            <a:lvl2pPr marL="0" indent="0">
              <a:spcBef>
                <a:spcPts val="0"/>
              </a:spcBef>
              <a:buNone/>
              <a:defRPr sz="1200" b="0" i="1">
                <a:solidFill>
                  <a:srgbClr val="7A9B3D"/>
                </a:solidFill>
              </a:defRPr>
            </a:lvl2pPr>
          </a:lstStyle>
          <a:p>
            <a:pPr lvl="0"/>
            <a:r>
              <a:rPr lang="en-US"/>
              <a:t>Click to edit Master text styles</a:t>
            </a:r>
          </a:p>
          <a:p>
            <a:pPr lvl="1"/>
            <a:r>
              <a:rPr lang="en-US"/>
              <a:t>Second level</a:t>
            </a:r>
          </a:p>
        </p:txBody>
      </p:sp>
      <p:sp>
        <p:nvSpPr>
          <p:cNvPr id="10" name="Content Placeholder 9"/>
          <p:cNvSpPr>
            <a:spLocks noGrp="1"/>
          </p:cNvSpPr>
          <p:nvPr>
            <p:ph sz="quarter" idx="13"/>
          </p:nvPr>
        </p:nvSpPr>
        <p:spPr>
          <a:xfrm>
            <a:off x="317119" y="1526854"/>
            <a:ext cx="8188710" cy="4691387"/>
          </a:xfrm>
        </p:spPr>
        <p:txBody>
          <a:bodyPr lIns="91397"/>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dirty="0"/>
              <a:t>For institutional use only.</a:t>
            </a:r>
          </a:p>
        </p:txBody>
      </p:sp>
      <p:sp>
        <p:nvSpPr>
          <p:cNvPr id="12" name="Rectangle 155"/>
          <p:cNvSpPr>
            <a:spLocks noGrp="1" noChangeArrowheads="1"/>
          </p:cNvSpPr>
          <p:nvPr>
            <p:ph type="dt" sz="half" idx="16"/>
          </p:nvPr>
        </p:nvSpPr>
        <p:spPr>
          <a:xfrm>
            <a:off x="320040" y="6655656"/>
            <a:ext cx="1983958" cy="120649"/>
          </a:xfrm>
        </p:spPr>
        <p:txBody>
          <a:bodyPr/>
          <a:lstStyle>
            <a:lvl1pPr algn="l">
              <a:defRPr sz="700" smtClean="0">
                <a:solidFill>
                  <a:srgbClr val="000000"/>
                </a:solidFill>
              </a:defRPr>
            </a:lvl1pPr>
          </a:lstStyle>
          <a:p>
            <a:pPr>
              <a:defRPr/>
            </a:pPr>
            <a:r>
              <a:rPr lang="en-US" dirty="0"/>
              <a:t>Production code #</a:t>
            </a:r>
          </a:p>
        </p:txBody>
      </p:sp>
      <p:grpSp>
        <p:nvGrpSpPr>
          <p:cNvPr id="13" name="Group 12"/>
          <p:cNvGrpSpPr/>
          <p:nvPr userDrawn="1"/>
        </p:nvGrpSpPr>
        <p:grpSpPr>
          <a:xfrm>
            <a:off x="7364320" y="6412514"/>
            <a:ext cx="1371600" cy="283464"/>
            <a:chOff x="4291013" y="3178175"/>
            <a:chExt cx="3197225" cy="688975"/>
          </a:xfrm>
        </p:grpSpPr>
        <p:sp>
          <p:nvSpPr>
            <p:cNvPr id="14"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5"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6"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7"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8"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9"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0"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1"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2"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3"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4"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5"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6"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7"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8"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9"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0"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1"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2"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3"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4"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5"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6"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7"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8"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grpSp>
      <p:sp>
        <p:nvSpPr>
          <p:cNvPr id="39"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386797292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4_Biography 2">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7948" cy="838200"/>
          </a:xfrm>
        </p:spPr>
        <p:txBody>
          <a:bodyPr/>
          <a:lstStyle/>
          <a:p>
            <a:r>
              <a:rPr lang="en-US"/>
              <a:t>Click to edit Master title style</a:t>
            </a:r>
            <a:endParaRPr lang="en-US" dirty="0"/>
          </a:p>
        </p:txBody>
      </p:sp>
      <p:sp>
        <p:nvSpPr>
          <p:cNvPr id="3" name="Content Placeholder 2"/>
          <p:cNvSpPr>
            <a:spLocks noGrp="1"/>
          </p:cNvSpPr>
          <p:nvPr>
            <p:ph idx="1"/>
          </p:nvPr>
        </p:nvSpPr>
        <p:spPr>
          <a:xfrm>
            <a:off x="317115" y="1073262"/>
            <a:ext cx="8187948" cy="439305"/>
          </a:xfrm>
        </p:spPr>
        <p:txBody>
          <a:bodyPr lIns="91397"/>
          <a:lstStyle>
            <a:lvl1pPr marL="0" indent="0">
              <a:spcBef>
                <a:spcPts val="0"/>
              </a:spcBef>
              <a:defRPr lang="en-US" sz="1200" b="1" dirty="0" smtClean="0">
                <a:solidFill>
                  <a:srgbClr val="7A9B3D"/>
                </a:solidFill>
                <a:latin typeface="+mn-lt"/>
                <a:ea typeface="+mn-ea"/>
                <a:cs typeface="+mn-cs"/>
              </a:defRPr>
            </a:lvl1pPr>
            <a:lvl2pPr marL="0" indent="0">
              <a:spcBef>
                <a:spcPts val="0"/>
              </a:spcBef>
              <a:buNone/>
              <a:defRPr sz="1200" b="0" i="1">
                <a:solidFill>
                  <a:srgbClr val="7A9B3D"/>
                </a:solidFill>
              </a:defRPr>
            </a:lvl2pPr>
          </a:lstStyle>
          <a:p>
            <a:pPr lvl="0"/>
            <a:r>
              <a:rPr lang="en-US"/>
              <a:t>Click to edit Master text styles</a:t>
            </a:r>
          </a:p>
          <a:p>
            <a:pPr lvl="1"/>
            <a:r>
              <a:rPr lang="en-US"/>
              <a:t>Second level</a:t>
            </a:r>
          </a:p>
        </p:txBody>
      </p:sp>
      <p:sp>
        <p:nvSpPr>
          <p:cNvPr id="10" name="Content Placeholder 9"/>
          <p:cNvSpPr>
            <a:spLocks noGrp="1"/>
          </p:cNvSpPr>
          <p:nvPr>
            <p:ph sz="quarter" idx="13"/>
          </p:nvPr>
        </p:nvSpPr>
        <p:spPr>
          <a:xfrm>
            <a:off x="317119" y="1526855"/>
            <a:ext cx="8188710" cy="1902149"/>
          </a:xfrm>
        </p:spPr>
        <p:txBody>
          <a:bodyPr lIns="91397"/>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p:cNvSpPr>
            <a:spLocks noGrp="1"/>
          </p:cNvSpPr>
          <p:nvPr>
            <p:ph idx="17"/>
          </p:nvPr>
        </p:nvSpPr>
        <p:spPr>
          <a:xfrm>
            <a:off x="317119" y="3666462"/>
            <a:ext cx="8188710" cy="439305"/>
          </a:xfrm>
        </p:spPr>
        <p:txBody>
          <a:bodyPr lIns="91397"/>
          <a:lstStyle>
            <a:lvl1pPr marL="0" indent="0">
              <a:spcBef>
                <a:spcPts val="0"/>
              </a:spcBef>
              <a:defRPr lang="en-US" sz="1200" b="1" dirty="0" smtClean="0">
                <a:solidFill>
                  <a:srgbClr val="7A9B3D"/>
                </a:solidFill>
                <a:latin typeface="+mn-lt"/>
                <a:ea typeface="+mn-ea"/>
                <a:cs typeface="+mn-cs"/>
              </a:defRPr>
            </a:lvl1pPr>
            <a:lvl2pPr marL="0" indent="0">
              <a:spcBef>
                <a:spcPts val="0"/>
              </a:spcBef>
              <a:buNone/>
              <a:defRPr sz="1200" b="0" i="1">
                <a:solidFill>
                  <a:srgbClr val="7A9B3D"/>
                </a:solidFill>
              </a:defRPr>
            </a:lvl2pPr>
          </a:lstStyle>
          <a:p>
            <a:pPr lvl="0"/>
            <a:r>
              <a:rPr lang="en-US"/>
              <a:t>Click to edit Master text styles</a:t>
            </a:r>
          </a:p>
          <a:p>
            <a:pPr lvl="1"/>
            <a:r>
              <a:rPr lang="en-US"/>
              <a:t>Second level</a:t>
            </a:r>
          </a:p>
        </p:txBody>
      </p:sp>
      <p:sp>
        <p:nvSpPr>
          <p:cNvPr id="9" name="Content Placeholder 9"/>
          <p:cNvSpPr>
            <a:spLocks noGrp="1"/>
          </p:cNvSpPr>
          <p:nvPr>
            <p:ph sz="quarter" idx="18"/>
          </p:nvPr>
        </p:nvSpPr>
        <p:spPr>
          <a:xfrm>
            <a:off x="317119" y="4120055"/>
            <a:ext cx="8188710" cy="1902149"/>
          </a:xfrm>
        </p:spPr>
        <p:txBody>
          <a:bodyPr lIns="91397"/>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dirty="0"/>
              <a:t>For institutional use only.</a:t>
            </a:r>
          </a:p>
        </p:txBody>
      </p:sp>
      <p:sp>
        <p:nvSpPr>
          <p:cNvPr id="14" name="Rectangle 155"/>
          <p:cNvSpPr>
            <a:spLocks noGrp="1" noChangeArrowheads="1"/>
          </p:cNvSpPr>
          <p:nvPr>
            <p:ph type="dt" sz="half" idx="16"/>
          </p:nvPr>
        </p:nvSpPr>
        <p:spPr>
          <a:xfrm>
            <a:off x="320040" y="6655656"/>
            <a:ext cx="1983958" cy="120649"/>
          </a:xfrm>
        </p:spPr>
        <p:txBody>
          <a:bodyPr/>
          <a:lstStyle>
            <a:lvl1pPr algn="l">
              <a:defRPr sz="700" smtClean="0">
                <a:solidFill>
                  <a:srgbClr val="000000"/>
                </a:solidFill>
              </a:defRPr>
            </a:lvl1pPr>
          </a:lstStyle>
          <a:p>
            <a:pPr>
              <a:defRPr/>
            </a:pPr>
            <a:r>
              <a:rPr lang="en-US" dirty="0"/>
              <a:t>Production code #</a:t>
            </a:r>
          </a:p>
        </p:txBody>
      </p:sp>
      <p:grpSp>
        <p:nvGrpSpPr>
          <p:cNvPr id="15" name="Group 14"/>
          <p:cNvGrpSpPr/>
          <p:nvPr userDrawn="1"/>
        </p:nvGrpSpPr>
        <p:grpSpPr>
          <a:xfrm>
            <a:off x="7364320" y="6412514"/>
            <a:ext cx="1371600" cy="283464"/>
            <a:chOff x="4291013" y="3178175"/>
            <a:chExt cx="3197225" cy="688975"/>
          </a:xfrm>
        </p:grpSpPr>
        <p:sp>
          <p:nvSpPr>
            <p:cNvPr id="16"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7"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8"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9"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0"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1"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2"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3"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4"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5"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6"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7"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8"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9"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0"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1"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2"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3"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4"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5"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6"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7"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8"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9"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40"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grpSp>
      <p:sp>
        <p:nvSpPr>
          <p:cNvPr id="41"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115836894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73742" cy="838200"/>
          </a:xfrm>
        </p:spPr>
        <p:txBody>
          <a:bodyPr/>
          <a:lstStyle/>
          <a:p>
            <a:r>
              <a:rPr lang="en-US"/>
              <a:t>Click to edit Master title style</a:t>
            </a:r>
            <a:endParaRPr lang="en-US" dirty="0"/>
          </a:p>
        </p:txBody>
      </p:sp>
      <p:sp>
        <p:nvSpPr>
          <p:cNvPr id="3" name="Content Placeholder 2"/>
          <p:cNvSpPr>
            <a:spLocks noGrp="1"/>
          </p:cNvSpPr>
          <p:nvPr>
            <p:ph sz="half" idx="1"/>
          </p:nvPr>
        </p:nvSpPr>
        <p:spPr>
          <a:xfrm>
            <a:off x="317115" y="1339850"/>
            <a:ext cx="3878262" cy="4878388"/>
          </a:xfrm>
        </p:spPr>
        <p:txBody>
          <a:bodyPr lIns="91397"/>
          <a:lstStyle>
            <a:lvl1pPr>
              <a:spcBef>
                <a:spcPts val="600"/>
              </a:spcBef>
              <a:defRPr sz="1400">
                <a:solidFill>
                  <a:srgbClr val="7A9B3D"/>
                </a:solidFill>
              </a:defRPr>
            </a:lvl1pPr>
            <a:lvl2pPr marL="114248" indent="-114248">
              <a:spcBef>
                <a:spcPts val="600"/>
              </a:spcBef>
              <a:buClr>
                <a:srgbClr val="7A9B3D"/>
              </a:buClr>
              <a:defRPr sz="1200">
                <a:solidFill>
                  <a:srgbClr val="000000"/>
                </a:solidFill>
              </a:defRPr>
            </a:lvl2pPr>
            <a:lvl3pPr marL="228492" indent="-114248">
              <a:spcBef>
                <a:spcPts val="600"/>
              </a:spcBef>
              <a:buClr>
                <a:srgbClr val="768692"/>
              </a:buClr>
              <a:defRPr sz="1100">
                <a:solidFill>
                  <a:srgbClr val="000000"/>
                </a:solidFill>
              </a:defRPr>
            </a:lvl3pPr>
            <a:lvl4pPr marL="342739" indent="-114248">
              <a:spcBef>
                <a:spcPts val="600"/>
              </a:spcBef>
              <a:buClr>
                <a:srgbClr val="000000"/>
              </a:buClr>
              <a:defRPr sz="1100">
                <a:solidFill>
                  <a:srgbClr val="000000"/>
                </a:solidFill>
              </a:defRPr>
            </a:lvl4pPr>
            <a:lvl5pP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2"/>
          <p:cNvSpPr>
            <a:spLocks noGrp="1"/>
          </p:cNvSpPr>
          <p:nvPr>
            <p:ph sz="half" idx="13"/>
          </p:nvPr>
        </p:nvSpPr>
        <p:spPr>
          <a:xfrm>
            <a:off x="4611450" y="1339850"/>
            <a:ext cx="3878262" cy="4878388"/>
          </a:xfrm>
        </p:spPr>
        <p:txBody>
          <a:bodyPr lIns="91397"/>
          <a:lstStyle>
            <a:lvl1pPr>
              <a:spcBef>
                <a:spcPts val="600"/>
              </a:spcBef>
              <a:defRPr sz="1400">
                <a:solidFill>
                  <a:srgbClr val="7A9B3D"/>
                </a:solidFill>
              </a:defRPr>
            </a:lvl1pPr>
            <a:lvl2pPr marL="114248" indent="-114248">
              <a:spcBef>
                <a:spcPts val="600"/>
              </a:spcBef>
              <a:buClr>
                <a:srgbClr val="7A9B3D"/>
              </a:buClr>
              <a:defRPr sz="1200">
                <a:solidFill>
                  <a:srgbClr val="000000"/>
                </a:solidFill>
              </a:defRPr>
            </a:lvl2pPr>
            <a:lvl3pPr marL="228492" indent="-114248">
              <a:spcBef>
                <a:spcPts val="600"/>
              </a:spcBef>
              <a:buClr>
                <a:srgbClr val="768692"/>
              </a:buClr>
              <a:defRPr sz="1100">
                <a:solidFill>
                  <a:srgbClr val="000000"/>
                </a:solidFill>
              </a:defRPr>
            </a:lvl3pPr>
            <a:lvl4pPr marL="342739" indent="-114248">
              <a:spcBef>
                <a:spcPts val="600"/>
              </a:spcBef>
              <a:buClr>
                <a:srgbClr val="000000"/>
              </a:buClr>
              <a:defRPr sz="1100">
                <a:solidFill>
                  <a:srgbClr val="000000"/>
                </a:solidFill>
              </a:defRPr>
            </a:lvl4pPr>
            <a:lvl5pP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dirty="0"/>
              <a:t>For institutional use only.</a:t>
            </a:r>
          </a:p>
        </p:txBody>
      </p:sp>
      <p:sp>
        <p:nvSpPr>
          <p:cNvPr id="12" name="Rectangle 155"/>
          <p:cNvSpPr>
            <a:spLocks noGrp="1" noChangeArrowheads="1"/>
          </p:cNvSpPr>
          <p:nvPr>
            <p:ph type="dt" sz="half" idx="16"/>
          </p:nvPr>
        </p:nvSpPr>
        <p:spPr>
          <a:xfrm>
            <a:off x="320040" y="6655656"/>
            <a:ext cx="1983958" cy="120649"/>
          </a:xfrm>
        </p:spPr>
        <p:txBody>
          <a:bodyPr/>
          <a:lstStyle>
            <a:lvl1pPr algn="l">
              <a:defRPr sz="700" smtClean="0">
                <a:solidFill>
                  <a:srgbClr val="000000"/>
                </a:solidFill>
              </a:defRPr>
            </a:lvl1pPr>
          </a:lstStyle>
          <a:p>
            <a:pPr>
              <a:defRPr/>
            </a:pPr>
            <a:r>
              <a:rPr lang="en-US" dirty="0"/>
              <a:t>Production code #</a:t>
            </a:r>
          </a:p>
        </p:txBody>
      </p:sp>
      <p:grpSp>
        <p:nvGrpSpPr>
          <p:cNvPr id="13" name="Group 12"/>
          <p:cNvGrpSpPr/>
          <p:nvPr userDrawn="1"/>
        </p:nvGrpSpPr>
        <p:grpSpPr>
          <a:xfrm>
            <a:off x="7364320" y="6412514"/>
            <a:ext cx="1371600" cy="283464"/>
            <a:chOff x="4291013" y="3178175"/>
            <a:chExt cx="3197225" cy="688975"/>
          </a:xfrm>
        </p:grpSpPr>
        <p:sp>
          <p:nvSpPr>
            <p:cNvPr id="14"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5"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6"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7"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8"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9"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0"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1"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2"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3"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4"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5"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6"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7"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8"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9"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0"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1"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2"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3"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4"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5"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6"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7"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8"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grpSp>
      <p:sp>
        <p:nvSpPr>
          <p:cNvPr id="39"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27616819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2_Print Divider Speaker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58488" name="Rectangle 56"/>
          <p:cNvSpPr>
            <a:spLocks noGrp="1" noChangeArrowheads="1"/>
          </p:cNvSpPr>
          <p:nvPr>
            <p:ph type="ctrTitle"/>
          </p:nvPr>
        </p:nvSpPr>
        <p:spPr>
          <a:xfrm>
            <a:off x="679879" y="2040360"/>
            <a:ext cx="7825945" cy="608013"/>
          </a:xfrm>
          <a:ln algn="ctr"/>
        </p:spPr>
        <p:txBody>
          <a:bodyPr lIns="91440" tIns="45720" anchor="b"/>
          <a:lstStyle>
            <a:lvl1pPr>
              <a:defRPr sz="2800">
                <a:solidFill>
                  <a:srgbClr val="333F48"/>
                </a:solidFill>
              </a:defRPr>
            </a:lvl1pPr>
          </a:lstStyle>
          <a:p>
            <a:r>
              <a:rPr lang="en-US"/>
              <a:t>Click to edit Master title style</a:t>
            </a:r>
            <a:endParaRPr lang="en-US" dirty="0"/>
          </a:p>
        </p:txBody>
      </p:sp>
      <p:sp>
        <p:nvSpPr>
          <p:cNvPr id="658489" name="Rectangle 57"/>
          <p:cNvSpPr>
            <a:spLocks noGrp="1" noChangeArrowheads="1"/>
          </p:cNvSpPr>
          <p:nvPr>
            <p:ph type="subTitle" idx="1"/>
          </p:nvPr>
        </p:nvSpPr>
        <p:spPr>
          <a:xfrm>
            <a:off x="679880" y="2819387"/>
            <a:ext cx="7825945" cy="282925"/>
          </a:xfrm>
          <a:ln algn="ctr"/>
        </p:spPr>
        <p:txBody>
          <a:bodyPr tIns="0"/>
          <a:lstStyle>
            <a:lvl1pPr marL="0" indent="0" algn="l" rtl="0" fontAlgn="base">
              <a:lnSpc>
                <a:spcPct val="100000"/>
              </a:lnSpc>
              <a:spcBef>
                <a:spcPts val="600"/>
              </a:spcBef>
              <a:spcAft>
                <a:spcPct val="0"/>
              </a:spcAft>
              <a:defRPr lang="en-US" sz="1600" b="1" kern="1200" baseline="0" dirty="0">
                <a:solidFill>
                  <a:srgbClr val="768692"/>
                </a:solidFill>
                <a:latin typeface="Arial"/>
                <a:ea typeface="ＭＳ Ｐゴシック" pitchFamily="34" charset="-128"/>
                <a:cs typeface="+mn-cs"/>
              </a:defRPr>
            </a:lvl1pPr>
          </a:lstStyle>
          <a:p>
            <a:r>
              <a:rPr lang="en-US"/>
              <a:t>Click to edit Master subtitle style</a:t>
            </a:r>
            <a:endParaRPr lang="en-US" dirty="0"/>
          </a:p>
        </p:txBody>
      </p:sp>
      <p:cxnSp>
        <p:nvCxnSpPr>
          <p:cNvPr id="6" name="Straight Connector 5"/>
          <p:cNvCxnSpPr/>
          <p:nvPr userDrawn="1"/>
        </p:nvCxnSpPr>
        <p:spPr bwMode="auto">
          <a:xfrm>
            <a:off x="791746" y="2642460"/>
            <a:ext cx="8352254" cy="0"/>
          </a:xfrm>
          <a:prstGeom prst="line">
            <a:avLst/>
          </a:prstGeom>
          <a:solidFill>
            <a:srgbClr val="009681"/>
          </a:solidFill>
          <a:ln w="9525" cap="flat" cmpd="sng" algn="ctr">
            <a:solidFill>
              <a:srgbClr val="768692"/>
            </a:solidFill>
            <a:prstDash val="solid"/>
            <a:round/>
            <a:headEnd type="none" w="med" len="med"/>
            <a:tailEnd type="none" w="med" len="med"/>
          </a:ln>
          <a:effectLst/>
        </p:spPr>
      </p:cxnSp>
      <p:grpSp>
        <p:nvGrpSpPr>
          <p:cNvPr id="61" name="Group 60">
            <a:extLst>
              <a:ext uri="{FF2B5EF4-FFF2-40B4-BE49-F238E27FC236}">
                <a16:creationId xmlns:a16="http://schemas.microsoft.com/office/drawing/2014/main" id="{3EF48CAB-2355-427D-924E-A3C73D558CC0}"/>
              </a:ext>
            </a:extLst>
          </p:cNvPr>
          <p:cNvGrpSpPr/>
          <p:nvPr userDrawn="1"/>
        </p:nvGrpSpPr>
        <p:grpSpPr>
          <a:xfrm>
            <a:off x="7358173" y="6361974"/>
            <a:ext cx="1382376" cy="297562"/>
            <a:chOff x="6923088" y="4475163"/>
            <a:chExt cx="1873251" cy="403225"/>
          </a:xfrm>
        </p:grpSpPr>
        <p:sp>
          <p:nvSpPr>
            <p:cNvPr id="62" name="AutoShape 4">
              <a:extLst>
                <a:ext uri="{FF2B5EF4-FFF2-40B4-BE49-F238E27FC236}">
                  <a16:creationId xmlns:a16="http://schemas.microsoft.com/office/drawing/2014/main" id="{88F61506-36CF-4E28-A2C9-50C6F1D3E7EA}"/>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 name="Freeform 6">
              <a:extLst>
                <a:ext uri="{FF2B5EF4-FFF2-40B4-BE49-F238E27FC236}">
                  <a16:creationId xmlns:a16="http://schemas.microsoft.com/office/drawing/2014/main" id="{73C51A6E-0D3D-4E49-962B-03B20A133E87}"/>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 name="Freeform 7">
              <a:extLst>
                <a:ext uri="{FF2B5EF4-FFF2-40B4-BE49-F238E27FC236}">
                  <a16:creationId xmlns:a16="http://schemas.microsoft.com/office/drawing/2014/main" id="{BFBB4A40-9F9E-492F-A7C4-F537841EF997}"/>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 name="Freeform 83">
              <a:extLst>
                <a:ext uri="{FF2B5EF4-FFF2-40B4-BE49-F238E27FC236}">
                  <a16:creationId xmlns:a16="http://schemas.microsoft.com/office/drawing/2014/main" id="{E0757797-0F34-4362-9192-0FE6E5D5173E}"/>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 name="Freeform 84">
              <a:extLst>
                <a:ext uri="{FF2B5EF4-FFF2-40B4-BE49-F238E27FC236}">
                  <a16:creationId xmlns:a16="http://schemas.microsoft.com/office/drawing/2014/main" id="{D3A178E0-80C8-403E-B76D-F2AFD23DC598}"/>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 name="Freeform 85">
              <a:extLst>
                <a:ext uri="{FF2B5EF4-FFF2-40B4-BE49-F238E27FC236}">
                  <a16:creationId xmlns:a16="http://schemas.microsoft.com/office/drawing/2014/main" id="{A421C42C-F506-4D4F-AA27-AC6649BA3F01}"/>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 name="Freeform 86">
              <a:extLst>
                <a:ext uri="{FF2B5EF4-FFF2-40B4-BE49-F238E27FC236}">
                  <a16:creationId xmlns:a16="http://schemas.microsoft.com/office/drawing/2014/main" id="{729B0490-C9D6-4DBB-903A-C2F59D882E77}"/>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 name="Freeform 87">
              <a:extLst>
                <a:ext uri="{FF2B5EF4-FFF2-40B4-BE49-F238E27FC236}">
                  <a16:creationId xmlns:a16="http://schemas.microsoft.com/office/drawing/2014/main" id="{062DA5E6-2BC9-4B3D-8269-FC39B0A87F02}"/>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 name="Freeform 88">
              <a:extLst>
                <a:ext uri="{FF2B5EF4-FFF2-40B4-BE49-F238E27FC236}">
                  <a16:creationId xmlns:a16="http://schemas.microsoft.com/office/drawing/2014/main" id="{B62BD2CA-35DA-43EC-ADD6-9A7645ACAF0F}"/>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 name="Freeform 89">
              <a:extLst>
                <a:ext uri="{FF2B5EF4-FFF2-40B4-BE49-F238E27FC236}">
                  <a16:creationId xmlns:a16="http://schemas.microsoft.com/office/drawing/2014/main" id="{7AEC0B98-C6CD-4FAF-A048-2B9D584D113F}"/>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 name="Freeform 90">
              <a:extLst>
                <a:ext uri="{FF2B5EF4-FFF2-40B4-BE49-F238E27FC236}">
                  <a16:creationId xmlns:a16="http://schemas.microsoft.com/office/drawing/2014/main" id="{A89FA9C4-A3F0-4CBC-A3C7-1383AB133D89}"/>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 name="Freeform 91">
              <a:extLst>
                <a:ext uri="{FF2B5EF4-FFF2-40B4-BE49-F238E27FC236}">
                  <a16:creationId xmlns:a16="http://schemas.microsoft.com/office/drawing/2014/main" id="{7E22A295-35E8-46A8-AE0D-0B878370A1E5}"/>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 name="Freeform 92">
              <a:extLst>
                <a:ext uri="{FF2B5EF4-FFF2-40B4-BE49-F238E27FC236}">
                  <a16:creationId xmlns:a16="http://schemas.microsoft.com/office/drawing/2014/main" id="{04507016-C573-4138-968A-8C0096A114BE}"/>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 name="Freeform 93">
              <a:extLst>
                <a:ext uri="{FF2B5EF4-FFF2-40B4-BE49-F238E27FC236}">
                  <a16:creationId xmlns:a16="http://schemas.microsoft.com/office/drawing/2014/main" id="{B2E70FFA-0DA9-40E1-9E0F-7C78D061FB05}"/>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 name="Freeform 94">
              <a:extLst>
                <a:ext uri="{FF2B5EF4-FFF2-40B4-BE49-F238E27FC236}">
                  <a16:creationId xmlns:a16="http://schemas.microsoft.com/office/drawing/2014/main" id="{984CCE0A-9A73-4F22-9558-658EB334C6C6}"/>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 name="Freeform 95">
              <a:extLst>
                <a:ext uri="{FF2B5EF4-FFF2-40B4-BE49-F238E27FC236}">
                  <a16:creationId xmlns:a16="http://schemas.microsoft.com/office/drawing/2014/main" id="{F951CC34-18E7-4AF8-9426-5F72C121F696}"/>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 name="Freeform 96">
              <a:extLst>
                <a:ext uri="{FF2B5EF4-FFF2-40B4-BE49-F238E27FC236}">
                  <a16:creationId xmlns:a16="http://schemas.microsoft.com/office/drawing/2014/main" id="{6F2985CA-8E29-4063-8731-E5F2BD1D8B53}"/>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 name="Freeform 97">
              <a:extLst>
                <a:ext uri="{FF2B5EF4-FFF2-40B4-BE49-F238E27FC236}">
                  <a16:creationId xmlns:a16="http://schemas.microsoft.com/office/drawing/2014/main" id="{5780A8E9-9129-4E4F-A3D0-4CAEEC8200EC}"/>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 name="Freeform 98">
              <a:extLst>
                <a:ext uri="{FF2B5EF4-FFF2-40B4-BE49-F238E27FC236}">
                  <a16:creationId xmlns:a16="http://schemas.microsoft.com/office/drawing/2014/main" id="{137BAF9B-4A9F-4CD8-B122-71BCB60C9215}"/>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 name="Freeform 99">
              <a:extLst>
                <a:ext uri="{FF2B5EF4-FFF2-40B4-BE49-F238E27FC236}">
                  <a16:creationId xmlns:a16="http://schemas.microsoft.com/office/drawing/2014/main" id="{0C1228B8-0324-4403-AEF6-FCC4AB492C1C}"/>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 name="Freeform 100">
              <a:extLst>
                <a:ext uri="{FF2B5EF4-FFF2-40B4-BE49-F238E27FC236}">
                  <a16:creationId xmlns:a16="http://schemas.microsoft.com/office/drawing/2014/main" id="{B181299C-0CF4-44EA-97F9-852F64FEAEC9}"/>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 name="Freeform 101">
              <a:extLst>
                <a:ext uri="{FF2B5EF4-FFF2-40B4-BE49-F238E27FC236}">
                  <a16:creationId xmlns:a16="http://schemas.microsoft.com/office/drawing/2014/main" id="{0F5CD9DF-80B7-459E-BDE7-37FB8B95C2C7}"/>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 name="Freeform 102">
              <a:extLst>
                <a:ext uri="{FF2B5EF4-FFF2-40B4-BE49-F238E27FC236}">
                  <a16:creationId xmlns:a16="http://schemas.microsoft.com/office/drawing/2014/main" id="{E5CE1E15-24A0-4D9A-A134-E24CABC9C586}"/>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 name="Freeform 103">
              <a:extLst>
                <a:ext uri="{FF2B5EF4-FFF2-40B4-BE49-F238E27FC236}">
                  <a16:creationId xmlns:a16="http://schemas.microsoft.com/office/drawing/2014/main" id="{D022E516-EE17-4E1A-91D7-26798C179342}"/>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 name="Freeform 104">
              <a:extLst>
                <a:ext uri="{FF2B5EF4-FFF2-40B4-BE49-F238E27FC236}">
                  <a16:creationId xmlns:a16="http://schemas.microsoft.com/office/drawing/2014/main" id="{99FC2710-29FD-4CB1-A61F-B17E55A42D26}"/>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 name="Freeform 105">
              <a:extLst>
                <a:ext uri="{FF2B5EF4-FFF2-40B4-BE49-F238E27FC236}">
                  <a16:creationId xmlns:a16="http://schemas.microsoft.com/office/drawing/2014/main" id="{CA07087F-3570-4D22-B714-C015539D263C}"/>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88" name="Rectangle 176">
            <a:extLst>
              <a:ext uri="{FF2B5EF4-FFF2-40B4-BE49-F238E27FC236}">
                <a16:creationId xmlns:a16="http://schemas.microsoft.com/office/drawing/2014/main" id="{F63D2447-968D-4391-82CF-99220D3851CF}"/>
              </a:ext>
            </a:extLst>
          </p:cNvPr>
          <p:cNvSpPr>
            <a:spLocks noGrp="1" noChangeArrowheads="1"/>
          </p:cNvSpPr>
          <p:nvPr>
            <p:ph type="ftr" sz="quarter" idx="13"/>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2935035088"/>
      </p:ext>
    </p:extLst>
  </p:cSld>
  <p:clrMapOvr>
    <a:masterClrMapping/>
  </p:clrMapOvr>
  <p:extLst>
    <p:ext uri="{DCECCB84-F9BA-43D5-87BE-67443E8EF086}">
      <p15:sldGuideLst xmlns:p15="http://schemas.microsoft.com/office/powerpoint/2012/main">
        <p15:guide id="1" orient="horz" pos="4200" userDrawn="1">
          <p15:clr>
            <a:srgbClr val="FBAE40"/>
          </p15:clr>
        </p15:guide>
        <p15:guide id="2" pos="2880" userDrawn="1">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3_Comparison">
    <p:spTree>
      <p:nvGrpSpPr>
        <p:cNvPr id="1" name=""/>
        <p:cNvGrpSpPr/>
        <p:nvPr/>
      </p:nvGrpSpPr>
      <p:grpSpPr>
        <a:xfrm>
          <a:off x="0" y="0"/>
          <a:ext cx="0" cy="0"/>
          <a:chOff x="0" y="0"/>
          <a:chExt cx="0" cy="0"/>
        </a:xfrm>
      </p:grpSpPr>
      <p:sp>
        <p:nvSpPr>
          <p:cNvPr id="2" name="Title 1"/>
          <p:cNvSpPr>
            <a:spLocks noGrp="1"/>
          </p:cNvSpPr>
          <p:nvPr>
            <p:ph type="title"/>
          </p:nvPr>
        </p:nvSpPr>
        <p:spPr>
          <a:xfrm>
            <a:off x="317119" y="228600"/>
            <a:ext cx="8188710" cy="86868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hasCustomPrompt="1"/>
          </p:nvPr>
        </p:nvSpPr>
        <p:spPr>
          <a:xfrm>
            <a:off x="317115" y="1004757"/>
            <a:ext cx="4040188" cy="639762"/>
          </a:xfrm>
        </p:spPr>
        <p:txBody>
          <a:bodyPr lIns="91397" anchor="b"/>
          <a:lstStyle>
            <a:lvl1pPr marL="0" indent="0">
              <a:buNone/>
              <a:defRPr sz="1400" b="1">
                <a:solidFill>
                  <a:srgbClr val="000000"/>
                </a:solidFill>
              </a:defRPr>
            </a:lvl1pPr>
            <a:lvl2pPr marL="456986" indent="0">
              <a:buNone/>
              <a:defRPr sz="2000" b="1"/>
            </a:lvl2pPr>
            <a:lvl3pPr marL="913972" indent="0">
              <a:buNone/>
              <a:defRPr sz="1800" b="1"/>
            </a:lvl3pPr>
            <a:lvl4pPr marL="1370959" indent="0">
              <a:buNone/>
              <a:defRPr sz="1600" b="1"/>
            </a:lvl4pPr>
            <a:lvl5pPr marL="1827945" indent="0">
              <a:buNone/>
              <a:defRPr sz="1600" b="1"/>
            </a:lvl5pPr>
            <a:lvl6pPr marL="2284932" indent="0">
              <a:buNone/>
              <a:defRPr sz="1600" b="1"/>
            </a:lvl6pPr>
            <a:lvl7pPr marL="2741916" indent="0">
              <a:buNone/>
              <a:defRPr sz="1600" b="1"/>
            </a:lvl7pPr>
            <a:lvl8pPr marL="3198904" indent="0">
              <a:buNone/>
              <a:defRPr sz="1600" b="1"/>
            </a:lvl8pPr>
            <a:lvl9pPr marL="3655888" indent="0">
              <a:buNone/>
              <a:defRPr sz="1600" b="1"/>
            </a:lvl9pPr>
          </a:lstStyle>
          <a:p>
            <a:pPr lvl="0"/>
            <a:r>
              <a:rPr lang="en-US" dirty="0"/>
              <a:t>CLICK TO EDIT MASTER TEXT STYLES</a:t>
            </a:r>
          </a:p>
        </p:txBody>
      </p:sp>
      <p:sp>
        <p:nvSpPr>
          <p:cNvPr id="5" name="Text Placeholder 4"/>
          <p:cNvSpPr>
            <a:spLocks noGrp="1"/>
          </p:cNvSpPr>
          <p:nvPr>
            <p:ph type="body" sz="quarter" idx="3" hasCustomPrompt="1"/>
          </p:nvPr>
        </p:nvSpPr>
        <p:spPr>
          <a:xfrm>
            <a:off x="4449061" y="1004757"/>
            <a:ext cx="4041775" cy="639762"/>
          </a:xfrm>
        </p:spPr>
        <p:txBody>
          <a:bodyPr lIns="91397" anchor="b"/>
          <a:lstStyle>
            <a:lvl1pPr marL="0" indent="0">
              <a:buNone/>
              <a:defRPr sz="1400" b="1">
                <a:solidFill>
                  <a:srgbClr val="000000"/>
                </a:solidFill>
              </a:defRPr>
            </a:lvl1pPr>
            <a:lvl2pPr marL="456986" indent="0">
              <a:buNone/>
              <a:defRPr sz="2000" b="1"/>
            </a:lvl2pPr>
            <a:lvl3pPr marL="913972" indent="0">
              <a:buNone/>
              <a:defRPr sz="1800" b="1"/>
            </a:lvl3pPr>
            <a:lvl4pPr marL="1370959" indent="0">
              <a:buNone/>
              <a:defRPr sz="1600" b="1"/>
            </a:lvl4pPr>
            <a:lvl5pPr marL="1827945" indent="0">
              <a:buNone/>
              <a:defRPr sz="1600" b="1"/>
            </a:lvl5pPr>
            <a:lvl6pPr marL="2284932" indent="0">
              <a:buNone/>
              <a:defRPr sz="1600" b="1"/>
            </a:lvl6pPr>
            <a:lvl7pPr marL="2741916" indent="0">
              <a:buNone/>
              <a:defRPr sz="1600" b="1"/>
            </a:lvl7pPr>
            <a:lvl8pPr marL="3198904" indent="0">
              <a:buNone/>
              <a:defRPr sz="1600" b="1"/>
            </a:lvl8pPr>
            <a:lvl9pPr marL="3655888" indent="0">
              <a:buNone/>
              <a:defRPr sz="1600" b="1"/>
            </a:lvl9pPr>
          </a:lstStyle>
          <a:p>
            <a:pPr lvl="0"/>
            <a:r>
              <a:rPr lang="en-US" dirty="0"/>
              <a:t>CLICK TO EDIT MASTER TEXT STYLES</a:t>
            </a:r>
          </a:p>
        </p:txBody>
      </p:sp>
      <p:sp>
        <p:nvSpPr>
          <p:cNvPr id="10" name="Content Placeholder 2"/>
          <p:cNvSpPr>
            <a:spLocks noGrp="1"/>
          </p:cNvSpPr>
          <p:nvPr>
            <p:ph sz="half" idx="13"/>
          </p:nvPr>
        </p:nvSpPr>
        <p:spPr>
          <a:xfrm>
            <a:off x="317115" y="1664598"/>
            <a:ext cx="4041648" cy="4553643"/>
          </a:xfrm>
        </p:spPr>
        <p:txBody>
          <a:bodyPr lIns="91397"/>
          <a:lstStyle>
            <a:lvl1pPr>
              <a:spcBef>
                <a:spcPts val="600"/>
              </a:spcBef>
              <a:defRPr sz="1400">
                <a:solidFill>
                  <a:srgbClr val="7A9B3D"/>
                </a:solidFill>
              </a:defRPr>
            </a:lvl1pPr>
            <a:lvl2pPr marL="114248" indent="-114248">
              <a:spcBef>
                <a:spcPts val="600"/>
              </a:spcBef>
              <a:buClr>
                <a:srgbClr val="7A9B3D"/>
              </a:buClr>
              <a:defRPr sz="1200">
                <a:solidFill>
                  <a:srgbClr val="000000"/>
                </a:solidFill>
              </a:defRPr>
            </a:lvl2pPr>
            <a:lvl3pPr marL="228492" indent="-114248">
              <a:spcBef>
                <a:spcPts val="600"/>
              </a:spcBef>
              <a:defRPr sz="1100">
                <a:solidFill>
                  <a:srgbClr val="000000"/>
                </a:solidFill>
              </a:defRPr>
            </a:lvl3pPr>
            <a:lvl4pPr marL="342739" indent="-114248">
              <a:spcBef>
                <a:spcPts val="600"/>
              </a:spcBef>
              <a:buClr>
                <a:srgbClr val="000000"/>
              </a:buClr>
              <a:defRPr sz="1100">
                <a:solidFill>
                  <a:srgbClr val="000000"/>
                </a:solidFill>
              </a:defRPr>
            </a:lvl4pPr>
            <a:lvl5pP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2"/>
          <p:cNvSpPr>
            <a:spLocks noGrp="1"/>
          </p:cNvSpPr>
          <p:nvPr>
            <p:ph sz="half" idx="14"/>
          </p:nvPr>
        </p:nvSpPr>
        <p:spPr>
          <a:xfrm>
            <a:off x="4449061" y="1665798"/>
            <a:ext cx="4041648" cy="4552443"/>
          </a:xfrm>
        </p:spPr>
        <p:txBody>
          <a:bodyPr lIns="91397"/>
          <a:lstStyle>
            <a:lvl1pPr>
              <a:spcBef>
                <a:spcPts val="600"/>
              </a:spcBef>
              <a:defRPr sz="1400">
                <a:solidFill>
                  <a:srgbClr val="7A9B3D"/>
                </a:solidFill>
              </a:defRPr>
            </a:lvl1pPr>
            <a:lvl2pPr marL="114248" indent="-114248">
              <a:spcBef>
                <a:spcPts val="600"/>
              </a:spcBef>
              <a:buClr>
                <a:srgbClr val="7A9B3D"/>
              </a:buClr>
              <a:defRPr sz="1200">
                <a:solidFill>
                  <a:srgbClr val="000000"/>
                </a:solidFill>
              </a:defRPr>
            </a:lvl2pPr>
            <a:lvl3pPr marL="228492" indent="-114248">
              <a:spcBef>
                <a:spcPts val="600"/>
              </a:spcBef>
              <a:defRPr sz="1100">
                <a:solidFill>
                  <a:srgbClr val="000000"/>
                </a:solidFill>
              </a:defRPr>
            </a:lvl3pPr>
            <a:lvl4pPr marL="342739" indent="-114248">
              <a:spcBef>
                <a:spcPts val="600"/>
              </a:spcBef>
              <a:buClr>
                <a:srgbClr val="000000"/>
              </a:buClr>
              <a:defRPr sz="1100">
                <a:solidFill>
                  <a:srgbClr val="000000"/>
                </a:solidFill>
              </a:defRPr>
            </a:lvl4pPr>
            <a:lvl5pPr>
              <a:defRPr sz="11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Footer Placeholder 4"/>
          <p:cNvSpPr>
            <a:spLocks noGrp="1"/>
          </p:cNvSpPr>
          <p:nvPr>
            <p:ph type="ftr" sz="quarter" idx="16"/>
          </p:nvPr>
        </p:nvSpPr>
        <p:spPr>
          <a:xfrm>
            <a:off x="320040" y="6483290"/>
            <a:ext cx="3933825" cy="172486"/>
          </a:xfrm>
        </p:spPr>
        <p:txBody>
          <a:bodyPr/>
          <a:lstStyle>
            <a:lvl1pPr algn="r">
              <a:defRPr smtClean="0">
                <a:solidFill>
                  <a:srgbClr val="000000"/>
                </a:solidFill>
              </a:defRPr>
            </a:lvl1pPr>
          </a:lstStyle>
          <a:p>
            <a:pPr algn="l">
              <a:defRPr/>
            </a:pPr>
            <a:r>
              <a:rPr lang="en-US" dirty="0"/>
              <a:t>For institutional use only.</a:t>
            </a:r>
          </a:p>
        </p:txBody>
      </p:sp>
      <p:sp>
        <p:nvSpPr>
          <p:cNvPr id="15" name="Rectangle 155"/>
          <p:cNvSpPr>
            <a:spLocks noGrp="1" noChangeArrowheads="1"/>
          </p:cNvSpPr>
          <p:nvPr>
            <p:ph type="dt" sz="half" idx="17"/>
          </p:nvPr>
        </p:nvSpPr>
        <p:spPr>
          <a:xfrm>
            <a:off x="320040" y="6655656"/>
            <a:ext cx="1983958" cy="120649"/>
          </a:xfrm>
        </p:spPr>
        <p:txBody>
          <a:bodyPr/>
          <a:lstStyle>
            <a:lvl1pPr algn="l">
              <a:defRPr sz="700" smtClean="0">
                <a:solidFill>
                  <a:srgbClr val="000000"/>
                </a:solidFill>
              </a:defRPr>
            </a:lvl1pPr>
          </a:lstStyle>
          <a:p>
            <a:pPr>
              <a:defRPr/>
            </a:pPr>
            <a:r>
              <a:rPr lang="en-US" dirty="0"/>
              <a:t>Production code #</a:t>
            </a:r>
          </a:p>
        </p:txBody>
      </p:sp>
      <p:grpSp>
        <p:nvGrpSpPr>
          <p:cNvPr id="16" name="Group 15"/>
          <p:cNvGrpSpPr/>
          <p:nvPr userDrawn="1"/>
        </p:nvGrpSpPr>
        <p:grpSpPr>
          <a:xfrm>
            <a:off x="7364320" y="6412514"/>
            <a:ext cx="1371600" cy="283464"/>
            <a:chOff x="4291013" y="3178175"/>
            <a:chExt cx="3197225" cy="688975"/>
          </a:xfrm>
        </p:grpSpPr>
        <p:sp>
          <p:nvSpPr>
            <p:cNvPr id="17"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8"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9"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0"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1"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2"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3"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4"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5"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6"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7"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8"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9"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0"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1"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2"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3"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4"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5"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6"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7"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8"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9"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40"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41"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grpSp>
      <p:sp>
        <p:nvSpPr>
          <p:cNvPr id="42" name="Slide Number Placeholder 3"/>
          <p:cNvSpPr>
            <a:spLocks noGrp="1"/>
          </p:cNvSpPr>
          <p:nvPr>
            <p:ph type="sldNum" sz="quarter" idx="18"/>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327986021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Back_Cover_BD">
    <p:spTree>
      <p:nvGrpSpPr>
        <p:cNvPr id="1" name=""/>
        <p:cNvGrpSpPr/>
        <p:nvPr/>
      </p:nvGrpSpPr>
      <p:grpSpPr>
        <a:xfrm>
          <a:off x="0" y="0"/>
          <a:ext cx="0" cy="0"/>
          <a:chOff x="0" y="0"/>
          <a:chExt cx="0" cy="0"/>
        </a:xfrm>
      </p:grpSpPr>
      <p:sp>
        <p:nvSpPr>
          <p:cNvPr id="5" name="TextBox 4"/>
          <p:cNvSpPr txBox="1"/>
          <p:nvPr userDrawn="1"/>
        </p:nvSpPr>
        <p:spPr>
          <a:xfrm>
            <a:off x="1267508" y="6473364"/>
            <a:ext cx="6466114" cy="353943"/>
          </a:xfrm>
          <a:prstGeom prst="rect">
            <a:avLst/>
          </a:prstGeom>
          <a:noFill/>
        </p:spPr>
        <p:txBody>
          <a:bodyPr wrap="square" lIns="91397" tIns="45698" rIns="91397" bIns="45698" rtlCol="0">
            <a:spAutoFit/>
          </a:bodyPr>
          <a:lstStyle/>
          <a:p>
            <a:pPr algn="ctr" defTabSz="913972" fontAlgn="base">
              <a:spcBef>
                <a:spcPts val="200"/>
              </a:spcBef>
              <a:spcAft>
                <a:spcPct val="0"/>
              </a:spcAft>
              <a:defRPr/>
            </a:pPr>
            <a:r>
              <a:rPr lang="en-US" altLang="en-US" sz="900" dirty="0">
                <a:solidFill>
                  <a:srgbClr val="000000"/>
                </a:solidFill>
                <a:ea typeface="ＭＳ Ｐゴシック"/>
              </a:rPr>
              <a:t>FIDELITY INVESTMENTS INSTITUTIONAL SERVICES COMPANY, INC., 500 SALEM STREET, SMITHFIELD, RI  02917</a:t>
            </a:r>
            <a:br>
              <a:rPr lang="en-US" altLang="en-US" sz="1200" dirty="0">
                <a:solidFill>
                  <a:srgbClr val="000000"/>
                </a:solidFill>
                <a:ea typeface="ＭＳ Ｐゴシック"/>
              </a:rPr>
            </a:br>
            <a:r>
              <a:rPr lang="en-US" sz="800" dirty="0">
                <a:solidFill>
                  <a:srgbClr val="000000"/>
                </a:solidFill>
                <a:ea typeface="ＭＳ Ｐゴシック"/>
              </a:rPr>
              <a:t>© 2018 FMR LLC. All rights reserved.</a:t>
            </a:r>
          </a:p>
        </p:txBody>
      </p:sp>
      <p:grpSp>
        <p:nvGrpSpPr>
          <p:cNvPr id="32" name="Group 31"/>
          <p:cNvGrpSpPr/>
          <p:nvPr userDrawn="1"/>
        </p:nvGrpSpPr>
        <p:grpSpPr>
          <a:xfrm>
            <a:off x="360752" y="5158824"/>
            <a:ext cx="1890168" cy="396052"/>
            <a:chOff x="6871938" y="4475163"/>
            <a:chExt cx="1924401" cy="403225"/>
          </a:xfrm>
        </p:grpSpPr>
        <p:sp>
          <p:nvSpPr>
            <p:cNvPr id="33" name="AutoShape 4"/>
            <p:cNvSpPr>
              <a:spLocks noChangeAspect="1" noChangeArrowheads="1" noTextEdit="1"/>
            </p:cNvSpPr>
            <p:nvPr/>
          </p:nvSpPr>
          <p:spPr bwMode="auto">
            <a:xfrm>
              <a:off x="687193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34" name="Freeform 33"/>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35" name="Freeform 34"/>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36" name="Freeform 35"/>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39" name="Freeform 38"/>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8" name="Freeform 67"/>
            <p:cNvSpPr>
              <a:spLocks/>
            </p:cNvSpPr>
            <p:nvPr/>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9" name="Freeform 68"/>
            <p:cNvSpPr>
              <a:spLocks noEditPoints="1"/>
            </p:cNvSpPr>
            <p:nvPr/>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0" name="Freeform 69"/>
            <p:cNvSpPr>
              <a:spLocks noEditPoints="1"/>
            </p:cNvSpPr>
            <p:nvPr/>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1" name="Freeform 70"/>
            <p:cNvSpPr>
              <a:spLocks noEditPoints="1"/>
            </p:cNvSpPr>
            <p:nvPr/>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2" name="Freeform 71"/>
            <p:cNvSpPr>
              <a:spLocks/>
            </p:cNvSpPr>
            <p:nvPr/>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3" name="Freeform 72"/>
            <p:cNvSpPr>
              <a:spLocks noEditPoints="1"/>
            </p:cNvSpPr>
            <p:nvPr/>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4" name="Freeform 73"/>
            <p:cNvSpPr>
              <a:spLocks/>
            </p:cNvSpPr>
            <p:nvPr/>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5" name="Freeform 74"/>
            <p:cNvSpPr>
              <a:spLocks/>
            </p:cNvSpPr>
            <p:nvPr/>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6" name="Freeform 75"/>
            <p:cNvSpPr>
              <a:spLocks/>
            </p:cNvSpPr>
            <p:nvPr/>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7" name="Freeform 76"/>
            <p:cNvSpPr>
              <a:spLocks/>
            </p:cNvSpPr>
            <p:nvPr/>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8" name="Freeform 77"/>
            <p:cNvSpPr>
              <a:spLocks/>
            </p:cNvSpPr>
            <p:nvPr/>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9" name="Freeform 78"/>
            <p:cNvSpPr>
              <a:spLocks/>
            </p:cNvSpPr>
            <p:nvPr/>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0" name="Freeform 79"/>
            <p:cNvSpPr>
              <a:spLocks/>
            </p:cNvSpPr>
            <p:nvPr/>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1" name="Freeform 80"/>
            <p:cNvSpPr>
              <a:spLocks/>
            </p:cNvSpPr>
            <p:nvPr/>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2" name="Freeform 81"/>
            <p:cNvSpPr>
              <a:spLocks/>
            </p:cNvSpPr>
            <p:nvPr/>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3" name="Freeform 82"/>
            <p:cNvSpPr>
              <a:spLocks noEditPoints="1"/>
            </p:cNvSpPr>
            <p:nvPr/>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4" name="Freeform 83"/>
            <p:cNvSpPr>
              <a:spLocks noEditPoints="1"/>
            </p:cNvSpPr>
            <p:nvPr/>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5" name="Freeform 84"/>
            <p:cNvSpPr>
              <a:spLocks/>
            </p:cNvSpPr>
            <p:nvPr/>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6" name="Freeform 85"/>
            <p:cNvSpPr>
              <a:spLocks/>
            </p:cNvSpPr>
            <p:nvPr/>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7" name="Freeform 86"/>
            <p:cNvSpPr>
              <a:spLocks/>
            </p:cNvSpPr>
            <p:nvPr/>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8" name="Freeform 87"/>
            <p:cNvSpPr>
              <a:spLocks/>
            </p:cNvSpPr>
            <p:nvPr/>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grpSp>
      <p:sp>
        <p:nvSpPr>
          <p:cNvPr id="91" name="Content Placeholder 12"/>
          <p:cNvSpPr>
            <a:spLocks noGrp="1"/>
          </p:cNvSpPr>
          <p:nvPr>
            <p:ph sz="quarter" idx="16" hasCustomPrompt="1"/>
          </p:nvPr>
        </p:nvSpPr>
        <p:spPr>
          <a:xfrm>
            <a:off x="7991479" y="6332083"/>
            <a:ext cx="908050" cy="377825"/>
          </a:xfrm>
        </p:spPr>
        <p:txBody>
          <a:bodyPr anchor="b"/>
          <a:lstStyle>
            <a:lvl1pPr marL="0" indent="0" algn="r">
              <a:spcBef>
                <a:spcPts val="0"/>
              </a:spcBef>
              <a:defRPr sz="700" b="0">
                <a:solidFill>
                  <a:schemeClr val="tx1"/>
                </a:solidFill>
              </a:defRPr>
            </a:lvl1pPr>
            <a:lvl2pPr algn="r">
              <a:defRPr sz="700" b="0">
                <a:solidFill>
                  <a:schemeClr val="tx1"/>
                </a:solidFill>
              </a:defRPr>
            </a:lvl2pPr>
            <a:lvl3pPr algn="r">
              <a:defRPr sz="700" b="0">
                <a:solidFill>
                  <a:schemeClr val="tx1"/>
                </a:solidFill>
              </a:defRPr>
            </a:lvl3pPr>
            <a:lvl4pPr algn="r">
              <a:defRPr sz="700" b="0">
                <a:solidFill>
                  <a:schemeClr val="tx1"/>
                </a:solidFill>
              </a:defRPr>
            </a:lvl4pPr>
            <a:lvl5pPr algn="r">
              <a:defRPr sz="700" b="0">
                <a:solidFill>
                  <a:schemeClr val="tx1"/>
                </a:solidFill>
              </a:defRPr>
            </a:lvl5pPr>
          </a:lstStyle>
          <a:p>
            <a:pPr lvl="0"/>
            <a:r>
              <a:rPr lang="en-US" dirty="0"/>
              <a:t>1.000000.100</a:t>
            </a:r>
          </a:p>
          <a:p>
            <a:pPr lvl="0"/>
            <a:r>
              <a:rPr lang="en-US" dirty="0"/>
              <a:t>MMYY</a:t>
            </a:r>
          </a:p>
        </p:txBody>
      </p:sp>
      <p:pic>
        <p:nvPicPr>
          <p:cNvPr id="37"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9647" y="4359385"/>
            <a:ext cx="4941925" cy="539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 name="Content Placeholder 10"/>
          <p:cNvSpPr>
            <a:spLocks noGrp="1"/>
          </p:cNvSpPr>
          <p:nvPr>
            <p:ph sz="quarter" idx="15" hasCustomPrompt="1"/>
          </p:nvPr>
        </p:nvSpPr>
        <p:spPr>
          <a:xfrm>
            <a:off x="312964" y="6289468"/>
            <a:ext cx="964293" cy="420439"/>
          </a:xfrm>
        </p:spPr>
        <p:txBody>
          <a:bodyPr/>
          <a:lstStyle>
            <a:lvl1pPr marL="0" indent="0">
              <a:spcBef>
                <a:spcPts val="0"/>
              </a:spcBef>
              <a:defRPr sz="700" b="0">
                <a:solidFill>
                  <a:schemeClr val="tx1"/>
                </a:solidFill>
              </a:defRPr>
            </a:lvl1pPr>
            <a:lvl2pPr>
              <a:defRPr sz="700" b="0">
                <a:solidFill>
                  <a:schemeClr val="tx1"/>
                </a:solidFill>
              </a:defRPr>
            </a:lvl2pPr>
            <a:lvl3pPr>
              <a:defRPr sz="700" b="0">
                <a:solidFill>
                  <a:schemeClr val="tx1"/>
                </a:solidFill>
              </a:defRPr>
            </a:lvl3pPr>
            <a:lvl4pPr>
              <a:defRPr sz="700" b="0">
                <a:solidFill>
                  <a:schemeClr val="tx1"/>
                </a:solidFill>
              </a:defRPr>
            </a:lvl4pPr>
            <a:lvl5pPr>
              <a:defRPr sz="700" b="0">
                <a:solidFill>
                  <a:schemeClr val="tx1"/>
                </a:solidFill>
              </a:defRPr>
            </a:lvl5pPr>
          </a:lstStyle>
          <a:p>
            <a:pPr lvl="0"/>
            <a:r>
              <a:rPr lang="en-US" dirty="0"/>
              <a:t>XXXXXX.1.0</a:t>
            </a:r>
          </a:p>
          <a:p>
            <a:pPr lvl="0"/>
            <a:r>
              <a:rPr lang="en-US" dirty="0"/>
              <a:t>FIAM-BD</a:t>
            </a:r>
          </a:p>
          <a:p>
            <a:pPr lvl="0"/>
            <a:r>
              <a:rPr lang="en-US" dirty="0"/>
              <a:t>EXPIRES: 00/00/00</a:t>
            </a:r>
          </a:p>
        </p:txBody>
      </p:sp>
    </p:spTree>
    <p:extLst>
      <p:ext uri="{BB962C8B-B14F-4D97-AF65-F5344CB8AC3E}">
        <p14:creationId xmlns:p14="http://schemas.microsoft.com/office/powerpoint/2010/main" val="207769256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Back_Cover_IA">
    <p:spTree>
      <p:nvGrpSpPr>
        <p:cNvPr id="1" name=""/>
        <p:cNvGrpSpPr/>
        <p:nvPr/>
      </p:nvGrpSpPr>
      <p:grpSpPr>
        <a:xfrm>
          <a:off x="0" y="0"/>
          <a:ext cx="0" cy="0"/>
          <a:chOff x="0" y="0"/>
          <a:chExt cx="0" cy="0"/>
        </a:xfrm>
      </p:grpSpPr>
      <p:sp>
        <p:nvSpPr>
          <p:cNvPr id="2" name="Rectangle 1"/>
          <p:cNvSpPr/>
          <p:nvPr userDrawn="1"/>
        </p:nvSpPr>
        <p:spPr>
          <a:xfrm>
            <a:off x="1277187" y="6483639"/>
            <a:ext cx="6446759" cy="215444"/>
          </a:xfrm>
          <a:prstGeom prst="rect">
            <a:avLst/>
          </a:prstGeom>
        </p:spPr>
        <p:txBody>
          <a:bodyPr wrap="square" lIns="91397" tIns="45698" rIns="91397" bIns="45698">
            <a:spAutoFit/>
          </a:bodyPr>
          <a:lstStyle/>
          <a:p>
            <a:pPr algn="ctr" defTabSz="913972" fontAlgn="base">
              <a:spcBef>
                <a:spcPts val="200"/>
              </a:spcBef>
              <a:spcAft>
                <a:spcPct val="0"/>
              </a:spcAft>
              <a:defRPr/>
            </a:pPr>
            <a:r>
              <a:rPr lang="en-US" sz="800" dirty="0">
                <a:solidFill>
                  <a:srgbClr val="000000"/>
                </a:solidFill>
                <a:ea typeface="ＭＳ Ｐゴシック"/>
              </a:rPr>
              <a:t>© 2018 FMR LLC. All rights reserved.</a:t>
            </a:r>
            <a:endParaRPr lang="en-US" altLang="en-US" sz="800" dirty="0">
              <a:solidFill>
                <a:srgbClr val="000000"/>
              </a:solidFill>
              <a:ea typeface="ＭＳ Ｐゴシック"/>
            </a:endParaRPr>
          </a:p>
        </p:txBody>
      </p:sp>
      <p:grpSp>
        <p:nvGrpSpPr>
          <p:cNvPr id="37" name="Group 36"/>
          <p:cNvGrpSpPr/>
          <p:nvPr userDrawn="1"/>
        </p:nvGrpSpPr>
        <p:grpSpPr>
          <a:xfrm>
            <a:off x="360752" y="5158824"/>
            <a:ext cx="1890168" cy="396052"/>
            <a:chOff x="6871938" y="4475163"/>
            <a:chExt cx="1924401" cy="403225"/>
          </a:xfrm>
        </p:grpSpPr>
        <p:sp>
          <p:nvSpPr>
            <p:cNvPr id="38" name="AutoShape 4"/>
            <p:cNvSpPr>
              <a:spLocks noChangeAspect="1" noChangeArrowheads="1" noTextEdit="1"/>
            </p:cNvSpPr>
            <p:nvPr/>
          </p:nvSpPr>
          <p:spPr bwMode="auto">
            <a:xfrm>
              <a:off x="687193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39" name="Freeform 38"/>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0" name="Freeform 39"/>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1" name="Freeform 40"/>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2" name="Freeform 41"/>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3" name="Freeform 42"/>
            <p:cNvSpPr>
              <a:spLocks/>
            </p:cNvSpPr>
            <p:nvPr/>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4" name="Freeform 43"/>
            <p:cNvSpPr>
              <a:spLocks noEditPoints="1"/>
            </p:cNvSpPr>
            <p:nvPr/>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5" name="Freeform 44"/>
            <p:cNvSpPr>
              <a:spLocks noEditPoints="1"/>
            </p:cNvSpPr>
            <p:nvPr/>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6" name="Freeform 45"/>
            <p:cNvSpPr>
              <a:spLocks noEditPoints="1"/>
            </p:cNvSpPr>
            <p:nvPr/>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7" name="Freeform 46"/>
            <p:cNvSpPr>
              <a:spLocks/>
            </p:cNvSpPr>
            <p:nvPr/>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8" name="Freeform 47"/>
            <p:cNvSpPr>
              <a:spLocks noEditPoints="1"/>
            </p:cNvSpPr>
            <p:nvPr/>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9" name="Freeform 48"/>
            <p:cNvSpPr>
              <a:spLocks/>
            </p:cNvSpPr>
            <p:nvPr/>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0" name="Freeform 49"/>
            <p:cNvSpPr>
              <a:spLocks/>
            </p:cNvSpPr>
            <p:nvPr/>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1" name="Freeform 50"/>
            <p:cNvSpPr>
              <a:spLocks/>
            </p:cNvSpPr>
            <p:nvPr/>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2" name="Freeform 51"/>
            <p:cNvSpPr>
              <a:spLocks/>
            </p:cNvSpPr>
            <p:nvPr/>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3" name="Freeform 52"/>
            <p:cNvSpPr>
              <a:spLocks/>
            </p:cNvSpPr>
            <p:nvPr/>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4" name="Freeform 53"/>
            <p:cNvSpPr>
              <a:spLocks/>
            </p:cNvSpPr>
            <p:nvPr/>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5" name="Freeform 54"/>
            <p:cNvSpPr>
              <a:spLocks/>
            </p:cNvSpPr>
            <p:nvPr/>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6" name="Freeform 55"/>
            <p:cNvSpPr>
              <a:spLocks/>
            </p:cNvSpPr>
            <p:nvPr/>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7" name="Freeform 56"/>
            <p:cNvSpPr>
              <a:spLocks/>
            </p:cNvSpPr>
            <p:nvPr/>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8" name="Freeform 57"/>
            <p:cNvSpPr>
              <a:spLocks noEditPoints="1"/>
            </p:cNvSpPr>
            <p:nvPr/>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9" name="Freeform 58"/>
            <p:cNvSpPr>
              <a:spLocks noEditPoints="1"/>
            </p:cNvSpPr>
            <p:nvPr/>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0" name="Freeform 59"/>
            <p:cNvSpPr>
              <a:spLocks/>
            </p:cNvSpPr>
            <p:nvPr/>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1" name="Freeform 60"/>
            <p:cNvSpPr>
              <a:spLocks/>
            </p:cNvSpPr>
            <p:nvPr/>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2" name="Freeform 61"/>
            <p:cNvSpPr>
              <a:spLocks/>
            </p:cNvSpPr>
            <p:nvPr/>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3" name="Freeform 62"/>
            <p:cNvSpPr>
              <a:spLocks/>
            </p:cNvSpPr>
            <p:nvPr/>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grpSp>
      <p:sp>
        <p:nvSpPr>
          <p:cNvPr id="65" name="Content Placeholder 10"/>
          <p:cNvSpPr>
            <a:spLocks noGrp="1"/>
          </p:cNvSpPr>
          <p:nvPr>
            <p:ph sz="quarter" idx="15" hasCustomPrompt="1"/>
          </p:nvPr>
        </p:nvSpPr>
        <p:spPr>
          <a:xfrm>
            <a:off x="312964" y="6289468"/>
            <a:ext cx="964293" cy="420439"/>
          </a:xfrm>
        </p:spPr>
        <p:txBody>
          <a:bodyPr/>
          <a:lstStyle>
            <a:lvl1pPr marL="0" indent="0">
              <a:spcBef>
                <a:spcPts val="0"/>
              </a:spcBef>
              <a:defRPr sz="700" b="0">
                <a:solidFill>
                  <a:schemeClr val="tx1"/>
                </a:solidFill>
              </a:defRPr>
            </a:lvl1pPr>
            <a:lvl2pPr>
              <a:defRPr sz="700" b="0">
                <a:solidFill>
                  <a:schemeClr val="tx1"/>
                </a:solidFill>
              </a:defRPr>
            </a:lvl2pPr>
            <a:lvl3pPr>
              <a:defRPr sz="700" b="0">
                <a:solidFill>
                  <a:schemeClr val="tx1"/>
                </a:solidFill>
              </a:defRPr>
            </a:lvl3pPr>
            <a:lvl4pPr>
              <a:defRPr sz="700" b="0">
                <a:solidFill>
                  <a:schemeClr val="tx1"/>
                </a:solidFill>
              </a:defRPr>
            </a:lvl4pPr>
            <a:lvl5pPr>
              <a:defRPr sz="700" b="0">
                <a:solidFill>
                  <a:schemeClr val="tx1"/>
                </a:solidFill>
              </a:defRPr>
            </a:lvl5pPr>
          </a:lstStyle>
          <a:p>
            <a:pPr lvl="0"/>
            <a:r>
              <a:rPr lang="en-US" dirty="0"/>
              <a:t>XXXXXX.1.0</a:t>
            </a:r>
          </a:p>
          <a:p>
            <a:pPr lvl="0"/>
            <a:r>
              <a:rPr lang="en-US" dirty="0"/>
              <a:t>FIAM-IA</a:t>
            </a:r>
          </a:p>
          <a:p>
            <a:pPr lvl="0"/>
            <a:r>
              <a:rPr lang="en-US" dirty="0"/>
              <a:t>EXPIRES: 00/00/00</a:t>
            </a:r>
          </a:p>
        </p:txBody>
      </p:sp>
      <p:pic>
        <p:nvPicPr>
          <p:cNvPr id="32"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9647" y="4359385"/>
            <a:ext cx="4941925" cy="539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92582740"/>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Back_Cover_IA_Item_Code">
    <p:spTree>
      <p:nvGrpSpPr>
        <p:cNvPr id="1" name=""/>
        <p:cNvGrpSpPr/>
        <p:nvPr/>
      </p:nvGrpSpPr>
      <p:grpSpPr>
        <a:xfrm>
          <a:off x="0" y="0"/>
          <a:ext cx="0" cy="0"/>
          <a:chOff x="0" y="0"/>
          <a:chExt cx="0" cy="0"/>
        </a:xfrm>
      </p:grpSpPr>
      <p:sp>
        <p:nvSpPr>
          <p:cNvPr id="2" name="Rectangle 1"/>
          <p:cNvSpPr/>
          <p:nvPr userDrawn="1"/>
        </p:nvSpPr>
        <p:spPr>
          <a:xfrm>
            <a:off x="1277187" y="6483639"/>
            <a:ext cx="6446759" cy="215444"/>
          </a:xfrm>
          <a:prstGeom prst="rect">
            <a:avLst/>
          </a:prstGeom>
        </p:spPr>
        <p:txBody>
          <a:bodyPr wrap="square" lIns="91397" tIns="45698" rIns="91397" bIns="45698">
            <a:spAutoFit/>
          </a:bodyPr>
          <a:lstStyle/>
          <a:p>
            <a:pPr algn="ctr" defTabSz="913972" fontAlgn="base">
              <a:spcBef>
                <a:spcPts val="200"/>
              </a:spcBef>
              <a:spcAft>
                <a:spcPct val="0"/>
              </a:spcAft>
              <a:defRPr/>
            </a:pPr>
            <a:r>
              <a:rPr lang="en-US" sz="800" dirty="0">
                <a:solidFill>
                  <a:srgbClr val="000000"/>
                </a:solidFill>
                <a:ea typeface="ＭＳ Ｐゴシック"/>
              </a:rPr>
              <a:t>© 2018 FMR LLC. All rights reserved.</a:t>
            </a:r>
            <a:endParaRPr lang="en-US" altLang="en-US" sz="800" dirty="0">
              <a:solidFill>
                <a:srgbClr val="000000"/>
              </a:solidFill>
              <a:ea typeface="ＭＳ Ｐゴシック"/>
            </a:endParaRPr>
          </a:p>
        </p:txBody>
      </p:sp>
      <p:grpSp>
        <p:nvGrpSpPr>
          <p:cNvPr id="37" name="Group 36"/>
          <p:cNvGrpSpPr/>
          <p:nvPr userDrawn="1"/>
        </p:nvGrpSpPr>
        <p:grpSpPr>
          <a:xfrm>
            <a:off x="360752" y="5158824"/>
            <a:ext cx="1890168" cy="396052"/>
            <a:chOff x="6871938" y="4475163"/>
            <a:chExt cx="1924401" cy="403225"/>
          </a:xfrm>
        </p:grpSpPr>
        <p:sp>
          <p:nvSpPr>
            <p:cNvPr id="38" name="AutoShape 4"/>
            <p:cNvSpPr>
              <a:spLocks noChangeAspect="1" noChangeArrowheads="1" noTextEdit="1"/>
            </p:cNvSpPr>
            <p:nvPr/>
          </p:nvSpPr>
          <p:spPr bwMode="auto">
            <a:xfrm>
              <a:off x="687193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39" name="Freeform 38"/>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0" name="Freeform 39"/>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1" name="Freeform 40"/>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2" name="Freeform 41"/>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3" name="Freeform 42"/>
            <p:cNvSpPr>
              <a:spLocks/>
            </p:cNvSpPr>
            <p:nvPr/>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4" name="Freeform 43"/>
            <p:cNvSpPr>
              <a:spLocks noEditPoints="1"/>
            </p:cNvSpPr>
            <p:nvPr/>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5" name="Freeform 44"/>
            <p:cNvSpPr>
              <a:spLocks noEditPoints="1"/>
            </p:cNvSpPr>
            <p:nvPr/>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6" name="Freeform 45"/>
            <p:cNvSpPr>
              <a:spLocks noEditPoints="1"/>
            </p:cNvSpPr>
            <p:nvPr/>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7" name="Freeform 46"/>
            <p:cNvSpPr>
              <a:spLocks/>
            </p:cNvSpPr>
            <p:nvPr/>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8" name="Freeform 47"/>
            <p:cNvSpPr>
              <a:spLocks noEditPoints="1"/>
            </p:cNvSpPr>
            <p:nvPr/>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9" name="Freeform 48"/>
            <p:cNvSpPr>
              <a:spLocks/>
            </p:cNvSpPr>
            <p:nvPr/>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0" name="Freeform 49"/>
            <p:cNvSpPr>
              <a:spLocks/>
            </p:cNvSpPr>
            <p:nvPr/>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1" name="Freeform 50"/>
            <p:cNvSpPr>
              <a:spLocks/>
            </p:cNvSpPr>
            <p:nvPr/>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2" name="Freeform 51"/>
            <p:cNvSpPr>
              <a:spLocks/>
            </p:cNvSpPr>
            <p:nvPr/>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3" name="Freeform 52"/>
            <p:cNvSpPr>
              <a:spLocks/>
            </p:cNvSpPr>
            <p:nvPr/>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4" name="Freeform 53"/>
            <p:cNvSpPr>
              <a:spLocks/>
            </p:cNvSpPr>
            <p:nvPr/>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5" name="Freeform 54"/>
            <p:cNvSpPr>
              <a:spLocks/>
            </p:cNvSpPr>
            <p:nvPr/>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6" name="Freeform 55"/>
            <p:cNvSpPr>
              <a:spLocks/>
            </p:cNvSpPr>
            <p:nvPr/>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7" name="Freeform 56"/>
            <p:cNvSpPr>
              <a:spLocks/>
            </p:cNvSpPr>
            <p:nvPr/>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8" name="Freeform 57"/>
            <p:cNvSpPr>
              <a:spLocks noEditPoints="1"/>
            </p:cNvSpPr>
            <p:nvPr/>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9" name="Freeform 58"/>
            <p:cNvSpPr>
              <a:spLocks noEditPoints="1"/>
            </p:cNvSpPr>
            <p:nvPr/>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0" name="Freeform 59"/>
            <p:cNvSpPr>
              <a:spLocks/>
            </p:cNvSpPr>
            <p:nvPr/>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1" name="Freeform 60"/>
            <p:cNvSpPr>
              <a:spLocks/>
            </p:cNvSpPr>
            <p:nvPr/>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2" name="Freeform 61"/>
            <p:cNvSpPr>
              <a:spLocks/>
            </p:cNvSpPr>
            <p:nvPr/>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3" name="Freeform 62"/>
            <p:cNvSpPr>
              <a:spLocks/>
            </p:cNvSpPr>
            <p:nvPr/>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grpSp>
      <p:sp>
        <p:nvSpPr>
          <p:cNvPr id="65" name="Content Placeholder 10"/>
          <p:cNvSpPr>
            <a:spLocks noGrp="1"/>
          </p:cNvSpPr>
          <p:nvPr>
            <p:ph sz="quarter" idx="15" hasCustomPrompt="1"/>
          </p:nvPr>
        </p:nvSpPr>
        <p:spPr>
          <a:xfrm>
            <a:off x="312964" y="6289468"/>
            <a:ext cx="964293" cy="420439"/>
          </a:xfrm>
        </p:spPr>
        <p:txBody>
          <a:bodyPr/>
          <a:lstStyle>
            <a:lvl1pPr marL="0" indent="0">
              <a:spcBef>
                <a:spcPts val="0"/>
              </a:spcBef>
              <a:defRPr sz="700" b="0">
                <a:solidFill>
                  <a:schemeClr val="tx1"/>
                </a:solidFill>
              </a:defRPr>
            </a:lvl1pPr>
            <a:lvl2pPr>
              <a:defRPr sz="700" b="0">
                <a:solidFill>
                  <a:schemeClr val="tx1"/>
                </a:solidFill>
              </a:defRPr>
            </a:lvl2pPr>
            <a:lvl3pPr>
              <a:defRPr sz="700" b="0">
                <a:solidFill>
                  <a:schemeClr val="tx1"/>
                </a:solidFill>
              </a:defRPr>
            </a:lvl3pPr>
            <a:lvl4pPr>
              <a:defRPr sz="700" b="0">
                <a:solidFill>
                  <a:schemeClr val="tx1"/>
                </a:solidFill>
              </a:defRPr>
            </a:lvl4pPr>
            <a:lvl5pPr>
              <a:defRPr sz="700" b="0">
                <a:solidFill>
                  <a:schemeClr val="tx1"/>
                </a:solidFill>
              </a:defRPr>
            </a:lvl5pPr>
          </a:lstStyle>
          <a:p>
            <a:pPr lvl="0"/>
            <a:r>
              <a:rPr lang="en-US" dirty="0"/>
              <a:t>XXXXXX.1.0</a:t>
            </a:r>
          </a:p>
          <a:p>
            <a:pPr lvl="0"/>
            <a:r>
              <a:rPr lang="en-US" dirty="0"/>
              <a:t>FIAM-IA</a:t>
            </a:r>
          </a:p>
          <a:p>
            <a:pPr lvl="0"/>
            <a:r>
              <a:rPr lang="en-US" dirty="0"/>
              <a:t>EXPIRES: 00/00/00</a:t>
            </a:r>
          </a:p>
        </p:txBody>
      </p:sp>
      <p:pic>
        <p:nvPicPr>
          <p:cNvPr id="32"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9647" y="4359385"/>
            <a:ext cx="4941925" cy="539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Content Placeholder 12"/>
          <p:cNvSpPr>
            <a:spLocks noGrp="1"/>
          </p:cNvSpPr>
          <p:nvPr>
            <p:ph sz="quarter" idx="16" hasCustomPrompt="1"/>
          </p:nvPr>
        </p:nvSpPr>
        <p:spPr>
          <a:xfrm>
            <a:off x="7991479" y="6322558"/>
            <a:ext cx="908050" cy="377825"/>
          </a:xfrm>
        </p:spPr>
        <p:txBody>
          <a:bodyPr anchor="b"/>
          <a:lstStyle>
            <a:lvl1pPr marL="0" indent="0" algn="r">
              <a:spcBef>
                <a:spcPts val="0"/>
              </a:spcBef>
              <a:defRPr sz="700" b="0">
                <a:solidFill>
                  <a:schemeClr val="tx1"/>
                </a:solidFill>
              </a:defRPr>
            </a:lvl1pPr>
            <a:lvl2pPr algn="r">
              <a:defRPr sz="700" b="0">
                <a:solidFill>
                  <a:schemeClr val="tx1"/>
                </a:solidFill>
              </a:defRPr>
            </a:lvl2pPr>
            <a:lvl3pPr algn="r">
              <a:defRPr sz="700" b="0">
                <a:solidFill>
                  <a:schemeClr val="tx1"/>
                </a:solidFill>
              </a:defRPr>
            </a:lvl3pPr>
            <a:lvl4pPr algn="r">
              <a:defRPr sz="700" b="0">
                <a:solidFill>
                  <a:schemeClr val="tx1"/>
                </a:solidFill>
              </a:defRPr>
            </a:lvl4pPr>
            <a:lvl5pPr algn="r">
              <a:defRPr sz="700" b="0">
                <a:solidFill>
                  <a:schemeClr val="tx1"/>
                </a:solidFill>
              </a:defRPr>
            </a:lvl5pPr>
          </a:lstStyle>
          <a:p>
            <a:pPr lvl="0"/>
            <a:r>
              <a:rPr lang="en-US" dirty="0"/>
              <a:t>1.000000.100</a:t>
            </a:r>
          </a:p>
        </p:txBody>
      </p:sp>
    </p:spTree>
    <p:extLst>
      <p:ext uri="{BB962C8B-B14F-4D97-AF65-F5344CB8AC3E}">
        <p14:creationId xmlns:p14="http://schemas.microsoft.com/office/powerpoint/2010/main" val="303488479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8"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dirty="0"/>
              <a:t>For institutional use only.</a:t>
            </a:r>
          </a:p>
        </p:txBody>
      </p:sp>
      <p:sp>
        <p:nvSpPr>
          <p:cNvPr id="9" name="Rectangle 155"/>
          <p:cNvSpPr>
            <a:spLocks noGrp="1" noChangeArrowheads="1"/>
          </p:cNvSpPr>
          <p:nvPr>
            <p:ph type="dt" sz="half" idx="16"/>
          </p:nvPr>
        </p:nvSpPr>
        <p:spPr>
          <a:xfrm>
            <a:off x="320040" y="6655656"/>
            <a:ext cx="1983958" cy="120649"/>
          </a:xfrm>
        </p:spPr>
        <p:txBody>
          <a:bodyPr/>
          <a:lstStyle>
            <a:lvl1pPr algn="l">
              <a:defRPr sz="700" smtClean="0">
                <a:solidFill>
                  <a:srgbClr val="000000"/>
                </a:solidFill>
              </a:defRPr>
            </a:lvl1pPr>
          </a:lstStyle>
          <a:p>
            <a:pPr>
              <a:defRPr/>
            </a:pPr>
            <a:r>
              <a:rPr lang="en-US" dirty="0"/>
              <a:t>Production code #</a:t>
            </a:r>
          </a:p>
        </p:txBody>
      </p:sp>
      <p:grpSp>
        <p:nvGrpSpPr>
          <p:cNvPr id="10" name="Group 9"/>
          <p:cNvGrpSpPr/>
          <p:nvPr userDrawn="1"/>
        </p:nvGrpSpPr>
        <p:grpSpPr>
          <a:xfrm>
            <a:off x="7364320" y="6412514"/>
            <a:ext cx="1371600" cy="283464"/>
            <a:chOff x="4291013" y="3178175"/>
            <a:chExt cx="3197225" cy="688975"/>
          </a:xfrm>
        </p:grpSpPr>
        <p:sp>
          <p:nvSpPr>
            <p:cNvPr id="11"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2"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3"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4"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5"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6"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7"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8"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9"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0"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1"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2"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3"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4"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5"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6"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7"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8"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9"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0"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1"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2"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3"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4"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5"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grpSp>
      <p:sp>
        <p:nvSpPr>
          <p:cNvPr id="36"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1030328941"/>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6_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41248"/>
          </a:xfrm>
        </p:spPr>
        <p:txBody>
          <a:bodyPr/>
          <a:lstStyle>
            <a:lvl1pPr>
              <a:defRPr>
                <a:solidFill>
                  <a:srgbClr val="333F48"/>
                </a:solidFill>
              </a:defRPr>
            </a:lvl1pPr>
          </a:lstStyle>
          <a:p>
            <a:r>
              <a:rPr lang="en-US"/>
              <a:t>Click to edit Master title style</a:t>
            </a:r>
            <a:endParaRPr lang="en-US" dirty="0"/>
          </a:p>
        </p:txBody>
      </p:sp>
      <p:sp>
        <p:nvSpPr>
          <p:cNvPr id="11" name="Content Placeholder 2"/>
          <p:cNvSpPr>
            <a:spLocks noGrp="1"/>
          </p:cNvSpPr>
          <p:nvPr>
            <p:ph idx="12"/>
          </p:nvPr>
        </p:nvSpPr>
        <p:spPr>
          <a:xfrm>
            <a:off x="317115" y="1339850"/>
            <a:ext cx="8188710" cy="4878388"/>
          </a:xfrm>
        </p:spPr>
        <p:txBody>
          <a:bodyPr lIns="91440"/>
          <a:lstStyle>
            <a:lvl1pPr marL="0" indent="0" algn="l" rtl="0" fontAlgn="base">
              <a:spcBef>
                <a:spcPts val="480"/>
              </a:spcBef>
              <a:spcAft>
                <a:spcPct val="0"/>
              </a:spcAft>
              <a:buSzPct val="40000"/>
              <a:defRPr lang="en-US" sz="1600" b="1" dirty="0" smtClean="0">
                <a:solidFill>
                  <a:srgbClr val="7A9B3D"/>
                </a:solidFill>
                <a:latin typeface="+mn-lt"/>
                <a:ea typeface="+mn-ea"/>
                <a:cs typeface="+mn-cs"/>
              </a:defRPr>
            </a:lvl1pPr>
            <a:lvl2pPr marL="114300" indent="-114300">
              <a:spcBef>
                <a:spcPts val="288"/>
              </a:spcBef>
              <a:buClr>
                <a:srgbClr val="7A9B3D"/>
              </a:buClr>
              <a:defRPr lang="en-US" dirty="0" smtClean="0">
                <a:solidFill>
                  <a:srgbClr val="000000"/>
                </a:solidFill>
                <a:latin typeface="+mn-lt"/>
              </a:defRPr>
            </a:lvl2pPr>
            <a:lvl3pPr marL="228600" indent="-114300">
              <a:buClr>
                <a:srgbClr val="768692"/>
              </a:buClr>
              <a:defRPr lang="en-US" sz="1200" dirty="0" smtClean="0">
                <a:solidFill>
                  <a:srgbClr val="000000"/>
                </a:solidFill>
                <a:latin typeface="+mn-lt"/>
              </a:defRPr>
            </a:lvl3pPr>
            <a:lvl4pPr marL="342900" indent="-114300">
              <a:buClr>
                <a:srgbClr val="000000"/>
              </a:buClr>
              <a:buSzPct val="100000"/>
              <a:buFont typeface="Arial" pitchFamily="34" charset="0"/>
              <a:buChar char="•"/>
              <a:defRPr sz="1200">
                <a:solidFill>
                  <a:srgbClr val="000000"/>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dirty="0"/>
              <a:t>For institutional use only.</a:t>
            </a:r>
          </a:p>
        </p:txBody>
      </p:sp>
      <p:sp>
        <p:nvSpPr>
          <p:cNvPr id="13"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dirty="0"/>
              <a:t>Production code #</a:t>
            </a:r>
          </a:p>
        </p:txBody>
      </p:sp>
      <p:grpSp>
        <p:nvGrpSpPr>
          <p:cNvPr id="14" name="Group 13"/>
          <p:cNvGrpSpPr/>
          <p:nvPr userDrawn="1"/>
        </p:nvGrpSpPr>
        <p:grpSpPr>
          <a:xfrm>
            <a:off x="7364320" y="6412511"/>
            <a:ext cx="1371600" cy="283464"/>
            <a:chOff x="4291013" y="3178175"/>
            <a:chExt cx="3197225" cy="688975"/>
          </a:xfrm>
        </p:grpSpPr>
        <p:sp>
          <p:nvSpPr>
            <p:cNvPr id="15"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6"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7"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8"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19"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0"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1"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2"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3"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4"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5"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6"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7"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8"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29"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0"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1"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2"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3"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4"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5"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6"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7"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8"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sp>
          <p:nvSpPr>
            <p:cNvPr id="39"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dirty="0">
                <a:solidFill>
                  <a:srgbClr val="000000"/>
                </a:solidFill>
                <a:ea typeface="ＭＳ Ｐゴシック"/>
              </a:endParaRPr>
            </a:p>
          </p:txBody>
        </p:sp>
      </p:grpSp>
      <p:sp>
        <p:nvSpPr>
          <p:cNvPr id="40"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330356609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2_FIAM_External_Print_Cover_IA">
    <p:spTree>
      <p:nvGrpSpPr>
        <p:cNvPr id="1" name=""/>
        <p:cNvGrpSpPr/>
        <p:nvPr/>
      </p:nvGrpSpPr>
      <p:grpSpPr>
        <a:xfrm>
          <a:off x="0" y="0"/>
          <a:ext cx="0" cy="0"/>
          <a:chOff x="0" y="0"/>
          <a:chExt cx="0" cy="0"/>
        </a:xfrm>
      </p:grpSpPr>
      <p:pic>
        <p:nvPicPr>
          <p:cNvPr id="45" name="Picture 4" descr="C:\Users\a216024\Desktop\stuff\_PPT_107\PowerPoint_Templates_Samples\_10x7.5_Templates\NEW_FIAM\Covers_secondary_slides\2-7_Covers\LightGray_grayscale.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12688" b="17606"/>
          <a:stretch/>
        </p:blipFill>
        <p:spPr bwMode="auto">
          <a:xfrm>
            <a:off x="0" y="0"/>
            <a:ext cx="9144000" cy="3646714"/>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5" descr="C:\Users\a216024\Desktop\stuff\_PPT_107\PowerPoint_Templates_Samples\_10x7.5_Templates\NEW_FIAM\Covers_secondary_slides\2-7_Covers\ColorBar.png"/>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0" y="3481388"/>
            <a:ext cx="9144000" cy="219075"/>
          </a:xfrm>
          <a:prstGeom prst="rect">
            <a:avLst/>
          </a:prstGeom>
          <a:noFill/>
          <a:extLst>
            <a:ext uri="{909E8E84-426E-40DD-AFC4-6F175D3DCCD1}">
              <a14:hiddenFill xmlns:a14="http://schemas.microsoft.com/office/drawing/2010/main">
                <a:solidFill>
                  <a:srgbClr val="FFFFFF"/>
                </a:solidFill>
              </a14:hiddenFill>
            </a:ext>
          </a:extLst>
        </p:spPr>
      </p:pic>
      <p:grpSp>
        <p:nvGrpSpPr>
          <p:cNvPr id="80" name="Group 79"/>
          <p:cNvGrpSpPr/>
          <p:nvPr userDrawn="1"/>
        </p:nvGrpSpPr>
        <p:grpSpPr>
          <a:xfrm>
            <a:off x="6970734" y="6128901"/>
            <a:ext cx="1839928" cy="396052"/>
            <a:chOff x="6923088" y="4475163"/>
            <a:chExt cx="1873251" cy="403225"/>
          </a:xfrm>
        </p:grpSpPr>
        <p:sp>
          <p:nvSpPr>
            <p:cNvPr id="81" name="AutoShape 4"/>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2" name="Freeform 6"/>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3" name="Freeform 7"/>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4" name="Freeform 83"/>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5" name="Freeform 84"/>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6" name="Freeform 85"/>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7" name="Freeform 86"/>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8" name="Freeform 87"/>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9" name="Freeform 88"/>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0" name="Freeform 89"/>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1" name="Freeform 90"/>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2" name="Freeform 91"/>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3" name="Freeform 92"/>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4" name="Freeform 93"/>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5" name="Freeform 94"/>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6" name="Freeform 95"/>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7" name="Freeform 96"/>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8" name="Freeform 97"/>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9" name="Freeform 98"/>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0" name="Freeform 99"/>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1" name="Freeform 100"/>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2" name="Freeform 101"/>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3" name="Freeform 102"/>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4" name="Freeform 103"/>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5" name="Freeform 104"/>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6" name="Freeform 105"/>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44" name="Text Placeholder 43"/>
          <p:cNvSpPr>
            <a:spLocks noGrp="1"/>
          </p:cNvSpPr>
          <p:nvPr>
            <p:ph type="body" sz="quarter" idx="10"/>
          </p:nvPr>
        </p:nvSpPr>
        <p:spPr>
          <a:xfrm>
            <a:off x="715495" y="3833787"/>
            <a:ext cx="2455544" cy="332365"/>
          </a:xfrm>
        </p:spPr>
        <p:txBody>
          <a:bodyPr/>
          <a:lstStyle>
            <a:lvl1pPr>
              <a:defRPr lang="en-US" sz="1000" b="0" kern="1200" smtClean="0">
                <a:solidFill>
                  <a:srgbClr val="000000"/>
                </a:solidFill>
                <a:latin typeface="Arial"/>
                <a:ea typeface="ＭＳ Ｐゴシック"/>
                <a:cs typeface="ＭＳ Ｐゴシック"/>
              </a:defRPr>
            </a:lvl1pPr>
          </a:lstStyle>
          <a:p>
            <a:pPr lvl="0"/>
            <a:r>
              <a:rPr lang="en-US"/>
              <a:t>Click to edit Master text styles</a:t>
            </a:r>
          </a:p>
        </p:txBody>
      </p:sp>
      <p:sp>
        <p:nvSpPr>
          <p:cNvPr id="53" name="Content Placeholder 52"/>
          <p:cNvSpPr>
            <a:spLocks noGrp="1"/>
          </p:cNvSpPr>
          <p:nvPr>
            <p:ph sz="quarter" idx="12"/>
          </p:nvPr>
        </p:nvSpPr>
        <p:spPr>
          <a:xfrm>
            <a:off x="6280150" y="3842381"/>
            <a:ext cx="2487613" cy="165226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47" name="Rectangle 176"/>
          <p:cNvSpPr>
            <a:spLocks noGrp="1" noChangeArrowheads="1"/>
          </p:cNvSpPr>
          <p:nvPr>
            <p:ph type="ftr" sz="quarter" idx="13"/>
          </p:nvPr>
        </p:nvSpPr>
        <p:spPr>
          <a:xfrm>
            <a:off x="272775" y="5877558"/>
            <a:ext cx="6014623" cy="260350"/>
          </a:xfrm>
        </p:spPr>
        <p:txBody>
          <a:bodyPr anchor="b" anchorCtr="0"/>
          <a:lstStyle>
            <a:lvl1pPr algn="l">
              <a:defRPr sz="800" b="0" smtClean="0">
                <a:solidFill>
                  <a:srgbClr val="000000"/>
                </a:solidFill>
              </a:defRPr>
            </a:lvl1pPr>
          </a:lstStyle>
          <a:p>
            <a:pPr>
              <a:defRPr/>
            </a:pPr>
            <a:r>
              <a:rPr lang="en-US" b="1"/>
              <a:t>For institutional use only.</a:t>
            </a:r>
            <a:endParaRPr lang="en-US" b="1" dirty="0"/>
          </a:p>
        </p:txBody>
      </p:sp>
      <p:sp>
        <p:nvSpPr>
          <p:cNvPr id="72" name="Rectangle 6"/>
          <p:cNvSpPr>
            <a:spLocks noGrp="1" noChangeArrowheads="1"/>
          </p:cNvSpPr>
          <p:nvPr>
            <p:ph type="subTitle" idx="1"/>
          </p:nvPr>
        </p:nvSpPr>
        <p:spPr>
          <a:xfrm>
            <a:off x="685251" y="2091765"/>
            <a:ext cx="7805762" cy="563076"/>
          </a:xfrm>
        </p:spPr>
        <p:txBody>
          <a:bodyPr lIns="100584" rIns="100584"/>
          <a:lstStyle>
            <a:lvl1pPr marL="0" indent="0">
              <a:spcBef>
                <a:spcPts val="0"/>
              </a:spcBef>
              <a:defRPr sz="2000" b="0">
                <a:solidFill>
                  <a:srgbClr val="7A9B3D"/>
                </a:solidFill>
              </a:defRPr>
            </a:lvl1pPr>
          </a:lstStyle>
          <a:p>
            <a:r>
              <a:rPr lang="en-US"/>
              <a:t>Click to edit Master subtitle style</a:t>
            </a:r>
            <a:endParaRPr lang="en-US" dirty="0"/>
          </a:p>
        </p:txBody>
      </p:sp>
      <p:sp>
        <p:nvSpPr>
          <p:cNvPr id="74" name="Text Placeholder 43"/>
          <p:cNvSpPr>
            <a:spLocks noGrp="1"/>
          </p:cNvSpPr>
          <p:nvPr>
            <p:ph type="body" sz="quarter" idx="14" hasCustomPrompt="1"/>
          </p:nvPr>
        </p:nvSpPr>
        <p:spPr>
          <a:xfrm>
            <a:off x="685251" y="2581276"/>
            <a:ext cx="7805762" cy="266850"/>
          </a:xfrm>
        </p:spPr>
        <p:txBody>
          <a:bodyPr lIns="100584" rIns="100584"/>
          <a:lstStyle>
            <a:lvl1pPr>
              <a:spcBef>
                <a:spcPts val="0"/>
              </a:spcBef>
              <a:defRPr lang="en-US" sz="1200" b="0" kern="1200" dirty="0" smtClean="0">
                <a:solidFill>
                  <a:srgbClr val="333F48"/>
                </a:solidFill>
                <a:latin typeface="Arial"/>
                <a:ea typeface="ＭＳ Ｐゴシック" pitchFamily="34" charset="-128"/>
                <a:cs typeface="+mn-cs"/>
              </a:defRPr>
            </a:lvl1pPr>
          </a:lstStyle>
          <a:p>
            <a:pPr lvl="0"/>
            <a:r>
              <a:rPr lang="en-US" dirty="0"/>
              <a:t>Date</a:t>
            </a:r>
          </a:p>
        </p:txBody>
      </p:sp>
      <p:sp>
        <p:nvSpPr>
          <p:cNvPr id="39" name="Rectangle 9"/>
          <p:cNvSpPr>
            <a:spLocks noGrp="1" noChangeArrowheads="1"/>
          </p:cNvSpPr>
          <p:nvPr>
            <p:ph type="title" hasCustomPrompt="1"/>
          </p:nvPr>
        </p:nvSpPr>
        <p:spPr bwMode="auto">
          <a:xfrm>
            <a:off x="685252" y="1581072"/>
            <a:ext cx="7820573" cy="5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b" anchorCtr="0" compatLnSpc="1">
            <a:prstTxWarp prst="textNoShape">
              <a:avLst/>
            </a:prstTxWarp>
          </a:bodyPr>
          <a:lstStyle>
            <a:lvl1pPr>
              <a:defRPr sz="3000">
                <a:solidFill>
                  <a:schemeClr val="bg2"/>
                </a:solidFill>
              </a:defRPr>
            </a:lvl1pPr>
          </a:lstStyle>
          <a:p>
            <a:pPr lvl="0"/>
            <a:r>
              <a:rPr lang="en-US" altLang="en-US" dirty="0"/>
              <a:t>Click To Edit Master Title Style</a:t>
            </a:r>
          </a:p>
        </p:txBody>
      </p:sp>
      <p:sp>
        <p:nvSpPr>
          <p:cNvPr id="50" name="Picture Placeholder 47"/>
          <p:cNvSpPr>
            <a:spLocks noGrp="1"/>
          </p:cNvSpPr>
          <p:nvPr>
            <p:ph type="pic" sz="quarter" idx="11" hasCustomPrompt="1"/>
          </p:nvPr>
        </p:nvSpPr>
        <p:spPr>
          <a:xfrm>
            <a:off x="804672" y="4105656"/>
            <a:ext cx="2424112" cy="609600"/>
          </a:xfrm>
          <a:noFill/>
        </p:spPr>
        <p:txBody>
          <a:bodyPr anchor="ctr"/>
          <a:lstStyle>
            <a:lvl1pPr>
              <a:defRPr sz="1000" b="0"/>
            </a:lvl1pPr>
          </a:lstStyle>
          <a:p>
            <a:pPr lvl="0"/>
            <a:r>
              <a:rPr lang="en-US" noProof="0" dirty="0"/>
              <a:t>Click icon to add logo</a:t>
            </a:r>
          </a:p>
        </p:txBody>
      </p:sp>
      <p:grpSp>
        <p:nvGrpSpPr>
          <p:cNvPr id="49" name="Group 48"/>
          <p:cNvGrpSpPr/>
          <p:nvPr userDrawn="1"/>
        </p:nvGrpSpPr>
        <p:grpSpPr>
          <a:xfrm>
            <a:off x="371883" y="6327145"/>
            <a:ext cx="4006611" cy="174407"/>
            <a:chOff x="371883" y="6327145"/>
            <a:chExt cx="4006611" cy="174407"/>
          </a:xfrm>
        </p:grpSpPr>
        <p:grpSp>
          <p:nvGrpSpPr>
            <p:cNvPr id="51" name="Group 50"/>
            <p:cNvGrpSpPr/>
            <p:nvPr userDrawn="1"/>
          </p:nvGrpSpPr>
          <p:grpSpPr>
            <a:xfrm>
              <a:off x="371883" y="6359447"/>
              <a:ext cx="3947551" cy="100654"/>
              <a:chOff x="362358" y="6368972"/>
              <a:chExt cx="3947551" cy="100654"/>
            </a:xfrm>
          </p:grpSpPr>
          <p:pic>
            <p:nvPicPr>
              <p:cNvPr id="54" name="Picture 5"/>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r="1439" b="-2834"/>
              <a:stretch/>
            </p:blipFill>
            <p:spPr bwMode="auto">
              <a:xfrm>
                <a:off x="362358" y="6368972"/>
                <a:ext cx="3848307" cy="100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5" name="AutoShape 4"/>
              <p:cNvSpPr>
                <a:spLocks noChangeAspect="1" noChangeArrowheads="1" noTextEdit="1"/>
              </p:cNvSpPr>
              <p:nvPr userDrawn="1"/>
            </p:nvSpPr>
            <p:spPr bwMode="auto">
              <a:xfrm>
                <a:off x="4213072" y="6374683"/>
                <a:ext cx="96837"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52" name="TextBox 51"/>
            <p:cNvSpPr txBox="1"/>
            <p:nvPr userDrawn="1"/>
          </p:nvSpPr>
          <p:spPr>
            <a:xfrm>
              <a:off x="4144134" y="6327145"/>
              <a:ext cx="234360" cy="174407"/>
            </a:xfrm>
            <a:prstGeom prst="rect">
              <a:avLst/>
            </a:prstGeom>
            <a:noFill/>
          </p:spPr>
          <p:txBody>
            <a:bodyPr wrap="none" rtlCol="0">
              <a:spAutoFit/>
            </a:bodyPr>
            <a:lstStyle/>
            <a:p>
              <a:pPr fontAlgn="base">
                <a:spcBef>
                  <a:spcPct val="0"/>
                </a:spcBef>
                <a:spcAft>
                  <a:spcPct val="0"/>
                </a:spcAft>
              </a:pPr>
              <a:r>
                <a:rPr lang="en-US" sz="800" b="1" baseline="30000" dirty="0">
                  <a:solidFill>
                    <a:srgbClr val="000000"/>
                  </a:solidFill>
                  <a:ea typeface="ＭＳ Ｐゴシック"/>
                </a:rPr>
                <a:t>®</a:t>
              </a:r>
            </a:p>
          </p:txBody>
        </p:sp>
      </p:grpSp>
    </p:spTree>
    <p:extLst>
      <p:ext uri="{BB962C8B-B14F-4D97-AF65-F5344CB8AC3E}">
        <p14:creationId xmlns:p14="http://schemas.microsoft.com/office/powerpoint/2010/main" val="1108642778"/>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2_FIAM_External_Print_Cover_BD">
    <p:spTree>
      <p:nvGrpSpPr>
        <p:cNvPr id="1" name=""/>
        <p:cNvGrpSpPr/>
        <p:nvPr/>
      </p:nvGrpSpPr>
      <p:grpSpPr>
        <a:xfrm>
          <a:off x="0" y="0"/>
          <a:ext cx="0" cy="0"/>
          <a:chOff x="0" y="0"/>
          <a:chExt cx="0" cy="0"/>
        </a:xfrm>
      </p:grpSpPr>
      <p:pic>
        <p:nvPicPr>
          <p:cNvPr id="45" name="Picture 4" descr="C:\Users\a216024\Desktop\stuff\_PPT_107\PowerPoint_Templates_Samples\_10x7.5_Templates\NEW_FIAM\Covers_secondary_slides\2-7_Covers\LightGray_grayscale.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12688" b="17606"/>
          <a:stretch/>
        </p:blipFill>
        <p:spPr bwMode="auto">
          <a:xfrm>
            <a:off x="0" y="0"/>
            <a:ext cx="9144000" cy="3646714"/>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5" descr="C:\Users\a216024\Desktop\stuff\_PPT_107\PowerPoint_Templates_Samples\_10x7.5_Templates\NEW_FIAM\Covers_secondary_slides\2-7_Covers\ColorBar.png"/>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0" y="3481388"/>
            <a:ext cx="9144000" cy="219075"/>
          </a:xfrm>
          <a:prstGeom prst="rect">
            <a:avLst/>
          </a:prstGeom>
          <a:noFill/>
          <a:extLst>
            <a:ext uri="{909E8E84-426E-40DD-AFC4-6F175D3DCCD1}">
              <a14:hiddenFill xmlns:a14="http://schemas.microsoft.com/office/drawing/2010/main">
                <a:solidFill>
                  <a:srgbClr val="FFFFFF"/>
                </a:solidFill>
              </a14:hiddenFill>
            </a:ext>
          </a:extLst>
        </p:spPr>
      </p:pic>
      <p:grpSp>
        <p:nvGrpSpPr>
          <p:cNvPr id="80" name="Group 79"/>
          <p:cNvGrpSpPr/>
          <p:nvPr userDrawn="1"/>
        </p:nvGrpSpPr>
        <p:grpSpPr>
          <a:xfrm>
            <a:off x="6970734" y="6128901"/>
            <a:ext cx="1839928" cy="396052"/>
            <a:chOff x="6923088" y="4475163"/>
            <a:chExt cx="1873251" cy="403225"/>
          </a:xfrm>
        </p:grpSpPr>
        <p:sp>
          <p:nvSpPr>
            <p:cNvPr id="81" name="AutoShape 4"/>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2" name="Freeform 6"/>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3" name="Freeform 7"/>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4" name="Freeform 83"/>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5" name="Freeform 84"/>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6" name="Freeform 85"/>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7" name="Freeform 86"/>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8" name="Freeform 87"/>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9" name="Freeform 88"/>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0" name="Freeform 89"/>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1" name="Freeform 90"/>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2" name="Freeform 91"/>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3" name="Freeform 92"/>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4" name="Freeform 93"/>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5" name="Freeform 94"/>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6" name="Freeform 95"/>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7" name="Freeform 96"/>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8" name="Freeform 97"/>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9" name="Freeform 98"/>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0" name="Freeform 99"/>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1" name="Freeform 100"/>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2" name="Freeform 101"/>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3" name="Freeform 102"/>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4" name="Freeform 103"/>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5" name="Freeform 104"/>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6" name="Freeform 105"/>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44" name="Text Placeholder 43"/>
          <p:cNvSpPr>
            <a:spLocks noGrp="1"/>
          </p:cNvSpPr>
          <p:nvPr>
            <p:ph type="body" sz="quarter" idx="10"/>
          </p:nvPr>
        </p:nvSpPr>
        <p:spPr>
          <a:xfrm>
            <a:off x="715495" y="3833787"/>
            <a:ext cx="2455544" cy="332365"/>
          </a:xfrm>
        </p:spPr>
        <p:txBody>
          <a:bodyPr/>
          <a:lstStyle>
            <a:lvl1pPr>
              <a:defRPr lang="en-US" sz="1000" b="0" kern="1200" smtClean="0">
                <a:solidFill>
                  <a:srgbClr val="000000"/>
                </a:solidFill>
                <a:latin typeface="Arial"/>
                <a:ea typeface="ＭＳ Ｐゴシック"/>
                <a:cs typeface="ＭＳ Ｐゴシック"/>
              </a:defRPr>
            </a:lvl1pPr>
          </a:lstStyle>
          <a:p>
            <a:pPr lvl="0"/>
            <a:r>
              <a:rPr lang="en-US"/>
              <a:t>Click to edit Master text styles</a:t>
            </a:r>
          </a:p>
        </p:txBody>
      </p:sp>
      <p:sp>
        <p:nvSpPr>
          <p:cNvPr id="53" name="Content Placeholder 52"/>
          <p:cNvSpPr>
            <a:spLocks noGrp="1"/>
          </p:cNvSpPr>
          <p:nvPr>
            <p:ph sz="quarter" idx="12"/>
          </p:nvPr>
        </p:nvSpPr>
        <p:spPr>
          <a:xfrm>
            <a:off x="6280150" y="3842381"/>
            <a:ext cx="2487613" cy="165226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47" name="Rectangle 176"/>
          <p:cNvSpPr>
            <a:spLocks noGrp="1" noChangeArrowheads="1"/>
          </p:cNvSpPr>
          <p:nvPr>
            <p:ph type="ftr" sz="quarter" idx="13"/>
          </p:nvPr>
        </p:nvSpPr>
        <p:spPr>
          <a:xfrm>
            <a:off x="281401" y="5877558"/>
            <a:ext cx="6014623" cy="260350"/>
          </a:xfrm>
        </p:spPr>
        <p:txBody>
          <a:bodyPr anchor="b" anchorCtr="0"/>
          <a:lstStyle>
            <a:lvl1pPr algn="l">
              <a:defRPr sz="800" b="0" smtClean="0">
                <a:solidFill>
                  <a:srgbClr val="000000"/>
                </a:solidFill>
              </a:defRPr>
            </a:lvl1pPr>
          </a:lstStyle>
          <a:p>
            <a:pPr>
              <a:defRPr/>
            </a:pPr>
            <a:r>
              <a:rPr lang="en-US" b="1"/>
              <a:t>For institutional use only.</a:t>
            </a:r>
            <a:endParaRPr lang="en-US" b="1" dirty="0"/>
          </a:p>
        </p:txBody>
      </p:sp>
      <p:sp>
        <p:nvSpPr>
          <p:cNvPr id="72" name="Rectangle 6"/>
          <p:cNvSpPr>
            <a:spLocks noGrp="1" noChangeArrowheads="1"/>
          </p:cNvSpPr>
          <p:nvPr>
            <p:ph type="subTitle" idx="1"/>
          </p:nvPr>
        </p:nvSpPr>
        <p:spPr>
          <a:xfrm>
            <a:off x="685251" y="2091765"/>
            <a:ext cx="7805762" cy="563076"/>
          </a:xfrm>
        </p:spPr>
        <p:txBody>
          <a:bodyPr lIns="100584" rIns="100584"/>
          <a:lstStyle>
            <a:lvl1pPr marL="0" indent="0">
              <a:spcBef>
                <a:spcPts val="0"/>
              </a:spcBef>
              <a:defRPr sz="2000" b="0">
                <a:solidFill>
                  <a:srgbClr val="7A9B3D"/>
                </a:solidFill>
              </a:defRPr>
            </a:lvl1pPr>
          </a:lstStyle>
          <a:p>
            <a:r>
              <a:rPr lang="en-US"/>
              <a:t>Click to edit Master subtitle style</a:t>
            </a:r>
            <a:endParaRPr lang="en-US" dirty="0"/>
          </a:p>
        </p:txBody>
      </p:sp>
      <p:sp>
        <p:nvSpPr>
          <p:cNvPr id="74" name="Text Placeholder 43"/>
          <p:cNvSpPr>
            <a:spLocks noGrp="1"/>
          </p:cNvSpPr>
          <p:nvPr>
            <p:ph type="body" sz="quarter" idx="14" hasCustomPrompt="1"/>
          </p:nvPr>
        </p:nvSpPr>
        <p:spPr>
          <a:xfrm>
            <a:off x="685251" y="2581276"/>
            <a:ext cx="7805762" cy="266850"/>
          </a:xfrm>
        </p:spPr>
        <p:txBody>
          <a:bodyPr lIns="100584" rIns="100584"/>
          <a:lstStyle>
            <a:lvl1pPr>
              <a:spcBef>
                <a:spcPts val="0"/>
              </a:spcBef>
              <a:defRPr lang="en-US" sz="1200" b="0" kern="1200" dirty="0" smtClean="0">
                <a:solidFill>
                  <a:srgbClr val="333F48"/>
                </a:solidFill>
                <a:latin typeface="Arial"/>
                <a:ea typeface="ＭＳ Ｐゴシック" pitchFamily="34" charset="-128"/>
                <a:cs typeface="+mn-cs"/>
              </a:defRPr>
            </a:lvl1pPr>
          </a:lstStyle>
          <a:p>
            <a:pPr lvl="0"/>
            <a:r>
              <a:rPr lang="en-US" dirty="0"/>
              <a:t>Date</a:t>
            </a:r>
          </a:p>
        </p:txBody>
      </p:sp>
      <p:sp>
        <p:nvSpPr>
          <p:cNvPr id="39" name="Rectangle 9"/>
          <p:cNvSpPr>
            <a:spLocks noGrp="1" noChangeArrowheads="1"/>
          </p:cNvSpPr>
          <p:nvPr>
            <p:ph type="title" hasCustomPrompt="1"/>
          </p:nvPr>
        </p:nvSpPr>
        <p:spPr bwMode="auto">
          <a:xfrm>
            <a:off x="685252" y="1581072"/>
            <a:ext cx="7820573" cy="5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b" anchorCtr="0" compatLnSpc="1">
            <a:prstTxWarp prst="textNoShape">
              <a:avLst/>
            </a:prstTxWarp>
          </a:bodyPr>
          <a:lstStyle>
            <a:lvl1pPr>
              <a:defRPr sz="3000">
                <a:solidFill>
                  <a:schemeClr val="bg2"/>
                </a:solidFill>
              </a:defRPr>
            </a:lvl1pPr>
          </a:lstStyle>
          <a:p>
            <a:pPr lvl="0"/>
            <a:r>
              <a:rPr lang="en-US" altLang="en-US" dirty="0"/>
              <a:t>Click To Edit Master Title Style</a:t>
            </a:r>
          </a:p>
        </p:txBody>
      </p:sp>
      <p:sp>
        <p:nvSpPr>
          <p:cNvPr id="49" name="Text Box 15"/>
          <p:cNvSpPr txBox="1">
            <a:spLocks noChangeArrowheads="1"/>
          </p:cNvSpPr>
          <p:nvPr userDrawn="1"/>
        </p:nvSpPr>
        <p:spPr bwMode="ltGray">
          <a:xfrm>
            <a:off x="383501" y="5535090"/>
            <a:ext cx="2868716" cy="184652"/>
          </a:xfrm>
          <a:prstGeom prst="rect">
            <a:avLst/>
          </a:prstGeom>
          <a:noFill/>
          <a:ln w="9525">
            <a:solidFill>
              <a:srgbClr val="000000"/>
            </a:solidFill>
            <a:miter lim="800000"/>
            <a:headEnd/>
            <a:tailEnd/>
          </a:ln>
        </p:spPr>
        <p:txBody>
          <a:bodyPr wrap="none" lIns="45711" tIns="45711" rIns="45711" bIns="27427" anchor="ctr">
            <a:spAutoFit/>
          </a:bodyP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nSpc>
                <a:spcPct val="90000"/>
              </a:lnSpc>
              <a:defRPr/>
            </a:pPr>
            <a:r>
              <a:rPr lang="en-US" sz="800" b="1" kern="0" dirty="0">
                <a:solidFill>
                  <a:srgbClr val="000000"/>
                </a:solidFill>
                <a:latin typeface="Arial"/>
              </a:rPr>
              <a:t>Not FDIC Insured </a:t>
            </a:r>
            <a:r>
              <a:rPr lang="en-US" sz="800" b="1" kern="0" dirty="0">
                <a:solidFill>
                  <a:srgbClr val="000000"/>
                </a:solidFill>
                <a:latin typeface="Arial"/>
                <a:sym typeface="Wingdings" pitchFamily="2" charset="2"/>
              </a:rPr>
              <a:t> May Lose Value  No Bank Guarantee</a:t>
            </a:r>
          </a:p>
        </p:txBody>
      </p:sp>
      <p:sp>
        <p:nvSpPr>
          <p:cNvPr id="50" name="Picture Placeholder 47"/>
          <p:cNvSpPr>
            <a:spLocks noGrp="1"/>
          </p:cNvSpPr>
          <p:nvPr>
            <p:ph type="pic" sz="quarter" idx="11" hasCustomPrompt="1"/>
          </p:nvPr>
        </p:nvSpPr>
        <p:spPr>
          <a:xfrm>
            <a:off x="804672" y="4105656"/>
            <a:ext cx="2424112" cy="609600"/>
          </a:xfrm>
          <a:noFill/>
        </p:spPr>
        <p:txBody>
          <a:bodyPr anchor="ctr"/>
          <a:lstStyle>
            <a:lvl1pPr>
              <a:defRPr sz="1000" b="0"/>
            </a:lvl1pPr>
          </a:lstStyle>
          <a:p>
            <a:pPr lvl="0"/>
            <a:r>
              <a:rPr lang="en-US" noProof="0" dirty="0"/>
              <a:t>Click icon to add logo</a:t>
            </a:r>
          </a:p>
        </p:txBody>
      </p:sp>
      <p:grpSp>
        <p:nvGrpSpPr>
          <p:cNvPr id="51" name="Group 50"/>
          <p:cNvGrpSpPr/>
          <p:nvPr userDrawn="1"/>
        </p:nvGrpSpPr>
        <p:grpSpPr>
          <a:xfrm>
            <a:off x="371883" y="6327145"/>
            <a:ext cx="4006611" cy="174407"/>
            <a:chOff x="371883" y="6327145"/>
            <a:chExt cx="4006611" cy="174407"/>
          </a:xfrm>
        </p:grpSpPr>
        <p:grpSp>
          <p:nvGrpSpPr>
            <p:cNvPr id="52" name="Group 51"/>
            <p:cNvGrpSpPr/>
            <p:nvPr userDrawn="1"/>
          </p:nvGrpSpPr>
          <p:grpSpPr>
            <a:xfrm>
              <a:off x="371883" y="6359447"/>
              <a:ext cx="3947551" cy="100654"/>
              <a:chOff x="362358" y="6368972"/>
              <a:chExt cx="3947551" cy="100654"/>
            </a:xfrm>
          </p:grpSpPr>
          <p:pic>
            <p:nvPicPr>
              <p:cNvPr id="55" name="Picture 5"/>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r="1439" b="-2834"/>
              <a:stretch/>
            </p:blipFill>
            <p:spPr bwMode="auto">
              <a:xfrm>
                <a:off x="362358" y="6368972"/>
                <a:ext cx="3848307" cy="100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AutoShape 4"/>
              <p:cNvSpPr>
                <a:spLocks noChangeAspect="1" noChangeArrowheads="1" noTextEdit="1"/>
              </p:cNvSpPr>
              <p:nvPr userDrawn="1"/>
            </p:nvSpPr>
            <p:spPr bwMode="auto">
              <a:xfrm>
                <a:off x="4213072" y="6374683"/>
                <a:ext cx="96837"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54" name="TextBox 53"/>
            <p:cNvSpPr txBox="1"/>
            <p:nvPr userDrawn="1"/>
          </p:nvSpPr>
          <p:spPr>
            <a:xfrm>
              <a:off x="4144134" y="6327145"/>
              <a:ext cx="234360" cy="174407"/>
            </a:xfrm>
            <a:prstGeom prst="rect">
              <a:avLst/>
            </a:prstGeom>
            <a:noFill/>
          </p:spPr>
          <p:txBody>
            <a:bodyPr wrap="none" rtlCol="0">
              <a:spAutoFit/>
            </a:bodyPr>
            <a:lstStyle/>
            <a:p>
              <a:pPr fontAlgn="base">
                <a:spcBef>
                  <a:spcPct val="0"/>
                </a:spcBef>
                <a:spcAft>
                  <a:spcPct val="0"/>
                </a:spcAft>
              </a:pPr>
              <a:r>
                <a:rPr lang="en-US" sz="800" b="1" baseline="30000" dirty="0">
                  <a:solidFill>
                    <a:srgbClr val="000000"/>
                  </a:solidFill>
                  <a:ea typeface="ＭＳ Ｐゴシック"/>
                </a:rPr>
                <a:t>®</a:t>
              </a:r>
            </a:p>
          </p:txBody>
        </p:sp>
      </p:grpSp>
    </p:spTree>
    <p:extLst>
      <p:ext uri="{BB962C8B-B14F-4D97-AF65-F5344CB8AC3E}">
        <p14:creationId xmlns:p14="http://schemas.microsoft.com/office/powerpoint/2010/main" val="328473371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2_GIS Cover">
    <p:spTree>
      <p:nvGrpSpPr>
        <p:cNvPr id="1" name=""/>
        <p:cNvGrpSpPr/>
        <p:nvPr/>
      </p:nvGrpSpPr>
      <p:grpSpPr>
        <a:xfrm>
          <a:off x="0" y="0"/>
          <a:ext cx="0" cy="0"/>
          <a:chOff x="0" y="0"/>
          <a:chExt cx="0" cy="0"/>
        </a:xfrm>
      </p:grpSpPr>
      <p:pic>
        <p:nvPicPr>
          <p:cNvPr id="45" name="Picture 4" descr="C:\Users\a216024\Desktop\stuff\_PPT_107\PowerPoint_Templates_Samples\_10x7.5_Templates\NEW_FIAM\Covers_secondary_slides\2-7_Covers\LightGray_grayscale.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12688" b="17606"/>
          <a:stretch/>
        </p:blipFill>
        <p:spPr bwMode="auto">
          <a:xfrm>
            <a:off x="0" y="0"/>
            <a:ext cx="9144000" cy="3646714"/>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5" descr="C:\Users\a216024\Desktop\stuff\_PPT_107\PowerPoint_Templates_Samples\_10x7.5_Templates\NEW_FIAM\Covers_secondary_slides\2-7_Covers\ColorBar.png"/>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l="1379" r="1716"/>
          <a:stretch/>
        </p:blipFill>
        <p:spPr bwMode="auto">
          <a:xfrm>
            <a:off x="0" y="3481388"/>
            <a:ext cx="9144000" cy="219075"/>
          </a:xfrm>
          <a:prstGeom prst="rect">
            <a:avLst/>
          </a:prstGeom>
          <a:noFill/>
          <a:extLst>
            <a:ext uri="{909E8E84-426E-40DD-AFC4-6F175D3DCCD1}">
              <a14:hiddenFill xmlns:a14="http://schemas.microsoft.com/office/drawing/2010/main">
                <a:solidFill>
                  <a:srgbClr val="FFFFFF"/>
                </a:solidFill>
              </a14:hiddenFill>
            </a:ext>
          </a:extLst>
        </p:spPr>
      </p:pic>
      <p:grpSp>
        <p:nvGrpSpPr>
          <p:cNvPr id="80" name="Group 79"/>
          <p:cNvGrpSpPr/>
          <p:nvPr userDrawn="1"/>
        </p:nvGrpSpPr>
        <p:grpSpPr>
          <a:xfrm>
            <a:off x="6970734" y="6128901"/>
            <a:ext cx="1839928" cy="396052"/>
            <a:chOff x="6923088" y="4475163"/>
            <a:chExt cx="1873251" cy="403225"/>
          </a:xfrm>
        </p:grpSpPr>
        <p:sp>
          <p:nvSpPr>
            <p:cNvPr id="81" name="AutoShape 4"/>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2" name="Freeform 6"/>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3" name="Freeform 7"/>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4" name="Freeform 83"/>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5" name="Freeform 84"/>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6" name="Freeform 85"/>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7" name="Freeform 86"/>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8" name="Freeform 87"/>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89" name="Freeform 88"/>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0" name="Freeform 89"/>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1" name="Freeform 90"/>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2" name="Freeform 91"/>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3" name="Freeform 92"/>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4" name="Freeform 93"/>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5" name="Freeform 94"/>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6" name="Freeform 95"/>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7" name="Freeform 96"/>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8" name="Freeform 97"/>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99" name="Freeform 98"/>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0" name="Freeform 99"/>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1" name="Freeform 100"/>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2" name="Freeform 101"/>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3" name="Freeform 102"/>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4" name="Freeform 103"/>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5" name="Freeform 104"/>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06" name="Freeform 105"/>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44" name="Text Placeholder 43"/>
          <p:cNvSpPr>
            <a:spLocks noGrp="1"/>
          </p:cNvSpPr>
          <p:nvPr>
            <p:ph type="body" sz="quarter" idx="10" hasCustomPrompt="1"/>
          </p:nvPr>
        </p:nvSpPr>
        <p:spPr>
          <a:xfrm>
            <a:off x="715495" y="3833787"/>
            <a:ext cx="2455544" cy="332365"/>
          </a:xfrm>
        </p:spPr>
        <p:txBody>
          <a:bodyPr/>
          <a:lstStyle>
            <a:lvl1pPr>
              <a:defRPr lang="en-US" sz="1000" b="1" kern="1200" smtClean="0">
                <a:solidFill>
                  <a:srgbClr val="000000"/>
                </a:solidFill>
                <a:latin typeface="Arial"/>
                <a:ea typeface="ＭＳ Ｐゴシック"/>
                <a:cs typeface="ＭＳ Ｐゴシック"/>
              </a:defRPr>
            </a:lvl1pPr>
          </a:lstStyle>
          <a:p>
            <a:pPr marL="0" indent="0"/>
            <a:r>
              <a:rPr lang="en-US" sz="1200" dirty="0"/>
              <a:t>Global Institutional Solutions</a:t>
            </a:r>
            <a:br>
              <a:rPr lang="en-US" sz="1200" dirty="0"/>
            </a:br>
            <a:endParaRPr lang="en-US" sz="1200" dirty="0"/>
          </a:p>
        </p:txBody>
      </p:sp>
      <p:sp>
        <p:nvSpPr>
          <p:cNvPr id="53" name="Content Placeholder 52"/>
          <p:cNvSpPr>
            <a:spLocks noGrp="1"/>
          </p:cNvSpPr>
          <p:nvPr>
            <p:ph sz="quarter" idx="12"/>
          </p:nvPr>
        </p:nvSpPr>
        <p:spPr>
          <a:xfrm>
            <a:off x="6280150" y="3842381"/>
            <a:ext cx="2487613" cy="165226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72" name="Rectangle 6"/>
          <p:cNvSpPr>
            <a:spLocks noGrp="1" noChangeArrowheads="1"/>
          </p:cNvSpPr>
          <p:nvPr>
            <p:ph type="subTitle" idx="1"/>
          </p:nvPr>
        </p:nvSpPr>
        <p:spPr>
          <a:xfrm>
            <a:off x="685251" y="2091765"/>
            <a:ext cx="7805762" cy="563076"/>
          </a:xfrm>
        </p:spPr>
        <p:txBody>
          <a:bodyPr lIns="100584" rIns="100584"/>
          <a:lstStyle>
            <a:lvl1pPr marL="0" indent="0">
              <a:spcBef>
                <a:spcPts val="0"/>
              </a:spcBef>
              <a:defRPr sz="2600" b="0">
                <a:solidFill>
                  <a:srgbClr val="7A9B3D"/>
                </a:solidFill>
              </a:defRPr>
            </a:lvl1pPr>
          </a:lstStyle>
          <a:p>
            <a:r>
              <a:rPr lang="en-US"/>
              <a:t>Click to edit Master subtitle style</a:t>
            </a:r>
            <a:endParaRPr lang="en-US" dirty="0"/>
          </a:p>
        </p:txBody>
      </p:sp>
      <p:sp>
        <p:nvSpPr>
          <p:cNvPr id="74" name="Text Placeholder 43"/>
          <p:cNvSpPr>
            <a:spLocks noGrp="1"/>
          </p:cNvSpPr>
          <p:nvPr>
            <p:ph type="body" sz="quarter" idx="14" hasCustomPrompt="1"/>
          </p:nvPr>
        </p:nvSpPr>
        <p:spPr>
          <a:xfrm>
            <a:off x="685251" y="2581276"/>
            <a:ext cx="7805762" cy="266850"/>
          </a:xfrm>
        </p:spPr>
        <p:txBody>
          <a:bodyPr lIns="100584" rIns="100584"/>
          <a:lstStyle>
            <a:lvl1pPr>
              <a:spcBef>
                <a:spcPts val="0"/>
              </a:spcBef>
              <a:defRPr lang="en-US" sz="1200" b="0" kern="1200" dirty="0" smtClean="0">
                <a:solidFill>
                  <a:srgbClr val="333F48"/>
                </a:solidFill>
                <a:latin typeface="Arial"/>
                <a:ea typeface="ＭＳ Ｐゴシック" pitchFamily="34" charset="-128"/>
                <a:cs typeface="+mn-cs"/>
              </a:defRPr>
            </a:lvl1pPr>
          </a:lstStyle>
          <a:p>
            <a:pPr lvl="0"/>
            <a:r>
              <a:rPr lang="en-US" dirty="0"/>
              <a:t>Date</a:t>
            </a:r>
          </a:p>
        </p:txBody>
      </p:sp>
      <p:sp>
        <p:nvSpPr>
          <p:cNvPr id="50" name="Rectangle 176"/>
          <p:cNvSpPr>
            <a:spLocks noGrp="1" noChangeArrowheads="1"/>
          </p:cNvSpPr>
          <p:nvPr>
            <p:ph type="ftr" sz="quarter" idx="13"/>
          </p:nvPr>
        </p:nvSpPr>
        <p:spPr>
          <a:xfrm>
            <a:off x="272775" y="5877558"/>
            <a:ext cx="6014623" cy="260350"/>
          </a:xfrm>
        </p:spPr>
        <p:txBody>
          <a:bodyPr anchor="b" anchorCtr="0"/>
          <a:lstStyle>
            <a:lvl1pPr algn="l">
              <a:defRPr sz="800" b="0" smtClean="0">
                <a:solidFill>
                  <a:srgbClr val="000000"/>
                </a:solidFill>
              </a:defRPr>
            </a:lvl1pPr>
          </a:lstStyle>
          <a:p>
            <a:pPr>
              <a:defRPr/>
            </a:pPr>
            <a:r>
              <a:rPr lang="en-US" b="1"/>
              <a:t>For institutional use only.</a:t>
            </a:r>
            <a:endParaRPr lang="en-US" b="1" dirty="0"/>
          </a:p>
        </p:txBody>
      </p:sp>
      <p:sp>
        <p:nvSpPr>
          <p:cNvPr id="3" name="Rectangle 2"/>
          <p:cNvSpPr/>
          <p:nvPr userDrawn="1"/>
        </p:nvSpPr>
        <p:spPr>
          <a:xfrm>
            <a:off x="709199" y="1901645"/>
            <a:ext cx="1356462" cy="276999"/>
          </a:xfrm>
          <a:prstGeom prst="rect">
            <a:avLst/>
          </a:prstGeom>
        </p:spPr>
        <p:txBody>
          <a:bodyPr wrap="none">
            <a:spAutoFit/>
          </a:bodyPr>
          <a:lstStyle/>
          <a:p>
            <a:pPr fontAlgn="base">
              <a:spcBef>
                <a:spcPct val="0"/>
              </a:spcBef>
              <a:spcAft>
                <a:spcPct val="0"/>
              </a:spcAft>
            </a:pPr>
            <a:r>
              <a:rPr lang="en-US" sz="1200" b="1" dirty="0">
                <a:solidFill>
                  <a:srgbClr val="333F48"/>
                </a:solidFill>
                <a:ea typeface="ＭＳ Ｐゴシック"/>
              </a:rPr>
              <a:t>Presentation to:</a:t>
            </a:r>
            <a:endParaRPr lang="en-US" sz="1200" dirty="0">
              <a:solidFill>
                <a:srgbClr val="000000"/>
              </a:solidFill>
              <a:ea typeface="ＭＳ Ｐゴシック"/>
            </a:endParaRPr>
          </a:p>
        </p:txBody>
      </p:sp>
      <p:grpSp>
        <p:nvGrpSpPr>
          <p:cNvPr id="43" name="Group 42"/>
          <p:cNvGrpSpPr/>
          <p:nvPr userDrawn="1"/>
        </p:nvGrpSpPr>
        <p:grpSpPr>
          <a:xfrm>
            <a:off x="371883" y="6327145"/>
            <a:ext cx="4006611" cy="174407"/>
            <a:chOff x="371883" y="6327145"/>
            <a:chExt cx="4006611" cy="174407"/>
          </a:xfrm>
        </p:grpSpPr>
        <p:grpSp>
          <p:nvGrpSpPr>
            <p:cNvPr id="47" name="Group 46"/>
            <p:cNvGrpSpPr/>
            <p:nvPr userDrawn="1"/>
          </p:nvGrpSpPr>
          <p:grpSpPr>
            <a:xfrm>
              <a:off x="371883" y="6359447"/>
              <a:ext cx="3947551" cy="100654"/>
              <a:chOff x="362358" y="6368972"/>
              <a:chExt cx="3947551" cy="100654"/>
            </a:xfrm>
          </p:grpSpPr>
          <p:pic>
            <p:nvPicPr>
              <p:cNvPr id="51" name="Picture 5"/>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r="1439" b="-2834"/>
              <a:stretch/>
            </p:blipFill>
            <p:spPr bwMode="auto">
              <a:xfrm>
                <a:off x="362358" y="6368972"/>
                <a:ext cx="3848307" cy="100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2" name="AutoShape 4"/>
              <p:cNvSpPr>
                <a:spLocks noChangeAspect="1" noChangeArrowheads="1" noTextEdit="1"/>
              </p:cNvSpPr>
              <p:nvPr userDrawn="1"/>
            </p:nvSpPr>
            <p:spPr bwMode="auto">
              <a:xfrm>
                <a:off x="4213072" y="6374683"/>
                <a:ext cx="96837"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49" name="TextBox 48"/>
            <p:cNvSpPr txBox="1"/>
            <p:nvPr userDrawn="1"/>
          </p:nvSpPr>
          <p:spPr>
            <a:xfrm>
              <a:off x="4144134" y="6327145"/>
              <a:ext cx="234360" cy="174407"/>
            </a:xfrm>
            <a:prstGeom prst="rect">
              <a:avLst/>
            </a:prstGeom>
            <a:noFill/>
          </p:spPr>
          <p:txBody>
            <a:bodyPr wrap="none" rtlCol="0">
              <a:spAutoFit/>
            </a:bodyPr>
            <a:lstStyle/>
            <a:p>
              <a:pPr fontAlgn="base">
                <a:spcBef>
                  <a:spcPct val="0"/>
                </a:spcBef>
                <a:spcAft>
                  <a:spcPct val="0"/>
                </a:spcAft>
              </a:pPr>
              <a:r>
                <a:rPr lang="en-US" sz="800" b="1" baseline="30000" dirty="0">
                  <a:solidFill>
                    <a:srgbClr val="000000"/>
                  </a:solidFill>
                  <a:ea typeface="ＭＳ Ｐゴシック"/>
                </a:rPr>
                <a:t>®</a:t>
              </a:r>
            </a:p>
          </p:txBody>
        </p:sp>
      </p:grpSp>
    </p:spTree>
    <p:extLst>
      <p:ext uri="{BB962C8B-B14F-4D97-AF65-F5344CB8AC3E}">
        <p14:creationId xmlns:p14="http://schemas.microsoft.com/office/powerpoint/2010/main" val="183870266"/>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5_TOC/Agenda">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a:noFill/>
          <a:ln w="9525">
            <a:noFill/>
            <a:miter lim="800000"/>
            <a:headEnd/>
            <a:tailEnd/>
          </a:ln>
          <a:effectLst/>
        </p:spPr>
        <p:txBody>
          <a:bodyPr tIns="45720" anchor="t" anchorCtr="0"/>
          <a:lstStyle>
            <a:lvl1pPr>
              <a:defRPr kumimoji="0" lang="en-US" sz="2400" b="0" i="0" u="none" strike="noStrike" kern="0" cap="none" spc="0" normalizeH="0" baseline="0" noProof="0" dirty="0">
                <a:ln>
                  <a:noFill/>
                </a:ln>
                <a:solidFill>
                  <a:srgbClr val="333F48"/>
                </a:solidFill>
                <a:effectLst/>
                <a:uLnTx/>
                <a:uFillTx/>
                <a:latin typeface="+mj-lt"/>
                <a:ea typeface="+mj-ea"/>
                <a:cs typeface="+mj-cs"/>
              </a:defRPr>
            </a:lvl1pPr>
          </a:lstStyle>
          <a:p>
            <a:pPr lvl="0"/>
            <a:r>
              <a:rPr lang="en-US"/>
              <a:t>Click to edit Master title style</a:t>
            </a:r>
            <a:endParaRPr lang="en-US" dirty="0"/>
          </a:p>
        </p:txBody>
      </p:sp>
      <p:sp>
        <p:nvSpPr>
          <p:cNvPr id="10" name="Content Placeholder 9"/>
          <p:cNvSpPr>
            <a:spLocks noGrp="1"/>
          </p:cNvSpPr>
          <p:nvPr>
            <p:ph sz="quarter" idx="13"/>
          </p:nvPr>
        </p:nvSpPr>
        <p:spPr>
          <a:xfrm>
            <a:off x="317115" y="1339850"/>
            <a:ext cx="8188710" cy="3879131"/>
          </a:xfrm>
        </p:spPr>
        <p:txBody>
          <a:bodyPr/>
          <a:lstStyle>
            <a:lvl1pPr marL="227013" indent="-227013">
              <a:spcBef>
                <a:spcPts val="600"/>
              </a:spcBef>
              <a:buClr>
                <a:srgbClr val="7A9B3D"/>
              </a:buClr>
              <a:buSzPct val="100000"/>
              <a:buFont typeface="+mj-lt"/>
              <a:buAutoNum type="arabicPeriod"/>
              <a:defRPr sz="1400" b="0" i="0" baseline="0">
                <a:solidFill>
                  <a:srgbClr val="000000"/>
                </a:solidFill>
                <a:latin typeface="Arial" pitchFamily="34" charset="0"/>
              </a:defRPr>
            </a:lvl1pPr>
            <a:lvl2pPr marL="461963" indent="-217488">
              <a:spcBef>
                <a:spcPts val="600"/>
              </a:spcBef>
              <a:buClr>
                <a:srgbClr val="768692"/>
              </a:buClr>
              <a:buFont typeface="+mj-lt"/>
              <a:buAutoNum type="alphaUcPeriod"/>
              <a:defRPr sz="1200" baseline="0">
                <a:solidFill>
                  <a:srgbClr val="000000"/>
                </a:solidFill>
                <a:latin typeface="Arial" pitchFamily="34" charset="0"/>
              </a:defRPr>
            </a:lvl2pPr>
            <a:lvl3pPr>
              <a:spcBef>
                <a:spcPts val="600"/>
              </a:spcBef>
              <a:buClr>
                <a:srgbClr val="000000"/>
              </a:buClr>
              <a:defRPr baseline="0">
                <a:solidFill>
                  <a:srgbClr val="000000"/>
                </a:solidFill>
              </a:defRPr>
            </a:lvl3pPr>
          </a:lstStyle>
          <a:p>
            <a:pPr lvl="0"/>
            <a:r>
              <a:rPr lang="en-US"/>
              <a:t>Click to edit Master text styles</a:t>
            </a:r>
          </a:p>
          <a:p>
            <a:pPr lvl="1"/>
            <a:r>
              <a:rPr lang="en-US"/>
              <a:t>Second level</a:t>
            </a:r>
          </a:p>
          <a:p>
            <a:pPr lvl="2"/>
            <a:r>
              <a:rPr lang="en-US"/>
              <a:t>Third level</a:t>
            </a:r>
          </a:p>
        </p:txBody>
      </p:sp>
      <p:sp>
        <p:nvSpPr>
          <p:cNvPr id="5"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7"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a:t>201907-26031</a:t>
            </a:r>
            <a:endParaRPr lang="en-US" dirty="0"/>
          </a:p>
        </p:txBody>
      </p:sp>
      <p:grpSp>
        <p:nvGrpSpPr>
          <p:cNvPr id="8" name="Group 7"/>
          <p:cNvGrpSpPr/>
          <p:nvPr userDrawn="1"/>
        </p:nvGrpSpPr>
        <p:grpSpPr>
          <a:xfrm>
            <a:off x="7364320" y="6412511"/>
            <a:ext cx="1371600" cy="283464"/>
            <a:chOff x="4291013" y="3178175"/>
            <a:chExt cx="3197225" cy="688975"/>
          </a:xfrm>
        </p:grpSpPr>
        <p:sp>
          <p:nvSpPr>
            <p:cNvPr id="9"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1"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2"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3"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4"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5"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6"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7"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8"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9"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0"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1"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2"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3"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4"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5"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6"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7"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8"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9"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0"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1"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2"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3"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4"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35" name="Text Box 5"/>
          <p:cNvSpPr txBox="1">
            <a:spLocks noChangeArrowheads="1"/>
          </p:cNvSpPr>
          <p:nvPr userDrawn="1"/>
        </p:nvSpPr>
        <p:spPr bwMode="auto">
          <a:xfrm>
            <a:off x="320039" y="6336792"/>
            <a:ext cx="6828247" cy="219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anchor="b"/>
          <a:lstStyle>
            <a:lvl1pPr eaLnBrk="0" hangingPunct="0">
              <a:spcBef>
                <a:spcPct val="20000"/>
              </a:spcBef>
              <a:buSzPct val="40000"/>
              <a:defRPr sz="1600" b="1">
                <a:solidFill>
                  <a:schemeClr val="accent1"/>
                </a:solidFill>
                <a:latin typeface="Arial" charset="0"/>
              </a:defRPr>
            </a:lvl1pPr>
            <a:lvl2pPr marL="742950" indent="-285750" eaLnBrk="0" hangingPunct="0">
              <a:spcBef>
                <a:spcPct val="20000"/>
              </a:spcBef>
              <a:buClr>
                <a:srgbClr val="978981"/>
              </a:buClr>
              <a:buChar char="•"/>
              <a:defRPr sz="1400">
                <a:solidFill>
                  <a:schemeClr val="tx1"/>
                </a:solidFill>
                <a:latin typeface="Arial" charset="0"/>
              </a:defRPr>
            </a:lvl2pPr>
            <a:lvl3pPr marL="1143000" indent="-228600" eaLnBrk="0" hangingPunct="0">
              <a:spcBef>
                <a:spcPct val="20000"/>
              </a:spcBef>
              <a:buClr>
                <a:schemeClr val="accent1"/>
              </a:buClr>
              <a:buFont typeface="Arial" charset="0"/>
              <a:buChar char="–"/>
              <a:defRPr sz="1200">
                <a:solidFill>
                  <a:schemeClr val="accent1"/>
                </a:solidFill>
                <a:latin typeface="Arial" charset="0"/>
              </a:defRPr>
            </a:lvl3pPr>
            <a:lvl4pPr marL="1600200" indent="-228600" eaLnBrk="0" hangingPunct="0">
              <a:spcBef>
                <a:spcPct val="20000"/>
              </a:spcBef>
              <a:buFont typeface="Arial" charset="0"/>
              <a:buChar char="•"/>
              <a:defRPr sz="1200">
                <a:solidFill>
                  <a:srgbClr val="4C5F6C"/>
                </a:solidFill>
                <a:latin typeface="Arial" charset="0"/>
              </a:defRPr>
            </a:lvl4pPr>
            <a:lvl5pPr marL="2057400" indent="-228600" eaLnBrk="0" hangingPunct="0">
              <a:lnSpc>
                <a:spcPts val="2400"/>
              </a:lnSpc>
              <a:defRPr sz="1400">
                <a:solidFill>
                  <a:schemeClr val="tx1"/>
                </a:solidFill>
                <a:latin typeface="Arial" charset="0"/>
              </a:defRPr>
            </a:lvl5pPr>
            <a:lvl6pPr marL="2514600" indent="-228600" eaLnBrk="0" fontAlgn="base" hangingPunct="0">
              <a:lnSpc>
                <a:spcPts val="2400"/>
              </a:lnSpc>
              <a:spcBef>
                <a:spcPct val="0"/>
              </a:spcBef>
              <a:spcAft>
                <a:spcPct val="0"/>
              </a:spcAft>
              <a:defRPr sz="1400">
                <a:solidFill>
                  <a:schemeClr val="tx1"/>
                </a:solidFill>
                <a:latin typeface="Arial" charset="0"/>
              </a:defRPr>
            </a:lvl6pPr>
            <a:lvl7pPr marL="2971800" indent="-228600" eaLnBrk="0" fontAlgn="base" hangingPunct="0">
              <a:lnSpc>
                <a:spcPts val="2400"/>
              </a:lnSpc>
              <a:spcBef>
                <a:spcPct val="0"/>
              </a:spcBef>
              <a:spcAft>
                <a:spcPct val="0"/>
              </a:spcAft>
              <a:defRPr sz="1400">
                <a:solidFill>
                  <a:schemeClr val="tx1"/>
                </a:solidFill>
                <a:latin typeface="Arial" charset="0"/>
              </a:defRPr>
            </a:lvl7pPr>
            <a:lvl8pPr marL="3429000" indent="-228600" eaLnBrk="0" fontAlgn="base" hangingPunct="0">
              <a:lnSpc>
                <a:spcPts val="2400"/>
              </a:lnSpc>
              <a:spcBef>
                <a:spcPct val="0"/>
              </a:spcBef>
              <a:spcAft>
                <a:spcPct val="0"/>
              </a:spcAft>
              <a:defRPr sz="1400">
                <a:solidFill>
                  <a:schemeClr val="tx1"/>
                </a:solidFill>
                <a:latin typeface="Arial" charset="0"/>
              </a:defRPr>
            </a:lvl8pPr>
            <a:lvl9pPr marL="3886200" indent="-228600" eaLnBrk="0" fontAlgn="base" hangingPunct="0">
              <a:lnSpc>
                <a:spcPts val="2400"/>
              </a:lnSpc>
              <a:spcBef>
                <a:spcPct val="0"/>
              </a:spcBef>
              <a:spcAft>
                <a:spcPct val="0"/>
              </a:spcAft>
              <a:defRPr sz="1400">
                <a:solidFill>
                  <a:schemeClr val="tx1"/>
                </a:solidFill>
                <a:latin typeface="Arial" charset="0"/>
              </a:defRPr>
            </a:lvl9pPr>
          </a:lstStyle>
          <a:p>
            <a:pPr eaLnBrk="1" fontAlgn="base" hangingPunct="1">
              <a:spcBef>
                <a:spcPct val="0"/>
              </a:spcBef>
              <a:spcAft>
                <a:spcPts val="300"/>
              </a:spcAft>
              <a:buSzTx/>
              <a:defRPr/>
            </a:pPr>
            <a:r>
              <a:rPr lang="en-US" altLang="en-US" sz="800" b="0" i="1" kern="0" dirty="0">
                <a:solidFill>
                  <a:srgbClr val="000000"/>
                </a:solidFill>
                <a:latin typeface="Arial"/>
                <a:ea typeface="ＭＳ Ｐゴシック"/>
              </a:rPr>
              <a:t>This document does not make an offer or solicitation to buy or sell any securities or services, and is not investment advice. FIAM does not provide legal or tax advice and we encourage you to consult your own lawyer, accountant, or other advisor before making an investment.</a:t>
            </a:r>
          </a:p>
          <a:p>
            <a:pPr eaLnBrk="1" fontAlgn="base" hangingPunct="1">
              <a:spcBef>
                <a:spcPct val="0"/>
              </a:spcBef>
              <a:spcAft>
                <a:spcPts val="300"/>
              </a:spcAft>
              <a:buSzTx/>
              <a:defRPr/>
            </a:pPr>
            <a:r>
              <a:rPr lang="en-US" altLang="en-US" sz="800" b="0" i="1" kern="0" dirty="0">
                <a:solidFill>
                  <a:srgbClr val="000000"/>
                </a:solidFill>
                <a:latin typeface="Arial"/>
                <a:ea typeface="ＭＳ Ｐゴシック"/>
              </a:rPr>
              <a:t>Information provided in this document is for informational and educational purposes only. To the extent any investment information in this material is deemed to be a recommendation, it is not meant to be impartial investment advice or advice in a fiduciary capacity and is not intended to be used as a primary basis for you or your client’s investment decisions. Fidelity and its representatives may have a conflict of interest in the products or services mentioned in this material because they have a financial interest in them, and receive compensation, directly or indirectly, in connection with the management, distribution and/or servicing of these products or services including Fidelity funds, certain third-party funds and products, and certain investment services. </a:t>
            </a:r>
          </a:p>
          <a:p>
            <a:pPr fontAlgn="base">
              <a:lnSpc>
                <a:spcPts val="1000"/>
              </a:lnSpc>
              <a:spcBef>
                <a:spcPct val="0"/>
              </a:spcBef>
              <a:spcAft>
                <a:spcPts val="300"/>
              </a:spcAft>
              <a:buSzTx/>
            </a:pPr>
            <a:r>
              <a:rPr lang="en-US" altLang="en-US" sz="800" b="0" dirty="0">
                <a:solidFill>
                  <a:srgbClr val="000000"/>
                </a:solidFill>
                <a:latin typeface="Arial"/>
                <a:ea typeface="ＭＳ Ｐゴシック"/>
              </a:rPr>
              <a:t>See “Important Information” for a discussion of performance data, some of the principal risks related to any of the investment strategies referred to in this presentation and other information related to this presentation.</a:t>
            </a:r>
          </a:p>
        </p:txBody>
      </p:sp>
    </p:spTree>
    <p:extLst>
      <p:ext uri="{BB962C8B-B14F-4D97-AF65-F5344CB8AC3E}">
        <p14:creationId xmlns:p14="http://schemas.microsoft.com/office/powerpoint/2010/main" val="28785103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OC/Agenda">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a:noFill/>
          <a:ln w="9525">
            <a:noFill/>
            <a:miter lim="800000"/>
            <a:headEnd/>
            <a:tailEnd/>
          </a:ln>
          <a:effectLst/>
        </p:spPr>
        <p:txBody>
          <a:bodyPr tIns="45720" anchor="t" anchorCtr="0"/>
          <a:lstStyle>
            <a:lvl1pPr>
              <a:defRPr kumimoji="0" lang="en-US" sz="2400" b="0" i="0" u="none" strike="noStrike" kern="0" cap="none" spc="0" normalizeH="0" baseline="0" noProof="0" dirty="0">
                <a:ln>
                  <a:noFill/>
                </a:ln>
                <a:solidFill>
                  <a:srgbClr val="333F48"/>
                </a:solidFill>
                <a:effectLst/>
                <a:uLnTx/>
                <a:uFillTx/>
                <a:latin typeface="+mj-lt"/>
                <a:ea typeface="+mj-ea"/>
                <a:cs typeface="+mj-cs"/>
              </a:defRPr>
            </a:lvl1pPr>
          </a:lstStyle>
          <a:p>
            <a:pPr lvl="0"/>
            <a:r>
              <a:rPr lang="en-US"/>
              <a:t>Click to edit Master title style</a:t>
            </a:r>
            <a:endParaRPr lang="en-US" dirty="0"/>
          </a:p>
        </p:txBody>
      </p:sp>
      <p:sp>
        <p:nvSpPr>
          <p:cNvPr id="10" name="Content Placeholder 9"/>
          <p:cNvSpPr>
            <a:spLocks noGrp="1"/>
          </p:cNvSpPr>
          <p:nvPr>
            <p:ph sz="quarter" idx="13"/>
          </p:nvPr>
        </p:nvSpPr>
        <p:spPr>
          <a:xfrm>
            <a:off x="317115" y="1339850"/>
            <a:ext cx="8188710" cy="4878388"/>
          </a:xfrm>
        </p:spPr>
        <p:txBody>
          <a:bodyPr/>
          <a:lstStyle>
            <a:lvl1pPr marL="227013" indent="-227013">
              <a:spcBef>
                <a:spcPts val="600"/>
              </a:spcBef>
              <a:buClr>
                <a:srgbClr val="7A9A3D"/>
              </a:buClr>
              <a:buSzPct val="100000"/>
              <a:buFont typeface="+mj-lt"/>
              <a:buAutoNum type="arabicPeriod"/>
              <a:defRPr sz="1400" b="0" i="0" baseline="0">
                <a:solidFill>
                  <a:srgbClr val="000000"/>
                </a:solidFill>
                <a:latin typeface="Arial" pitchFamily="34" charset="0"/>
              </a:defRPr>
            </a:lvl1pPr>
            <a:lvl2pPr marL="461963" indent="-217488">
              <a:spcBef>
                <a:spcPts val="600"/>
              </a:spcBef>
              <a:buClr>
                <a:srgbClr val="768692"/>
              </a:buClr>
              <a:buFont typeface="+mj-lt"/>
              <a:buAutoNum type="alphaUcPeriod"/>
              <a:defRPr sz="1200" baseline="0">
                <a:solidFill>
                  <a:srgbClr val="000000"/>
                </a:solidFill>
                <a:latin typeface="Arial" pitchFamily="34" charset="0"/>
              </a:defRPr>
            </a:lvl2pPr>
            <a:lvl3pPr>
              <a:spcBef>
                <a:spcPts val="600"/>
              </a:spcBef>
              <a:buClr>
                <a:srgbClr val="000000"/>
              </a:buClr>
              <a:defRPr baseline="0">
                <a:solidFill>
                  <a:srgbClr val="000000"/>
                </a:solidFill>
              </a:defRPr>
            </a:lvl3pPr>
          </a:lstStyle>
          <a:p>
            <a:pPr lvl="0"/>
            <a:r>
              <a:rPr lang="en-US"/>
              <a:t>Click to edit Master text styles</a:t>
            </a:r>
          </a:p>
          <a:p>
            <a:pPr lvl="1"/>
            <a:r>
              <a:rPr lang="en-US"/>
              <a:t>Second level</a:t>
            </a:r>
          </a:p>
          <a:p>
            <a:pPr lvl="2"/>
            <a:r>
              <a:rPr lang="en-US"/>
              <a:t>Third level</a:t>
            </a:r>
          </a:p>
        </p:txBody>
      </p:sp>
      <p:sp>
        <p:nvSpPr>
          <p:cNvPr id="5" name="Slide Number Placeholder 3"/>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7" name="Rectangle 155"/>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dirty="0"/>
              <a:t>Production code #</a:t>
            </a:r>
          </a:p>
        </p:txBody>
      </p:sp>
      <p:grpSp>
        <p:nvGrpSpPr>
          <p:cNvPr id="34" name="Group 33">
            <a:extLst>
              <a:ext uri="{FF2B5EF4-FFF2-40B4-BE49-F238E27FC236}">
                <a16:creationId xmlns:a16="http://schemas.microsoft.com/office/drawing/2014/main" id="{840B8A3D-CA93-45E5-A349-E646E2CABAF5}"/>
              </a:ext>
            </a:extLst>
          </p:cNvPr>
          <p:cNvGrpSpPr/>
          <p:nvPr userDrawn="1"/>
        </p:nvGrpSpPr>
        <p:grpSpPr>
          <a:xfrm>
            <a:off x="7358173" y="6361974"/>
            <a:ext cx="1382376" cy="297562"/>
            <a:chOff x="6923088" y="4475163"/>
            <a:chExt cx="1873251" cy="403225"/>
          </a:xfrm>
        </p:grpSpPr>
        <p:sp>
          <p:nvSpPr>
            <p:cNvPr id="35" name="AutoShape 4">
              <a:extLst>
                <a:ext uri="{FF2B5EF4-FFF2-40B4-BE49-F238E27FC236}">
                  <a16:creationId xmlns:a16="http://schemas.microsoft.com/office/drawing/2014/main" id="{ECE1EDB7-C9C9-4182-A582-B17826E6DC8D}"/>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6">
              <a:extLst>
                <a:ext uri="{FF2B5EF4-FFF2-40B4-BE49-F238E27FC236}">
                  <a16:creationId xmlns:a16="http://schemas.microsoft.com/office/drawing/2014/main" id="{60F0894B-34E4-4539-B5EF-CBDAB60B3425}"/>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7">
              <a:extLst>
                <a:ext uri="{FF2B5EF4-FFF2-40B4-BE49-F238E27FC236}">
                  <a16:creationId xmlns:a16="http://schemas.microsoft.com/office/drawing/2014/main" id="{FAA3E2DE-189D-4C19-8EC3-35C7ABF6EA5F}"/>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83">
              <a:extLst>
                <a:ext uri="{FF2B5EF4-FFF2-40B4-BE49-F238E27FC236}">
                  <a16:creationId xmlns:a16="http://schemas.microsoft.com/office/drawing/2014/main" id="{6D76EDBE-37A1-44C6-A672-505C0D4C03EA}"/>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84">
              <a:extLst>
                <a:ext uri="{FF2B5EF4-FFF2-40B4-BE49-F238E27FC236}">
                  <a16:creationId xmlns:a16="http://schemas.microsoft.com/office/drawing/2014/main" id="{8F68403D-CAA4-40B7-8CC3-1668527E4B0B}"/>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85">
              <a:extLst>
                <a:ext uri="{FF2B5EF4-FFF2-40B4-BE49-F238E27FC236}">
                  <a16:creationId xmlns:a16="http://schemas.microsoft.com/office/drawing/2014/main" id="{7F9FEB48-0CDC-437E-9615-016BA07E2934}"/>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86">
              <a:extLst>
                <a:ext uri="{FF2B5EF4-FFF2-40B4-BE49-F238E27FC236}">
                  <a16:creationId xmlns:a16="http://schemas.microsoft.com/office/drawing/2014/main" id="{C9E47BCE-944C-44EE-BF3A-ABF97B8394C9}"/>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87">
              <a:extLst>
                <a:ext uri="{FF2B5EF4-FFF2-40B4-BE49-F238E27FC236}">
                  <a16:creationId xmlns:a16="http://schemas.microsoft.com/office/drawing/2014/main" id="{73EFA457-B540-4276-A1FE-932973581D9E}"/>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88">
              <a:extLst>
                <a:ext uri="{FF2B5EF4-FFF2-40B4-BE49-F238E27FC236}">
                  <a16:creationId xmlns:a16="http://schemas.microsoft.com/office/drawing/2014/main" id="{A7F57556-46CC-4154-A386-E13D68B57D22}"/>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89">
              <a:extLst>
                <a:ext uri="{FF2B5EF4-FFF2-40B4-BE49-F238E27FC236}">
                  <a16:creationId xmlns:a16="http://schemas.microsoft.com/office/drawing/2014/main" id="{24723547-6A3D-43E6-8773-B7F8AD57029F}"/>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90">
              <a:extLst>
                <a:ext uri="{FF2B5EF4-FFF2-40B4-BE49-F238E27FC236}">
                  <a16:creationId xmlns:a16="http://schemas.microsoft.com/office/drawing/2014/main" id="{0E3A630B-F6B1-4864-B4A1-9F66075EA65A}"/>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91">
              <a:extLst>
                <a:ext uri="{FF2B5EF4-FFF2-40B4-BE49-F238E27FC236}">
                  <a16:creationId xmlns:a16="http://schemas.microsoft.com/office/drawing/2014/main" id="{AF2C6B1A-8217-4C9C-84B7-73B4FBC51CA9}"/>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92">
              <a:extLst>
                <a:ext uri="{FF2B5EF4-FFF2-40B4-BE49-F238E27FC236}">
                  <a16:creationId xmlns:a16="http://schemas.microsoft.com/office/drawing/2014/main" id="{1204A8B9-078C-4B24-9EDD-8DB516B9DABE}"/>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93">
              <a:extLst>
                <a:ext uri="{FF2B5EF4-FFF2-40B4-BE49-F238E27FC236}">
                  <a16:creationId xmlns:a16="http://schemas.microsoft.com/office/drawing/2014/main" id="{1071F8B9-7519-47A7-9799-710F97B19F35}"/>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94">
              <a:extLst>
                <a:ext uri="{FF2B5EF4-FFF2-40B4-BE49-F238E27FC236}">
                  <a16:creationId xmlns:a16="http://schemas.microsoft.com/office/drawing/2014/main" id="{438D5A2F-C9B3-4FBC-A075-F21A07253902}"/>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95">
              <a:extLst>
                <a:ext uri="{FF2B5EF4-FFF2-40B4-BE49-F238E27FC236}">
                  <a16:creationId xmlns:a16="http://schemas.microsoft.com/office/drawing/2014/main" id="{314D717F-9933-415B-ACBE-46065256ED88}"/>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6">
              <a:extLst>
                <a:ext uri="{FF2B5EF4-FFF2-40B4-BE49-F238E27FC236}">
                  <a16:creationId xmlns:a16="http://schemas.microsoft.com/office/drawing/2014/main" id="{765C4233-83E8-454E-9E2B-67B8B514C53F}"/>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7">
              <a:extLst>
                <a:ext uri="{FF2B5EF4-FFF2-40B4-BE49-F238E27FC236}">
                  <a16:creationId xmlns:a16="http://schemas.microsoft.com/office/drawing/2014/main" id="{F333304D-48A1-4B94-A1EE-1453A4087313}"/>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8">
              <a:extLst>
                <a:ext uri="{FF2B5EF4-FFF2-40B4-BE49-F238E27FC236}">
                  <a16:creationId xmlns:a16="http://schemas.microsoft.com/office/drawing/2014/main" id="{D8BDAD08-9D41-4793-898E-F6F4A393929E}"/>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99">
              <a:extLst>
                <a:ext uri="{FF2B5EF4-FFF2-40B4-BE49-F238E27FC236}">
                  <a16:creationId xmlns:a16="http://schemas.microsoft.com/office/drawing/2014/main" id="{6E88714F-9078-42F7-8487-53DECB2FBC88}"/>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100">
              <a:extLst>
                <a:ext uri="{FF2B5EF4-FFF2-40B4-BE49-F238E27FC236}">
                  <a16:creationId xmlns:a16="http://schemas.microsoft.com/office/drawing/2014/main" id="{5A5104BB-7365-4250-B344-761574647EBE}"/>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101">
              <a:extLst>
                <a:ext uri="{FF2B5EF4-FFF2-40B4-BE49-F238E27FC236}">
                  <a16:creationId xmlns:a16="http://schemas.microsoft.com/office/drawing/2014/main" id="{041A5A3A-03F1-45E0-A00B-DAE388AF4E20}"/>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102">
              <a:extLst>
                <a:ext uri="{FF2B5EF4-FFF2-40B4-BE49-F238E27FC236}">
                  <a16:creationId xmlns:a16="http://schemas.microsoft.com/office/drawing/2014/main" id="{07089445-620E-4CF3-9930-6EB887170CFA}"/>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03">
              <a:extLst>
                <a:ext uri="{FF2B5EF4-FFF2-40B4-BE49-F238E27FC236}">
                  <a16:creationId xmlns:a16="http://schemas.microsoft.com/office/drawing/2014/main" id="{F781DC7A-5BE4-419F-BB62-DA37A09788BD}"/>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104">
              <a:extLst>
                <a:ext uri="{FF2B5EF4-FFF2-40B4-BE49-F238E27FC236}">
                  <a16:creationId xmlns:a16="http://schemas.microsoft.com/office/drawing/2014/main" id="{4DECACDA-5F60-4B42-B06C-C01000BBFA7F}"/>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105">
              <a:extLst>
                <a:ext uri="{FF2B5EF4-FFF2-40B4-BE49-F238E27FC236}">
                  <a16:creationId xmlns:a16="http://schemas.microsoft.com/office/drawing/2014/main" id="{BFB7430C-4683-44AE-8612-C653319BB055}"/>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1" name="Rectangle 176">
            <a:extLst>
              <a:ext uri="{FF2B5EF4-FFF2-40B4-BE49-F238E27FC236}">
                <a16:creationId xmlns:a16="http://schemas.microsoft.com/office/drawing/2014/main" id="{90057193-CB1B-44A9-BB71-AEF3428EB1A2}"/>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924163193"/>
      </p:ext>
    </p:extLst>
  </p:cSld>
  <p:clrMapOvr>
    <a:masterClrMapping/>
  </p:clrMapOvr>
  <p:extLst>
    <p:ext uri="{DCECCB84-F9BA-43D5-87BE-67443E8EF086}">
      <p15:sldGuideLst xmlns:p15="http://schemas.microsoft.com/office/powerpoint/2012/main">
        <p15:guide id="1" orient="horz" pos="4200" userDrawn="1">
          <p15:clr>
            <a:srgbClr val="FBAE40"/>
          </p15:clr>
        </p15:guide>
        <p15:guide id="2" pos="264" userDrawn="1">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2_TOC/Agenda_CFA">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a:noFill/>
          <a:ln w="9525">
            <a:noFill/>
            <a:miter lim="800000"/>
            <a:headEnd/>
            <a:tailEnd/>
          </a:ln>
          <a:effectLst/>
        </p:spPr>
        <p:txBody>
          <a:bodyPr tIns="45720" anchor="t" anchorCtr="0"/>
          <a:lstStyle>
            <a:lvl1pPr>
              <a:defRPr kumimoji="0" lang="en-US" sz="2400" b="0" i="0" u="none" strike="noStrike" kern="0" cap="none" spc="0" normalizeH="0" baseline="0" noProof="0" dirty="0">
                <a:ln>
                  <a:noFill/>
                </a:ln>
                <a:solidFill>
                  <a:srgbClr val="333F48"/>
                </a:solidFill>
                <a:effectLst/>
                <a:uLnTx/>
                <a:uFillTx/>
                <a:latin typeface="+mj-lt"/>
                <a:ea typeface="+mj-ea"/>
                <a:cs typeface="+mj-cs"/>
              </a:defRPr>
            </a:lvl1pPr>
          </a:lstStyle>
          <a:p>
            <a:pPr lvl="0"/>
            <a:r>
              <a:rPr lang="en-US"/>
              <a:t>Click to edit Master title style</a:t>
            </a:r>
            <a:endParaRPr lang="en-US" dirty="0"/>
          </a:p>
        </p:txBody>
      </p:sp>
      <p:sp>
        <p:nvSpPr>
          <p:cNvPr id="10" name="Content Placeholder 9"/>
          <p:cNvSpPr>
            <a:spLocks noGrp="1"/>
          </p:cNvSpPr>
          <p:nvPr>
            <p:ph sz="quarter" idx="13"/>
          </p:nvPr>
        </p:nvSpPr>
        <p:spPr>
          <a:xfrm>
            <a:off x="317115" y="1339850"/>
            <a:ext cx="8188710" cy="3879131"/>
          </a:xfrm>
        </p:spPr>
        <p:txBody>
          <a:bodyPr/>
          <a:lstStyle>
            <a:lvl1pPr marL="227013" indent="-227013">
              <a:spcBef>
                <a:spcPts val="600"/>
              </a:spcBef>
              <a:buClr>
                <a:srgbClr val="7A9B3D"/>
              </a:buClr>
              <a:buSzPct val="100000"/>
              <a:buFont typeface="+mj-lt"/>
              <a:buAutoNum type="arabicPeriod"/>
              <a:defRPr sz="1400" b="0" i="0" baseline="0">
                <a:solidFill>
                  <a:srgbClr val="000000"/>
                </a:solidFill>
                <a:latin typeface="Arial" pitchFamily="34" charset="0"/>
              </a:defRPr>
            </a:lvl1pPr>
            <a:lvl2pPr marL="461963" indent="-217488">
              <a:spcBef>
                <a:spcPts val="600"/>
              </a:spcBef>
              <a:buClr>
                <a:srgbClr val="768692"/>
              </a:buClr>
              <a:buFont typeface="+mj-lt"/>
              <a:buAutoNum type="alphaUcPeriod"/>
              <a:defRPr sz="1200" baseline="0">
                <a:solidFill>
                  <a:srgbClr val="000000"/>
                </a:solidFill>
                <a:latin typeface="Arial" pitchFamily="34" charset="0"/>
              </a:defRPr>
            </a:lvl2pPr>
            <a:lvl3pPr>
              <a:spcBef>
                <a:spcPts val="600"/>
              </a:spcBef>
              <a:buClr>
                <a:srgbClr val="000000"/>
              </a:buClr>
              <a:defRPr baseline="0">
                <a:solidFill>
                  <a:srgbClr val="000000"/>
                </a:solidFill>
              </a:defRPr>
            </a:lvl3pPr>
          </a:lstStyle>
          <a:p>
            <a:pPr lvl="0"/>
            <a:r>
              <a:rPr lang="en-US"/>
              <a:t>Click to edit Master text styles</a:t>
            </a:r>
          </a:p>
          <a:p>
            <a:pPr lvl="1"/>
            <a:r>
              <a:rPr lang="en-US"/>
              <a:t>Second level</a:t>
            </a:r>
          </a:p>
          <a:p>
            <a:pPr lvl="2"/>
            <a:r>
              <a:rPr lang="en-US"/>
              <a:t>Third level</a:t>
            </a:r>
          </a:p>
        </p:txBody>
      </p:sp>
      <p:sp>
        <p:nvSpPr>
          <p:cNvPr id="5"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7"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a:t>201907-26031</a:t>
            </a:r>
            <a:endParaRPr lang="en-US" dirty="0"/>
          </a:p>
        </p:txBody>
      </p:sp>
      <p:grpSp>
        <p:nvGrpSpPr>
          <p:cNvPr id="8" name="Group 7"/>
          <p:cNvGrpSpPr/>
          <p:nvPr userDrawn="1"/>
        </p:nvGrpSpPr>
        <p:grpSpPr>
          <a:xfrm>
            <a:off x="7364320" y="6412511"/>
            <a:ext cx="1371600" cy="283464"/>
            <a:chOff x="4291013" y="3178175"/>
            <a:chExt cx="3197225" cy="688975"/>
          </a:xfrm>
        </p:grpSpPr>
        <p:sp>
          <p:nvSpPr>
            <p:cNvPr id="9"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1"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2"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3"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4"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5"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6"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7"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8"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9"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0"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1"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2"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3"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4"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5"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6"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7"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8"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9"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0"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1"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2"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3"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4"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36" name="Text Box 5"/>
          <p:cNvSpPr txBox="1">
            <a:spLocks noChangeArrowheads="1"/>
          </p:cNvSpPr>
          <p:nvPr userDrawn="1"/>
        </p:nvSpPr>
        <p:spPr bwMode="auto">
          <a:xfrm>
            <a:off x="320040" y="6336792"/>
            <a:ext cx="6820990" cy="219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anchor="b"/>
          <a:lstStyle>
            <a:lvl1pPr eaLnBrk="0" hangingPunct="0">
              <a:spcBef>
                <a:spcPct val="20000"/>
              </a:spcBef>
              <a:buSzPct val="40000"/>
              <a:defRPr sz="1600" b="1">
                <a:solidFill>
                  <a:schemeClr val="accent1"/>
                </a:solidFill>
                <a:latin typeface="Arial" charset="0"/>
              </a:defRPr>
            </a:lvl1pPr>
            <a:lvl2pPr marL="742950" indent="-285750" eaLnBrk="0" hangingPunct="0">
              <a:spcBef>
                <a:spcPct val="20000"/>
              </a:spcBef>
              <a:buClr>
                <a:srgbClr val="978981"/>
              </a:buClr>
              <a:buChar char="•"/>
              <a:defRPr sz="1400">
                <a:solidFill>
                  <a:schemeClr val="tx1"/>
                </a:solidFill>
                <a:latin typeface="Arial" charset="0"/>
              </a:defRPr>
            </a:lvl2pPr>
            <a:lvl3pPr marL="1143000" indent="-228600" eaLnBrk="0" hangingPunct="0">
              <a:spcBef>
                <a:spcPct val="20000"/>
              </a:spcBef>
              <a:buClr>
                <a:schemeClr val="accent1"/>
              </a:buClr>
              <a:buFont typeface="Arial" charset="0"/>
              <a:buChar char="–"/>
              <a:defRPr sz="1200">
                <a:solidFill>
                  <a:schemeClr val="accent1"/>
                </a:solidFill>
                <a:latin typeface="Arial" charset="0"/>
              </a:defRPr>
            </a:lvl3pPr>
            <a:lvl4pPr marL="1600200" indent="-228600" eaLnBrk="0" hangingPunct="0">
              <a:spcBef>
                <a:spcPct val="20000"/>
              </a:spcBef>
              <a:buFont typeface="Arial" charset="0"/>
              <a:buChar char="•"/>
              <a:defRPr sz="1200">
                <a:solidFill>
                  <a:srgbClr val="4C5F6C"/>
                </a:solidFill>
                <a:latin typeface="Arial" charset="0"/>
              </a:defRPr>
            </a:lvl4pPr>
            <a:lvl5pPr marL="2057400" indent="-228600" eaLnBrk="0" hangingPunct="0">
              <a:lnSpc>
                <a:spcPts val="2400"/>
              </a:lnSpc>
              <a:defRPr sz="1400">
                <a:solidFill>
                  <a:schemeClr val="tx1"/>
                </a:solidFill>
                <a:latin typeface="Arial" charset="0"/>
              </a:defRPr>
            </a:lvl5pPr>
            <a:lvl6pPr marL="2514600" indent="-228600" eaLnBrk="0" fontAlgn="base" hangingPunct="0">
              <a:lnSpc>
                <a:spcPts val="2400"/>
              </a:lnSpc>
              <a:spcBef>
                <a:spcPct val="0"/>
              </a:spcBef>
              <a:spcAft>
                <a:spcPct val="0"/>
              </a:spcAft>
              <a:defRPr sz="1400">
                <a:solidFill>
                  <a:schemeClr val="tx1"/>
                </a:solidFill>
                <a:latin typeface="Arial" charset="0"/>
              </a:defRPr>
            </a:lvl6pPr>
            <a:lvl7pPr marL="2971800" indent="-228600" eaLnBrk="0" fontAlgn="base" hangingPunct="0">
              <a:lnSpc>
                <a:spcPts val="2400"/>
              </a:lnSpc>
              <a:spcBef>
                <a:spcPct val="0"/>
              </a:spcBef>
              <a:spcAft>
                <a:spcPct val="0"/>
              </a:spcAft>
              <a:defRPr sz="1400">
                <a:solidFill>
                  <a:schemeClr val="tx1"/>
                </a:solidFill>
                <a:latin typeface="Arial" charset="0"/>
              </a:defRPr>
            </a:lvl7pPr>
            <a:lvl8pPr marL="3429000" indent="-228600" eaLnBrk="0" fontAlgn="base" hangingPunct="0">
              <a:lnSpc>
                <a:spcPts val="2400"/>
              </a:lnSpc>
              <a:spcBef>
                <a:spcPct val="0"/>
              </a:spcBef>
              <a:spcAft>
                <a:spcPct val="0"/>
              </a:spcAft>
              <a:defRPr sz="1400">
                <a:solidFill>
                  <a:schemeClr val="tx1"/>
                </a:solidFill>
                <a:latin typeface="Arial" charset="0"/>
              </a:defRPr>
            </a:lvl8pPr>
            <a:lvl9pPr marL="3886200" indent="-228600" eaLnBrk="0" fontAlgn="base" hangingPunct="0">
              <a:lnSpc>
                <a:spcPts val="2400"/>
              </a:lnSpc>
              <a:spcBef>
                <a:spcPct val="0"/>
              </a:spcBef>
              <a:spcAft>
                <a:spcPct val="0"/>
              </a:spcAft>
              <a:defRPr sz="1400">
                <a:solidFill>
                  <a:schemeClr val="tx1"/>
                </a:solidFill>
                <a:latin typeface="Arial" charset="0"/>
              </a:defRPr>
            </a:lvl9pPr>
          </a:lstStyle>
          <a:p>
            <a:pPr eaLnBrk="1" fontAlgn="base" hangingPunct="1">
              <a:spcBef>
                <a:spcPct val="0"/>
              </a:spcBef>
              <a:spcAft>
                <a:spcPts val="300"/>
              </a:spcAft>
              <a:buSzTx/>
              <a:defRPr/>
            </a:pPr>
            <a:r>
              <a:rPr lang="en-US" altLang="en-US" sz="800" b="0" i="1" kern="0" dirty="0">
                <a:solidFill>
                  <a:srgbClr val="000000"/>
                </a:solidFill>
                <a:latin typeface="Arial"/>
                <a:ea typeface="ＭＳ Ｐゴシック"/>
              </a:rPr>
              <a:t>This document does not make an offer or solicitation to buy or sell any securities or services, and is not investment advice. FIAM does not provide legal or tax advice and we encourage you to consult your own lawyer, accountant, or other advisor before making an investment.</a:t>
            </a:r>
          </a:p>
          <a:p>
            <a:pPr eaLnBrk="1" fontAlgn="base" hangingPunct="1">
              <a:spcBef>
                <a:spcPct val="0"/>
              </a:spcBef>
              <a:spcAft>
                <a:spcPts val="300"/>
              </a:spcAft>
              <a:buSzTx/>
              <a:defRPr/>
            </a:pPr>
            <a:r>
              <a:rPr lang="en-US" altLang="en-US" sz="800" b="0" i="1" kern="0" dirty="0">
                <a:solidFill>
                  <a:srgbClr val="000000"/>
                </a:solidFill>
                <a:latin typeface="Arial"/>
                <a:ea typeface="ＭＳ Ｐゴシック"/>
              </a:rPr>
              <a:t>Information provided in this document is for informational and educational purposes only. To the extent any investment information in this material is deemed to be a recommendation, it is not meant to be impartial investment advice or advice in a fiduciary capacity and is not intended to be used as a primary basis for you or your client’s investment decisions. Fidelity and its representatives may have a conflict of interest in the products or services mentioned in this material because they have a financial interest in them, and receive compensation, directly or indirectly, in connection with the management, distribution and/or servicing of these products or services including Fidelity funds, certain third-party funds and products, and certain investment services. </a:t>
            </a:r>
          </a:p>
          <a:p>
            <a:pPr fontAlgn="base">
              <a:lnSpc>
                <a:spcPts val="1000"/>
              </a:lnSpc>
              <a:spcBef>
                <a:spcPct val="0"/>
              </a:spcBef>
              <a:spcAft>
                <a:spcPts val="300"/>
              </a:spcAft>
              <a:buSzTx/>
            </a:pPr>
            <a:r>
              <a:rPr lang="en-US" altLang="en-US" sz="800" b="0" dirty="0">
                <a:solidFill>
                  <a:srgbClr val="000000"/>
                </a:solidFill>
                <a:latin typeface="Arial"/>
                <a:ea typeface="ＭＳ Ｐゴシック"/>
              </a:rPr>
              <a:t>See “Important Information” for a discussion of performance data, some of the principal risks related to any of the investment strategies referred to in this presentation, professional designations and how they are obtained, and other information related to this presentation.</a:t>
            </a:r>
          </a:p>
        </p:txBody>
      </p:sp>
    </p:spTree>
    <p:extLst>
      <p:ext uri="{BB962C8B-B14F-4D97-AF65-F5344CB8AC3E}">
        <p14:creationId xmlns:p14="http://schemas.microsoft.com/office/powerpoint/2010/main" val="93936578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lvl1pPr>
              <a:defRPr>
                <a:solidFill>
                  <a:srgbClr val="333F48"/>
                </a:solidFill>
              </a:defRPr>
            </a:lvl1pPr>
          </a:lstStyle>
          <a:p>
            <a:r>
              <a:rPr lang="en-US"/>
              <a:t>Click to edit Master title style</a:t>
            </a:r>
            <a:endParaRPr lang="en-US" dirty="0"/>
          </a:p>
        </p:txBody>
      </p:sp>
      <p:sp>
        <p:nvSpPr>
          <p:cNvPr id="8"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9"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a:t>201907-26031</a:t>
            </a:r>
            <a:endParaRPr lang="en-US" dirty="0"/>
          </a:p>
        </p:txBody>
      </p:sp>
      <p:grpSp>
        <p:nvGrpSpPr>
          <p:cNvPr id="10" name="Group 9"/>
          <p:cNvGrpSpPr/>
          <p:nvPr userDrawn="1"/>
        </p:nvGrpSpPr>
        <p:grpSpPr>
          <a:xfrm>
            <a:off x="7364320" y="6412511"/>
            <a:ext cx="1371600" cy="283464"/>
            <a:chOff x="4291013" y="3178175"/>
            <a:chExt cx="3197225" cy="688975"/>
          </a:xfrm>
        </p:grpSpPr>
        <p:sp>
          <p:nvSpPr>
            <p:cNvPr id="11"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2"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3"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4"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5"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6"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7"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8"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9"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0"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1"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2"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3"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4"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5"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6"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7"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8"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9"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0"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1"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2"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3"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4"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5"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36"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3302378508"/>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p>
            <a:r>
              <a:rPr lang="en-US"/>
              <a:t>Click to edit Master title style</a:t>
            </a:r>
            <a:endParaRPr lang="en-US" dirty="0"/>
          </a:p>
        </p:txBody>
      </p:sp>
      <p:sp>
        <p:nvSpPr>
          <p:cNvPr id="7" name="Content Placeholder 2"/>
          <p:cNvSpPr>
            <a:spLocks noGrp="1"/>
          </p:cNvSpPr>
          <p:nvPr>
            <p:ph idx="13"/>
          </p:nvPr>
        </p:nvSpPr>
        <p:spPr>
          <a:xfrm>
            <a:off x="317115" y="1339850"/>
            <a:ext cx="8188710" cy="4878388"/>
          </a:xfrm>
        </p:spPr>
        <p:txBody>
          <a:bodyPr lIns="91440"/>
          <a:lstStyle>
            <a:lvl1pPr marL="0" indent="0" algn="l" rtl="0" fontAlgn="base">
              <a:spcBef>
                <a:spcPts val="480"/>
              </a:spcBef>
              <a:spcAft>
                <a:spcPct val="0"/>
              </a:spcAft>
              <a:buSzPct val="40000"/>
              <a:defRPr lang="en-US" sz="1600" b="1" dirty="0" smtClean="0">
                <a:solidFill>
                  <a:schemeClr val="accent3"/>
                </a:solidFill>
                <a:latin typeface="+mn-lt"/>
                <a:ea typeface="+mn-ea"/>
                <a:cs typeface="+mn-cs"/>
              </a:defRPr>
            </a:lvl1pPr>
            <a:lvl2pPr>
              <a:spcBef>
                <a:spcPts val="2000"/>
              </a:spcBef>
              <a:defRPr lang="en-US" dirty="0" smtClean="0">
                <a:solidFill>
                  <a:schemeClr val="tx1"/>
                </a:solidFill>
                <a:latin typeface="+mn-lt"/>
              </a:defRPr>
            </a:lvl2pPr>
            <a:lvl3pPr>
              <a:defRPr lang="en-US" sz="1600" dirty="0" smtClean="0">
                <a:solidFill>
                  <a:schemeClr val="accent1"/>
                </a:solidFill>
                <a:latin typeface="+mn-lt"/>
              </a:defRPr>
            </a:lvl3pPr>
            <a:lvl4pPr>
              <a:buClr>
                <a:schemeClr val="bg2"/>
              </a:buClr>
              <a:buSzPct val="80000"/>
              <a:buFont typeface="Arial" pitchFamily="34" charset="0"/>
              <a:buChar char="•"/>
              <a:defRPr sz="1400">
                <a:solidFill>
                  <a:schemeClr val="accent1"/>
                </a:solidFill>
              </a:defRPr>
            </a:lvl4pPr>
          </a:lstStyle>
          <a:p>
            <a:pPr lvl="0"/>
            <a:r>
              <a:rPr lang="en-US"/>
              <a:t>Click to edit Master text styles</a:t>
            </a:r>
          </a:p>
        </p:txBody>
      </p:sp>
      <p:sp>
        <p:nvSpPr>
          <p:cNvPr id="10"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11"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a:t>201907-26031</a:t>
            </a:r>
            <a:endParaRPr lang="en-US" dirty="0"/>
          </a:p>
        </p:txBody>
      </p:sp>
      <p:grpSp>
        <p:nvGrpSpPr>
          <p:cNvPr id="12" name="Group 11"/>
          <p:cNvGrpSpPr/>
          <p:nvPr userDrawn="1"/>
        </p:nvGrpSpPr>
        <p:grpSpPr>
          <a:xfrm>
            <a:off x="7364320" y="6412511"/>
            <a:ext cx="1371600" cy="283464"/>
            <a:chOff x="4291013" y="3178175"/>
            <a:chExt cx="3197225" cy="688975"/>
          </a:xfrm>
        </p:grpSpPr>
        <p:sp>
          <p:nvSpPr>
            <p:cNvPr id="13"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4"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5"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6"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7"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8"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9"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0"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1"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2"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3"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4"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5"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6"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7"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8"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9"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0"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1"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2"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3"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4"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5"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6"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7"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38"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2958648337"/>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7_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41248"/>
          </a:xfrm>
        </p:spPr>
        <p:txBody>
          <a:bodyPr/>
          <a:lstStyle>
            <a:lvl1pPr>
              <a:defRPr>
                <a:solidFill>
                  <a:srgbClr val="333F48"/>
                </a:solidFill>
              </a:defRPr>
            </a:lvl1pPr>
          </a:lstStyle>
          <a:p>
            <a:r>
              <a:rPr lang="en-US"/>
              <a:t>Click to edit Master title style</a:t>
            </a:r>
            <a:endParaRPr lang="en-US" dirty="0"/>
          </a:p>
        </p:txBody>
      </p:sp>
      <p:sp>
        <p:nvSpPr>
          <p:cNvPr id="11" name="Content Placeholder 2"/>
          <p:cNvSpPr>
            <a:spLocks noGrp="1"/>
          </p:cNvSpPr>
          <p:nvPr>
            <p:ph idx="12"/>
          </p:nvPr>
        </p:nvSpPr>
        <p:spPr>
          <a:xfrm>
            <a:off x="317115" y="1339850"/>
            <a:ext cx="8188710" cy="4878388"/>
          </a:xfrm>
        </p:spPr>
        <p:txBody>
          <a:bodyPr lIns="91440"/>
          <a:lstStyle>
            <a:lvl1pPr marL="0" indent="0" algn="l" rtl="0" fontAlgn="base">
              <a:spcBef>
                <a:spcPts val="480"/>
              </a:spcBef>
              <a:spcAft>
                <a:spcPct val="0"/>
              </a:spcAft>
              <a:buSzPct val="40000"/>
              <a:defRPr lang="en-US" sz="1600" b="1" dirty="0" smtClean="0">
                <a:solidFill>
                  <a:srgbClr val="7A9B3D"/>
                </a:solidFill>
                <a:latin typeface="+mn-lt"/>
                <a:ea typeface="+mn-ea"/>
                <a:cs typeface="+mn-cs"/>
              </a:defRPr>
            </a:lvl1pPr>
            <a:lvl2pPr marL="114300" indent="-114300">
              <a:spcBef>
                <a:spcPts val="288"/>
              </a:spcBef>
              <a:buClr>
                <a:srgbClr val="7A9B3D"/>
              </a:buClr>
              <a:defRPr lang="en-US" dirty="0" smtClean="0">
                <a:solidFill>
                  <a:srgbClr val="000000"/>
                </a:solidFill>
                <a:latin typeface="+mn-lt"/>
              </a:defRPr>
            </a:lvl2pPr>
            <a:lvl3pPr marL="228600" indent="-114300">
              <a:buClr>
                <a:srgbClr val="768692"/>
              </a:buClr>
              <a:defRPr lang="en-US" sz="1200" dirty="0" smtClean="0">
                <a:solidFill>
                  <a:srgbClr val="000000"/>
                </a:solidFill>
                <a:latin typeface="+mn-lt"/>
              </a:defRPr>
            </a:lvl3pPr>
            <a:lvl4pPr marL="342900" indent="-114300">
              <a:buClr>
                <a:srgbClr val="000000"/>
              </a:buClr>
              <a:buSzPct val="100000"/>
              <a:buFont typeface="Arial" pitchFamily="34" charset="0"/>
              <a:buChar char="•"/>
              <a:defRPr sz="1200">
                <a:solidFill>
                  <a:srgbClr val="000000"/>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13"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a:t>201907-26031</a:t>
            </a:r>
            <a:endParaRPr lang="en-US" dirty="0"/>
          </a:p>
        </p:txBody>
      </p:sp>
      <p:grpSp>
        <p:nvGrpSpPr>
          <p:cNvPr id="14" name="Group 13"/>
          <p:cNvGrpSpPr/>
          <p:nvPr userDrawn="1"/>
        </p:nvGrpSpPr>
        <p:grpSpPr>
          <a:xfrm>
            <a:off x="7364320" y="6412511"/>
            <a:ext cx="1371600" cy="283464"/>
            <a:chOff x="4291013" y="3178175"/>
            <a:chExt cx="3197225" cy="688975"/>
          </a:xfrm>
        </p:grpSpPr>
        <p:sp>
          <p:nvSpPr>
            <p:cNvPr id="15"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6"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7"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8"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9"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0"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1"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2"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3"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4"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5"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6"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7"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8"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9"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0"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1"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2"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3"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4"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5"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6"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7"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8"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9"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40"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689630447"/>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5_Bulleted List - with subhead">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41248"/>
          </a:xfrm>
        </p:spPr>
        <p:txBody>
          <a:bodyPr/>
          <a:lstStyle/>
          <a:p>
            <a:r>
              <a:rPr lang="en-US"/>
              <a:t>Click to edit Master title style</a:t>
            </a:r>
            <a:endParaRPr lang="en-US" dirty="0"/>
          </a:p>
        </p:txBody>
      </p:sp>
      <p:sp>
        <p:nvSpPr>
          <p:cNvPr id="11" name="Content Placeholder 2"/>
          <p:cNvSpPr>
            <a:spLocks noGrp="1"/>
          </p:cNvSpPr>
          <p:nvPr>
            <p:ph idx="12"/>
          </p:nvPr>
        </p:nvSpPr>
        <p:spPr>
          <a:xfrm>
            <a:off x="317115" y="1339850"/>
            <a:ext cx="8188710" cy="4878388"/>
          </a:xfrm>
        </p:spPr>
        <p:txBody>
          <a:bodyPr lIns="91440"/>
          <a:lstStyle>
            <a:lvl1pPr marL="0" indent="0" algn="l" rtl="0" fontAlgn="base">
              <a:spcBef>
                <a:spcPts val="480"/>
              </a:spcBef>
              <a:spcAft>
                <a:spcPct val="0"/>
              </a:spcAft>
              <a:buSzPct val="40000"/>
              <a:defRPr lang="en-US" sz="1600" b="1" dirty="0" smtClean="0">
                <a:solidFill>
                  <a:srgbClr val="7A9B3D"/>
                </a:solidFill>
                <a:latin typeface="+mn-lt"/>
                <a:ea typeface="+mn-ea"/>
                <a:cs typeface="+mn-cs"/>
              </a:defRPr>
            </a:lvl1pPr>
            <a:lvl2pPr marL="114300" indent="-114300">
              <a:spcBef>
                <a:spcPts val="288"/>
              </a:spcBef>
              <a:buClr>
                <a:srgbClr val="7A9B3D"/>
              </a:buClr>
              <a:defRPr lang="en-US" dirty="0" smtClean="0">
                <a:solidFill>
                  <a:srgbClr val="000000"/>
                </a:solidFill>
                <a:latin typeface="+mn-lt"/>
              </a:defRPr>
            </a:lvl2pPr>
            <a:lvl3pPr marL="228600" indent="-114300">
              <a:buClr>
                <a:srgbClr val="768692"/>
              </a:buClr>
              <a:defRPr lang="en-US" sz="1200" dirty="0" smtClean="0">
                <a:solidFill>
                  <a:srgbClr val="000000"/>
                </a:solidFill>
                <a:latin typeface="+mn-lt"/>
              </a:defRPr>
            </a:lvl3pPr>
            <a:lvl4pPr marL="342900" indent="-114300">
              <a:buClr>
                <a:srgbClr val="000000"/>
              </a:buClr>
              <a:buSzPct val="100000"/>
              <a:buFont typeface="Arial" pitchFamily="34" charset="0"/>
              <a:buChar char="•"/>
              <a:defRPr sz="1200">
                <a:solidFill>
                  <a:srgbClr val="000000"/>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13"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a:t>201907-26031</a:t>
            </a:r>
            <a:endParaRPr lang="en-US" dirty="0"/>
          </a:p>
        </p:txBody>
      </p:sp>
      <p:grpSp>
        <p:nvGrpSpPr>
          <p:cNvPr id="14" name="Group 13"/>
          <p:cNvGrpSpPr/>
          <p:nvPr userDrawn="1"/>
        </p:nvGrpSpPr>
        <p:grpSpPr>
          <a:xfrm>
            <a:off x="7364320" y="6412511"/>
            <a:ext cx="1371600" cy="283464"/>
            <a:chOff x="4291013" y="3178175"/>
            <a:chExt cx="3197225" cy="688975"/>
          </a:xfrm>
        </p:grpSpPr>
        <p:sp>
          <p:nvSpPr>
            <p:cNvPr id="15"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6"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7"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8"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9"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0"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1"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2"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3"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4"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5"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6"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7"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8"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9"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0"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1"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2"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3"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4"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5"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6"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7"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8"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9"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40"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2379822095"/>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5_Important Information">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lvl1pPr>
              <a:defRPr>
                <a:solidFill>
                  <a:srgbClr val="333F48"/>
                </a:solidFill>
              </a:defRPr>
            </a:lvl1pPr>
          </a:lstStyle>
          <a:p>
            <a:r>
              <a:rPr lang="en-US"/>
              <a:t>Click to edit Master title style</a:t>
            </a:r>
            <a:endParaRPr lang="en-US" dirty="0"/>
          </a:p>
        </p:txBody>
      </p:sp>
      <p:sp>
        <p:nvSpPr>
          <p:cNvPr id="3" name="Content Placeholder 2"/>
          <p:cNvSpPr>
            <a:spLocks noGrp="1"/>
          </p:cNvSpPr>
          <p:nvPr>
            <p:ph idx="1"/>
          </p:nvPr>
        </p:nvSpPr>
        <p:spPr>
          <a:xfrm>
            <a:off x="317115" y="1076325"/>
            <a:ext cx="8188710" cy="4808538"/>
          </a:xfrm>
          <a:noFill/>
          <a:ln w="9525">
            <a:noFill/>
            <a:miter lim="800000"/>
            <a:headEnd/>
            <a:tailEnd/>
          </a:ln>
          <a:effectLst/>
        </p:spPr>
        <p:txBody>
          <a:bodyPr lIns="91440"/>
          <a:lstStyle>
            <a:lvl1pPr marL="0" indent="0" algn="l" rtl="0" eaLnBrk="1" fontAlgn="base" hangingPunct="1">
              <a:spcAft>
                <a:spcPct val="0"/>
              </a:spcAft>
              <a:buSzPct val="40000"/>
              <a:defRPr lang="en-US" sz="1000" b="0" dirty="0" smtClean="0">
                <a:solidFill>
                  <a:srgbClr val="000000"/>
                </a:solidFill>
                <a:latin typeface="+mn-lt"/>
                <a:ea typeface="+mn-ea"/>
                <a:cs typeface="+mn-cs"/>
              </a:defRPr>
            </a:lvl1pPr>
            <a:lvl2pPr marL="0" indent="0" algn="l" rtl="0" eaLnBrk="1" fontAlgn="base" hangingPunct="1">
              <a:spcBef>
                <a:spcPts val="600"/>
              </a:spcBef>
              <a:spcAft>
                <a:spcPct val="0"/>
              </a:spcAft>
              <a:buSzPct val="40000"/>
              <a:buNone/>
              <a:defRPr lang="en-US" sz="1000" b="1" dirty="0">
                <a:solidFill>
                  <a:srgbClr val="000000"/>
                </a:solidFill>
                <a:latin typeface="+mn-lt"/>
                <a:ea typeface="+mn-ea"/>
                <a:cs typeface="+mn-cs"/>
              </a:defRPr>
            </a:lvl2pPr>
          </a:lstStyle>
          <a:p>
            <a:pPr lvl="0"/>
            <a:r>
              <a:rPr lang="en-US"/>
              <a:t>Click to edit Master text styles</a:t>
            </a:r>
          </a:p>
          <a:p>
            <a:pPr lvl="1"/>
            <a:r>
              <a:rPr lang="en-US"/>
              <a:t>Second level</a:t>
            </a:r>
          </a:p>
        </p:txBody>
      </p:sp>
      <p:sp>
        <p:nvSpPr>
          <p:cNvPr id="9"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10"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a:t>201907-26031</a:t>
            </a:r>
            <a:endParaRPr lang="en-US" dirty="0"/>
          </a:p>
        </p:txBody>
      </p:sp>
      <p:grpSp>
        <p:nvGrpSpPr>
          <p:cNvPr id="11" name="Group 10"/>
          <p:cNvGrpSpPr/>
          <p:nvPr userDrawn="1"/>
        </p:nvGrpSpPr>
        <p:grpSpPr>
          <a:xfrm>
            <a:off x="7364320" y="6412511"/>
            <a:ext cx="1371600" cy="283464"/>
            <a:chOff x="4291013" y="3178175"/>
            <a:chExt cx="3197225" cy="688975"/>
          </a:xfrm>
        </p:grpSpPr>
        <p:sp>
          <p:nvSpPr>
            <p:cNvPr id="12"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3"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4"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5"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6"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7"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8"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9"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0"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1"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2"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3"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4"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5"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6"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7"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8"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9"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0"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1"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2"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3"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4"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5"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6"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37"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21579524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5_Biography">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p>
            <a:r>
              <a:rPr lang="en-US"/>
              <a:t>Click to edit Master title style</a:t>
            </a:r>
            <a:endParaRPr lang="en-US" dirty="0"/>
          </a:p>
        </p:txBody>
      </p:sp>
      <p:sp>
        <p:nvSpPr>
          <p:cNvPr id="3" name="Content Placeholder 2"/>
          <p:cNvSpPr>
            <a:spLocks noGrp="1"/>
          </p:cNvSpPr>
          <p:nvPr>
            <p:ph idx="1"/>
          </p:nvPr>
        </p:nvSpPr>
        <p:spPr>
          <a:xfrm>
            <a:off x="317115" y="1073258"/>
            <a:ext cx="8188710" cy="439305"/>
          </a:xfrm>
        </p:spPr>
        <p:txBody>
          <a:bodyPr lIns="91440"/>
          <a:lstStyle>
            <a:lvl1pPr marL="0" indent="0">
              <a:spcBef>
                <a:spcPts val="0"/>
              </a:spcBef>
              <a:defRPr lang="en-US" sz="1200" b="1" dirty="0" smtClean="0">
                <a:solidFill>
                  <a:srgbClr val="7A9B3D"/>
                </a:solidFill>
                <a:latin typeface="+mn-lt"/>
                <a:ea typeface="+mn-ea"/>
                <a:cs typeface="+mn-cs"/>
              </a:defRPr>
            </a:lvl1pPr>
            <a:lvl2pPr marL="0" indent="0">
              <a:spcBef>
                <a:spcPts val="0"/>
              </a:spcBef>
              <a:buNone/>
              <a:defRPr sz="1200" b="0" i="1">
                <a:solidFill>
                  <a:srgbClr val="7A9B3D"/>
                </a:solidFill>
              </a:defRPr>
            </a:lvl2pPr>
          </a:lstStyle>
          <a:p>
            <a:pPr lvl="0"/>
            <a:r>
              <a:rPr lang="en-US"/>
              <a:t>Click to edit Master text styles</a:t>
            </a:r>
          </a:p>
          <a:p>
            <a:pPr lvl="1"/>
            <a:r>
              <a:rPr lang="en-US"/>
              <a:t>Second level</a:t>
            </a:r>
          </a:p>
        </p:txBody>
      </p:sp>
      <p:sp>
        <p:nvSpPr>
          <p:cNvPr id="10" name="Content Placeholder 9"/>
          <p:cNvSpPr>
            <a:spLocks noGrp="1"/>
          </p:cNvSpPr>
          <p:nvPr>
            <p:ph sz="quarter" idx="13"/>
          </p:nvPr>
        </p:nvSpPr>
        <p:spPr>
          <a:xfrm>
            <a:off x="317115" y="1526850"/>
            <a:ext cx="8188710" cy="4691387"/>
          </a:xfrm>
        </p:spPr>
        <p:txBody>
          <a:bodyPr lIns="91440"/>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12"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a:t>201907-26031</a:t>
            </a:r>
            <a:endParaRPr lang="en-US" dirty="0"/>
          </a:p>
        </p:txBody>
      </p:sp>
      <p:grpSp>
        <p:nvGrpSpPr>
          <p:cNvPr id="13" name="Group 12"/>
          <p:cNvGrpSpPr/>
          <p:nvPr userDrawn="1"/>
        </p:nvGrpSpPr>
        <p:grpSpPr>
          <a:xfrm>
            <a:off x="7364320" y="6412511"/>
            <a:ext cx="1371600" cy="283464"/>
            <a:chOff x="4291013" y="3178175"/>
            <a:chExt cx="3197225" cy="688975"/>
          </a:xfrm>
        </p:grpSpPr>
        <p:sp>
          <p:nvSpPr>
            <p:cNvPr id="14"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5"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6"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7"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8"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9"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0"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1"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2"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3"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4"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5"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6"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7"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8"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9"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0"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1"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2"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3"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4"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5"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6"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7"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8"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39"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945762195"/>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5_Biography 2">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7948" cy="838200"/>
          </a:xfrm>
        </p:spPr>
        <p:txBody>
          <a:bodyPr/>
          <a:lstStyle/>
          <a:p>
            <a:r>
              <a:rPr lang="en-US"/>
              <a:t>Click to edit Master title style</a:t>
            </a:r>
            <a:endParaRPr lang="en-US" dirty="0"/>
          </a:p>
        </p:txBody>
      </p:sp>
      <p:sp>
        <p:nvSpPr>
          <p:cNvPr id="3" name="Content Placeholder 2"/>
          <p:cNvSpPr>
            <a:spLocks noGrp="1"/>
          </p:cNvSpPr>
          <p:nvPr>
            <p:ph idx="1"/>
          </p:nvPr>
        </p:nvSpPr>
        <p:spPr>
          <a:xfrm>
            <a:off x="317115" y="1073258"/>
            <a:ext cx="8187948" cy="439305"/>
          </a:xfrm>
        </p:spPr>
        <p:txBody>
          <a:bodyPr lIns="91440"/>
          <a:lstStyle>
            <a:lvl1pPr marL="0" indent="0">
              <a:spcBef>
                <a:spcPts val="0"/>
              </a:spcBef>
              <a:defRPr lang="en-US" sz="1200" b="1" dirty="0" smtClean="0">
                <a:solidFill>
                  <a:srgbClr val="7A9B3D"/>
                </a:solidFill>
                <a:latin typeface="+mn-lt"/>
                <a:ea typeface="+mn-ea"/>
                <a:cs typeface="+mn-cs"/>
              </a:defRPr>
            </a:lvl1pPr>
            <a:lvl2pPr marL="0" indent="0">
              <a:spcBef>
                <a:spcPts val="0"/>
              </a:spcBef>
              <a:buNone/>
              <a:defRPr sz="1200" b="0" i="1">
                <a:solidFill>
                  <a:srgbClr val="7A9B3D"/>
                </a:solidFill>
              </a:defRPr>
            </a:lvl2pPr>
          </a:lstStyle>
          <a:p>
            <a:pPr lvl="0"/>
            <a:r>
              <a:rPr lang="en-US"/>
              <a:t>Click to edit Master text styles</a:t>
            </a:r>
          </a:p>
          <a:p>
            <a:pPr lvl="1"/>
            <a:r>
              <a:rPr lang="en-US"/>
              <a:t>Second level</a:t>
            </a:r>
          </a:p>
        </p:txBody>
      </p:sp>
      <p:sp>
        <p:nvSpPr>
          <p:cNvPr id="10" name="Content Placeholder 9"/>
          <p:cNvSpPr>
            <a:spLocks noGrp="1"/>
          </p:cNvSpPr>
          <p:nvPr>
            <p:ph sz="quarter" idx="13"/>
          </p:nvPr>
        </p:nvSpPr>
        <p:spPr>
          <a:xfrm>
            <a:off x="317115" y="1526851"/>
            <a:ext cx="8188710" cy="1902149"/>
          </a:xfrm>
        </p:spPr>
        <p:txBody>
          <a:bodyPr lIns="91440"/>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p:cNvSpPr>
            <a:spLocks noGrp="1"/>
          </p:cNvSpPr>
          <p:nvPr>
            <p:ph idx="17"/>
          </p:nvPr>
        </p:nvSpPr>
        <p:spPr>
          <a:xfrm>
            <a:off x="317115" y="3666458"/>
            <a:ext cx="8188710" cy="439305"/>
          </a:xfrm>
        </p:spPr>
        <p:txBody>
          <a:bodyPr lIns="91440"/>
          <a:lstStyle>
            <a:lvl1pPr marL="0" indent="0">
              <a:spcBef>
                <a:spcPts val="0"/>
              </a:spcBef>
              <a:defRPr lang="en-US" sz="1200" b="1" dirty="0" smtClean="0">
                <a:solidFill>
                  <a:srgbClr val="7A9B3D"/>
                </a:solidFill>
                <a:latin typeface="+mn-lt"/>
                <a:ea typeface="+mn-ea"/>
                <a:cs typeface="+mn-cs"/>
              </a:defRPr>
            </a:lvl1pPr>
            <a:lvl2pPr marL="0" indent="0">
              <a:spcBef>
                <a:spcPts val="0"/>
              </a:spcBef>
              <a:buNone/>
              <a:defRPr sz="1200" b="0" i="1">
                <a:solidFill>
                  <a:srgbClr val="7A9B3D"/>
                </a:solidFill>
              </a:defRPr>
            </a:lvl2pPr>
          </a:lstStyle>
          <a:p>
            <a:pPr lvl="0"/>
            <a:r>
              <a:rPr lang="en-US"/>
              <a:t>Click to edit Master text styles</a:t>
            </a:r>
          </a:p>
          <a:p>
            <a:pPr lvl="1"/>
            <a:r>
              <a:rPr lang="en-US"/>
              <a:t>Second level</a:t>
            </a:r>
          </a:p>
        </p:txBody>
      </p:sp>
      <p:sp>
        <p:nvSpPr>
          <p:cNvPr id="9" name="Content Placeholder 9"/>
          <p:cNvSpPr>
            <a:spLocks noGrp="1"/>
          </p:cNvSpPr>
          <p:nvPr>
            <p:ph sz="quarter" idx="18"/>
          </p:nvPr>
        </p:nvSpPr>
        <p:spPr>
          <a:xfrm>
            <a:off x="317115" y="4120051"/>
            <a:ext cx="8188710" cy="1902149"/>
          </a:xfrm>
        </p:spPr>
        <p:txBody>
          <a:bodyPr lIns="91440"/>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14"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a:t>201907-26031</a:t>
            </a:r>
            <a:endParaRPr lang="en-US" dirty="0"/>
          </a:p>
        </p:txBody>
      </p:sp>
      <p:grpSp>
        <p:nvGrpSpPr>
          <p:cNvPr id="15" name="Group 14"/>
          <p:cNvGrpSpPr/>
          <p:nvPr userDrawn="1"/>
        </p:nvGrpSpPr>
        <p:grpSpPr>
          <a:xfrm>
            <a:off x="7364320" y="6412511"/>
            <a:ext cx="1371600" cy="283464"/>
            <a:chOff x="4291013" y="3178175"/>
            <a:chExt cx="3197225" cy="688975"/>
          </a:xfrm>
        </p:grpSpPr>
        <p:sp>
          <p:nvSpPr>
            <p:cNvPr id="16"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7"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8"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9"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0"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1"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2"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3"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4"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5"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6"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7"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8"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9"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0"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1"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2"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3"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4"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5"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6"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7"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8"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9"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0"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41"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236550636"/>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5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73742" cy="838200"/>
          </a:xfrm>
        </p:spPr>
        <p:txBody>
          <a:bodyPr/>
          <a:lstStyle/>
          <a:p>
            <a:r>
              <a:rPr lang="en-US"/>
              <a:t>Click to edit Master title style</a:t>
            </a:r>
            <a:endParaRPr lang="en-US" dirty="0"/>
          </a:p>
        </p:txBody>
      </p:sp>
      <p:sp>
        <p:nvSpPr>
          <p:cNvPr id="3" name="Content Placeholder 2"/>
          <p:cNvSpPr>
            <a:spLocks noGrp="1"/>
          </p:cNvSpPr>
          <p:nvPr>
            <p:ph sz="half" idx="1"/>
          </p:nvPr>
        </p:nvSpPr>
        <p:spPr>
          <a:xfrm>
            <a:off x="317115" y="1339850"/>
            <a:ext cx="3878262" cy="4878388"/>
          </a:xfrm>
        </p:spPr>
        <p:txBody>
          <a:bodyPr lIns="91440"/>
          <a:lstStyle>
            <a:lvl1pPr>
              <a:spcBef>
                <a:spcPts val="600"/>
              </a:spcBef>
              <a:defRPr sz="1400">
                <a:solidFill>
                  <a:srgbClr val="7A9B3D"/>
                </a:solidFill>
              </a:defRPr>
            </a:lvl1pPr>
            <a:lvl2pPr marL="114300" indent="-114300">
              <a:spcBef>
                <a:spcPts val="600"/>
              </a:spcBef>
              <a:buClr>
                <a:srgbClr val="7A9B3D"/>
              </a:buClr>
              <a:defRPr sz="1200">
                <a:solidFill>
                  <a:srgbClr val="000000"/>
                </a:solidFill>
              </a:defRPr>
            </a:lvl2pPr>
            <a:lvl3pPr marL="228600" indent="-114300">
              <a:spcBef>
                <a:spcPts val="600"/>
              </a:spcBef>
              <a:buClr>
                <a:srgbClr val="768692"/>
              </a:buClr>
              <a:defRPr sz="1100">
                <a:solidFill>
                  <a:srgbClr val="000000"/>
                </a:solidFill>
              </a:defRPr>
            </a:lvl3pPr>
            <a:lvl4pPr marL="342900" indent="-114300">
              <a:spcBef>
                <a:spcPts val="600"/>
              </a:spcBef>
              <a:buClr>
                <a:srgbClr val="000000"/>
              </a:buClr>
              <a:defRPr sz="1050">
                <a:solidFill>
                  <a:srgbClr val="000000"/>
                </a:solidFill>
              </a:defRPr>
            </a:lvl4pPr>
            <a:lvl5pPr>
              <a:defRPr sz="105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2"/>
          <p:cNvSpPr>
            <a:spLocks noGrp="1"/>
          </p:cNvSpPr>
          <p:nvPr>
            <p:ph sz="half" idx="13"/>
          </p:nvPr>
        </p:nvSpPr>
        <p:spPr>
          <a:xfrm>
            <a:off x="4611450" y="1339850"/>
            <a:ext cx="3878262" cy="4878388"/>
          </a:xfrm>
        </p:spPr>
        <p:txBody>
          <a:bodyPr lIns="91440"/>
          <a:lstStyle>
            <a:lvl1pPr>
              <a:spcBef>
                <a:spcPts val="600"/>
              </a:spcBef>
              <a:defRPr sz="1400">
                <a:solidFill>
                  <a:srgbClr val="7A9B3D"/>
                </a:solidFill>
              </a:defRPr>
            </a:lvl1pPr>
            <a:lvl2pPr marL="114300" indent="-114300">
              <a:spcBef>
                <a:spcPts val="600"/>
              </a:spcBef>
              <a:buClr>
                <a:srgbClr val="7A9B3D"/>
              </a:buClr>
              <a:defRPr sz="1200">
                <a:solidFill>
                  <a:srgbClr val="000000"/>
                </a:solidFill>
              </a:defRPr>
            </a:lvl2pPr>
            <a:lvl3pPr marL="228600" indent="-114300">
              <a:spcBef>
                <a:spcPts val="600"/>
              </a:spcBef>
              <a:buClr>
                <a:srgbClr val="768692"/>
              </a:buClr>
              <a:defRPr sz="1100">
                <a:solidFill>
                  <a:srgbClr val="000000"/>
                </a:solidFill>
              </a:defRPr>
            </a:lvl3pPr>
            <a:lvl4pPr marL="342900" indent="-114300">
              <a:spcBef>
                <a:spcPts val="600"/>
              </a:spcBef>
              <a:buClr>
                <a:srgbClr val="000000"/>
              </a:buClr>
              <a:defRPr sz="1050">
                <a:solidFill>
                  <a:srgbClr val="000000"/>
                </a:solidFill>
              </a:defRPr>
            </a:lvl4pPr>
            <a:lvl5pPr>
              <a:defRPr sz="105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12"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a:t>201907-26031</a:t>
            </a:r>
            <a:endParaRPr lang="en-US" dirty="0"/>
          </a:p>
        </p:txBody>
      </p:sp>
      <p:grpSp>
        <p:nvGrpSpPr>
          <p:cNvPr id="13" name="Group 12"/>
          <p:cNvGrpSpPr/>
          <p:nvPr userDrawn="1"/>
        </p:nvGrpSpPr>
        <p:grpSpPr>
          <a:xfrm>
            <a:off x="7364320" y="6412511"/>
            <a:ext cx="1371600" cy="283464"/>
            <a:chOff x="4291013" y="3178175"/>
            <a:chExt cx="3197225" cy="688975"/>
          </a:xfrm>
        </p:grpSpPr>
        <p:sp>
          <p:nvSpPr>
            <p:cNvPr id="14"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5"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6"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7"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8"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9"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0"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1"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2"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3"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4"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5"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6"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7"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8"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9"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0"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1"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2"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3"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4"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5"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6"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7"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8"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39"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2799372919"/>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4_Comparison">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6868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hasCustomPrompt="1"/>
          </p:nvPr>
        </p:nvSpPr>
        <p:spPr>
          <a:xfrm>
            <a:off x="317115" y="1004757"/>
            <a:ext cx="4040188" cy="639762"/>
          </a:xfrm>
        </p:spPr>
        <p:txBody>
          <a:bodyPr lIns="91440" anchor="b"/>
          <a:lstStyle>
            <a:lvl1pPr marL="0" indent="0">
              <a:buNone/>
              <a:defRPr sz="14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5" name="Text Placeholder 4"/>
          <p:cNvSpPr>
            <a:spLocks noGrp="1"/>
          </p:cNvSpPr>
          <p:nvPr>
            <p:ph type="body" sz="quarter" idx="3" hasCustomPrompt="1"/>
          </p:nvPr>
        </p:nvSpPr>
        <p:spPr>
          <a:xfrm>
            <a:off x="4449057" y="1004757"/>
            <a:ext cx="4041775" cy="639762"/>
          </a:xfrm>
        </p:spPr>
        <p:txBody>
          <a:bodyPr lIns="91440" anchor="b"/>
          <a:lstStyle>
            <a:lvl1pPr marL="0" indent="0">
              <a:buNone/>
              <a:defRPr sz="14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0" name="Content Placeholder 2"/>
          <p:cNvSpPr>
            <a:spLocks noGrp="1"/>
          </p:cNvSpPr>
          <p:nvPr>
            <p:ph sz="half" idx="13"/>
          </p:nvPr>
        </p:nvSpPr>
        <p:spPr>
          <a:xfrm>
            <a:off x="317115" y="1664594"/>
            <a:ext cx="4041648" cy="4553643"/>
          </a:xfrm>
        </p:spPr>
        <p:txBody>
          <a:bodyPr lIns="91440"/>
          <a:lstStyle>
            <a:lvl1pPr>
              <a:spcBef>
                <a:spcPts val="600"/>
              </a:spcBef>
              <a:defRPr sz="1400">
                <a:solidFill>
                  <a:srgbClr val="7A9B3D"/>
                </a:solidFill>
              </a:defRPr>
            </a:lvl1pPr>
            <a:lvl2pPr marL="114300" indent="-114300">
              <a:spcBef>
                <a:spcPts val="600"/>
              </a:spcBef>
              <a:buClr>
                <a:srgbClr val="7A9B3D"/>
              </a:buClr>
              <a:defRPr sz="1200">
                <a:solidFill>
                  <a:srgbClr val="000000"/>
                </a:solidFill>
              </a:defRPr>
            </a:lvl2pPr>
            <a:lvl3pPr marL="228600" indent="-114300">
              <a:spcBef>
                <a:spcPts val="600"/>
              </a:spcBef>
              <a:defRPr sz="1100">
                <a:solidFill>
                  <a:srgbClr val="000000"/>
                </a:solidFill>
              </a:defRPr>
            </a:lvl3pPr>
            <a:lvl4pPr marL="342900" indent="-114300">
              <a:spcBef>
                <a:spcPts val="600"/>
              </a:spcBef>
              <a:buClr>
                <a:srgbClr val="000000"/>
              </a:buClr>
              <a:defRPr sz="1050">
                <a:solidFill>
                  <a:srgbClr val="000000"/>
                </a:solidFill>
              </a:defRPr>
            </a:lvl4pPr>
            <a:lvl5pPr>
              <a:defRPr sz="105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2"/>
          <p:cNvSpPr>
            <a:spLocks noGrp="1"/>
          </p:cNvSpPr>
          <p:nvPr>
            <p:ph sz="half" idx="14"/>
          </p:nvPr>
        </p:nvSpPr>
        <p:spPr>
          <a:xfrm>
            <a:off x="4449057" y="1665794"/>
            <a:ext cx="4041648" cy="4552443"/>
          </a:xfrm>
        </p:spPr>
        <p:txBody>
          <a:bodyPr lIns="91440"/>
          <a:lstStyle>
            <a:lvl1pPr>
              <a:spcBef>
                <a:spcPts val="600"/>
              </a:spcBef>
              <a:defRPr sz="1400">
                <a:solidFill>
                  <a:srgbClr val="7A9B3D"/>
                </a:solidFill>
              </a:defRPr>
            </a:lvl1pPr>
            <a:lvl2pPr marL="114300" indent="-114300">
              <a:spcBef>
                <a:spcPts val="600"/>
              </a:spcBef>
              <a:buClr>
                <a:srgbClr val="7A9B3D"/>
              </a:buClr>
              <a:defRPr sz="1200">
                <a:solidFill>
                  <a:srgbClr val="000000"/>
                </a:solidFill>
              </a:defRPr>
            </a:lvl2pPr>
            <a:lvl3pPr marL="228600" indent="-114300">
              <a:spcBef>
                <a:spcPts val="600"/>
              </a:spcBef>
              <a:defRPr sz="1100">
                <a:solidFill>
                  <a:srgbClr val="000000"/>
                </a:solidFill>
              </a:defRPr>
            </a:lvl3pPr>
            <a:lvl4pPr marL="342900" indent="-114300">
              <a:spcBef>
                <a:spcPts val="600"/>
              </a:spcBef>
              <a:buClr>
                <a:srgbClr val="000000"/>
              </a:buClr>
              <a:defRPr sz="1050">
                <a:solidFill>
                  <a:srgbClr val="000000"/>
                </a:solidFill>
              </a:defRPr>
            </a:lvl4pPr>
            <a:lvl5pPr>
              <a:defRPr sz="105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Footer Placeholder 4"/>
          <p:cNvSpPr>
            <a:spLocks noGrp="1"/>
          </p:cNvSpPr>
          <p:nvPr>
            <p:ph type="ftr" sz="quarter" idx="16"/>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15" name="Rectangle 155"/>
          <p:cNvSpPr>
            <a:spLocks noGrp="1" noChangeArrowheads="1"/>
          </p:cNvSpPr>
          <p:nvPr>
            <p:ph type="dt" sz="half" idx="17"/>
          </p:nvPr>
        </p:nvSpPr>
        <p:spPr>
          <a:xfrm>
            <a:off x="320040" y="6655654"/>
            <a:ext cx="1983958" cy="120649"/>
          </a:xfrm>
        </p:spPr>
        <p:txBody>
          <a:bodyPr/>
          <a:lstStyle>
            <a:lvl1pPr algn="l">
              <a:defRPr sz="700" smtClean="0">
                <a:solidFill>
                  <a:srgbClr val="000000"/>
                </a:solidFill>
              </a:defRPr>
            </a:lvl1pPr>
          </a:lstStyle>
          <a:p>
            <a:pPr>
              <a:defRPr/>
            </a:pPr>
            <a:r>
              <a:rPr lang="en-US"/>
              <a:t>201907-26031</a:t>
            </a:r>
            <a:endParaRPr lang="en-US" dirty="0"/>
          </a:p>
        </p:txBody>
      </p:sp>
      <p:grpSp>
        <p:nvGrpSpPr>
          <p:cNvPr id="16" name="Group 15"/>
          <p:cNvGrpSpPr/>
          <p:nvPr userDrawn="1"/>
        </p:nvGrpSpPr>
        <p:grpSpPr>
          <a:xfrm>
            <a:off x="7364320" y="6412511"/>
            <a:ext cx="1371600" cy="283464"/>
            <a:chOff x="4291013" y="3178175"/>
            <a:chExt cx="3197225" cy="688975"/>
          </a:xfrm>
        </p:grpSpPr>
        <p:sp>
          <p:nvSpPr>
            <p:cNvPr id="17"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8"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9"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0"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1"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2"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3"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4"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5"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6"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7"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8"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9"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0"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1"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2"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3"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4"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5"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6"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7"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8"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9"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0"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41"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42" name="Slide Number Placeholder 3"/>
          <p:cNvSpPr>
            <a:spLocks noGrp="1"/>
          </p:cNvSpPr>
          <p:nvPr>
            <p:ph type="sldNum" sz="quarter" idx="18"/>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18156568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lvl1pPr>
              <a:defRPr>
                <a:solidFill>
                  <a:srgbClr val="333F48"/>
                </a:solidFill>
              </a:defRPr>
            </a:lvl1pPr>
          </a:lstStyle>
          <a:p>
            <a:r>
              <a:rPr lang="en-US"/>
              <a:t>Click to edit Master title style</a:t>
            </a:r>
            <a:endParaRPr lang="en-US" dirty="0"/>
          </a:p>
        </p:txBody>
      </p:sp>
      <p:grpSp>
        <p:nvGrpSpPr>
          <p:cNvPr id="33" name="Group 32">
            <a:extLst>
              <a:ext uri="{FF2B5EF4-FFF2-40B4-BE49-F238E27FC236}">
                <a16:creationId xmlns:a16="http://schemas.microsoft.com/office/drawing/2014/main" id="{0F62616B-A113-49C2-BCA3-32AFDB89CBE2}"/>
              </a:ext>
            </a:extLst>
          </p:cNvPr>
          <p:cNvGrpSpPr/>
          <p:nvPr userDrawn="1"/>
        </p:nvGrpSpPr>
        <p:grpSpPr>
          <a:xfrm>
            <a:off x="7358173" y="6361974"/>
            <a:ext cx="1382376" cy="297562"/>
            <a:chOff x="6923088" y="4475163"/>
            <a:chExt cx="1873251" cy="403225"/>
          </a:xfrm>
        </p:grpSpPr>
        <p:sp>
          <p:nvSpPr>
            <p:cNvPr id="34" name="AutoShape 4">
              <a:extLst>
                <a:ext uri="{FF2B5EF4-FFF2-40B4-BE49-F238E27FC236}">
                  <a16:creationId xmlns:a16="http://schemas.microsoft.com/office/drawing/2014/main" id="{49D58BA8-C307-41D7-A988-42E097D1EF76}"/>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6">
              <a:extLst>
                <a:ext uri="{FF2B5EF4-FFF2-40B4-BE49-F238E27FC236}">
                  <a16:creationId xmlns:a16="http://schemas.microsoft.com/office/drawing/2014/main" id="{99E6BBF1-6900-43FC-B106-808C1203D52D}"/>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7">
              <a:extLst>
                <a:ext uri="{FF2B5EF4-FFF2-40B4-BE49-F238E27FC236}">
                  <a16:creationId xmlns:a16="http://schemas.microsoft.com/office/drawing/2014/main" id="{1CAA1F79-AF27-468E-8586-71EF43CE357A}"/>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83">
              <a:extLst>
                <a:ext uri="{FF2B5EF4-FFF2-40B4-BE49-F238E27FC236}">
                  <a16:creationId xmlns:a16="http://schemas.microsoft.com/office/drawing/2014/main" id="{25628C13-6D93-4F00-8ED8-90737568691A}"/>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84">
              <a:extLst>
                <a:ext uri="{FF2B5EF4-FFF2-40B4-BE49-F238E27FC236}">
                  <a16:creationId xmlns:a16="http://schemas.microsoft.com/office/drawing/2014/main" id="{85C9C7A1-11FD-4D2C-8EDF-4833DE82B50F}"/>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85">
              <a:extLst>
                <a:ext uri="{FF2B5EF4-FFF2-40B4-BE49-F238E27FC236}">
                  <a16:creationId xmlns:a16="http://schemas.microsoft.com/office/drawing/2014/main" id="{713E574F-4758-48CF-8C5C-4B0FEAD58DBC}"/>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86">
              <a:extLst>
                <a:ext uri="{FF2B5EF4-FFF2-40B4-BE49-F238E27FC236}">
                  <a16:creationId xmlns:a16="http://schemas.microsoft.com/office/drawing/2014/main" id="{5095EFD8-8B78-4FEF-966C-2B785E288D2C}"/>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87">
              <a:extLst>
                <a:ext uri="{FF2B5EF4-FFF2-40B4-BE49-F238E27FC236}">
                  <a16:creationId xmlns:a16="http://schemas.microsoft.com/office/drawing/2014/main" id="{E1B3AF36-9DB0-4539-A4AF-978F6A19D6B3}"/>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88">
              <a:extLst>
                <a:ext uri="{FF2B5EF4-FFF2-40B4-BE49-F238E27FC236}">
                  <a16:creationId xmlns:a16="http://schemas.microsoft.com/office/drawing/2014/main" id="{F15062CC-7097-4E22-AE5F-F76A8333AC1D}"/>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89">
              <a:extLst>
                <a:ext uri="{FF2B5EF4-FFF2-40B4-BE49-F238E27FC236}">
                  <a16:creationId xmlns:a16="http://schemas.microsoft.com/office/drawing/2014/main" id="{62041FF7-97A2-4A11-9271-8D11EF1B6F17}"/>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90">
              <a:extLst>
                <a:ext uri="{FF2B5EF4-FFF2-40B4-BE49-F238E27FC236}">
                  <a16:creationId xmlns:a16="http://schemas.microsoft.com/office/drawing/2014/main" id="{866430AE-6669-4687-886A-98B81A7EF4AC}"/>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91">
              <a:extLst>
                <a:ext uri="{FF2B5EF4-FFF2-40B4-BE49-F238E27FC236}">
                  <a16:creationId xmlns:a16="http://schemas.microsoft.com/office/drawing/2014/main" id="{57909145-25A0-4EAB-B40E-FBACBBFF5AE0}"/>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92">
              <a:extLst>
                <a:ext uri="{FF2B5EF4-FFF2-40B4-BE49-F238E27FC236}">
                  <a16:creationId xmlns:a16="http://schemas.microsoft.com/office/drawing/2014/main" id="{62666816-D824-4ACC-8078-CCF01B95645F}"/>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93">
              <a:extLst>
                <a:ext uri="{FF2B5EF4-FFF2-40B4-BE49-F238E27FC236}">
                  <a16:creationId xmlns:a16="http://schemas.microsoft.com/office/drawing/2014/main" id="{1F0724D1-2EFF-4A05-AA97-B428B60B54AA}"/>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94">
              <a:extLst>
                <a:ext uri="{FF2B5EF4-FFF2-40B4-BE49-F238E27FC236}">
                  <a16:creationId xmlns:a16="http://schemas.microsoft.com/office/drawing/2014/main" id="{D34C7757-1028-46E7-A0FC-91415EC881CB}"/>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95">
              <a:extLst>
                <a:ext uri="{FF2B5EF4-FFF2-40B4-BE49-F238E27FC236}">
                  <a16:creationId xmlns:a16="http://schemas.microsoft.com/office/drawing/2014/main" id="{36C1B6E4-AA6D-4CF5-B8E3-594DC6CE63A1}"/>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6">
              <a:extLst>
                <a:ext uri="{FF2B5EF4-FFF2-40B4-BE49-F238E27FC236}">
                  <a16:creationId xmlns:a16="http://schemas.microsoft.com/office/drawing/2014/main" id="{DF1C8D13-DF52-4DA1-BA6C-7FDF9DC5423E}"/>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7">
              <a:extLst>
                <a:ext uri="{FF2B5EF4-FFF2-40B4-BE49-F238E27FC236}">
                  <a16:creationId xmlns:a16="http://schemas.microsoft.com/office/drawing/2014/main" id="{0B1E1E0F-7A95-4895-BC4B-813467036ACD}"/>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8">
              <a:extLst>
                <a:ext uri="{FF2B5EF4-FFF2-40B4-BE49-F238E27FC236}">
                  <a16:creationId xmlns:a16="http://schemas.microsoft.com/office/drawing/2014/main" id="{1724219D-3EC2-412F-BEDC-0B04B4D64F07}"/>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99">
              <a:extLst>
                <a:ext uri="{FF2B5EF4-FFF2-40B4-BE49-F238E27FC236}">
                  <a16:creationId xmlns:a16="http://schemas.microsoft.com/office/drawing/2014/main" id="{66CE2863-34C9-4A02-9B77-AFA590051207}"/>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100">
              <a:extLst>
                <a:ext uri="{FF2B5EF4-FFF2-40B4-BE49-F238E27FC236}">
                  <a16:creationId xmlns:a16="http://schemas.microsoft.com/office/drawing/2014/main" id="{80C1B223-C089-47E5-927C-E60A5CDCA764}"/>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101">
              <a:extLst>
                <a:ext uri="{FF2B5EF4-FFF2-40B4-BE49-F238E27FC236}">
                  <a16:creationId xmlns:a16="http://schemas.microsoft.com/office/drawing/2014/main" id="{058054D3-04AE-4AA2-873C-35A5A9D314DF}"/>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102">
              <a:extLst>
                <a:ext uri="{FF2B5EF4-FFF2-40B4-BE49-F238E27FC236}">
                  <a16:creationId xmlns:a16="http://schemas.microsoft.com/office/drawing/2014/main" id="{CC748DEB-C39E-42D7-937A-08EF61FC5D31}"/>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03">
              <a:extLst>
                <a:ext uri="{FF2B5EF4-FFF2-40B4-BE49-F238E27FC236}">
                  <a16:creationId xmlns:a16="http://schemas.microsoft.com/office/drawing/2014/main" id="{B18D9B0F-C3B3-45D2-BAAC-62562A3321F1}"/>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104">
              <a:extLst>
                <a:ext uri="{FF2B5EF4-FFF2-40B4-BE49-F238E27FC236}">
                  <a16:creationId xmlns:a16="http://schemas.microsoft.com/office/drawing/2014/main" id="{88CA10C9-6D49-426A-B008-08E0E8E944BC}"/>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105">
              <a:extLst>
                <a:ext uri="{FF2B5EF4-FFF2-40B4-BE49-F238E27FC236}">
                  <a16:creationId xmlns:a16="http://schemas.microsoft.com/office/drawing/2014/main" id="{070CAC55-C633-45AA-A07A-C0957C583FFD}"/>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1" name="Slide Number Placeholder 3">
            <a:extLst>
              <a:ext uri="{FF2B5EF4-FFF2-40B4-BE49-F238E27FC236}">
                <a16:creationId xmlns:a16="http://schemas.microsoft.com/office/drawing/2014/main" id="{EF524037-F5D0-4428-9CA5-C04BEDCCDDDB}"/>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2" name="Rectangle 155">
            <a:extLst>
              <a:ext uri="{FF2B5EF4-FFF2-40B4-BE49-F238E27FC236}">
                <a16:creationId xmlns:a16="http://schemas.microsoft.com/office/drawing/2014/main" id="{2B1046A9-03EE-49D1-911F-F1D3C9D50387}"/>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dirty="0"/>
              <a:t>Production code #</a:t>
            </a:r>
          </a:p>
        </p:txBody>
      </p:sp>
      <p:sp>
        <p:nvSpPr>
          <p:cNvPr id="63" name="Rectangle 176">
            <a:extLst>
              <a:ext uri="{FF2B5EF4-FFF2-40B4-BE49-F238E27FC236}">
                <a16:creationId xmlns:a16="http://schemas.microsoft.com/office/drawing/2014/main" id="{3D2F4685-1C9C-46FB-9AD7-3D8BB399C73D}"/>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1853227931"/>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2_Back_Cover_BD">
    <p:spTree>
      <p:nvGrpSpPr>
        <p:cNvPr id="1" name=""/>
        <p:cNvGrpSpPr/>
        <p:nvPr/>
      </p:nvGrpSpPr>
      <p:grpSpPr>
        <a:xfrm>
          <a:off x="0" y="0"/>
          <a:ext cx="0" cy="0"/>
          <a:chOff x="0" y="0"/>
          <a:chExt cx="0" cy="0"/>
        </a:xfrm>
      </p:grpSpPr>
      <p:sp>
        <p:nvSpPr>
          <p:cNvPr id="5" name="TextBox 4"/>
          <p:cNvSpPr txBox="1"/>
          <p:nvPr userDrawn="1"/>
        </p:nvSpPr>
        <p:spPr>
          <a:xfrm>
            <a:off x="1338943" y="6473360"/>
            <a:ext cx="6466114" cy="353943"/>
          </a:xfrm>
          <a:prstGeom prst="rect">
            <a:avLst/>
          </a:prstGeom>
          <a:noFill/>
        </p:spPr>
        <p:txBody>
          <a:bodyPr wrap="square" rtlCol="0">
            <a:spAutoFit/>
          </a:bodyPr>
          <a:lstStyle/>
          <a:p>
            <a:pPr algn="ctr" fontAlgn="base">
              <a:spcBef>
                <a:spcPts val="200"/>
              </a:spcBef>
              <a:spcAft>
                <a:spcPct val="0"/>
              </a:spcAft>
              <a:defRPr/>
            </a:pPr>
            <a:r>
              <a:rPr lang="en-US" altLang="en-US" sz="900" dirty="0">
                <a:solidFill>
                  <a:srgbClr val="000000"/>
                </a:solidFill>
                <a:ea typeface="ＭＳ Ｐゴシック"/>
              </a:rPr>
              <a:t>FIDELITY INVESTMENTS INSTITUTIONAL SERVICES COMPANY, INC., 500 SALEM STREET, SMITHFIELD, RI  02917</a:t>
            </a:r>
            <a:br>
              <a:rPr lang="en-US" altLang="en-US" sz="1200" dirty="0">
                <a:solidFill>
                  <a:srgbClr val="000000"/>
                </a:solidFill>
                <a:ea typeface="ＭＳ Ｐゴシック"/>
              </a:rPr>
            </a:br>
            <a:r>
              <a:rPr lang="en-US" sz="800" dirty="0">
                <a:solidFill>
                  <a:srgbClr val="000000"/>
                </a:solidFill>
                <a:ea typeface="ＭＳ Ｐゴシック"/>
              </a:rPr>
              <a:t>© 2019 FMR LLC. All rights reserved.</a:t>
            </a:r>
          </a:p>
        </p:txBody>
      </p:sp>
      <p:grpSp>
        <p:nvGrpSpPr>
          <p:cNvPr id="32" name="Group 31"/>
          <p:cNvGrpSpPr/>
          <p:nvPr userDrawn="1"/>
        </p:nvGrpSpPr>
        <p:grpSpPr>
          <a:xfrm>
            <a:off x="360752" y="5158824"/>
            <a:ext cx="1890168" cy="396052"/>
            <a:chOff x="6871938" y="4475163"/>
            <a:chExt cx="1924401" cy="403225"/>
          </a:xfrm>
        </p:grpSpPr>
        <p:sp>
          <p:nvSpPr>
            <p:cNvPr id="33" name="AutoShape 4"/>
            <p:cNvSpPr>
              <a:spLocks noChangeAspect="1" noChangeArrowheads="1" noTextEdit="1"/>
            </p:cNvSpPr>
            <p:nvPr/>
          </p:nvSpPr>
          <p:spPr bwMode="auto">
            <a:xfrm>
              <a:off x="687193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34" name="Freeform 33"/>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35" name="Freeform 34"/>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36" name="Freeform 35"/>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39" name="Freeform 38"/>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8" name="Freeform 67"/>
            <p:cNvSpPr>
              <a:spLocks/>
            </p:cNvSpPr>
            <p:nvPr/>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9" name="Freeform 68"/>
            <p:cNvSpPr>
              <a:spLocks noEditPoints="1"/>
            </p:cNvSpPr>
            <p:nvPr/>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0" name="Freeform 69"/>
            <p:cNvSpPr>
              <a:spLocks noEditPoints="1"/>
            </p:cNvSpPr>
            <p:nvPr/>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1" name="Freeform 70"/>
            <p:cNvSpPr>
              <a:spLocks noEditPoints="1"/>
            </p:cNvSpPr>
            <p:nvPr/>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2" name="Freeform 71"/>
            <p:cNvSpPr>
              <a:spLocks/>
            </p:cNvSpPr>
            <p:nvPr/>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3" name="Freeform 72"/>
            <p:cNvSpPr>
              <a:spLocks noEditPoints="1"/>
            </p:cNvSpPr>
            <p:nvPr/>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4" name="Freeform 73"/>
            <p:cNvSpPr>
              <a:spLocks/>
            </p:cNvSpPr>
            <p:nvPr/>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5" name="Freeform 74"/>
            <p:cNvSpPr>
              <a:spLocks/>
            </p:cNvSpPr>
            <p:nvPr/>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6" name="Freeform 75"/>
            <p:cNvSpPr>
              <a:spLocks/>
            </p:cNvSpPr>
            <p:nvPr/>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7" name="Freeform 76"/>
            <p:cNvSpPr>
              <a:spLocks/>
            </p:cNvSpPr>
            <p:nvPr/>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8" name="Freeform 77"/>
            <p:cNvSpPr>
              <a:spLocks/>
            </p:cNvSpPr>
            <p:nvPr/>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79" name="Freeform 78"/>
            <p:cNvSpPr>
              <a:spLocks/>
            </p:cNvSpPr>
            <p:nvPr/>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0" name="Freeform 79"/>
            <p:cNvSpPr>
              <a:spLocks/>
            </p:cNvSpPr>
            <p:nvPr/>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1" name="Freeform 80"/>
            <p:cNvSpPr>
              <a:spLocks/>
            </p:cNvSpPr>
            <p:nvPr/>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2" name="Freeform 81"/>
            <p:cNvSpPr>
              <a:spLocks/>
            </p:cNvSpPr>
            <p:nvPr/>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3" name="Freeform 82"/>
            <p:cNvSpPr>
              <a:spLocks noEditPoints="1"/>
            </p:cNvSpPr>
            <p:nvPr/>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4" name="Freeform 83"/>
            <p:cNvSpPr>
              <a:spLocks noEditPoints="1"/>
            </p:cNvSpPr>
            <p:nvPr/>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5" name="Freeform 84"/>
            <p:cNvSpPr>
              <a:spLocks/>
            </p:cNvSpPr>
            <p:nvPr/>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6" name="Freeform 85"/>
            <p:cNvSpPr>
              <a:spLocks/>
            </p:cNvSpPr>
            <p:nvPr/>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7" name="Freeform 86"/>
            <p:cNvSpPr>
              <a:spLocks/>
            </p:cNvSpPr>
            <p:nvPr/>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88" name="Freeform 87"/>
            <p:cNvSpPr>
              <a:spLocks/>
            </p:cNvSpPr>
            <p:nvPr/>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grpSp>
      <p:sp>
        <p:nvSpPr>
          <p:cNvPr id="91" name="Content Placeholder 12"/>
          <p:cNvSpPr>
            <a:spLocks noGrp="1"/>
          </p:cNvSpPr>
          <p:nvPr>
            <p:ph sz="quarter" idx="16" hasCustomPrompt="1"/>
          </p:nvPr>
        </p:nvSpPr>
        <p:spPr>
          <a:xfrm>
            <a:off x="7991475" y="6332082"/>
            <a:ext cx="908050" cy="377825"/>
          </a:xfrm>
        </p:spPr>
        <p:txBody>
          <a:bodyPr anchor="b"/>
          <a:lstStyle>
            <a:lvl1pPr marL="0" indent="0" algn="r">
              <a:spcBef>
                <a:spcPts val="0"/>
              </a:spcBef>
              <a:defRPr sz="700" b="0">
                <a:solidFill>
                  <a:schemeClr val="tx1"/>
                </a:solidFill>
              </a:defRPr>
            </a:lvl1pPr>
            <a:lvl2pPr algn="r">
              <a:defRPr sz="700" b="0">
                <a:solidFill>
                  <a:schemeClr val="tx1"/>
                </a:solidFill>
              </a:defRPr>
            </a:lvl2pPr>
            <a:lvl3pPr algn="r">
              <a:defRPr sz="700" b="0">
                <a:solidFill>
                  <a:schemeClr val="tx1"/>
                </a:solidFill>
              </a:defRPr>
            </a:lvl3pPr>
            <a:lvl4pPr algn="r">
              <a:defRPr sz="700" b="0">
                <a:solidFill>
                  <a:schemeClr val="tx1"/>
                </a:solidFill>
              </a:defRPr>
            </a:lvl4pPr>
            <a:lvl5pPr algn="r">
              <a:defRPr sz="700" b="0">
                <a:solidFill>
                  <a:schemeClr val="tx1"/>
                </a:solidFill>
              </a:defRPr>
            </a:lvl5pPr>
          </a:lstStyle>
          <a:p>
            <a:pPr lvl="0"/>
            <a:r>
              <a:rPr lang="en-US" dirty="0"/>
              <a:t>1.000000.100</a:t>
            </a:r>
          </a:p>
          <a:p>
            <a:pPr lvl="0"/>
            <a:r>
              <a:rPr lang="en-US" dirty="0"/>
              <a:t>MMYY</a:t>
            </a:r>
          </a:p>
        </p:txBody>
      </p:sp>
      <p:pic>
        <p:nvPicPr>
          <p:cNvPr id="37"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9646" y="4359385"/>
            <a:ext cx="4941925" cy="539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 name="Content Placeholder 10"/>
          <p:cNvSpPr>
            <a:spLocks noGrp="1"/>
          </p:cNvSpPr>
          <p:nvPr>
            <p:ph sz="quarter" idx="15" hasCustomPrompt="1"/>
          </p:nvPr>
        </p:nvSpPr>
        <p:spPr>
          <a:xfrm>
            <a:off x="312963" y="6289468"/>
            <a:ext cx="964293" cy="420439"/>
          </a:xfrm>
        </p:spPr>
        <p:txBody>
          <a:bodyPr/>
          <a:lstStyle>
            <a:lvl1pPr marL="0" indent="0">
              <a:spcBef>
                <a:spcPts val="0"/>
              </a:spcBef>
              <a:defRPr sz="700" b="0">
                <a:solidFill>
                  <a:schemeClr val="tx1"/>
                </a:solidFill>
              </a:defRPr>
            </a:lvl1pPr>
            <a:lvl2pPr>
              <a:defRPr sz="700" b="0">
                <a:solidFill>
                  <a:schemeClr val="tx1"/>
                </a:solidFill>
              </a:defRPr>
            </a:lvl2pPr>
            <a:lvl3pPr>
              <a:defRPr sz="700" b="0">
                <a:solidFill>
                  <a:schemeClr val="tx1"/>
                </a:solidFill>
              </a:defRPr>
            </a:lvl3pPr>
            <a:lvl4pPr>
              <a:defRPr sz="700" b="0">
                <a:solidFill>
                  <a:schemeClr val="tx1"/>
                </a:solidFill>
              </a:defRPr>
            </a:lvl4pPr>
            <a:lvl5pPr>
              <a:defRPr sz="700" b="0">
                <a:solidFill>
                  <a:schemeClr val="tx1"/>
                </a:solidFill>
              </a:defRPr>
            </a:lvl5pPr>
          </a:lstStyle>
          <a:p>
            <a:pPr lvl="0"/>
            <a:r>
              <a:rPr lang="en-US" dirty="0"/>
              <a:t>XXXXXX.1.0</a:t>
            </a:r>
          </a:p>
          <a:p>
            <a:pPr lvl="0"/>
            <a:r>
              <a:rPr lang="en-US" dirty="0"/>
              <a:t>FIAM-BD</a:t>
            </a:r>
          </a:p>
          <a:p>
            <a:pPr lvl="0"/>
            <a:r>
              <a:rPr lang="en-US" dirty="0"/>
              <a:t>EXPIRES: 00/00/00</a:t>
            </a:r>
          </a:p>
        </p:txBody>
      </p:sp>
    </p:spTree>
    <p:extLst>
      <p:ext uri="{BB962C8B-B14F-4D97-AF65-F5344CB8AC3E}">
        <p14:creationId xmlns:p14="http://schemas.microsoft.com/office/powerpoint/2010/main" val="1557336900"/>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2_Back_Cover_IA">
    <p:spTree>
      <p:nvGrpSpPr>
        <p:cNvPr id="1" name=""/>
        <p:cNvGrpSpPr/>
        <p:nvPr/>
      </p:nvGrpSpPr>
      <p:grpSpPr>
        <a:xfrm>
          <a:off x="0" y="0"/>
          <a:ext cx="0" cy="0"/>
          <a:chOff x="0" y="0"/>
          <a:chExt cx="0" cy="0"/>
        </a:xfrm>
      </p:grpSpPr>
      <p:sp>
        <p:nvSpPr>
          <p:cNvPr id="2" name="Rectangle 1"/>
          <p:cNvSpPr/>
          <p:nvPr userDrawn="1"/>
        </p:nvSpPr>
        <p:spPr>
          <a:xfrm>
            <a:off x="1277183" y="6483639"/>
            <a:ext cx="6446759" cy="215444"/>
          </a:xfrm>
          <a:prstGeom prst="rect">
            <a:avLst/>
          </a:prstGeom>
        </p:spPr>
        <p:txBody>
          <a:bodyPr wrap="square">
            <a:spAutoFit/>
          </a:bodyPr>
          <a:lstStyle/>
          <a:p>
            <a:pPr algn="ctr" fontAlgn="base">
              <a:spcBef>
                <a:spcPts val="200"/>
              </a:spcBef>
              <a:spcAft>
                <a:spcPct val="0"/>
              </a:spcAft>
              <a:defRPr/>
            </a:pPr>
            <a:r>
              <a:rPr lang="en-US" sz="800" dirty="0">
                <a:solidFill>
                  <a:srgbClr val="000000"/>
                </a:solidFill>
                <a:ea typeface="ＭＳ Ｐゴシック"/>
              </a:rPr>
              <a:t>© 2019 FMR LLC. All rights reserved.</a:t>
            </a:r>
            <a:endParaRPr lang="en-US" altLang="en-US" sz="800" dirty="0">
              <a:solidFill>
                <a:srgbClr val="000000"/>
              </a:solidFill>
              <a:ea typeface="ＭＳ Ｐゴシック"/>
            </a:endParaRPr>
          </a:p>
        </p:txBody>
      </p:sp>
      <p:grpSp>
        <p:nvGrpSpPr>
          <p:cNvPr id="37" name="Group 36"/>
          <p:cNvGrpSpPr/>
          <p:nvPr userDrawn="1"/>
        </p:nvGrpSpPr>
        <p:grpSpPr>
          <a:xfrm>
            <a:off x="360752" y="5158824"/>
            <a:ext cx="1890168" cy="396052"/>
            <a:chOff x="6871938" y="4475163"/>
            <a:chExt cx="1924401" cy="403225"/>
          </a:xfrm>
        </p:grpSpPr>
        <p:sp>
          <p:nvSpPr>
            <p:cNvPr id="38" name="AutoShape 4"/>
            <p:cNvSpPr>
              <a:spLocks noChangeAspect="1" noChangeArrowheads="1" noTextEdit="1"/>
            </p:cNvSpPr>
            <p:nvPr/>
          </p:nvSpPr>
          <p:spPr bwMode="auto">
            <a:xfrm>
              <a:off x="687193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39" name="Freeform 38"/>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0" name="Freeform 39"/>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1" name="Freeform 40"/>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2" name="Freeform 41"/>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3" name="Freeform 42"/>
            <p:cNvSpPr>
              <a:spLocks/>
            </p:cNvSpPr>
            <p:nvPr/>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4" name="Freeform 43"/>
            <p:cNvSpPr>
              <a:spLocks noEditPoints="1"/>
            </p:cNvSpPr>
            <p:nvPr/>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5" name="Freeform 44"/>
            <p:cNvSpPr>
              <a:spLocks noEditPoints="1"/>
            </p:cNvSpPr>
            <p:nvPr/>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6" name="Freeform 45"/>
            <p:cNvSpPr>
              <a:spLocks noEditPoints="1"/>
            </p:cNvSpPr>
            <p:nvPr/>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7" name="Freeform 46"/>
            <p:cNvSpPr>
              <a:spLocks/>
            </p:cNvSpPr>
            <p:nvPr/>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8" name="Freeform 47"/>
            <p:cNvSpPr>
              <a:spLocks noEditPoints="1"/>
            </p:cNvSpPr>
            <p:nvPr/>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9" name="Freeform 48"/>
            <p:cNvSpPr>
              <a:spLocks/>
            </p:cNvSpPr>
            <p:nvPr/>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0" name="Freeform 49"/>
            <p:cNvSpPr>
              <a:spLocks/>
            </p:cNvSpPr>
            <p:nvPr/>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1" name="Freeform 50"/>
            <p:cNvSpPr>
              <a:spLocks/>
            </p:cNvSpPr>
            <p:nvPr/>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2" name="Freeform 51"/>
            <p:cNvSpPr>
              <a:spLocks/>
            </p:cNvSpPr>
            <p:nvPr/>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3" name="Freeform 52"/>
            <p:cNvSpPr>
              <a:spLocks/>
            </p:cNvSpPr>
            <p:nvPr/>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4" name="Freeform 53"/>
            <p:cNvSpPr>
              <a:spLocks/>
            </p:cNvSpPr>
            <p:nvPr/>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5" name="Freeform 54"/>
            <p:cNvSpPr>
              <a:spLocks/>
            </p:cNvSpPr>
            <p:nvPr/>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6" name="Freeform 55"/>
            <p:cNvSpPr>
              <a:spLocks/>
            </p:cNvSpPr>
            <p:nvPr/>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7" name="Freeform 56"/>
            <p:cNvSpPr>
              <a:spLocks/>
            </p:cNvSpPr>
            <p:nvPr/>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8" name="Freeform 57"/>
            <p:cNvSpPr>
              <a:spLocks noEditPoints="1"/>
            </p:cNvSpPr>
            <p:nvPr/>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9" name="Freeform 58"/>
            <p:cNvSpPr>
              <a:spLocks noEditPoints="1"/>
            </p:cNvSpPr>
            <p:nvPr/>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0" name="Freeform 59"/>
            <p:cNvSpPr>
              <a:spLocks/>
            </p:cNvSpPr>
            <p:nvPr/>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1" name="Freeform 60"/>
            <p:cNvSpPr>
              <a:spLocks/>
            </p:cNvSpPr>
            <p:nvPr/>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2" name="Freeform 61"/>
            <p:cNvSpPr>
              <a:spLocks/>
            </p:cNvSpPr>
            <p:nvPr/>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3" name="Freeform 62"/>
            <p:cNvSpPr>
              <a:spLocks/>
            </p:cNvSpPr>
            <p:nvPr/>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grpSp>
      <p:sp>
        <p:nvSpPr>
          <p:cNvPr id="65" name="Content Placeholder 10"/>
          <p:cNvSpPr>
            <a:spLocks noGrp="1"/>
          </p:cNvSpPr>
          <p:nvPr>
            <p:ph sz="quarter" idx="15" hasCustomPrompt="1"/>
          </p:nvPr>
        </p:nvSpPr>
        <p:spPr>
          <a:xfrm>
            <a:off x="312963" y="6289468"/>
            <a:ext cx="964293" cy="420439"/>
          </a:xfrm>
        </p:spPr>
        <p:txBody>
          <a:bodyPr/>
          <a:lstStyle>
            <a:lvl1pPr marL="0" indent="0">
              <a:spcBef>
                <a:spcPts val="0"/>
              </a:spcBef>
              <a:defRPr sz="700" b="0">
                <a:solidFill>
                  <a:schemeClr val="tx1"/>
                </a:solidFill>
              </a:defRPr>
            </a:lvl1pPr>
            <a:lvl2pPr>
              <a:defRPr sz="700" b="0">
                <a:solidFill>
                  <a:schemeClr val="tx1"/>
                </a:solidFill>
              </a:defRPr>
            </a:lvl2pPr>
            <a:lvl3pPr>
              <a:defRPr sz="700" b="0">
                <a:solidFill>
                  <a:schemeClr val="tx1"/>
                </a:solidFill>
              </a:defRPr>
            </a:lvl3pPr>
            <a:lvl4pPr>
              <a:defRPr sz="700" b="0">
                <a:solidFill>
                  <a:schemeClr val="tx1"/>
                </a:solidFill>
              </a:defRPr>
            </a:lvl4pPr>
            <a:lvl5pPr>
              <a:defRPr sz="700" b="0">
                <a:solidFill>
                  <a:schemeClr val="tx1"/>
                </a:solidFill>
              </a:defRPr>
            </a:lvl5pPr>
          </a:lstStyle>
          <a:p>
            <a:pPr lvl="0"/>
            <a:r>
              <a:rPr lang="en-US" dirty="0"/>
              <a:t>XXXXXX.1.0</a:t>
            </a:r>
          </a:p>
          <a:p>
            <a:pPr lvl="0"/>
            <a:r>
              <a:rPr lang="en-US" dirty="0"/>
              <a:t>FIAM-IA</a:t>
            </a:r>
          </a:p>
          <a:p>
            <a:pPr lvl="0"/>
            <a:r>
              <a:rPr lang="en-US" dirty="0"/>
              <a:t>EXPIRES: 00/00/00</a:t>
            </a:r>
          </a:p>
        </p:txBody>
      </p:sp>
      <p:pic>
        <p:nvPicPr>
          <p:cNvPr id="32"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9646" y="4359385"/>
            <a:ext cx="4941925" cy="539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08643941"/>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Back_Cover_IA_Item_Code">
    <p:spTree>
      <p:nvGrpSpPr>
        <p:cNvPr id="1" name=""/>
        <p:cNvGrpSpPr/>
        <p:nvPr/>
      </p:nvGrpSpPr>
      <p:grpSpPr>
        <a:xfrm>
          <a:off x="0" y="0"/>
          <a:ext cx="0" cy="0"/>
          <a:chOff x="0" y="0"/>
          <a:chExt cx="0" cy="0"/>
        </a:xfrm>
      </p:grpSpPr>
      <p:sp>
        <p:nvSpPr>
          <p:cNvPr id="2" name="Rectangle 1"/>
          <p:cNvSpPr/>
          <p:nvPr userDrawn="1"/>
        </p:nvSpPr>
        <p:spPr>
          <a:xfrm>
            <a:off x="1277183" y="6483639"/>
            <a:ext cx="6446759" cy="215444"/>
          </a:xfrm>
          <a:prstGeom prst="rect">
            <a:avLst/>
          </a:prstGeom>
        </p:spPr>
        <p:txBody>
          <a:bodyPr wrap="square">
            <a:spAutoFit/>
          </a:bodyPr>
          <a:lstStyle/>
          <a:p>
            <a:pPr algn="ctr" fontAlgn="base">
              <a:spcBef>
                <a:spcPts val="200"/>
              </a:spcBef>
              <a:spcAft>
                <a:spcPct val="0"/>
              </a:spcAft>
              <a:defRPr/>
            </a:pPr>
            <a:r>
              <a:rPr lang="en-US" sz="800" dirty="0">
                <a:solidFill>
                  <a:srgbClr val="000000"/>
                </a:solidFill>
                <a:ea typeface="ＭＳ Ｐゴシック"/>
              </a:rPr>
              <a:t>© 2019 FMR LLC. All rights reserved.</a:t>
            </a:r>
            <a:endParaRPr lang="en-US" altLang="en-US" sz="800" dirty="0">
              <a:solidFill>
                <a:srgbClr val="000000"/>
              </a:solidFill>
              <a:ea typeface="ＭＳ Ｐゴシック"/>
            </a:endParaRPr>
          </a:p>
        </p:txBody>
      </p:sp>
      <p:grpSp>
        <p:nvGrpSpPr>
          <p:cNvPr id="37" name="Group 36"/>
          <p:cNvGrpSpPr/>
          <p:nvPr userDrawn="1"/>
        </p:nvGrpSpPr>
        <p:grpSpPr>
          <a:xfrm>
            <a:off x="360752" y="5158824"/>
            <a:ext cx="1890168" cy="396052"/>
            <a:chOff x="6871938" y="4475163"/>
            <a:chExt cx="1924401" cy="403225"/>
          </a:xfrm>
        </p:grpSpPr>
        <p:sp>
          <p:nvSpPr>
            <p:cNvPr id="38" name="AutoShape 4"/>
            <p:cNvSpPr>
              <a:spLocks noChangeAspect="1" noChangeArrowheads="1" noTextEdit="1"/>
            </p:cNvSpPr>
            <p:nvPr/>
          </p:nvSpPr>
          <p:spPr bwMode="auto">
            <a:xfrm>
              <a:off x="687193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39" name="Freeform 38"/>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0" name="Freeform 39"/>
            <p:cNvSpPr>
              <a:spLocks/>
            </p:cNvSpPr>
            <p:nvPr/>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1" name="Freeform 40"/>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2" name="Freeform 41"/>
            <p:cNvSpPr>
              <a:spLocks/>
            </p:cNvSpPr>
            <p:nvPr/>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3" name="Freeform 42"/>
            <p:cNvSpPr>
              <a:spLocks/>
            </p:cNvSpPr>
            <p:nvPr/>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4" name="Freeform 43"/>
            <p:cNvSpPr>
              <a:spLocks noEditPoints="1"/>
            </p:cNvSpPr>
            <p:nvPr/>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5" name="Freeform 44"/>
            <p:cNvSpPr>
              <a:spLocks noEditPoints="1"/>
            </p:cNvSpPr>
            <p:nvPr/>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6" name="Freeform 45"/>
            <p:cNvSpPr>
              <a:spLocks noEditPoints="1"/>
            </p:cNvSpPr>
            <p:nvPr/>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7" name="Freeform 46"/>
            <p:cNvSpPr>
              <a:spLocks/>
            </p:cNvSpPr>
            <p:nvPr/>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8" name="Freeform 47"/>
            <p:cNvSpPr>
              <a:spLocks noEditPoints="1"/>
            </p:cNvSpPr>
            <p:nvPr/>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49" name="Freeform 48"/>
            <p:cNvSpPr>
              <a:spLocks/>
            </p:cNvSpPr>
            <p:nvPr/>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0" name="Freeform 49"/>
            <p:cNvSpPr>
              <a:spLocks/>
            </p:cNvSpPr>
            <p:nvPr/>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1" name="Freeform 50"/>
            <p:cNvSpPr>
              <a:spLocks/>
            </p:cNvSpPr>
            <p:nvPr/>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2" name="Freeform 51"/>
            <p:cNvSpPr>
              <a:spLocks/>
            </p:cNvSpPr>
            <p:nvPr/>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3" name="Freeform 52"/>
            <p:cNvSpPr>
              <a:spLocks/>
            </p:cNvSpPr>
            <p:nvPr/>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4" name="Freeform 53"/>
            <p:cNvSpPr>
              <a:spLocks/>
            </p:cNvSpPr>
            <p:nvPr/>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5" name="Freeform 54"/>
            <p:cNvSpPr>
              <a:spLocks/>
            </p:cNvSpPr>
            <p:nvPr/>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6" name="Freeform 55"/>
            <p:cNvSpPr>
              <a:spLocks/>
            </p:cNvSpPr>
            <p:nvPr/>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7" name="Freeform 56"/>
            <p:cNvSpPr>
              <a:spLocks/>
            </p:cNvSpPr>
            <p:nvPr/>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8" name="Freeform 57"/>
            <p:cNvSpPr>
              <a:spLocks noEditPoints="1"/>
            </p:cNvSpPr>
            <p:nvPr/>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59" name="Freeform 58"/>
            <p:cNvSpPr>
              <a:spLocks noEditPoints="1"/>
            </p:cNvSpPr>
            <p:nvPr/>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0" name="Freeform 59"/>
            <p:cNvSpPr>
              <a:spLocks/>
            </p:cNvSpPr>
            <p:nvPr/>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1" name="Freeform 60"/>
            <p:cNvSpPr>
              <a:spLocks/>
            </p:cNvSpPr>
            <p:nvPr/>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2" name="Freeform 61"/>
            <p:cNvSpPr>
              <a:spLocks/>
            </p:cNvSpPr>
            <p:nvPr/>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sp>
          <p:nvSpPr>
            <p:cNvPr id="63" name="Freeform 62"/>
            <p:cNvSpPr>
              <a:spLocks/>
            </p:cNvSpPr>
            <p:nvPr/>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10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218"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327"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436"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5543" algn="l" defTabSz="914218" rtl="0" eaLnBrk="1" latinLnBrk="0" hangingPunct="1">
                <a:defRPr sz="1600" kern="1200">
                  <a:solidFill>
                    <a:schemeClr val="tx1"/>
                  </a:solidFill>
                  <a:latin typeface="Arial" pitchFamily="34" charset="0"/>
                  <a:ea typeface="ＭＳ Ｐゴシック" pitchFamily="34" charset="-128"/>
                  <a:cs typeface="+mn-cs"/>
                </a:defRPr>
              </a:lvl6pPr>
              <a:lvl7pPr marL="2742652" algn="l" defTabSz="914218" rtl="0" eaLnBrk="1" latinLnBrk="0" hangingPunct="1">
                <a:defRPr sz="1600" kern="1200">
                  <a:solidFill>
                    <a:schemeClr val="tx1"/>
                  </a:solidFill>
                  <a:latin typeface="Arial" pitchFamily="34" charset="0"/>
                  <a:ea typeface="ＭＳ Ｐゴシック" pitchFamily="34" charset="-128"/>
                  <a:cs typeface="+mn-cs"/>
                </a:defRPr>
              </a:lvl7pPr>
              <a:lvl8pPr marL="3199760" algn="l" defTabSz="914218" rtl="0" eaLnBrk="1" latinLnBrk="0" hangingPunct="1">
                <a:defRPr sz="1600" kern="1200">
                  <a:solidFill>
                    <a:schemeClr val="tx1"/>
                  </a:solidFill>
                  <a:latin typeface="Arial" pitchFamily="34" charset="0"/>
                  <a:ea typeface="ＭＳ Ｐゴシック" pitchFamily="34" charset="-128"/>
                  <a:cs typeface="+mn-cs"/>
                </a:defRPr>
              </a:lvl8pPr>
              <a:lvl9pPr marL="3656868" algn="l" defTabSz="914218" rtl="0" eaLnBrk="1" latinLnBrk="0" hangingPunct="1">
                <a:defRPr sz="1600" kern="1200">
                  <a:solidFill>
                    <a:schemeClr val="tx1"/>
                  </a:solidFill>
                  <a:latin typeface="Arial" pitchFamily="34" charset="0"/>
                  <a:ea typeface="ＭＳ Ｐゴシック" pitchFamily="34" charset="-128"/>
                  <a:cs typeface="+mn-cs"/>
                </a:defRPr>
              </a:lvl9pPr>
            </a:lstStyle>
            <a:p>
              <a:endParaRPr lang="en-US" dirty="0">
                <a:solidFill>
                  <a:srgbClr val="000000"/>
                </a:solidFill>
              </a:endParaRPr>
            </a:p>
          </p:txBody>
        </p:sp>
      </p:grpSp>
      <p:sp>
        <p:nvSpPr>
          <p:cNvPr id="65" name="Content Placeholder 10"/>
          <p:cNvSpPr>
            <a:spLocks noGrp="1"/>
          </p:cNvSpPr>
          <p:nvPr>
            <p:ph sz="quarter" idx="15" hasCustomPrompt="1"/>
          </p:nvPr>
        </p:nvSpPr>
        <p:spPr>
          <a:xfrm>
            <a:off x="312963" y="6289468"/>
            <a:ext cx="964293" cy="420439"/>
          </a:xfrm>
        </p:spPr>
        <p:txBody>
          <a:bodyPr/>
          <a:lstStyle>
            <a:lvl1pPr marL="0" indent="0">
              <a:spcBef>
                <a:spcPts val="0"/>
              </a:spcBef>
              <a:defRPr sz="700" b="0">
                <a:solidFill>
                  <a:schemeClr val="tx1"/>
                </a:solidFill>
              </a:defRPr>
            </a:lvl1pPr>
            <a:lvl2pPr>
              <a:defRPr sz="700" b="0">
                <a:solidFill>
                  <a:schemeClr val="tx1"/>
                </a:solidFill>
              </a:defRPr>
            </a:lvl2pPr>
            <a:lvl3pPr>
              <a:defRPr sz="700" b="0">
                <a:solidFill>
                  <a:schemeClr val="tx1"/>
                </a:solidFill>
              </a:defRPr>
            </a:lvl3pPr>
            <a:lvl4pPr>
              <a:defRPr sz="700" b="0">
                <a:solidFill>
                  <a:schemeClr val="tx1"/>
                </a:solidFill>
              </a:defRPr>
            </a:lvl4pPr>
            <a:lvl5pPr>
              <a:defRPr sz="700" b="0">
                <a:solidFill>
                  <a:schemeClr val="tx1"/>
                </a:solidFill>
              </a:defRPr>
            </a:lvl5pPr>
          </a:lstStyle>
          <a:p>
            <a:pPr lvl="0"/>
            <a:r>
              <a:rPr lang="en-US" dirty="0"/>
              <a:t>XXXXXX.1.0</a:t>
            </a:r>
          </a:p>
          <a:p>
            <a:pPr lvl="0"/>
            <a:r>
              <a:rPr lang="en-US" dirty="0"/>
              <a:t>FIAM-IA</a:t>
            </a:r>
          </a:p>
          <a:p>
            <a:pPr lvl="0"/>
            <a:r>
              <a:rPr lang="en-US" dirty="0"/>
              <a:t>EXPIRES: 00/00/00</a:t>
            </a:r>
          </a:p>
        </p:txBody>
      </p:sp>
      <p:pic>
        <p:nvPicPr>
          <p:cNvPr id="32"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9646" y="4359385"/>
            <a:ext cx="4941925" cy="539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Content Placeholder 12"/>
          <p:cNvSpPr>
            <a:spLocks noGrp="1"/>
          </p:cNvSpPr>
          <p:nvPr>
            <p:ph sz="quarter" idx="16" hasCustomPrompt="1"/>
          </p:nvPr>
        </p:nvSpPr>
        <p:spPr>
          <a:xfrm>
            <a:off x="7991475" y="6322558"/>
            <a:ext cx="908050" cy="377825"/>
          </a:xfrm>
        </p:spPr>
        <p:txBody>
          <a:bodyPr anchor="b"/>
          <a:lstStyle>
            <a:lvl1pPr marL="0" indent="0" algn="r">
              <a:spcBef>
                <a:spcPts val="0"/>
              </a:spcBef>
              <a:defRPr sz="700" b="0">
                <a:solidFill>
                  <a:schemeClr val="tx1"/>
                </a:solidFill>
              </a:defRPr>
            </a:lvl1pPr>
            <a:lvl2pPr algn="r">
              <a:defRPr sz="700" b="0">
                <a:solidFill>
                  <a:schemeClr val="tx1"/>
                </a:solidFill>
              </a:defRPr>
            </a:lvl2pPr>
            <a:lvl3pPr algn="r">
              <a:defRPr sz="700" b="0">
                <a:solidFill>
                  <a:schemeClr val="tx1"/>
                </a:solidFill>
              </a:defRPr>
            </a:lvl3pPr>
            <a:lvl4pPr algn="r">
              <a:defRPr sz="700" b="0">
                <a:solidFill>
                  <a:schemeClr val="tx1"/>
                </a:solidFill>
              </a:defRPr>
            </a:lvl4pPr>
            <a:lvl5pPr algn="r">
              <a:defRPr sz="700" b="0">
                <a:solidFill>
                  <a:schemeClr val="tx1"/>
                </a:solidFill>
              </a:defRPr>
            </a:lvl5pPr>
          </a:lstStyle>
          <a:p>
            <a:pPr lvl="0"/>
            <a:r>
              <a:rPr lang="en-US" dirty="0"/>
              <a:t>1.000000.100</a:t>
            </a:r>
          </a:p>
        </p:txBody>
      </p:sp>
    </p:spTree>
    <p:extLst>
      <p:ext uri="{BB962C8B-B14F-4D97-AF65-F5344CB8AC3E}">
        <p14:creationId xmlns:p14="http://schemas.microsoft.com/office/powerpoint/2010/main" val="1364929634"/>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8"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9"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a:t>201907-26031</a:t>
            </a:r>
            <a:endParaRPr lang="en-US" dirty="0"/>
          </a:p>
        </p:txBody>
      </p:sp>
      <p:grpSp>
        <p:nvGrpSpPr>
          <p:cNvPr id="10" name="Group 9"/>
          <p:cNvGrpSpPr/>
          <p:nvPr userDrawn="1"/>
        </p:nvGrpSpPr>
        <p:grpSpPr>
          <a:xfrm>
            <a:off x="7364320" y="6412511"/>
            <a:ext cx="1371600" cy="283464"/>
            <a:chOff x="4291013" y="3178175"/>
            <a:chExt cx="3197225" cy="688975"/>
          </a:xfrm>
        </p:grpSpPr>
        <p:sp>
          <p:nvSpPr>
            <p:cNvPr id="11"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2"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3"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4"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5"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6"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7"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8"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19"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0"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1"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2"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3"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4"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5"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6"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7"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8"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29"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0"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1"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2"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3"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4"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sp>
          <p:nvSpPr>
            <p:cNvPr id="35"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200">
                <a:solidFill>
                  <a:srgbClr val="000000"/>
                </a:solidFill>
                <a:ea typeface="ＭＳ Ｐゴシック"/>
              </a:endParaRPr>
            </a:p>
          </p:txBody>
        </p:sp>
      </p:grpSp>
      <p:sp>
        <p:nvSpPr>
          <p:cNvPr id="36"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2687957571"/>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4" name="Rectangle 13"/>
          <p:cNvSpPr/>
          <p:nvPr userDrawn="1"/>
        </p:nvSpPr>
        <p:spPr>
          <a:xfrm>
            <a:off x="0" y="0"/>
            <a:ext cx="9144000" cy="4819651"/>
          </a:xfrm>
          <a:prstGeom prst="rect">
            <a:avLst/>
          </a:prstGeom>
          <a:gradFill>
            <a:gsLst>
              <a:gs pos="0">
                <a:schemeClr val="bg1"/>
              </a:gs>
              <a:gs pos="99000">
                <a:schemeClr val="bg1">
                  <a:lumMod val="9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endParaRPr>
          </a:p>
        </p:txBody>
      </p:sp>
      <p:sp>
        <p:nvSpPr>
          <p:cNvPr id="13" name="Text Placeholder 5"/>
          <p:cNvSpPr>
            <a:spLocks noGrp="1"/>
          </p:cNvSpPr>
          <p:nvPr>
            <p:ph type="body" sz="quarter" idx="12" hasCustomPrompt="1"/>
          </p:nvPr>
        </p:nvSpPr>
        <p:spPr>
          <a:xfrm>
            <a:off x="4011284" y="160004"/>
            <a:ext cx="4956632" cy="338554"/>
          </a:xfrm>
        </p:spPr>
        <p:txBody>
          <a:bodyPr anchor="t">
            <a:spAutoFit/>
          </a:bodyPr>
          <a:lstStyle>
            <a:lvl1pPr marL="0" indent="0" algn="r">
              <a:buNone/>
              <a:defRPr sz="1600" b="0">
                <a:solidFill>
                  <a:schemeClr val="accent5"/>
                </a:solidFill>
              </a:defRPr>
            </a:lvl1pPr>
            <a:lvl2pPr marL="236537" indent="0">
              <a:buNone/>
              <a:defRPr b="1">
                <a:solidFill>
                  <a:schemeClr val="accent5"/>
                </a:solidFill>
              </a:defRPr>
            </a:lvl2pPr>
            <a:lvl3pPr marL="457200" indent="0">
              <a:buNone/>
              <a:defRPr b="1">
                <a:solidFill>
                  <a:schemeClr val="accent5"/>
                </a:solidFill>
              </a:defRPr>
            </a:lvl3pPr>
            <a:lvl4pPr marL="630237" indent="0">
              <a:buNone/>
              <a:defRPr b="1">
                <a:solidFill>
                  <a:schemeClr val="accent5"/>
                </a:solidFill>
              </a:defRPr>
            </a:lvl4pPr>
            <a:lvl5pPr marL="803275" indent="0">
              <a:buNone/>
              <a:defRPr b="1">
                <a:solidFill>
                  <a:schemeClr val="accent5"/>
                </a:solidFill>
              </a:defRPr>
            </a:lvl5pPr>
          </a:lstStyle>
          <a:p>
            <a:pPr lvl="0"/>
            <a:r>
              <a:rPr lang="en-US" dirty="0"/>
              <a:t>DATE HERE</a:t>
            </a:r>
          </a:p>
        </p:txBody>
      </p:sp>
      <p:pic>
        <p:nvPicPr>
          <p:cNvPr id="11" name="Picture 10"/>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0" y="3721067"/>
            <a:ext cx="6731000" cy="2104560"/>
          </a:xfrm>
          <a:prstGeom prst="rect">
            <a:avLst/>
          </a:prstGeom>
        </p:spPr>
      </p:pic>
      <p:sp>
        <p:nvSpPr>
          <p:cNvPr id="15" name="Title 1"/>
          <p:cNvSpPr>
            <a:spLocks noGrp="1"/>
          </p:cNvSpPr>
          <p:nvPr>
            <p:ph type="ctrTitle"/>
          </p:nvPr>
        </p:nvSpPr>
        <p:spPr>
          <a:xfrm>
            <a:off x="205838" y="1561013"/>
            <a:ext cx="5448300" cy="1077218"/>
          </a:xfrm>
        </p:spPr>
        <p:txBody>
          <a:bodyPr vert="horz" lIns="91440" tIns="45720" rIns="91440" bIns="45720" rtlCol="0" anchor="t">
            <a:spAutoFit/>
          </a:bodyPr>
          <a:lstStyle>
            <a:lvl1pPr>
              <a:lnSpc>
                <a:spcPct val="100000"/>
              </a:lnSpc>
              <a:defRPr lang="en-US" sz="3200" b="1" cap="all" baseline="0" dirty="0">
                <a:solidFill>
                  <a:schemeClr val="tx1">
                    <a:lumMod val="75000"/>
                    <a:lumOff val="25000"/>
                  </a:schemeClr>
                </a:solidFill>
              </a:defRPr>
            </a:lvl1pPr>
          </a:lstStyle>
          <a:p>
            <a:pPr marL="0" lvl="0"/>
            <a:r>
              <a:rPr lang="en-US" dirty="0"/>
              <a:t>Click to edit Master title style</a:t>
            </a:r>
          </a:p>
        </p:txBody>
      </p:sp>
      <p:sp>
        <p:nvSpPr>
          <p:cNvPr id="17" name="Text Placeholder 4"/>
          <p:cNvSpPr>
            <a:spLocks noGrp="1"/>
          </p:cNvSpPr>
          <p:nvPr>
            <p:ph type="body" sz="quarter" idx="10" hasCustomPrompt="1"/>
          </p:nvPr>
        </p:nvSpPr>
        <p:spPr>
          <a:xfrm>
            <a:off x="205838" y="3062609"/>
            <a:ext cx="4570280" cy="338554"/>
          </a:xfrm>
        </p:spPr>
        <p:txBody>
          <a:bodyPr anchor="ctr">
            <a:spAutoFit/>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lang="en-US" sz="1600" b="1" kern="1200" dirty="0" smtClean="0">
                <a:solidFill>
                  <a:srgbClr val="409633"/>
                </a:solidFill>
                <a:latin typeface="Arial" panose="020B0604020202020204" pitchFamily="34" charset="0"/>
                <a:ea typeface="+mn-ea"/>
                <a:cs typeface="Arial" panose="020B0604020202020204" pitchFamily="34" charset="0"/>
              </a:defRPr>
            </a:lvl1pPr>
            <a:lvl2pPr marL="236537" indent="0">
              <a:buNone/>
              <a:defRPr>
                <a:solidFill>
                  <a:schemeClr val="bg1"/>
                </a:solidFill>
              </a:defRPr>
            </a:lvl2pPr>
            <a:lvl3pPr marL="457200" indent="0">
              <a:buNone/>
              <a:defRPr>
                <a:solidFill>
                  <a:schemeClr val="bg1"/>
                </a:solidFill>
              </a:defRPr>
            </a:lvl3pPr>
            <a:lvl4pPr marL="630237" indent="0">
              <a:buNone/>
              <a:defRPr>
                <a:solidFill>
                  <a:schemeClr val="bg1"/>
                </a:solidFill>
              </a:defRPr>
            </a:lvl4pPr>
            <a:lvl5pPr marL="803275" indent="0">
              <a:buNone/>
              <a:defRPr>
                <a:solidFill>
                  <a:schemeClr val="bg1"/>
                </a:solidFill>
              </a:defRPr>
            </a:lvl5pPr>
          </a:lstStyle>
          <a:p>
            <a:pPr lvl="0"/>
            <a:r>
              <a:rPr lang="en-US" dirty="0"/>
              <a:t>Presenter Name</a:t>
            </a:r>
          </a:p>
        </p:txBody>
      </p:sp>
      <p:sp>
        <p:nvSpPr>
          <p:cNvPr id="18" name="Text Placeholder 4"/>
          <p:cNvSpPr>
            <a:spLocks noGrp="1"/>
          </p:cNvSpPr>
          <p:nvPr>
            <p:ph type="body" sz="quarter" idx="11" hasCustomPrompt="1"/>
          </p:nvPr>
        </p:nvSpPr>
        <p:spPr>
          <a:xfrm>
            <a:off x="205838" y="3398052"/>
            <a:ext cx="4570280" cy="338554"/>
          </a:xfrm>
        </p:spPr>
        <p:txBody>
          <a:bodyPr anchor="ctr">
            <a:spAutoFit/>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lang="en-US" sz="160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1pPr>
            <a:lvl2pPr marL="236537" indent="0">
              <a:buNone/>
              <a:defRPr>
                <a:solidFill>
                  <a:schemeClr val="bg1"/>
                </a:solidFill>
              </a:defRPr>
            </a:lvl2pPr>
            <a:lvl3pPr marL="457200" indent="0">
              <a:buNone/>
              <a:defRPr>
                <a:solidFill>
                  <a:schemeClr val="bg1"/>
                </a:solidFill>
              </a:defRPr>
            </a:lvl3pPr>
            <a:lvl4pPr marL="630237" indent="0">
              <a:buNone/>
              <a:defRPr>
                <a:solidFill>
                  <a:schemeClr val="bg1"/>
                </a:solidFill>
              </a:defRPr>
            </a:lvl4pPr>
            <a:lvl5pPr marL="803275" indent="0">
              <a:buNone/>
              <a:defRPr>
                <a:solidFill>
                  <a:schemeClr val="bg1"/>
                </a:solidFill>
              </a:defRPr>
            </a:lvl5pPr>
          </a:lstStyle>
          <a:p>
            <a:pPr lvl="0"/>
            <a:r>
              <a:rPr lang="en-US" dirty="0"/>
              <a:t>Presenter Title</a:t>
            </a:r>
          </a:p>
        </p:txBody>
      </p:sp>
      <p:sp>
        <p:nvSpPr>
          <p:cNvPr id="25" name="Subtitle 2"/>
          <p:cNvSpPr>
            <a:spLocks noGrp="1"/>
          </p:cNvSpPr>
          <p:nvPr>
            <p:ph type="subTitle" idx="1" hasCustomPrompt="1"/>
          </p:nvPr>
        </p:nvSpPr>
        <p:spPr>
          <a:xfrm>
            <a:off x="205839" y="1032933"/>
            <a:ext cx="5773459" cy="369332"/>
          </a:xfrm>
        </p:spPr>
        <p:txBody>
          <a:bodyPr>
            <a:spAutoFit/>
          </a:bodyPr>
          <a:lstStyle>
            <a:lvl1pPr marL="0" indent="0" algn="l">
              <a:buNone/>
              <a:defRPr lang="en-US" sz="1800" kern="1200" baseline="0" dirty="0">
                <a:solidFill>
                  <a:schemeClr val="accent5"/>
                </a:solidFill>
                <a:latin typeface="Arial" panose="020B0604020202020204" pitchFamily="34" charset="0"/>
                <a:ea typeface="+mj-ea"/>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GROUP NAME HERE</a:t>
            </a:r>
          </a:p>
        </p:txBody>
      </p:sp>
      <p:sp>
        <p:nvSpPr>
          <p:cNvPr id="10" name="Slide Number Placeholder 3"/>
          <p:cNvSpPr>
            <a:spLocks noGrp="1"/>
          </p:cNvSpPr>
          <p:nvPr>
            <p:ph type="sldNum" sz="quarter" idx="14"/>
          </p:nvPr>
        </p:nvSpPr>
        <p:spPr>
          <a:xfrm>
            <a:off x="131630" y="6448491"/>
            <a:ext cx="327880" cy="258533"/>
          </a:xfrm>
          <a:prstGeom prst="rect">
            <a:avLst/>
          </a:prstGeom>
        </p:spPr>
        <p:txBody>
          <a:bodyPr anchor="ctr">
            <a:noAutofit/>
          </a:bodyPr>
          <a:lstStyle>
            <a:lvl1pPr algn="l">
              <a:defRPr sz="800">
                <a:solidFill>
                  <a:schemeClr val="tx1">
                    <a:lumMod val="50000"/>
                    <a:lumOff val="50000"/>
                  </a:schemeClr>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2536241659"/>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18" name="Rectangle 17"/>
          <p:cNvSpPr/>
          <p:nvPr userDrawn="1"/>
        </p:nvSpPr>
        <p:spPr>
          <a:xfrm>
            <a:off x="0" y="7316"/>
            <a:ext cx="9144000" cy="4179777"/>
          </a:xfrm>
          <a:prstGeom prst="rect">
            <a:avLst/>
          </a:prstGeom>
          <a:gradFill>
            <a:gsLst>
              <a:gs pos="0">
                <a:schemeClr val="bg1"/>
              </a:gs>
              <a:gs pos="99000">
                <a:schemeClr val="bg1">
                  <a:lumMod val="9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endParaRPr>
          </a:p>
        </p:txBody>
      </p:sp>
      <p:pic>
        <p:nvPicPr>
          <p:cNvPr id="19" name="Picture 18"/>
          <p:cNvPicPr>
            <a:picLocks noChangeAspect="1"/>
          </p:cNvPicPr>
          <p:nvPr userDrawn="1"/>
        </p:nvPicPr>
        <p:blipFill rotWithShape="1">
          <a:blip r:embed="rId2" cstate="print">
            <a:alphaModFix/>
            <a:extLst>
              <a:ext uri="{28A0092B-C50C-407E-A947-70E740481C1C}">
                <a14:useLocalDpi xmlns:a14="http://schemas.microsoft.com/office/drawing/2010/main" val="0"/>
              </a:ext>
            </a:extLst>
          </a:blip>
          <a:srcRect l="29938" t="18727"/>
          <a:stretch/>
        </p:blipFill>
        <p:spPr>
          <a:xfrm>
            <a:off x="0" y="0"/>
            <a:ext cx="3162032" cy="4905952"/>
          </a:xfrm>
          <a:prstGeom prst="rect">
            <a:avLst/>
          </a:prstGeom>
        </p:spPr>
      </p:pic>
      <p:sp>
        <p:nvSpPr>
          <p:cNvPr id="20" name="Rectangle 19"/>
          <p:cNvSpPr/>
          <p:nvPr userDrawn="1"/>
        </p:nvSpPr>
        <p:spPr>
          <a:xfrm>
            <a:off x="-4762" y="4140513"/>
            <a:ext cx="9144000" cy="5669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endParaRPr>
          </a:p>
        </p:txBody>
      </p:sp>
      <p:sp>
        <p:nvSpPr>
          <p:cNvPr id="21" name="Rectangle 20"/>
          <p:cNvSpPr/>
          <p:nvPr userDrawn="1"/>
        </p:nvSpPr>
        <p:spPr>
          <a:xfrm>
            <a:off x="0" y="4140512"/>
            <a:ext cx="9144000" cy="931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endParaRPr>
          </a:p>
        </p:txBody>
      </p:sp>
      <p:sp>
        <p:nvSpPr>
          <p:cNvPr id="22" name="Title 2"/>
          <p:cNvSpPr>
            <a:spLocks noGrp="1"/>
          </p:cNvSpPr>
          <p:nvPr>
            <p:ph type="title"/>
          </p:nvPr>
        </p:nvSpPr>
        <p:spPr>
          <a:xfrm>
            <a:off x="301753" y="4293973"/>
            <a:ext cx="7818757" cy="707886"/>
          </a:xfrm>
        </p:spPr>
        <p:txBody>
          <a:bodyPr/>
          <a:lstStyle>
            <a:lvl1pPr>
              <a:lnSpc>
                <a:spcPct val="100000"/>
              </a:lnSpc>
              <a:defRPr sz="4000" b="1" spc="0" baseline="0">
                <a:solidFill>
                  <a:schemeClr val="accent5"/>
                </a:solidFill>
              </a:defRPr>
            </a:lvl1pPr>
          </a:lstStyle>
          <a:p>
            <a:r>
              <a:rPr lang="en-US" dirty="0"/>
              <a:t>Click to edit Master title style</a:t>
            </a:r>
          </a:p>
        </p:txBody>
      </p:sp>
      <p:sp>
        <p:nvSpPr>
          <p:cNvPr id="8" name="Slide Number Placeholder 3"/>
          <p:cNvSpPr>
            <a:spLocks noGrp="1"/>
          </p:cNvSpPr>
          <p:nvPr>
            <p:ph type="sldNum" sz="quarter" idx="14"/>
          </p:nvPr>
        </p:nvSpPr>
        <p:spPr>
          <a:xfrm>
            <a:off x="131630" y="6448491"/>
            <a:ext cx="327880" cy="258533"/>
          </a:xfrm>
          <a:prstGeom prst="rect">
            <a:avLst/>
          </a:prstGeom>
        </p:spPr>
        <p:txBody>
          <a:bodyPr anchor="ctr">
            <a:noAutofit/>
          </a:bodyPr>
          <a:lstStyle>
            <a:lvl1pPr algn="l">
              <a:defRPr sz="800">
                <a:solidFill>
                  <a:schemeClr val="tx1">
                    <a:lumMod val="50000"/>
                    <a:lumOff val="50000"/>
                  </a:schemeClr>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130390470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nd 1 Content">
    <p:spTree>
      <p:nvGrpSpPr>
        <p:cNvPr id="1" name=""/>
        <p:cNvGrpSpPr/>
        <p:nvPr/>
      </p:nvGrpSpPr>
      <p:grpSpPr>
        <a:xfrm>
          <a:off x="0" y="0"/>
          <a:ext cx="0" cy="0"/>
          <a:chOff x="0" y="0"/>
          <a:chExt cx="0" cy="0"/>
        </a:xfrm>
      </p:grpSpPr>
      <p:sp>
        <p:nvSpPr>
          <p:cNvPr id="2" name="Title 1"/>
          <p:cNvSpPr>
            <a:spLocks noGrp="1"/>
          </p:cNvSpPr>
          <p:nvPr>
            <p:ph type="title"/>
          </p:nvPr>
        </p:nvSpPr>
        <p:spPr>
          <a:xfrm>
            <a:off x="295570" y="336212"/>
            <a:ext cx="8523174" cy="461665"/>
          </a:xfrm>
        </p:spPr>
        <p:txBody>
          <a:bodyPr vert="horz" lIns="91440" tIns="45720" rIns="91440" bIns="45720" rtlCol="0" anchor="t">
            <a:spAutoFit/>
          </a:bodyPr>
          <a:lstStyle>
            <a:lvl1pPr>
              <a:lnSpc>
                <a:spcPct val="100000"/>
              </a:lnSpc>
              <a:defRPr lang="en-US" dirty="0">
                <a:solidFill>
                  <a:schemeClr val="tx1">
                    <a:lumMod val="75000"/>
                    <a:lumOff val="25000"/>
                  </a:schemeClr>
                </a:solidFill>
              </a:defRPr>
            </a:lvl1pPr>
          </a:lstStyle>
          <a:p>
            <a:pPr lvl="0">
              <a:lnSpc>
                <a:spcPct val="100000"/>
              </a:lnSpc>
            </a:pPr>
            <a:r>
              <a:rPr lang="en-US" dirty="0"/>
              <a:t>Click to edit Master title style</a:t>
            </a:r>
          </a:p>
        </p:txBody>
      </p:sp>
      <p:sp>
        <p:nvSpPr>
          <p:cNvPr id="3" name="Content Placeholder 2"/>
          <p:cNvSpPr>
            <a:spLocks noGrp="1"/>
          </p:cNvSpPr>
          <p:nvPr>
            <p:ph idx="1"/>
          </p:nvPr>
        </p:nvSpPr>
        <p:spPr>
          <a:xfrm>
            <a:off x="295570" y="1426775"/>
            <a:ext cx="8523174" cy="4525963"/>
          </a:xfrm>
        </p:spPr>
        <p:txBody>
          <a:bodyPr vert="horz" lIns="91440" tIns="45720" rIns="91440" bIns="45720" rtlCol="0">
            <a:noAutofit/>
          </a:bodyPr>
          <a:lstStyle>
            <a:lvl1pPr>
              <a:defRPr lang="en-US" dirty="0" smtClean="0">
                <a:solidFill>
                  <a:schemeClr val="tx1">
                    <a:lumMod val="75000"/>
                    <a:lumOff val="25000"/>
                  </a:schemeClr>
                </a:solidFill>
              </a:defRPr>
            </a:lvl1pPr>
            <a:lvl2pPr>
              <a:defRPr lang="en-US" dirty="0" smtClean="0">
                <a:solidFill>
                  <a:schemeClr val="tx1">
                    <a:lumMod val="75000"/>
                    <a:lumOff val="25000"/>
                  </a:schemeClr>
                </a:solidFill>
              </a:defRPr>
            </a:lvl2pPr>
            <a:lvl3pPr>
              <a:defRPr lang="en-US" dirty="0" smtClean="0">
                <a:solidFill>
                  <a:schemeClr val="tx1">
                    <a:lumMod val="75000"/>
                    <a:lumOff val="25000"/>
                  </a:schemeClr>
                </a:solidFill>
              </a:defRPr>
            </a:lvl3pPr>
            <a:lvl4pPr>
              <a:defRPr lang="en-US" dirty="0" smtClean="0">
                <a:solidFill>
                  <a:schemeClr val="tx1">
                    <a:lumMod val="75000"/>
                    <a:lumOff val="25000"/>
                  </a:schemeClr>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Rectangle 5"/>
          <p:cNvSpPr/>
          <p:nvPr userDrawn="1"/>
        </p:nvSpPr>
        <p:spPr>
          <a:xfrm>
            <a:off x="0" y="3"/>
            <a:ext cx="9144000" cy="142647"/>
          </a:xfrm>
          <a:prstGeom prst="rect">
            <a:avLst/>
          </a:prstGeom>
          <a:solidFill>
            <a:srgbClr val="D4D6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FFFFFF"/>
              </a:solidFill>
              <a:latin typeface="Arial" panose="020B0604020202020204" pitchFamily="34" charset="0"/>
            </a:endParaRPr>
          </a:p>
        </p:txBody>
      </p:sp>
      <p:sp>
        <p:nvSpPr>
          <p:cNvPr id="9" name="Slide Number Placeholder 3"/>
          <p:cNvSpPr>
            <a:spLocks noGrp="1"/>
          </p:cNvSpPr>
          <p:nvPr>
            <p:ph type="sldNum" sz="quarter" idx="14"/>
          </p:nvPr>
        </p:nvSpPr>
        <p:spPr>
          <a:xfrm>
            <a:off x="131630" y="6448491"/>
            <a:ext cx="327880" cy="258533"/>
          </a:xfrm>
          <a:prstGeom prst="rect">
            <a:avLst/>
          </a:prstGeom>
        </p:spPr>
        <p:txBody>
          <a:bodyPr anchor="ctr">
            <a:noAutofit/>
          </a:bodyPr>
          <a:lstStyle>
            <a:lvl1pPr algn="l">
              <a:defRPr sz="800">
                <a:solidFill>
                  <a:schemeClr val="tx1">
                    <a:lumMod val="50000"/>
                    <a:lumOff val="50000"/>
                  </a:schemeClr>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351457380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95570" y="336212"/>
            <a:ext cx="8523174" cy="461665"/>
          </a:xfrm>
        </p:spPr>
        <p:txBody>
          <a:bodyPr vert="horz" lIns="91440" tIns="45720" rIns="91440" bIns="45720" rtlCol="0" anchor="t">
            <a:spAutoFit/>
          </a:bodyPr>
          <a:lstStyle>
            <a:lvl1pPr>
              <a:defRPr lang="en-US" dirty="0">
                <a:solidFill>
                  <a:schemeClr val="tx1">
                    <a:lumMod val="75000"/>
                    <a:lumOff val="25000"/>
                  </a:schemeClr>
                </a:solidFill>
              </a:defRPr>
            </a:lvl1pPr>
          </a:lstStyle>
          <a:p>
            <a:pPr lvl="0">
              <a:lnSpc>
                <a:spcPct val="100000"/>
              </a:lnSpc>
            </a:pPr>
            <a:r>
              <a:rPr lang="en-US" dirty="0"/>
              <a:t>Click to edit Master title style</a:t>
            </a:r>
          </a:p>
        </p:txBody>
      </p:sp>
      <p:sp>
        <p:nvSpPr>
          <p:cNvPr id="6" name="Rectangle 5"/>
          <p:cNvSpPr/>
          <p:nvPr userDrawn="1"/>
        </p:nvSpPr>
        <p:spPr>
          <a:xfrm>
            <a:off x="0" y="3"/>
            <a:ext cx="9144000" cy="142647"/>
          </a:xfrm>
          <a:prstGeom prst="rect">
            <a:avLst/>
          </a:prstGeom>
          <a:solidFill>
            <a:srgbClr val="D4D6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FFFFFF"/>
              </a:solidFill>
              <a:latin typeface="Arial" panose="020B0604020202020204" pitchFamily="34" charset="0"/>
            </a:endParaRPr>
          </a:p>
        </p:txBody>
      </p:sp>
      <p:sp>
        <p:nvSpPr>
          <p:cNvPr id="9" name="Content Placeholder 2"/>
          <p:cNvSpPr>
            <a:spLocks noGrp="1"/>
          </p:cNvSpPr>
          <p:nvPr>
            <p:ph idx="1"/>
          </p:nvPr>
        </p:nvSpPr>
        <p:spPr>
          <a:xfrm>
            <a:off x="295570" y="1426464"/>
            <a:ext cx="4162130" cy="4736595"/>
          </a:xfrm>
        </p:spPr>
        <p:txBody>
          <a:bodyPr vert="horz" lIns="91440" tIns="45720" rIns="91440" bIns="45720" rtlCol="0">
            <a:noAutofit/>
          </a:bodyPr>
          <a:lstStyle>
            <a:lvl1pPr>
              <a:defRPr lang="en-US" dirty="0" smtClean="0">
                <a:solidFill>
                  <a:schemeClr val="tx1">
                    <a:lumMod val="75000"/>
                    <a:lumOff val="25000"/>
                  </a:schemeClr>
                </a:solidFill>
              </a:defRPr>
            </a:lvl1pPr>
            <a:lvl2pPr>
              <a:defRPr lang="en-US" dirty="0" smtClean="0">
                <a:solidFill>
                  <a:schemeClr val="tx1">
                    <a:lumMod val="75000"/>
                    <a:lumOff val="25000"/>
                  </a:schemeClr>
                </a:solidFill>
              </a:defRPr>
            </a:lvl2pPr>
            <a:lvl3pPr>
              <a:defRPr lang="en-US" dirty="0" smtClean="0">
                <a:solidFill>
                  <a:schemeClr val="tx1">
                    <a:lumMod val="75000"/>
                    <a:lumOff val="25000"/>
                  </a:schemeClr>
                </a:solidFill>
              </a:defRPr>
            </a:lvl3pPr>
            <a:lvl4pPr>
              <a:defRPr lang="en-US" dirty="0" smtClean="0">
                <a:solidFill>
                  <a:schemeClr val="tx1">
                    <a:lumMod val="75000"/>
                    <a:lumOff val="25000"/>
                  </a:schemeClr>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2"/>
          <p:cNvSpPr>
            <a:spLocks noGrp="1"/>
          </p:cNvSpPr>
          <p:nvPr>
            <p:ph idx="10"/>
          </p:nvPr>
        </p:nvSpPr>
        <p:spPr>
          <a:xfrm>
            <a:off x="4656614" y="1426464"/>
            <a:ext cx="4162130" cy="4736595"/>
          </a:xfrm>
        </p:spPr>
        <p:txBody>
          <a:bodyPr vert="horz" lIns="91440" tIns="45720" rIns="91440" bIns="45720" rtlCol="0">
            <a:noAutofit/>
          </a:bodyPr>
          <a:lstStyle>
            <a:lvl1pPr>
              <a:defRPr lang="en-US" dirty="0" smtClean="0">
                <a:solidFill>
                  <a:schemeClr val="tx1">
                    <a:lumMod val="75000"/>
                    <a:lumOff val="25000"/>
                  </a:schemeClr>
                </a:solidFill>
              </a:defRPr>
            </a:lvl1pPr>
            <a:lvl2pPr>
              <a:defRPr lang="en-US" dirty="0" smtClean="0">
                <a:solidFill>
                  <a:schemeClr val="tx1">
                    <a:lumMod val="75000"/>
                    <a:lumOff val="25000"/>
                  </a:schemeClr>
                </a:solidFill>
              </a:defRPr>
            </a:lvl2pPr>
            <a:lvl3pPr>
              <a:defRPr lang="en-US" dirty="0" smtClean="0">
                <a:solidFill>
                  <a:schemeClr val="tx1">
                    <a:lumMod val="75000"/>
                    <a:lumOff val="25000"/>
                  </a:schemeClr>
                </a:solidFill>
              </a:defRPr>
            </a:lvl3pPr>
            <a:lvl4pPr>
              <a:defRPr lang="en-US" dirty="0" smtClean="0">
                <a:solidFill>
                  <a:schemeClr val="tx1">
                    <a:lumMod val="75000"/>
                    <a:lumOff val="25000"/>
                  </a:schemeClr>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Slide Number Placeholder 3"/>
          <p:cNvSpPr>
            <a:spLocks noGrp="1"/>
          </p:cNvSpPr>
          <p:nvPr>
            <p:ph type="sldNum" sz="quarter" idx="14"/>
          </p:nvPr>
        </p:nvSpPr>
        <p:spPr>
          <a:xfrm>
            <a:off x="131630" y="6448491"/>
            <a:ext cx="327880" cy="258533"/>
          </a:xfrm>
          <a:prstGeom prst="rect">
            <a:avLst/>
          </a:prstGeom>
        </p:spPr>
        <p:txBody>
          <a:bodyPr anchor="ctr">
            <a:noAutofit/>
          </a:bodyPr>
          <a:lstStyle>
            <a:lvl1pPr algn="l">
              <a:defRPr sz="800">
                <a:solidFill>
                  <a:schemeClr val="tx1">
                    <a:lumMod val="50000"/>
                    <a:lumOff val="50000"/>
                  </a:schemeClr>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3690617614"/>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95570" y="336212"/>
            <a:ext cx="8523174" cy="461665"/>
          </a:xfrm>
        </p:spPr>
        <p:txBody>
          <a:bodyPr vert="horz" lIns="91440" tIns="45720" rIns="91440" bIns="45720" rtlCol="0" anchor="t">
            <a:spAutoFit/>
          </a:bodyPr>
          <a:lstStyle>
            <a:lvl1pPr>
              <a:defRPr lang="en-US" dirty="0">
                <a:solidFill>
                  <a:schemeClr val="tx1">
                    <a:lumMod val="75000"/>
                    <a:lumOff val="25000"/>
                  </a:schemeClr>
                </a:solidFill>
              </a:defRPr>
            </a:lvl1pPr>
          </a:lstStyle>
          <a:p>
            <a:pPr lvl="0">
              <a:lnSpc>
                <a:spcPct val="100000"/>
              </a:lnSpc>
            </a:pPr>
            <a:r>
              <a:rPr lang="en-US" dirty="0"/>
              <a:t>Click to edit Master title style</a:t>
            </a:r>
          </a:p>
        </p:txBody>
      </p:sp>
      <p:sp>
        <p:nvSpPr>
          <p:cNvPr id="6" name="Rectangle 5"/>
          <p:cNvSpPr/>
          <p:nvPr userDrawn="1"/>
        </p:nvSpPr>
        <p:spPr>
          <a:xfrm>
            <a:off x="0" y="3"/>
            <a:ext cx="9144000" cy="142647"/>
          </a:xfrm>
          <a:prstGeom prst="rect">
            <a:avLst/>
          </a:prstGeom>
          <a:solidFill>
            <a:srgbClr val="D4D6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FFFFFF"/>
              </a:solidFill>
              <a:latin typeface="Arial" panose="020B0604020202020204" pitchFamily="34" charset="0"/>
            </a:endParaRPr>
          </a:p>
        </p:txBody>
      </p:sp>
      <p:sp>
        <p:nvSpPr>
          <p:cNvPr id="8" name="Slide Number Placeholder 3"/>
          <p:cNvSpPr>
            <a:spLocks noGrp="1"/>
          </p:cNvSpPr>
          <p:nvPr>
            <p:ph type="sldNum" sz="quarter" idx="14"/>
          </p:nvPr>
        </p:nvSpPr>
        <p:spPr>
          <a:xfrm>
            <a:off x="131630" y="6448491"/>
            <a:ext cx="327880" cy="258533"/>
          </a:xfrm>
          <a:prstGeom prst="rect">
            <a:avLst/>
          </a:prstGeom>
        </p:spPr>
        <p:txBody>
          <a:bodyPr anchor="ctr">
            <a:noAutofit/>
          </a:bodyPr>
          <a:lstStyle>
            <a:lvl1pPr algn="l">
              <a:defRPr sz="800">
                <a:solidFill>
                  <a:schemeClr val="tx1">
                    <a:lumMod val="50000"/>
                    <a:lumOff val="50000"/>
                  </a:schemeClr>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1938402041"/>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_Subtitle and 1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95570" y="1426775"/>
            <a:ext cx="8523174" cy="4525963"/>
          </a:xfrm>
        </p:spPr>
        <p:txBody>
          <a:bodyPr vert="horz" lIns="91440" tIns="45720" rIns="91440" bIns="45720" rtlCol="0">
            <a:noAutofit/>
          </a:bodyPr>
          <a:lstStyle>
            <a:lvl1pPr>
              <a:defRPr lang="en-US" dirty="0" smtClean="0">
                <a:solidFill>
                  <a:schemeClr val="tx1">
                    <a:lumMod val="75000"/>
                    <a:lumOff val="25000"/>
                  </a:schemeClr>
                </a:solidFill>
              </a:defRPr>
            </a:lvl1pPr>
            <a:lvl2pPr>
              <a:defRPr lang="en-US" dirty="0" smtClean="0">
                <a:solidFill>
                  <a:schemeClr val="tx1">
                    <a:lumMod val="75000"/>
                    <a:lumOff val="25000"/>
                  </a:schemeClr>
                </a:solidFill>
              </a:defRPr>
            </a:lvl2pPr>
            <a:lvl3pPr>
              <a:defRPr lang="en-US" dirty="0" smtClean="0">
                <a:solidFill>
                  <a:schemeClr val="tx1">
                    <a:lumMod val="75000"/>
                    <a:lumOff val="25000"/>
                  </a:schemeClr>
                </a:solidFill>
              </a:defRPr>
            </a:lvl3pPr>
            <a:lvl4pPr>
              <a:defRPr lang="en-US" dirty="0" smtClean="0">
                <a:solidFill>
                  <a:schemeClr val="tx1">
                    <a:lumMod val="75000"/>
                    <a:lumOff val="25000"/>
                  </a:schemeClr>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Rectangle 5"/>
          <p:cNvSpPr/>
          <p:nvPr userDrawn="1"/>
        </p:nvSpPr>
        <p:spPr>
          <a:xfrm>
            <a:off x="0" y="3"/>
            <a:ext cx="9144000" cy="142647"/>
          </a:xfrm>
          <a:prstGeom prst="rect">
            <a:avLst/>
          </a:prstGeom>
          <a:solidFill>
            <a:srgbClr val="D4D6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endParaRPr>
          </a:p>
        </p:txBody>
      </p:sp>
      <p:sp>
        <p:nvSpPr>
          <p:cNvPr id="10" name="Title 1"/>
          <p:cNvSpPr>
            <a:spLocks noGrp="1"/>
          </p:cNvSpPr>
          <p:nvPr>
            <p:ph type="title"/>
          </p:nvPr>
        </p:nvSpPr>
        <p:spPr>
          <a:xfrm>
            <a:off x="295570" y="336213"/>
            <a:ext cx="8523174" cy="461665"/>
          </a:xfrm>
        </p:spPr>
        <p:txBody>
          <a:bodyPr vert="horz" lIns="91440" tIns="45720" rIns="91440" bIns="45720" rtlCol="0" anchor="t">
            <a:spAutoFit/>
          </a:bodyPr>
          <a:lstStyle>
            <a:lvl1pPr>
              <a:defRPr lang="en-US" dirty="0">
                <a:solidFill>
                  <a:schemeClr val="tx1">
                    <a:lumMod val="75000"/>
                    <a:lumOff val="25000"/>
                  </a:schemeClr>
                </a:solidFill>
              </a:defRPr>
            </a:lvl1pPr>
          </a:lstStyle>
          <a:p>
            <a:pPr lvl="0">
              <a:lnSpc>
                <a:spcPct val="100000"/>
              </a:lnSpc>
            </a:pPr>
            <a:r>
              <a:rPr lang="en-US" dirty="0"/>
              <a:t>Click to edit Master title style</a:t>
            </a:r>
          </a:p>
        </p:txBody>
      </p:sp>
      <p:sp>
        <p:nvSpPr>
          <p:cNvPr id="11" name="Text Placeholder 4"/>
          <p:cNvSpPr>
            <a:spLocks noGrp="1"/>
          </p:cNvSpPr>
          <p:nvPr>
            <p:ph type="body" sz="quarter" idx="11" hasCustomPrompt="1"/>
          </p:nvPr>
        </p:nvSpPr>
        <p:spPr>
          <a:xfrm>
            <a:off x="295275" y="792091"/>
            <a:ext cx="8523288" cy="400110"/>
          </a:xfrm>
        </p:spPr>
        <p:txBody>
          <a:bodyPr>
            <a:spAutoFit/>
          </a:bodyPr>
          <a:lstStyle>
            <a:lvl1pPr marL="0" indent="0">
              <a:buFontTx/>
              <a:buNone/>
              <a:defRPr sz="2000" b="0">
                <a:solidFill>
                  <a:schemeClr val="accent5"/>
                </a:solidFill>
              </a:defRPr>
            </a:lvl1pPr>
          </a:lstStyle>
          <a:p>
            <a:pPr lvl="0"/>
            <a:r>
              <a:rPr lang="en-US" dirty="0"/>
              <a:t>Click to edit master text styles</a:t>
            </a:r>
          </a:p>
        </p:txBody>
      </p:sp>
      <p:sp>
        <p:nvSpPr>
          <p:cNvPr id="9" name="Slide Number Placeholder 3"/>
          <p:cNvSpPr>
            <a:spLocks noGrp="1"/>
          </p:cNvSpPr>
          <p:nvPr>
            <p:ph type="sldNum" sz="quarter" idx="14"/>
          </p:nvPr>
        </p:nvSpPr>
        <p:spPr>
          <a:xfrm>
            <a:off x="131630" y="6448491"/>
            <a:ext cx="327880" cy="258533"/>
          </a:xfrm>
          <a:prstGeom prst="rect">
            <a:avLst/>
          </a:prstGeom>
        </p:spPr>
        <p:txBody>
          <a:bodyPr anchor="ctr">
            <a:noAutofit/>
          </a:bodyPr>
          <a:lstStyle>
            <a:lvl1pPr algn="l">
              <a:defRPr sz="800">
                <a:solidFill>
                  <a:schemeClr val="tx1">
                    <a:lumMod val="50000"/>
                    <a:lumOff val="50000"/>
                  </a:schemeClr>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30874924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p>
            <a:r>
              <a:rPr lang="en-US"/>
              <a:t>Click to edit Master title style</a:t>
            </a:r>
            <a:endParaRPr lang="en-US" dirty="0"/>
          </a:p>
        </p:txBody>
      </p:sp>
      <p:sp>
        <p:nvSpPr>
          <p:cNvPr id="7" name="Content Placeholder 2"/>
          <p:cNvSpPr>
            <a:spLocks noGrp="1"/>
          </p:cNvSpPr>
          <p:nvPr>
            <p:ph idx="13"/>
          </p:nvPr>
        </p:nvSpPr>
        <p:spPr>
          <a:xfrm>
            <a:off x="325661" y="1339850"/>
            <a:ext cx="8188710" cy="4878388"/>
          </a:xfrm>
        </p:spPr>
        <p:txBody>
          <a:bodyPr lIns="91440"/>
          <a:lstStyle>
            <a:lvl1pPr marL="0" indent="0" algn="l" rtl="0" fontAlgn="base">
              <a:spcBef>
                <a:spcPts val="480"/>
              </a:spcBef>
              <a:spcAft>
                <a:spcPct val="0"/>
              </a:spcAft>
              <a:buSzPct val="40000"/>
              <a:defRPr lang="en-US" sz="1600" b="1" dirty="0" smtClean="0">
                <a:solidFill>
                  <a:srgbClr val="7A9A3D"/>
                </a:solidFill>
                <a:latin typeface="+mn-lt"/>
                <a:ea typeface="+mn-ea"/>
                <a:cs typeface="+mn-cs"/>
              </a:defRPr>
            </a:lvl1pPr>
            <a:lvl2pPr>
              <a:spcBef>
                <a:spcPts val="2000"/>
              </a:spcBef>
              <a:defRPr lang="en-US" dirty="0" smtClean="0">
                <a:solidFill>
                  <a:schemeClr val="tx1"/>
                </a:solidFill>
                <a:latin typeface="+mn-lt"/>
              </a:defRPr>
            </a:lvl2pPr>
            <a:lvl3pPr>
              <a:defRPr lang="en-US" sz="1600" dirty="0" smtClean="0">
                <a:solidFill>
                  <a:schemeClr val="accent1"/>
                </a:solidFill>
                <a:latin typeface="+mn-lt"/>
              </a:defRPr>
            </a:lvl3pPr>
            <a:lvl4pPr>
              <a:buClr>
                <a:schemeClr val="bg2"/>
              </a:buClr>
              <a:buSzPct val="80000"/>
              <a:buFont typeface="Arial" pitchFamily="34" charset="0"/>
              <a:buChar char="•"/>
              <a:defRPr sz="1400">
                <a:solidFill>
                  <a:schemeClr val="accent1"/>
                </a:solidFill>
              </a:defRPr>
            </a:lvl4pPr>
          </a:lstStyle>
          <a:p>
            <a:pPr lvl="0"/>
            <a:r>
              <a:rPr lang="en-US"/>
              <a:t>Click to edit Master text styles</a:t>
            </a:r>
          </a:p>
        </p:txBody>
      </p:sp>
      <p:grpSp>
        <p:nvGrpSpPr>
          <p:cNvPr id="34" name="Group 33">
            <a:extLst>
              <a:ext uri="{FF2B5EF4-FFF2-40B4-BE49-F238E27FC236}">
                <a16:creationId xmlns:a16="http://schemas.microsoft.com/office/drawing/2014/main" id="{7645B271-DC5A-455C-972F-184CD6F75FE1}"/>
              </a:ext>
            </a:extLst>
          </p:cNvPr>
          <p:cNvGrpSpPr/>
          <p:nvPr userDrawn="1"/>
        </p:nvGrpSpPr>
        <p:grpSpPr>
          <a:xfrm>
            <a:off x="7358173" y="6361974"/>
            <a:ext cx="1382376" cy="297562"/>
            <a:chOff x="6923088" y="4475163"/>
            <a:chExt cx="1873251" cy="403225"/>
          </a:xfrm>
        </p:grpSpPr>
        <p:sp>
          <p:nvSpPr>
            <p:cNvPr id="35" name="AutoShape 4">
              <a:extLst>
                <a:ext uri="{FF2B5EF4-FFF2-40B4-BE49-F238E27FC236}">
                  <a16:creationId xmlns:a16="http://schemas.microsoft.com/office/drawing/2014/main" id="{981F299B-B30A-4200-882E-A1DB110E54A1}"/>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6">
              <a:extLst>
                <a:ext uri="{FF2B5EF4-FFF2-40B4-BE49-F238E27FC236}">
                  <a16:creationId xmlns:a16="http://schemas.microsoft.com/office/drawing/2014/main" id="{8CB19815-5037-45FC-9786-8C9AD1058016}"/>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7">
              <a:extLst>
                <a:ext uri="{FF2B5EF4-FFF2-40B4-BE49-F238E27FC236}">
                  <a16:creationId xmlns:a16="http://schemas.microsoft.com/office/drawing/2014/main" id="{210663C0-C8F9-403A-8CD2-C1F7CF8FC2BF}"/>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83">
              <a:extLst>
                <a:ext uri="{FF2B5EF4-FFF2-40B4-BE49-F238E27FC236}">
                  <a16:creationId xmlns:a16="http://schemas.microsoft.com/office/drawing/2014/main" id="{8158FE4D-784E-459F-A960-4E125DF0F251}"/>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84">
              <a:extLst>
                <a:ext uri="{FF2B5EF4-FFF2-40B4-BE49-F238E27FC236}">
                  <a16:creationId xmlns:a16="http://schemas.microsoft.com/office/drawing/2014/main" id="{84E0C97A-D15D-41FF-A250-6C5D06F3172F}"/>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85">
              <a:extLst>
                <a:ext uri="{FF2B5EF4-FFF2-40B4-BE49-F238E27FC236}">
                  <a16:creationId xmlns:a16="http://schemas.microsoft.com/office/drawing/2014/main" id="{9286D920-7349-4DA5-8098-FBBBA4142274}"/>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86">
              <a:extLst>
                <a:ext uri="{FF2B5EF4-FFF2-40B4-BE49-F238E27FC236}">
                  <a16:creationId xmlns:a16="http://schemas.microsoft.com/office/drawing/2014/main" id="{C1B434F8-ADCA-4E47-AE1A-49F89DAFECC5}"/>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87">
              <a:extLst>
                <a:ext uri="{FF2B5EF4-FFF2-40B4-BE49-F238E27FC236}">
                  <a16:creationId xmlns:a16="http://schemas.microsoft.com/office/drawing/2014/main" id="{282F5851-8545-4EE9-A625-19BE3095ACB6}"/>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88">
              <a:extLst>
                <a:ext uri="{FF2B5EF4-FFF2-40B4-BE49-F238E27FC236}">
                  <a16:creationId xmlns:a16="http://schemas.microsoft.com/office/drawing/2014/main" id="{D6AB1CC1-1D24-4B74-A27D-D1B8A703D991}"/>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89">
              <a:extLst>
                <a:ext uri="{FF2B5EF4-FFF2-40B4-BE49-F238E27FC236}">
                  <a16:creationId xmlns:a16="http://schemas.microsoft.com/office/drawing/2014/main" id="{3862B34B-4D7E-4367-ABFC-C70AAC34F925}"/>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90">
              <a:extLst>
                <a:ext uri="{FF2B5EF4-FFF2-40B4-BE49-F238E27FC236}">
                  <a16:creationId xmlns:a16="http://schemas.microsoft.com/office/drawing/2014/main" id="{E5F1F9C5-A51C-4CC0-8DF0-465C55D60173}"/>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91">
              <a:extLst>
                <a:ext uri="{FF2B5EF4-FFF2-40B4-BE49-F238E27FC236}">
                  <a16:creationId xmlns:a16="http://schemas.microsoft.com/office/drawing/2014/main" id="{569D52C3-EFFA-4F6C-88D6-95C2B8F81034}"/>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92">
              <a:extLst>
                <a:ext uri="{FF2B5EF4-FFF2-40B4-BE49-F238E27FC236}">
                  <a16:creationId xmlns:a16="http://schemas.microsoft.com/office/drawing/2014/main" id="{42ED9E5F-C2B4-42A4-AA2A-AF48941C81EB}"/>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93">
              <a:extLst>
                <a:ext uri="{FF2B5EF4-FFF2-40B4-BE49-F238E27FC236}">
                  <a16:creationId xmlns:a16="http://schemas.microsoft.com/office/drawing/2014/main" id="{CC43DE98-B858-4BA0-96D4-87DABB0B9042}"/>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94">
              <a:extLst>
                <a:ext uri="{FF2B5EF4-FFF2-40B4-BE49-F238E27FC236}">
                  <a16:creationId xmlns:a16="http://schemas.microsoft.com/office/drawing/2014/main" id="{C77B781B-7A72-4CD0-B5D7-93667054DEC7}"/>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5">
              <a:extLst>
                <a:ext uri="{FF2B5EF4-FFF2-40B4-BE49-F238E27FC236}">
                  <a16:creationId xmlns:a16="http://schemas.microsoft.com/office/drawing/2014/main" id="{65A1C4BE-A361-43C9-9F99-35D7D96B6351}"/>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6">
              <a:extLst>
                <a:ext uri="{FF2B5EF4-FFF2-40B4-BE49-F238E27FC236}">
                  <a16:creationId xmlns:a16="http://schemas.microsoft.com/office/drawing/2014/main" id="{A0712A7E-616F-4D72-9D69-992C6EECD487}"/>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7">
              <a:extLst>
                <a:ext uri="{FF2B5EF4-FFF2-40B4-BE49-F238E27FC236}">
                  <a16:creationId xmlns:a16="http://schemas.microsoft.com/office/drawing/2014/main" id="{622CAA9B-3BBB-4A0A-9F4F-A55FF6A4F70F}"/>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98">
              <a:extLst>
                <a:ext uri="{FF2B5EF4-FFF2-40B4-BE49-F238E27FC236}">
                  <a16:creationId xmlns:a16="http://schemas.microsoft.com/office/drawing/2014/main" id="{05FA4D1B-0AF0-478D-9483-3C9AD781F457}"/>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99">
              <a:extLst>
                <a:ext uri="{FF2B5EF4-FFF2-40B4-BE49-F238E27FC236}">
                  <a16:creationId xmlns:a16="http://schemas.microsoft.com/office/drawing/2014/main" id="{759E997B-853C-4C4C-A139-FCA7C81D155F}"/>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100">
              <a:extLst>
                <a:ext uri="{FF2B5EF4-FFF2-40B4-BE49-F238E27FC236}">
                  <a16:creationId xmlns:a16="http://schemas.microsoft.com/office/drawing/2014/main" id="{986E164C-CF11-4423-93E0-CE6765080049}"/>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101">
              <a:extLst>
                <a:ext uri="{FF2B5EF4-FFF2-40B4-BE49-F238E27FC236}">
                  <a16:creationId xmlns:a16="http://schemas.microsoft.com/office/drawing/2014/main" id="{2BA4917F-73B1-42C6-8A7A-BC93E1E70930}"/>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02">
              <a:extLst>
                <a:ext uri="{FF2B5EF4-FFF2-40B4-BE49-F238E27FC236}">
                  <a16:creationId xmlns:a16="http://schemas.microsoft.com/office/drawing/2014/main" id="{5219F6E5-979C-417D-B1BC-F638E25EC2C3}"/>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103">
              <a:extLst>
                <a:ext uri="{FF2B5EF4-FFF2-40B4-BE49-F238E27FC236}">
                  <a16:creationId xmlns:a16="http://schemas.microsoft.com/office/drawing/2014/main" id="{A50A41F6-9858-47F8-8C00-C523EFC2667E}"/>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104">
              <a:extLst>
                <a:ext uri="{FF2B5EF4-FFF2-40B4-BE49-F238E27FC236}">
                  <a16:creationId xmlns:a16="http://schemas.microsoft.com/office/drawing/2014/main" id="{D34DAA34-328E-42B7-AEF3-A67AF79B1509}"/>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105">
              <a:extLst>
                <a:ext uri="{FF2B5EF4-FFF2-40B4-BE49-F238E27FC236}">
                  <a16:creationId xmlns:a16="http://schemas.microsoft.com/office/drawing/2014/main" id="{09E02178-BC20-4656-8320-DBEE2C2D78BF}"/>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2" name="Slide Number Placeholder 3">
            <a:extLst>
              <a:ext uri="{FF2B5EF4-FFF2-40B4-BE49-F238E27FC236}">
                <a16:creationId xmlns:a16="http://schemas.microsoft.com/office/drawing/2014/main" id="{4BACBA7A-3B9C-4FA4-BE9B-2701ADADA166}"/>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3" name="Rectangle 155">
            <a:extLst>
              <a:ext uri="{FF2B5EF4-FFF2-40B4-BE49-F238E27FC236}">
                <a16:creationId xmlns:a16="http://schemas.microsoft.com/office/drawing/2014/main" id="{14E214B7-BB48-4178-B022-500F2BA5A5EF}"/>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dirty="0"/>
              <a:t>Production code #</a:t>
            </a:r>
          </a:p>
        </p:txBody>
      </p:sp>
      <p:sp>
        <p:nvSpPr>
          <p:cNvPr id="64" name="Rectangle 176">
            <a:extLst>
              <a:ext uri="{FF2B5EF4-FFF2-40B4-BE49-F238E27FC236}">
                <a16:creationId xmlns:a16="http://schemas.microsoft.com/office/drawing/2014/main" id="{1206BE26-E5C7-4ADA-8A9A-41BDC4C42A8A}"/>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205641761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64" userDrawn="1">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_Subtitle and 2 Content">
    <p:spTree>
      <p:nvGrpSpPr>
        <p:cNvPr id="1" name=""/>
        <p:cNvGrpSpPr/>
        <p:nvPr/>
      </p:nvGrpSpPr>
      <p:grpSpPr>
        <a:xfrm>
          <a:off x="0" y="0"/>
          <a:ext cx="0" cy="0"/>
          <a:chOff x="0" y="0"/>
          <a:chExt cx="0" cy="0"/>
        </a:xfrm>
      </p:grpSpPr>
      <p:sp>
        <p:nvSpPr>
          <p:cNvPr id="6" name="Rectangle 5"/>
          <p:cNvSpPr/>
          <p:nvPr userDrawn="1"/>
        </p:nvSpPr>
        <p:spPr>
          <a:xfrm>
            <a:off x="0" y="3"/>
            <a:ext cx="9144000" cy="142647"/>
          </a:xfrm>
          <a:prstGeom prst="rect">
            <a:avLst/>
          </a:prstGeom>
          <a:solidFill>
            <a:srgbClr val="D4D6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endParaRPr>
          </a:p>
        </p:txBody>
      </p:sp>
      <p:sp>
        <p:nvSpPr>
          <p:cNvPr id="10" name="Title 1"/>
          <p:cNvSpPr>
            <a:spLocks noGrp="1"/>
          </p:cNvSpPr>
          <p:nvPr>
            <p:ph type="title"/>
          </p:nvPr>
        </p:nvSpPr>
        <p:spPr>
          <a:xfrm>
            <a:off x="295570" y="336213"/>
            <a:ext cx="8523174" cy="461665"/>
          </a:xfrm>
        </p:spPr>
        <p:txBody>
          <a:bodyPr vert="horz" lIns="91440" tIns="45720" rIns="91440" bIns="45720" rtlCol="0" anchor="t">
            <a:spAutoFit/>
          </a:bodyPr>
          <a:lstStyle>
            <a:lvl1pPr>
              <a:defRPr lang="en-US" dirty="0">
                <a:solidFill>
                  <a:schemeClr val="tx1">
                    <a:lumMod val="75000"/>
                    <a:lumOff val="25000"/>
                  </a:schemeClr>
                </a:solidFill>
              </a:defRPr>
            </a:lvl1pPr>
          </a:lstStyle>
          <a:p>
            <a:pPr lvl="0">
              <a:lnSpc>
                <a:spcPct val="100000"/>
              </a:lnSpc>
            </a:pPr>
            <a:r>
              <a:rPr lang="en-US" dirty="0"/>
              <a:t>Click to edit Master title style</a:t>
            </a:r>
          </a:p>
        </p:txBody>
      </p:sp>
      <p:sp>
        <p:nvSpPr>
          <p:cNvPr id="11" name="Text Placeholder 4"/>
          <p:cNvSpPr>
            <a:spLocks noGrp="1"/>
          </p:cNvSpPr>
          <p:nvPr>
            <p:ph type="body" sz="quarter" idx="11" hasCustomPrompt="1"/>
          </p:nvPr>
        </p:nvSpPr>
        <p:spPr>
          <a:xfrm>
            <a:off x="295275" y="792091"/>
            <a:ext cx="8523288" cy="400110"/>
          </a:xfrm>
        </p:spPr>
        <p:txBody>
          <a:bodyPr>
            <a:spAutoFit/>
          </a:bodyPr>
          <a:lstStyle>
            <a:lvl1pPr marL="0" indent="0">
              <a:buFontTx/>
              <a:buNone/>
              <a:defRPr sz="2000" b="0">
                <a:solidFill>
                  <a:schemeClr val="accent5"/>
                </a:solidFill>
              </a:defRPr>
            </a:lvl1pPr>
          </a:lstStyle>
          <a:p>
            <a:pPr lvl="0"/>
            <a:r>
              <a:rPr lang="en-US" dirty="0"/>
              <a:t>Click to edit master text styles</a:t>
            </a:r>
          </a:p>
        </p:txBody>
      </p:sp>
      <p:sp>
        <p:nvSpPr>
          <p:cNvPr id="9" name="Content Placeholder 2"/>
          <p:cNvSpPr>
            <a:spLocks noGrp="1"/>
          </p:cNvSpPr>
          <p:nvPr>
            <p:ph idx="1"/>
          </p:nvPr>
        </p:nvSpPr>
        <p:spPr>
          <a:xfrm>
            <a:off x="295570" y="1426464"/>
            <a:ext cx="4162130" cy="4736595"/>
          </a:xfrm>
        </p:spPr>
        <p:txBody>
          <a:bodyPr vert="horz" lIns="91440" tIns="45720" rIns="91440" bIns="45720" rtlCol="0">
            <a:noAutofit/>
          </a:bodyPr>
          <a:lstStyle>
            <a:lvl1pPr>
              <a:defRPr lang="en-US" dirty="0" smtClean="0">
                <a:solidFill>
                  <a:schemeClr val="tx1">
                    <a:lumMod val="75000"/>
                    <a:lumOff val="25000"/>
                  </a:schemeClr>
                </a:solidFill>
              </a:defRPr>
            </a:lvl1pPr>
            <a:lvl2pPr>
              <a:defRPr lang="en-US" dirty="0" smtClean="0">
                <a:solidFill>
                  <a:schemeClr val="tx1">
                    <a:lumMod val="75000"/>
                    <a:lumOff val="25000"/>
                  </a:schemeClr>
                </a:solidFill>
              </a:defRPr>
            </a:lvl2pPr>
            <a:lvl3pPr>
              <a:defRPr lang="en-US" dirty="0" smtClean="0">
                <a:solidFill>
                  <a:schemeClr val="tx1">
                    <a:lumMod val="75000"/>
                    <a:lumOff val="25000"/>
                  </a:schemeClr>
                </a:solidFill>
              </a:defRPr>
            </a:lvl3pPr>
            <a:lvl4pPr>
              <a:defRPr lang="en-US" dirty="0" smtClean="0">
                <a:solidFill>
                  <a:schemeClr val="tx1">
                    <a:lumMod val="75000"/>
                    <a:lumOff val="25000"/>
                  </a:schemeClr>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2"/>
          <p:cNvSpPr>
            <a:spLocks noGrp="1"/>
          </p:cNvSpPr>
          <p:nvPr>
            <p:ph idx="10"/>
          </p:nvPr>
        </p:nvSpPr>
        <p:spPr>
          <a:xfrm>
            <a:off x="4656614" y="1426464"/>
            <a:ext cx="4162130" cy="4736595"/>
          </a:xfrm>
        </p:spPr>
        <p:txBody>
          <a:bodyPr vert="horz" lIns="91440" tIns="45720" rIns="91440" bIns="45720" rtlCol="0">
            <a:noAutofit/>
          </a:bodyPr>
          <a:lstStyle>
            <a:lvl1pPr>
              <a:defRPr lang="en-US" dirty="0" smtClean="0">
                <a:solidFill>
                  <a:schemeClr val="tx1">
                    <a:lumMod val="75000"/>
                    <a:lumOff val="25000"/>
                  </a:schemeClr>
                </a:solidFill>
              </a:defRPr>
            </a:lvl1pPr>
            <a:lvl2pPr>
              <a:defRPr lang="en-US" dirty="0" smtClean="0">
                <a:solidFill>
                  <a:schemeClr val="tx1">
                    <a:lumMod val="75000"/>
                    <a:lumOff val="25000"/>
                  </a:schemeClr>
                </a:solidFill>
              </a:defRPr>
            </a:lvl2pPr>
            <a:lvl3pPr>
              <a:defRPr lang="en-US" dirty="0" smtClean="0">
                <a:solidFill>
                  <a:schemeClr val="tx1">
                    <a:lumMod val="75000"/>
                    <a:lumOff val="25000"/>
                  </a:schemeClr>
                </a:solidFill>
              </a:defRPr>
            </a:lvl3pPr>
            <a:lvl4pPr>
              <a:defRPr lang="en-US" dirty="0" smtClean="0">
                <a:solidFill>
                  <a:schemeClr val="tx1">
                    <a:lumMod val="75000"/>
                    <a:lumOff val="25000"/>
                  </a:schemeClr>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Slide Number Placeholder 3"/>
          <p:cNvSpPr>
            <a:spLocks noGrp="1"/>
          </p:cNvSpPr>
          <p:nvPr>
            <p:ph type="sldNum" sz="quarter" idx="14"/>
          </p:nvPr>
        </p:nvSpPr>
        <p:spPr>
          <a:xfrm>
            <a:off x="131630" y="6448491"/>
            <a:ext cx="327880" cy="258533"/>
          </a:xfrm>
          <a:prstGeom prst="rect">
            <a:avLst/>
          </a:prstGeom>
        </p:spPr>
        <p:txBody>
          <a:bodyPr anchor="ctr">
            <a:noAutofit/>
          </a:bodyPr>
          <a:lstStyle>
            <a:lvl1pPr algn="l">
              <a:defRPr sz="800">
                <a:solidFill>
                  <a:schemeClr val="tx1">
                    <a:lumMod val="50000"/>
                    <a:lumOff val="50000"/>
                  </a:schemeClr>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3845433506"/>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Sub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95570" y="336213"/>
            <a:ext cx="8523174" cy="461665"/>
          </a:xfrm>
        </p:spPr>
        <p:txBody>
          <a:bodyPr vert="horz" lIns="91440" tIns="45720" rIns="91440" bIns="45720" rtlCol="0" anchor="t">
            <a:spAutoFit/>
          </a:bodyPr>
          <a:lstStyle>
            <a:lvl1pPr>
              <a:defRPr lang="en-US" dirty="0">
                <a:solidFill>
                  <a:schemeClr val="tx1">
                    <a:lumMod val="75000"/>
                    <a:lumOff val="25000"/>
                  </a:schemeClr>
                </a:solidFill>
              </a:defRPr>
            </a:lvl1pPr>
          </a:lstStyle>
          <a:p>
            <a:pPr lvl="0">
              <a:lnSpc>
                <a:spcPct val="100000"/>
              </a:lnSpc>
            </a:pPr>
            <a:r>
              <a:rPr lang="en-US" dirty="0"/>
              <a:t>Click to edit Master title style</a:t>
            </a:r>
          </a:p>
        </p:txBody>
      </p:sp>
      <p:sp>
        <p:nvSpPr>
          <p:cNvPr id="6" name="Rectangle 5"/>
          <p:cNvSpPr/>
          <p:nvPr userDrawn="1"/>
        </p:nvSpPr>
        <p:spPr>
          <a:xfrm>
            <a:off x="0" y="3"/>
            <a:ext cx="9144000" cy="142647"/>
          </a:xfrm>
          <a:prstGeom prst="rect">
            <a:avLst/>
          </a:prstGeom>
          <a:solidFill>
            <a:srgbClr val="D4D6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endParaRPr>
          </a:p>
        </p:txBody>
      </p:sp>
      <p:sp>
        <p:nvSpPr>
          <p:cNvPr id="9" name="Text Placeholder 4"/>
          <p:cNvSpPr>
            <a:spLocks noGrp="1"/>
          </p:cNvSpPr>
          <p:nvPr>
            <p:ph type="body" sz="quarter" idx="11" hasCustomPrompt="1"/>
          </p:nvPr>
        </p:nvSpPr>
        <p:spPr>
          <a:xfrm>
            <a:off x="295275" y="792091"/>
            <a:ext cx="8523288" cy="400110"/>
          </a:xfrm>
        </p:spPr>
        <p:txBody>
          <a:bodyPr>
            <a:spAutoFit/>
          </a:bodyPr>
          <a:lstStyle>
            <a:lvl1pPr marL="0" indent="0">
              <a:buFontTx/>
              <a:buNone/>
              <a:defRPr sz="2000" b="0">
                <a:solidFill>
                  <a:schemeClr val="accent5"/>
                </a:solidFill>
              </a:defRPr>
            </a:lvl1pPr>
          </a:lstStyle>
          <a:p>
            <a:pPr lvl="0"/>
            <a:r>
              <a:rPr lang="en-US" dirty="0"/>
              <a:t>Click to edit master text styles</a:t>
            </a:r>
          </a:p>
        </p:txBody>
      </p:sp>
      <p:sp>
        <p:nvSpPr>
          <p:cNvPr id="10" name="Slide Number Placeholder 3"/>
          <p:cNvSpPr>
            <a:spLocks noGrp="1"/>
          </p:cNvSpPr>
          <p:nvPr>
            <p:ph type="sldNum" sz="quarter" idx="14"/>
          </p:nvPr>
        </p:nvSpPr>
        <p:spPr>
          <a:xfrm>
            <a:off x="131630" y="6448491"/>
            <a:ext cx="327880" cy="258533"/>
          </a:xfrm>
          <a:prstGeom prst="rect">
            <a:avLst/>
          </a:prstGeom>
        </p:spPr>
        <p:txBody>
          <a:bodyPr anchor="ctr">
            <a:noAutofit/>
          </a:bodyPr>
          <a:lstStyle>
            <a:lvl1pPr algn="l">
              <a:defRPr sz="800">
                <a:solidFill>
                  <a:schemeClr val="tx1">
                    <a:lumMod val="50000"/>
                    <a:lumOff val="50000"/>
                  </a:schemeClr>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4096482056"/>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and Content no logo">
    <p:spTree>
      <p:nvGrpSpPr>
        <p:cNvPr id="1" name=""/>
        <p:cNvGrpSpPr/>
        <p:nvPr/>
      </p:nvGrpSpPr>
      <p:grpSpPr>
        <a:xfrm>
          <a:off x="0" y="0"/>
          <a:ext cx="0" cy="0"/>
          <a:chOff x="0" y="0"/>
          <a:chExt cx="0" cy="0"/>
        </a:xfrm>
      </p:grpSpPr>
      <p:sp>
        <p:nvSpPr>
          <p:cNvPr id="2" name="Title 1"/>
          <p:cNvSpPr>
            <a:spLocks noGrp="1"/>
          </p:cNvSpPr>
          <p:nvPr>
            <p:ph type="title"/>
          </p:nvPr>
        </p:nvSpPr>
        <p:spPr>
          <a:xfrm>
            <a:off x="295570" y="336212"/>
            <a:ext cx="8523174" cy="461665"/>
          </a:xfrm>
        </p:spPr>
        <p:txBody>
          <a:bodyPr vert="horz" lIns="91440" tIns="45720" rIns="91440" bIns="45720" rtlCol="0" anchor="t">
            <a:spAutoFit/>
          </a:bodyPr>
          <a:lstStyle>
            <a:lvl1pPr>
              <a:defRPr lang="en-US" dirty="0">
                <a:solidFill>
                  <a:schemeClr val="tx1">
                    <a:lumMod val="75000"/>
                    <a:lumOff val="25000"/>
                  </a:schemeClr>
                </a:solidFill>
              </a:defRPr>
            </a:lvl1pPr>
          </a:lstStyle>
          <a:p>
            <a:pPr lvl="0">
              <a:lnSpc>
                <a:spcPct val="100000"/>
              </a:lnSpc>
            </a:pPr>
            <a:r>
              <a:rPr lang="en-US" dirty="0"/>
              <a:t>Click to edit Master title style</a:t>
            </a:r>
          </a:p>
        </p:txBody>
      </p:sp>
      <p:sp>
        <p:nvSpPr>
          <p:cNvPr id="3" name="Content Placeholder 2"/>
          <p:cNvSpPr>
            <a:spLocks noGrp="1"/>
          </p:cNvSpPr>
          <p:nvPr>
            <p:ph idx="1"/>
          </p:nvPr>
        </p:nvSpPr>
        <p:spPr>
          <a:xfrm>
            <a:off x="295570" y="1426775"/>
            <a:ext cx="8523174" cy="4525963"/>
          </a:xfrm>
        </p:spPr>
        <p:txBody>
          <a:bodyPr vert="horz" lIns="91440" tIns="45720" rIns="91440" bIns="45720" rtlCol="0">
            <a:noAutofit/>
          </a:bodyPr>
          <a:lstStyle>
            <a:lvl1pPr>
              <a:defRPr lang="en-US" dirty="0" smtClean="0">
                <a:solidFill>
                  <a:schemeClr val="tx1">
                    <a:lumMod val="75000"/>
                    <a:lumOff val="25000"/>
                  </a:schemeClr>
                </a:solidFill>
              </a:defRPr>
            </a:lvl1pPr>
            <a:lvl2pPr>
              <a:defRPr lang="en-US" dirty="0" smtClean="0">
                <a:solidFill>
                  <a:schemeClr val="tx1">
                    <a:lumMod val="75000"/>
                    <a:lumOff val="25000"/>
                  </a:schemeClr>
                </a:solidFill>
              </a:defRPr>
            </a:lvl2pPr>
            <a:lvl3pPr>
              <a:defRPr lang="en-US" dirty="0" smtClean="0">
                <a:solidFill>
                  <a:schemeClr val="tx1">
                    <a:lumMod val="75000"/>
                    <a:lumOff val="25000"/>
                  </a:schemeClr>
                </a:solidFill>
              </a:defRPr>
            </a:lvl3pPr>
            <a:lvl4pPr>
              <a:defRPr lang="en-US" dirty="0" smtClean="0">
                <a:solidFill>
                  <a:schemeClr val="tx1">
                    <a:lumMod val="75000"/>
                    <a:lumOff val="25000"/>
                  </a:schemeClr>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Rectangle 5"/>
          <p:cNvSpPr/>
          <p:nvPr userDrawn="1"/>
        </p:nvSpPr>
        <p:spPr>
          <a:xfrm>
            <a:off x="0" y="3"/>
            <a:ext cx="9144000" cy="142647"/>
          </a:xfrm>
          <a:prstGeom prst="rect">
            <a:avLst/>
          </a:prstGeom>
          <a:solidFill>
            <a:srgbClr val="D4D6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FFFFFF"/>
              </a:solidFill>
              <a:latin typeface="Arial" panose="020B0604020202020204" pitchFamily="34" charset="0"/>
            </a:endParaRPr>
          </a:p>
        </p:txBody>
      </p:sp>
      <p:sp>
        <p:nvSpPr>
          <p:cNvPr id="7" name="Rectangle 6"/>
          <p:cNvSpPr/>
          <p:nvPr userDrawn="1"/>
        </p:nvSpPr>
        <p:spPr>
          <a:xfrm>
            <a:off x="7232952" y="6097151"/>
            <a:ext cx="1911048" cy="5778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endParaRPr>
          </a:p>
        </p:txBody>
      </p:sp>
      <p:sp>
        <p:nvSpPr>
          <p:cNvPr id="10" name="Slide Number Placeholder 3"/>
          <p:cNvSpPr>
            <a:spLocks noGrp="1"/>
          </p:cNvSpPr>
          <p:nvPr>
            <p:ph type="sldNum" sz="quarter" idx="14"/>
          </p:nvPr>
        </p:nvSpPr>
        <p:spPr>
          <a:xfrm>
            <a:off x="131630" y="6448491"/>
            <a:ext cx="327880" cy="258533"/>
          </a:xfrm>
          <a:prstGeom prst="rect">
            <a:avLst/>
          </a:prstGeom>
        </p:spPr>
        <p:txBody>
          <a:bodyPr anchor="ctr">
            <a:noAutofit/>
          </a:bodyPr>
          <a:lstStyle>
            <a:lvl1pPr algn="l">
              <a:defRPr sz="800">
                <a:solidFill>
                  <a:schemeClr val="tx1">
                    <a:lumMod val="50000"/>
                    <a:lumOff val="50000"/>
                  </a:schemeClr>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327398234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Blank no logo">
    <p:spTree>
      <p:nvGrpSpPr>
        <p:cNvPr id="1" name=""/>
        <p:cNvGrpSpPr/>
        <p:nvPr/>
      </p:nvGrpSpPr>
      <p:grpSpPr>
        <a:xfrm>
          <a:off x="0" y="0"/>
          <a:ext cx="0" cy="0"/>
          <a:chOff x="0" y="0"/>
          <a:chExt cx="0" cy="0"/>
        </a:xfrm>
      </p:grpSpPr>
      <p:sp>
        <p:nvSpPr>
          <p:cNvPr id="2" name="Title 1"/>
          <p:cNvSpPr>
            <a:spLocks noGrp="1"/>
          </p:cNvSpPr>
          <p:nvPr>
            <p:ph type="title"/>
          </p:nvPr>
        </p:nvSpPr>
        <p:spPr>
          <a:xfrm>
            <a:off x="295570" y="336212"/>
            <a:ext cx="8523174" cy="461665"/>
          </a:xfrm>
        </p:spPr>
        <p:txBody>
          <a:bodyPr vert="horz" lIns="91440" tIns="45720" rIns="91440" bIns="45720" rtlCol="0" anchor="t">
            <a:spAutoFit/>
          </a:bodyPr>
          <a:lstStyle>
            <a:lvl1pPr>
              <a:defRPr lang="en-US" dirty="0">
                <a:solidFill>
                  <a:schemeClr val="tx1">
                    <a:lumMod val="75000"/>
                    <a:lumOff val="25000"/>
                  </a:schemeClr>
                </a:solidFill>
              </a:defRPr>
            </a:lvl1pPr>
          </a:lstStyle>
          <a:p>
            <a:pPr lvl="0">
              <a:lnSpc>
                <a:spcPct val="100000"/>
              </a:lnSpc>
            </a:pPr>
            <a:r>
              <a:rPr lang="en-US" dirty="0"/>
              <a:t>Click to edit Master title style</a:t>
            </a:r>
          </a:p>
        </p:txBody>
      </p:sp>
      <p:sp>
        <p:nvSpPr>
          <p:cNvPr id="6" name="Rectangle 5"/>
          <p:cNvSpPr/>
          <p:nvPr userDrawn="1"/>
        </p:nvSpPr>
        <p:spPr>
          <a:xfrm>
            <a:off x="0" y="3"/>
            <a:ext cx="9144000" cy="142647"/>
          </a:xfrm>
          <a:prstGeom prst="rect">
            <a:avLst/>
          </a:prstGeom>
          <a:solidFill>
            <a:srgbClr val="D4D6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FFFFFF"/>
              </a:solidFill>
              <a:latin typeface="Arial" panose="020B0604020202020204" pitchFamily="34" charset="0"/>
            </a:endParaRPr>
          </a:p>
        </p:txBody>
      </p:sp>
      <p:sp>
        <p:nvSpPr>
          <p:cNvPr id="7" name="Rectangle 6"/>
          <p:cNvSpPr/>
          <p:nvPr userDrawn="1"/>
        </p:nvSpPr>
        <p:spPr>
          <a:xfrm>
            <a:off x="7232952" y="6097151"/>
            <a:ext cx="1911048" cy="5778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endParaRPr>
          </a:p>
        </p:txBody>
      </p:sp>
      <p:sp>
        <p:nvSpPr>
          <p:cNvPr id="10" name="Slide Number Placeholder 3"/>
          <p:cNvSpPr>
            <a:spLocks noGrp="1"/>
          </p:cNvSpPr>
          <p:nvPr>
            <p:ph type="sldNum" sz="quarter" idx="14"/>
          </p:nvPr>
        </p:nvSpPr>
        <p:spPr>
          <a:xfrm>
            <a:off x="131630" y="6448491"/>
            <a:ext cx="327880" cy="258533"/>
          </a:xfrm>
          <a:prstGeom prst="rect">
            <a:avLst/>
          </a:prstGeom>
        </p:spPr>
        <p:txBody>
          <a:bodyPr anchor="ctr">
            <a:noAutofit/>
          </a:bodyPr>
          <a:lstStyle>
            <a:lvl1pPr algn="l">
              <a:defRPr sz="800">
                <a:solidFill>
                  <a:schemeClr val="tx1">
                    <a:lumMod val="50000"/>
                    <a:lumOff val="50000"/>
                  </a:schemeClr>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1614974145"/>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120" y="1922943"/>
            <a:ext cx="7946050" cy="646331"/>
          </a:xfrm>
        </p:spPr>
        <p:txBody>
          <a:bodyPr/>
          <a:lstStyle>
            <a:lvl1pPr>
              <a:lnSpc>
                <a:spcPct val="100000"/>
              </a:lnSpc>
              <a:defRPr sz="3600" b="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1" name="Rectangle 10"/>
          <p:cNvSpPr/>
          <p:nvPr userDrawn="1"/>
        </p:nvSpPr>
        <p:spPr>
          <a:xfrm>
            <a:off x="0" y="3"/>
            <a:ext cx="9144000" cy="142647"/>
          </a:xfrm>
          <a:prstGeom prst="rect">
            <a:avLst/>
          </a:prstGeom>
          <a:solidFill>
            <a:srgbClr val="D4D6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FFFFFF"/>
              </a:solidFill>
              <a:latin typeface="Arial" panose="020B0604020202020204" pitchFamily="34" charset="0"/>
            </a:endParaRPr>
          </a:p>
        </p:txBody>
      </p:sp>
      <p:sp>
        <p:nvSpPr>
          <p:cNvPr id="5" name="Slide Number Placeholder 3"/>
          <p:cNvSpPr>
            <a:spLocks noGrp="1"/>
          </p:cNvSpPr>
          <p:nvPr>
            <p:ph type="sldNum" sz="quarter" idx="14"/>
          </p:nvPr>
        </p:nvSpPr>
        <p:spPr>
          <a:xfrm>
            <a:off x="131630" y="6448491"/>
            <a:ext cx="327880" cy="258533"/>
          </a:xfrm>
          <a:prstGeom prst="rect">
            <a:avLst/>
          </a:prstGeom>
        </p:spPr>
        <p:txBody>
          <a:bodyPr anchor="ctr">
            <a:noAutofit/>
          </a:bodyPr>
          <a:lstStyle>
            <a:lvl1pPr algn="l">
              <a:defRPr sz="800">
                <a:solidFill>
                  <a:schemeClr val="tx1">
                    <a:lumMod val="50000"/>
                    <a:lumOff val="50000"/>
                  </a:schemeClr>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4077889368"/>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Blank no gray bar">
    <p:spTree>
      <p:nvGrpSpPr>
        <p:cNvPr id="1" name=""/>
        <p:cNvGrpSpPr/>
        <p:nvPr/>
      </p:nvGrpSpPr>
      <p:grpSpPr>
        <a:xfrm>
          <a:off x="0" y="0"/>
          <a:ext cx="0" cy="0"/>
          <a:chOff x="0" y="0"/>
          <a:chExt cx="0" cy="0"/>
        </a:xfrm>
      </p:grpSpPr>
      <p:sp>
        <p:nvSpPr>
          <p:cNvPr id="2" name="Title 1"/>
          <p:cNvSpPr>
            <a:spLocks noGrp="1"/>
          </p:cNvSpPr>
          <p:nvPr>
            <p:ph type="title"/>
          </p:nvPr>
        </p:nvSpPr>
        <p:spPr>
          <a:xfrm>
            <a:off x="295570" y="336212"/>
            <a:ext cx="8523174" cy="461665"/>
          </a:xfrm>
        </p:spPr>
        <p:txBody>
          <a:bodyPr vert="horz" lIns="91440" tIns="45720" rIns="91440" bIns="45720" rtlCol="0" anchor="t">
            <a:spAutoFit/>
          </a:bodyPr>
          <a:lstStyle>
            <a:lvl1pPr>
              <a:defRPr lang="en-US" dirty="0">
                <a:solidFill>
                  <a:schemeClr val="tx1">
                    <a:lumMod val="75000"/>
                    <a:lumOff val="25000"/>
                  </a:schemeClr>
                </a:solidFill>
              </a:defRPr>
            </a:lvl1pPr>
          </a:lstStyle>
          <a:p>
            <a:pPr lvl="0">
              <a:lnSpc>
                <a:spcPct val="100000"/>
              </a:lnSpc>
            </a:pPr>
            <a:r>
              <a:rPr lang="en-US" dirty="0"/>
              <a:t>Click to edit Master title style</a:t>
            </a:r>
          </a:p>
        </p:txBody>
      </p:sp>
      <p:sp>
        <p:nvSpPr>
          <p:cNvPr id="5" name="Slide Number Placeholder 3"/>
          <p:cNvSpPr>
            <a:spLocks noGrp="1"/>
          </p:cNvSpPr>
          <p:nvPr>
            <p:ph type="sldNum" sz="quarter" idx="14"/>
          </p:nvPr>
        </p:nvSpPr>
        <p:spPr>
          <a:xfrm>
            <a:off x="131630" y="6448491"/>
            <a:ext cx="327880" cy="258533"/>
          </a:xfrm>
          <a:prstGeom prst="rect">
            <a:avLst/>
          </a:prstGeom>
        </p:spPr>
        <p:txBody>
          <a:bodyPr anchor="ctr">
            <a:noAutofit/>
          </a:bodyPr>
          <a:lstStyle>
            <a:lvl1pPr algn="l">
              <a:defRPr sz="800">
                <a:solidFill>
                  <a:schemeClr val="tx1">
                    <a:lumMod val="50000"/>
                    <a:lumOff val="50000"/>
                  </a:schemeClr>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1435365981"/>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Fully Blank Slide">
    <p:spTree>
      <p:nvGrpSpPr>
        <p:cNvPr id="1" name=""/>
        <p:cNvGrpSpPr/>
        <p:nvPr/>
      </p:nvGrpSpPr>
      <p:grpSpPr>
        <a:xfrm>
          <a:off x="0" y="0"/>
          <a:ext cx="0" cy="0"/>
          <a:chOff x="0" y="0"/>
          <a:chExt cx="0" cy="0"/>
        </a:xfrm>
      </p:grpSpPr>
      <p:sp>
        <p:nvSpPr>
          <p:cNvPr id="3" name="Rectangle 2"/>
          <p:cNvSpPr/>
          <p:nvPr userDrawn="1"/>
        </p:nvSpPr>
        <p:spPr>
          <a:xfrm>
            <a:off x="7232952" y="6097151"/>
            <a:ext cx="1911048" cy="5778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endParaRPr>
          </a:p>
        </p:txBody>
      </p:sp>
      <p:sp>
        <p:nvSpPr>
          <p:cNvPr id="5" name="Slide Number Placeholder 3"/>
          <p:cNvSpPr>
            <a:spLocks noGrp="1"/>
          </p:cNvSpPr>
          <p:nvPr>
            <p:ph type="sldNum" sz="quarter" idx="14"/>
          </p:nvPr>
        </p:nvSpPr>
        <p:spPr>
          <a:xfrm>
            <a:off x="131630" y="6448491"/>
            <a:ext cx="327880" cy="258533"/>
          </a:xfrm>
          <a:prstGeom prst="rect">
            <a:avLst/>
          </a:prstGeom>
        </p:spPr>
        <p:txBody>
          <a:bodyPr anchor="ctr">
            <a:noAutofit/>
          </a:bodyPr>
          <a:lstStyle>
            <a:lvl1pPr algn="l">
              <a:defRPr sz="800">
                <a:solidFill>
                  <a:schemeClr val="tx1">
                    <a:lumMod val="50000"/>
                    <a:lumOff val="50000"/>
                  </a:schemeClr>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3117428989"/>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FIAM_External_Print_Cover_IA">
    <p:spTree>
      <p:nvGrpSpPr>
        <p:cNvPr id="1" name=""/>
        <p:cNvGrpSpPr/>
        <p:nvPr/>
      </p:nvGrpSpPr>
      <p:grpSpPr>
        <a:xfrm>
          <a:off x="0" y="0"/>
          <a:ext cx="0" cy="0"/>
          <a:chOff x="0" y="0"/>
          <a:chExt cx="0" cy="0"/>
        </a:xfrm>
      </p:grpSpPr>
      <p:pic>
        <p:nvPicPr>
          <p:cNvPr id="43" name="Picture 42">
            <a:extLst>
              <a:ext uri="{FF2B5EF4-FFF2-40B4-BE49-F238E27FC236}">
                <a16:creationId xmlns:a16="http://schemas.microsoft.com/office/drawing/2014/main" id="{0D1BD863-8CD3-49D0-A43A-5F0CDC35B02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47" name="Rectangle 176"/>
          <p:cNvSpPr>
            <a:spLocks noGrp="1" noChangeArrowheads="1"/>
          </p:cNvSpPr>
          <p:nvPr>
            <p:ph type="ftr" sz="quarter" idx="13"/>
          </p:nvPr>
        </p:nvSpPr>
        <p:spPr>
          <a:xfrm>
            <a:off x="281401" y="6421008"/>
            <a:ext cx="6014623" cy="260350"/>
          </a:xfrm>
        </p:spPr>
        <p:txBody>
          <a:bodyPr anchor="b" anchorCtr="0"/>
          <a:lstStyle>
            <a:lvl1pPr algn="l">
              <a:defRPr sz="800" b="0" smtClean="0">
                <a:solidFill>
                  <a:srgbClr val="000000"/>
                </a:solidFill>
              </a:defRPr>
            </a:lvl1pPr>
          </a:lstStyle>
          <a:p>
            <a:pPr>
              <a:defRPr/>
            </a:pPr>
            <a:r>
              <a:rPr lang="en-US" b="1" dirty="0"/>
              <a:t>Page footer.  </a:t>
            </a:r>
          </a:p>
        </p:txBody>
      </p:sp>
      <p:sp>
        <p:nvSpPr>
          <p:cNvPr id="44" name="Text Placeholder 43"/>
          <p:cNvSpPr>
            <a:spLocks noGrp="1"/>
          </p:cNvSpPr>
          <p:nvPr>
            <p:ph type="body" sz="quarter" idx="10"/>
          </p:nvPr>
        </p:nvSpPr>
        <p:spPr>
          <a:xfrm>
            <a:off x="715495" y="3833787"/>
            <a:ext cx="2455544" cy="332365"/>
          </a:xfrm>
        </p:spPr>
        <p:txBody>
          <a:bodyPr/>
          <a:lstStyle>
            <a:lvl1pPr>
              <a:defRPr lang="en-US" sz="1000" b="0" kern="1200" smtClean="0">
                <a:solidFill>
                  <a:srgbClr val="000000"/>
                </a:solidFill>
                <a:latin typeface="Arial"/>
                <a:ea typeface="ＭＳ Ｐゴシック"/>
                <a:cs typeface="ＭＳ Ｐゴシック"/>
              </a:defRPr>
            </a:lvl1pPr>
          </a:lstStyle>
          <a:p>
            <a:pPr lvl="0"/>
            <a:r>
              <a:rPr lang="en-US"/>
              <a:t>Click to edit Master text styles</a:t>
            </a:r>
          </a:p>
        </p:txBody>
      </p:sp>
      <p:sp>
        <p:nvSpPr>
          <p:cNvPr id="53" name="Content Placeholder 52"/>
          <p:cNvSpPr>
            <a:spLocks noGrp="1"/>
          </p:cNvSpPr>
          <p:nvPr>
            <p:ph sz="quarter" idx="12"/>
          </p:nvPr>
        </p:nvSpPr>
        <p:spPr>
          <a:xfrm>
            <a:off x="6280150" y="3842381"/>
            <a:ext cx="2487613" cy="165226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72" name="Rectangle 6"/>
          <p:cNvSpPr>
            <a:spLocks noGrp="1" noChangeArrowheads="1"/>
          </p:cNvSpPr>
          <p:nvPr>
            <p:ph type="subTitle" idx="1"/>
          </p:nvPr>
        </p:nvSpPr>
        <p:spPr>
          <a:xfrm>
            <a:off x="685251" y="2091765"/>
            <a:ext cx="7805762" cy="563076"/>
          </a:xfrm>
        </p:spPr>
        <p:txBody>
          <a:bodyPr lIns="100584" rIns="100584"/>
          <a:lstStyle>
            <a:lvl1pPr marL="0" indent="0">
              <a:spcBef>
                <a:spcPts val="0"/>
              </a:spcBef>
              <a:defRPr sz="2000" b="0">
                <a:solidFill>
                  <a:srgbClr val="7A9A3D"/>
                </a:solidFill>
              </a:defRPr>
            </a:lvl1pPr>
          </a:lstStyle>
          <a:p>
            <a:r>
              <a:rPr lang="en-US"/>
              <a:t>Click to edit Master subtitle style</a:t>
            </a:r>
            <a:endParaRPr lang="en-US" dirty="0"/>
          </a:p>
        </p:txBody>
      </p:sp>
      <p:sp>
        <p:nvSpPr>
          <p:cNvPr id="74" name="Text Placeholder 43"/>
          <p:cNvSpPr>
            <a:spLocks noGrp="1"/>
          </p:cNvSpPr>
          <p:nvPr>
            <p:ph type="body" sz="quarter" idx="14" hasCustomPrompt="1"/>
          </p:nvPr>
        </p:nvSpPr>
        <p:spPr>
          <a:xfrm>
            <a:off x="685251" y="2581276"/>
            <a:ext cx="7805762" cy="266850"/>
          </a:xfrm>
        </p:spPr>
        <p:txBody>
          <a:bodyPr lIns="100584" rIns="100584"/>
          <a:lstStyle>
            <a:lvl1pPr>
              <a:spcBef>
                <a:spcPts val="0"/>
              </a:spcBef>
              <a:defRPr lang="en-US" sz="1200" b="0" kern="1200" dirty="0" smtClean="0">
                <a:solidFill>
                  <a:srgbClr val="333F48"/>
                </a:solidFill>
                <a:latin typeface="Arial"/>
                <a:ea typeface="ＭＳ Ｐゴシック" pitchFamily="34" charset="-128"/>
                <a:cs typeface="+mn-cs"/>
              </a:defRPr>
            </a:lvl1pPr>
          </a:lstStyle>
          <a:p>
            <a:pPr lvl="0"/>
            <a:r>
              <a:rPr lang="en-US" dirty="0"/>
              <a:t>Date</a:t>
            </a:r>
          </a:p>
        </p:txBody>
      </p:sp>
      <p:sp>
        <p:nvSpPr>
          <p:cNvPr id="39" name="Rectangle 9"/>
          <p:cNvSpPr>
            <a:spLocks noGrp="1" noChangeArrowheads="1"/>
          </p:cNvSpPr>
          <p:nvPr>
            <p:ph type="title" hasCustomPrompt="1"/>
          </p:nvPr>
        </p:nvSpPr>
        <p:spPr bwMode="auto">
          <a:xfrm>
            <a:off x="685252" y="1581072"/>
            <a:ext cx="7820573" cy="5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b" anchorCtr="0" compatLnSpc="1">
            <a:prstTxWarp prst="textNoShape">
              <a:avLst/>
            </a:prstTxWarp>
          </a:bodyPr>
          <a:lstStyle>
            <a:lvl1pPr>
              <a:defRPr sz="3000">
                <a:solidFill>
                  <a:srgbClr val="333F48"/>
                </a:solidFill>
              </a:defRPr>
            </a:lvl1pPr>
          </a:lstStyle>
          <a:p>
            <a:pPr lvl="0"/>
            <a:r>
              <a:rPr lang="en-US" altLang="en-US" dirty="0"/>
              <a:t>Click To Edit Master Title Style</a:t>
            </a:r>
          </a:p>
        </p:txBody>
      </p:sp>
      <p:grpSp>
        <p:nvGrpSpPr>
          <p:cNvPr id="128" name="Group 127">
            <a:extLst>
              <a:ext uri="{FF2B5EF4-FFF2-40B4-BE49-F238E27FC236}">
                <a16:creationId xmlns:a16="http://schemas.microsoft.com/office/drawing/2014/main" id="{D2D227AE-CAFE-4AB3-AB1C-89F3B55E0722}"/>
              </a:ext>
            </a:extLst>
          </p:cNvPr>
          <p:cNvGrpSpPr/>
          <p:nvPr userDrawn="1"/>
        </p:nvGrpSpPr>
        <p:grpSpPr>
          <a:xfrm>
            <a:off x="7358173" y="6361974"/>
            <a:ext cx="1382376" cy="297562"/>
            <a:chOff x="6923088" y="4475163"/>
            <a:chExt cx="1873251" cy="403225"/>
          </a:xfrm>
        </p:grpSpPr>
        <p:sp>
          <p:nvSpPr>
            <p:cNvPr id="129" name="AutoShape 4">
              <a:extLst>
                <a:ext uri="{FF2B5EF4-FFF2-40B4-BE49-F238E27FC236}">
                  <a16:creationId xmlns:a16="http://schemas.microsoft.com/office/drawing/2014/main" id="{5E120DEF-B40A-4CE9-B26D-8060E8DBACDF}"/>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 name="Freeform 6">
              <a:extLst>
                <a:ext uri="{FF2B5EF4-FFF2-40B4-BE49-F238E27FC236}">
                  <a16:creationId xmlns:a16="http://schemas.microsoft.com/office/drawing/2014/main" id="{CCFDE2C2-B48C-42C3-BC30-68C0ADC9DB16}"/>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 name="Freeform 7">
              <a:extLst>
                <a:ext uri="{FF2B5EF4-FFF2-40B4-BE49-F238E27FC236}">
                  <a16:creationId xmlns:a16="http://schemas.microsoft.com/office/drawing/2014/main" id="{E148C66A-8C56-404E-B3CA-D463A4690B60}"/>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 name="Freeform 83">
              <a:extLst>
                <a:ext uri="{FF2B5EF4-FFF2-40B4-BE49-F238E27FC236}">
                  <a16:creationId xmlns:a16="http://schemas.microsoft.com/office/drawing/2014/main" id="{B286DFDF-9604-49BE-8835-296DA52725C2}"/>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 name="Freeform 84">
              <a:extLst>
                <a:ext uri="{FF2B5EF4-FFF2-40B4-BE49-F238E27FC236}">
                  <a16:creationId xmlns:a16="http://schemas.microsoft.com/office/drawing/2014/main" id="{536F82F0-C9F0-44DB-92D0-AD081D722539}"/>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 name="Freeform 85">
              <a:extLst>
                <a:ext uri="{FF2B5EF4-FFF2-40B4-BE49-F238E27FC236}">
                  <a16:creationId xmlns:a16="http://schemas.microsoft.com/office/drawing/2014/main" id="{FA2B1132-6E1E-42BE-841F-6DB6DA058216}"/>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 name="Freeform 86">
              <a:extLst>
                <a:ext uri="{FF2B5EF4-FFF2-40B4-BE49-F238E27FC236}">
                  <a16:creationId xmlns:a16="http://schemas.microsoft.com/office/drawing/2014/main" id="{1605D23B-3245-4081-A709-BC2936596163}"/>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 name="Freeform 87">
              <a:extLst>
                <a:ext uri="{FF2B5EF4-FFF2-40B4-BE49-F238E27FC236}">
                  <a16:creationId xmlns:a16="http://schemas.microsoft.com/office/drawing/2014/main" id="{DD1011A3-8CCE-477C-88EA-2174C0DC1BE3}"/>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 name="Freeform 88">
              <a:extLst>
                <a:ext uri="{FF2B5EF4-FFF2-40B4-BE49-F238E27FC236}">
                  <a16:creationId xmlns:a16="http://schemas.microsoft.com/office/drawing/2014/main" id="{F11F5921-88A4-48C1-B4F6-EA6717F32F9C}"/>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 name="Freeform 89">
              <a:extLst>
                <a:ext uri="{FF2B5EF4-FFF2-40B4-BE49-F238E27FC236}">
                  <a16:creationId xmlns:a16="http://schemas.microsoft.com/office/drawing/2014/main" id="{CA718F0A-66A1-4570-9BE3-D9F9EC9750B7}"/>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 name="Freeform 90">
              <a:extLst>
                <a:ext uri="{FF2B5EF4-FFF2-40B4-BE49-F238E27FC236}">
                  <a16:creationId xmlns:a16="http://schemas.microsoft.com/office/drawing/2014/main" id="{F6EAF93E-D2E6-4C24-B453-AAEAFC13E3D3}"/>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 name="Freeform 91">
              <a:extLst>
                <a:ext uri="{FF2B5EF4-FFF2-40B4-BE49-F238E27FC236}">
                  <a16:creationId xmlns:a16="http://schemas.microsoft.com/office/drawing/2014/main" id="{8D652D86-C2B9-4E83-9167-23634BE72EDC}"/>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 name="Freeform 92">
              <a:extLst>
                <a:ext uri="{FF2B5EF4-FFF2-40B4-BE49-F238E27FC236}">
                  <a16:creationId xmlns:a16="http://schemas.microsoft.com/office/drawing/2014/main" id="{92B43175-B9D1-455D-8FAE-3D2BF6571276}"/>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 name="Freeform 93">
              <a:extLst>
                <a:ext uri="{FF2B5EF4-FFF2-40B4-BE49-F238E27FC236}">
                  <a16:creationId xmlns:a16="http://schemas.microsoft.com/office/drawing/2014/main" id="{76879D52-1795-452B-AD79-74CF3084E9B6}"/>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 name="Freeform 94">
              <a:extLst>
                <a:ext uri="{FF2B5EF4-FFF2-40B4-BE49-F238E27FC236}">
                  <a16:creationId xmlns:a16="http://schemas.microsoft.com/office/drawing/2014/main" id="{C74CCD1A-A742-473F-8636-72B0E8B205FB}"/>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 name="Freeform 95">
              <a:extLst>
                <a:ext uri="{FF2B5EF4-FFF2-40B4-BE49-F238E27FC236}">
                  <a16:creationId xmlns:a16="http://schemas.microsoft.com/office/drawing/2014/main" id="{312AF483-E8B8-41EE-ABBD-CBDC6A4CA5E7}"/>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 name="Freeform 96">
              <a:extLst>
                <a:ext uri="{FF2B5EF4-FFF2-40B4-BE49-F238E27FC236}">
                  <a16:creationId xmlns:a16="http://schemas.microsoft.com/office/drawing/2014/main" id="{A6466488-2DBE-4B8B-B63D-1B2D019DF36C}"/>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 name="Freeform 97">
              <a:extLst>
                <a:ext uri="{FF2B5EF4-FFF2-40B4-BE49-F238E27FC236}">
                  <a16:creationId xmlns:a16="http://schemas.microsoft.com/office/drawing/2014/main" id="{BD5F4D07-DCEA-41C3-AE5B-B7271E672936}"/>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7" name="Freeform 98">
              <a:extLst>
                <a:ext uri="{FF2B5EF4-FFF2-40B4-BE49-F238E27FC236}">
                  <a16:creationId xmlns:a16="http://schemas.microsoft.com/office/drawing/2014/main" id="{42EEE7BD-DCD2-49F7-8A7C-C0D0601C37FD}"/>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 name="Freeform 99">
              <a:extLst>
                <a:ext uri="{FF2B5EF4-FFF2-40B4-BE49-F238E27FC236}">
                  <a16:creationId xmlns:a16="http://schemas.microsoft.com/office/drawing/2014/main" id="{5CFD22A1-E673-4B23-9D36-3B74DE70ECE2}"/>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 name="Freeform 100">
              <a:extLst>
                <a:ext uri="{FF2B5EF4-FFF2-40B4-BE49-F238E27FC236}">
                  <a16:creationId xmlns:a16="http://schemas.microsoft.com/office/drawing/2014/main" id="{7C20FD0C-F35B-4F21-AF3B-81530E295BEB}"/>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 name="Freeform 101">
              <a:extLst>
                <a:ext uri="{FF2B5EF4-FFF2-40B4-BE49-F238E27FC236}">
                  <a16:creationId xmlns:a16="http://schemas.microsoft.com/office/drawing/2014/main" id="{C68C6C2F-09B5-4244-BEBB-F85457E11A54}"/>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 name="Freeform 102">
              <a:extLst>
                <a:ext uri="{FF2B5EF4-FFF2-40B4-BE49-F238E27FC236}">
                  <a16:creationId xmlns:a16="http://schemas.microsoft.com/office/drawing/2014/main" id="{6C7F753E-CE23-4F01-9F10-DCE622C71ABB}"/>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2" name="Freeform 103">
              <a:extLst>
                <a:ext uri="{FF2B5EF4-FFF2-40B4-BE49-F238E27FC236}">
                  <a16:creationId xmlns:a16="http://schemas.microsoft.com/office/drawing/2014/main" id="{12385579-35FD-4613-ABF4-9392759FFF98}"/>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 name="Freeform 104">
              <a:extLst>
                <a:ext uri="{FF2B5EF4-FFF2-40B4-BE49-F238E27FC236}">
                  <a16:creationId xmlns:a16="http://schemas.microsoft.com/office/drawing/2014/main" id="{2BB633EA-47EC-47FB-AFB9-0C8E97548B32}"/>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 name="Freeform 105">
              <a:extLst>
                <a:ext uri="{FF2B5EF4-FFF2-40B4-BE49-F238E27FC236}">
                  <a16:creationId xmlns:a16="http://schemas.microsoft.com/office/drawing/2014/main" id="{D9F0450F-CF35-40ED-BB19-255159FDD4F0}"/>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41" name="Picture Placeholder 47">
            <a:extLst>
              <a:ext uri="{FF2B5EF4-FFF2-40B4-BE49-F238E27FC236}">
                <a16:creationId xmlns:a16="http://schemas.microsoft.com/office/drawing/2014/main" id="{6C52F923-6647-4E5F-AF1F-9539EA63609B}"/>
              </a:ext>
            </a:extLst>
          </p:cNvPr>
          <p:cNvSpPr>
            <a:spLocks noGrp="1"/>
          </p:cNvSpPr>
          <p:nvPr>
            <p:ph type="pic" sz="quarter" idx="11" hasCustomPrompt="1"/>
          </p:nvPr>
        </p:nvSpPr>
        <p:spPr>
          <a:xfrm>
            <a:off x="804672" y="4105656"/>
            <a:ext cx="2424112" cy="609600"/>
          </a:xfrm>
          <a:noFill/>
        </p:spPr>
        <p:txBody>
          <a:bodyPr anchor="ctr"/>
          <a:lstStyle>
            <a:lvl1pPr>
              <a:defRPr sz="1000" b="0"/>
            </a:lvl1pPr>
          </a:lstStyle>
          <a:p>
            <a:pPr lvl="0"/>
            <a:r>
              <a:rPr lang="en-US" noProof="0" dirty="0"/>
              <a:t>Click icon to add logo</a:t>
            </a:r>
          </a:p>
        </p:txBody>
      </p:sp>
    </p:spTree>
    <p:extLst>
      <p:ext uri="{BB962C8B-B14F-4D97-AF65-F5344CB8AC3E}">
        <p14:creationId xmlns:p14="http://schemas.microsoft.com/office/powerpoint/2010/main" val="3461265342"/>
      </p:ext>
    </p:extLst>
  </p:cSld>
  <p:clrMapOvr>
    <a:masterClrMapping/>
  </p:clrMapOvr>
  <p:extLst>
    <p:ext uri="{DCECCB84-F9BA-43D5-87BE-67443E8EF086}">
      <p15:sldGuideLst xmlns:p15="http://schemas.microsoft.com/office/powerpoint/2012/main"/>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FIAM_External_Print_Cover_BD">
    <p:spTree>
      <p:nvGrpSpPr>
        <p:cNvPr id="1" name=""/>
        <p:cNvGrpSpPr/>
        <p:nvPr/>
      </p:nvGrpSpPr>
      <p:grpSpPr>
        <a:xfrm>
          <a:off x="0" y="0"/>
          <a:ext cx="0" cy="0"/>
          <a:chOff x="0" y="0"/>
          <a:chExt cx="0" cy="0"/>
        </a:xfrm>
      </p:grpSpPr>
      <p:pic>
        <p:nvPicPr>
          <p:cNvPr id="43" name="Picture 42">
            <a:extLst>
              <a:ext uri="{FF2B5EF4-FFF2-40B4-BE49-F238E27FC236}">
                <a16:creationId xmlns:a16="http://schemas.microsoft.com/office/drawing/2014/main" id="{0D1BD863-8CD3-49D0-A43A-5F0CDC35B02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47" name="Rectangle 176"/>
          <p:cNvSpPr>
            <a:spLocks noGrp="1" noChangeArrowheads="1"/>
          </p:cNvSpPr>
          <p:nvPr>
            <p:ph type="ftr" sz="quarter" idx="13"/>
          </p:nvPr>
        </p:nvSpPr>
        <p:spPr>
          <a:xfrm>
            <a:off x="281401" y="6421008"/>
            <a:ext cx="6014623" cy="260350"/>
          </a:xfrm>
        </p:spPr>
        <p:txBody>
          <a:bodyPr anchor="b" anchorCtr="0"/>
          <a:lstStyle>
            <a:lvl1pPr algn="l">
              <a:defRPr sz="800" b="0" smtClean="0">
                <a:solidFill>
                  <a:srgbClr val="000000"/>
                </a:solidFill>
              </a:defRPr>
            </a:lvl1pPr>
          </a:lstStyle>
          <a:p>
            <a:pPr>
              <a:defRPr/>
            </a:pPr>
            <a:r>
              <a:rPr lang="en-US" b="1" dirty="0"/>
              <a:t>Page footer.  </a:t>
            </a:r>
          </a:p>
        </p:txBody>
      </p:sp>
      <p:sp>
        <p:nvSpPr>
          <p:cNvPr id="44" name="Text Placeholder 43"/>
          <p:cNvSpPr>
            <a:spLocks noGrp="1"/>
          </p:cNvSpPr>
          <p:nvPr>
            <p:ph type="body" sz="quarter" idx="10"/>
          </p:nvPr>
        </p:nvSpPr>
        <p:spPr>
          <a:xfrm>
            <a:off x="715495" y="3833787"/>
            <a:ext cx="2455544" cy="332365"/>
          </a:xfrm>
        </p:spPr>
        <p:txBody>
          <a:bodyPr/>
          <a:lstStyle>
            <a:lvl1pPr>
              <a:defRPr lang="en-US" sz="1000" b="0" kern="1200" smtClean="0">
                <a:solidFill>
                  <a:srgbClr val="000000"/>
                </a:solidFill>
                <a:latin typeface="Arial"/>
                <a:ea typeface="ＭＳ Ｐゴシック"/>
                <a:cs typeface="ＭＳ Ｐゴシック"/>
              </a:defRPr>
            </a:lvl1pPr>
          </a:lstStyle>
          <a:p>
            <a:pPr lvl="0"/>
            <a:r>
              <a:rPr lang="en-US"/>
              <a:t>Click to edit Master text styles</a:t>
            </a:r>
          </a:p>
        </p:txBody>
      </p:sp>
      <p:sp>
        <p:nvSpPr>
          <p:cNvPr id="53" name="Content Placeholder 52"/>
          <p:cNvSpPr>
            <a:spLocks noGrp="1"/>
          </p:cNvSpPr>
          <p:nvPr>
            <p:ph sz="quarter" idx="12"/>
          </p:nvPr>
        </p:nvSpPr>
        <p:spPr>
          <a:xfrm>
            <a:off x="6280150" y="3842381"/>
            <a:ext cx="2487613" cy="165226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72" name="Rectangle 6"/>
          <p:cNvSpPr>
            <a:spLocks noGrp="1" noChangeArrowheads="1"/>
          </p:cNvSpPr>
          <p:nvPr>
            <p:ph type="subTitle" idx="1"/>
          </p:nvPr>
        </p:nvSpPr>
        <p:spPr>
          <a:xfrm>
            <a:off x="685251" y="2091765"/>
            <a:ext cx="7805762" cy="563076"/>
          </a:xfrm>
        </p:spPr>
        <p:txBody>
          <a:bodyPr lIns="100584" rIns="100584"/>
          <a:lstStyle>
            <a:lvl1pPr marL="0" indent="0">
              <a:spcBef>
                <a:spcPts val="0"/>
              </a:spcBef>
              <a:defRPr sz="2000" b="0">
                <a:solidFill>
                  <a:srgbClr val="7A9A3D"/>
                </a:solidFill>
              </a:defRPr>
            </a:lvl1pPr>
          </a:lstStyle>
          <a:p>
            <a:r>
              <a:rPr lang="en-US"/>
              <a:t>Click to edit Master subtitle style</a:t>
            </a:r>
            <a:endParaRPr lang="en-US" dirty="0"/>
          </a:p>
        </p:txBody>
      </p:sp>
      <p:sp>
        <p:nvSpPr>
          <p:cNvPr id="74" name="Text Placeholder 43"/>
          <p:cNvSpPr>
            <a:spLocks noGrp="1"/>
          </p:cNvSpPr>
          <p:nvPr>
            <p:ph type="body" sz="quarter" idx="14" hasCustomPrompt="1"/>
          </p:nvPr>
        </p:nvSpPr>
        <p:spPr>
          <a:xfrm>
            <a:off x="685251" y="2581276"/>
            <a:ext cx="7805762" cy="266850"/>
          </a:xfrm>
        </p:spPr>
        <p:txBody>
          <a:bodyPr lIns="100584" rIns="100584"/>
          <a:lstStyle>
            <a:lvl1pPr>
              <a:spcBef>
                <a:spcPts val="0"/>
              </a:spcBef>
              <a:defRPr lang="en-US" sz="1200" b="0" kern="1200" dirty="0" smtClean="0">
                <a:solidFill>
                  <a:srgbClr val="333F48"/>
                </a:solidFill>
                <a:latin typeface="Arial"/>
                <a:ea typeface="ＭＳ Ｐゴシック" pitchFamily="34" charset="-128"/>
                <a:cs typeface="+mn-cs"/>
              </a:defRPr>
            </a:lvl1pPr>
          </a:lstStyle>
          <a:p>
            <a:pPr lvl="0"/>
            <a:r>
              <a:rPr lang="en-US" dirty="0"/>
              <a:t>Date</a:t>
            </a:r>
          </a:p>
        </p:txBody>
      </p:sp>
      <p:sp>
        <p:nvSpPr>
          <p:cNvPr id="39" name="Rectangle 9"/>
          <p:cNvSpPr>
            <a:spLocks noGrp="1" noChangeArrowheads="1"/>
          </p:cNvSpPr>
          <p:nvPr>
            <p:ph type="title" hasCustomPrompt="1"/>
          </p:nvPr>
        </p:nvSpPr>
        <p:spPr bwMode="auto">
          <a:xfrm>
            <a:off x="685252" y="1581072"/>
            <a:ext cx="7820573" cy="5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b" anchorCtr="0" compatLnSpc="1">
            <a:prstTxWarp prst="textNoShape">
              <a:avLst/>
            </a:prstTxWarp>
          </a:bodyPr>
          <a:lstStyle>
            <a:lvl1pPr>
              <a:defRPr sz="3000">
                <a:solidFill>
                  <a:srgbClr val="333F48"/>
                </a:solidFill>
              </a:defRPr>
            </a:lvl1pPr>
          </a:lstStyle>
          <a:p>
            <a:pPr lvl="0"/>
            <a:r>
              <a:rPr lang="en-US" altLang="en-US" dirty="0"/>
              <a:t>Click To Edit Master Title Style</a:t>
            </a:r>
          </a:p>
        </p:txBody>
      </p:sp>
      <p:grpSp>
        <p:nvGrpSpPr>
          <p:cNvPr id="128" name="Group 127">
            <a:extLst>
              <a:ext uri="{FF2B5EF4-FFF2-40B4-BE49-F238E27FC236}">
                <a16:creationId xmlns:a16="http://schemas.microsoft.com/office/drawing/2014/main" id="{D2D227AE-CAFE-4AB3-AB1C-89F3B55E0722}"/>
              </a:ext>
            </a:extLst>
          </p:cNvPr>
          <p:cNvGrpSpPr/>
          <p:nvPr userDrawn="1"/>
        </p:nvGrpSpPr>
        <p:grpSpPr>
          <a:xfrm>
            <a:off x="7358173" y="6361974"/>
            <a:ext cx="1382376" cy="297562"/>
            <a:chOff x="6923088" y="4475163"/>
            <a:chExt cx="1873251" cy="403225"/>
          </a:xfrm>
        </p:grpSpPr>
        <p:sp>
          <p:nvSpPr>
            <p:cNvPr id="129" name="AutoShape 4">
              <a:extLst>
                <a:ext uri="{FF2B5EF4-FFF2-40B4-BE49-F238E27FC236}">
                  <a16:creationId xmlns:a16="http://schemas.microsoft.com/office/drawing/2014/main" id="{5E120DEF-B40A-4CE9-B26D-8060E8DBACDF}"/>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 name="Freeform 6">
              <a:extLst>
                <a:ext uri="{FF2B5EF4-FFF2-40B4-BE49-F238E27FC236}">
                  <a16:creationId xmlns:a16="http://schemas.microsoft.com/office/drawing/2014/main" id="{CCFDE2C2-B48C-42C3-BC30-68C0ADC9DB16}"/>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 name="Freeform 7">
              <a:extLst>
                <a:ext uri="{FF2B5EF4-FFF2-40B4-BE49-F238E27FC236}">
                  <a16:creationId xmlns:a16="http://schemas.microsoft.com/office/drawing/2014/main" id="{E148C66A-8C56-404E-B3CA-D463A4690B60}"/>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 name="Freeform 83">
              <a:extLst>
                <a:ext uri="{FF2B5EF4-FFF2-40B4-BE49-F238E27FC236}">
                  <a16:creationId xmlns:a16="http://schemas.microsoft.com/office/drawing/2014/main" id="{B286DFDF-9604-49BE-8835-296DA52725C2}"/>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 name="Freeform 84">
              <a:extLst>
                <a:ext uri="{FF2B5EF4-FFF2-40B4-BE49-F238E27FC236}">
                  <a16:creationId xmlns:a16="http://schemas.microsoft.com/office/drawing/2014/main" id="{536F82F0-C9F0-44DB-92D0-AD081D722539}"/>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 name="Freeform 85">
              <a:extLst>
                <a:ext uri="{FF2B5EF4-FFF2-40B4-BE49-F238E27FC236}">
                  <a16:creationId xmlns:a16="http://schemas.microsoft.com/office/drawing/2014/main" id="{FA2B1132-6E1E-42BE-841F-6DB6DA058216}"/>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 name="Freeform 86">
              <a:extLst>
                <a:ext uri="{FF2B5EF4-FFF2-40B4-BE49-F238E27FC236}">
                  <a16:creationId xmlns:a16="http://schemas.microsoft.com/office/drawing/2014/main" id="{1605D23B-3245-4081-A709-BC2936596163}"/>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 name="Freeform 87">
              <a:extLst>
                <a:ext uri="{FF2B5EF4-FFF2-40B4-BE49-F238E27FC236}">
                  <a16:creationId xmlns:a16="http://schemas.microsoft.com/office/drawing/2014/main" id="{DD1011A3-8CCE-477C-88EA-2174C0DC1BE3}"/>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 name="Freeform 88">
              <a:extLst>
                <a:ext uri="{FF2B5EF4-FFF2-40B4-BE49-F238E27FC236}">
                  <a16:creationId xmlns:a16="http://schemas.microsoft.com/office/drawing/2014/main" id="{F11F5921-88A4-48C1-B4F6-EA6717F32F9C}"/>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 name="Freeform 89">
              <a:extLst>
                <a:ext uri="{FF2B5EF4-FFF2-40B4-BE49-F238E27FC236}">
                  <a16:creationId xmlns:a16="http://schemas.microsoft.com/office/drawing/2014/main" id="{CA718F0A-66A1-4570-9BE3-D9F9EC9750B7}"/>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 name="Freeform 90">
              <a:extLst>
                <a:ext uri="{FF2B5EF4-FFF2-40B4-BE49-F238E27FC236}">
                  <a16:creationId xmlns:a16="http://schemas.microsoft.com/office/drawing/2014/main" id="{F6EAF93E-D2E6-4C24-B453-AAEAFC13E3D3}"/>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 name="Freeform 91">
              <a:extLst>
                <a:ext uri="{FF2B5EF4-FFF2-40B4-BE49-F238E27FC236}">
                  <a16:creationId xmlns:a16="http://schemas.microsoft.com/office/drawing/2014/main" id="{8D652D86-C2B9-4E83-9167-23634BE72EDC}"/>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 name="Freeform 92">
              <a:extLst>
                <a:ext uri="{FF2B5EF4-FFF2-40B4-BE49-F238E27FC236}">
                  <a16:creationId xmlns:a16="http://schemas.microsoft.com/office/drawing/2014/main" id="{92B43175-B9D1-455D-8FAE-3D2BF6571276}"/>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 name="Freeform 93">
              <a:extLst>
                <a:ext uri="{FF2B5EF4-FFF2-40B4-BE49-F238E27FC236}">
                  <a16:creationId xmlns:a16="http://schemas.microsoft.com/office/drawing/2014/main" id="{76879D52-1795-452B-AD79-74CF3084E9B6}"/>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 name="Freeform 94">
              <a:extLst>
                <a:ext uri="{FF2B5EF4-FFF2-40B4-BE49-F238E27FC236}">
                  <a16:creationId xmlns:a16="http://schemas.microsoft.com/office/drawing/2014/main" id="{C74CCD1A-A742-473F-8636-72B0E8B205FB}"/>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 name="Freeform 95">
              <a:extLst>
                <a:ext uri="{FF2B5EF4-FFF2-40B4-BE49-F238E27FC236}">
                  <a16:creationId xmlns:a16="http://schemas.microsoft.com/office/drawing/2014/main" id="{312AF483-E8B8-41EE-ABBD-CBDC6A4CA5E7}"/>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 name="Freeform 96">
              <a:extLst>
                <a:ext uri="{FF2B5EF4-FFF2-40B4-BE49-F238E27FC236}">
                  <a16:creationId xmlns:a16="http://schemas.microsoft.com/office/drawing/2014/main" id="{A6466488-2DBE-4B8B-B63D-1B2D019DF36C}"/>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 name="Freeform 97">
              <a:extLst>
                <a:ext uri="{FF2B5EF4-FFF2-40B4-BE49-F238E27FC236}">
                  <a16:creationId xmlns:a16="http://schemas.microsoft.com/office/drawing/2014/main" id="{BD5F4D07-DCEA-41C3-AE5B-B7271E672936}"/>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7" name="Freeform 98">
              <a:extLst>
                <a:ext uri="{FF2B5EF4-FFF2-40B4-BE49-F238E27FC236}">
                  <a16:creationId xmlns:a16="http://schemas.microsoft.com/office/drawing/2014/main" id="{42EEE7BD-DCD2-49F7-8A7C-C0D0601C37FD}"/>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 name="Freeform 99">
              <a:extLst>
                <a:ext uri="{FF2B5EF4-FFF2-40B4-BE49-F238E27FC236}">
                  <a16:creationId xmlns:a16="http://schemas.microsoft.com/office/drawing/2014/main" id="{5CFD22A1-E673-4B23-9D36-3B74DE70ECE2}"/>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 name="Freeform 100">
              <a:extLst>
                <a:ext uri="{FF2B5EF4-FFF2-40B4-BE49-F238E27FC236}">
                  <a16:creationId xmlns:a16="http://schemas.microsoft.com/office/drawing/2014/main" id="{7C20FD0C-F35B-4F21-AF3B-81530E295BEB}"/>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 name="Freeform 101">
              <a:extLst>
                <a:ext uri="{FF2B5EF4-FFF2-40B4-BE49-F238E27FC236}">
                  <a16:creationId xmlns:a16="http://schemas.microsoft.com/office/drawing/2014/main" id="{C68C6C2F-09B5-4244-BEBB-F85457E11A54}"/>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 name="Freeform 102">
              <a:extLst>
                <a:ext uri="{FF2B5EF4-FFF2-40B4-BE49-F238E27FC236}">
                  <a16:creationId xmlns:a16="http://schemas.microsoft.com/office/drawing/2014/main" id="{6C7F753E-CE23-4F01-9F10-DCE622C71ABB}"/>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2" name="Freeform 103">
              <a:extLst>
                <a:ext uri="{FF2B5EF4-FFF2-40B4-BE49-F238E27FC236}">
                  <a16:creationId xmlns:a16="http://schemas.microsoft.com/office/drawing/2014/main" id="{12385579-35FD-4613-ABF4-9392759FFF98}"/>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 name="Freeform 104">
              <a:extLst>
                <a:ext uri="{FF2B5EF4-FFF2-40B4-BE49-F238E27FC236}">
                  <a16:creationId xmlns:a16="http://schemas.microsoft.com/office/drawing/2014/main" id="{2BB633EA-47EC-47FB-AFB9-0C8E97548B32}"/>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 name="Freeform 105">
              <a:extLst>
                <a:ext uri="{FF2B5EF4-FFF2-40B4-BE49-F238E27FC236}">
                  <a16:creationId xmlns:a16="http://schemas.microsoft.com/office/drawing/2014/main" id="{D9F0450F-CF35-40ED-BB19-255159FDD4F0}"/>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40" name="Text Box 15">
            <a:extLst>
              <a:ext uri="{FF2B5EF4-FFF2-40B4-BE49-F238E27FC236}">
                <a16:creationId xmlns:a16="http://schemas.microsoft.com/office/drawing/2014/main" id="{0A048701-0B3B-4484-8FA4-71B513212D10}"/>
              </a:ext>
            </a:extLst>
          </p:cNvPr>
          <p:cNvSpPr txBox="1">
            <a:spLocks noChangeArrowheads="1"/>
          </p:cNvSpPr>
          <p:nvPr userDrawn="1"/>
        </p:nvSpPr>
        <p:spPr bwMode="ltGray">
          <a:xfrm>
            <a:off x="353273" y="6275679"/>
            <a:ext cx="2868716" cy="184652"/>
          </a:xfrm>
          <a:prstGeom prst="rect">
            <a:avLst/>
          </a:prstGeom>
          <a:noFill/>
          <a:ln w="9525">
            <a:solidFill>
              <a:srgbClr val="000000"/>
            </a:solidFill>
            <a:miter lim="800000"/>
            <a:headEnd/>
            <a:tailEnd/>
          </a:ln>
        </p:spPr>
        <p:txBody>
          <a:bodyPr wrap="none" lIns="45711" tIns="45711" rIns="45711" bIns="27427" anchor="ctr">
            <a:spAutoFit/>
          </a:bodyP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fontAlgn="auto">
              <a:lnSpc>
                <a:spcPct val="90000"/>
              </a:lnSpc>
              <a:spcBef>
                <a:spcPts val="0"/>
              </a:spcBef>
              <a:spcAft>
                <a:spcPts val="0"/>
              </a:spcAft>
              <a:defRPr/>
            </a:pPr>
            <a:r>
              <a:rPr lang="en-US" sz="800" b="1" kern="0" dirty="0">
                <a:solidFill>
                  <a:srgbClr val="000000"/>
                </a:solidFill>
                <a:latin typeface="Arial"/>
                <a:cs typeface="+mn-cs"/>
              </a:rPr>
              <a:t>Not FDIC Insured </a:t>
            </a:r>
            <a:r>
              <a:rPr lang="en-US" sz="800" b="1" kern="0" dirty="0">
                <a:solidFill>
                  <a:srgbClr val="000000"/>
                </a:solidFill>
                <a:latin typeface="Arial"/>
                <a:cs typeface="+mn-cs"/>
                <a:sym typeface="Wingdings" pitchFamily="2" charset="2"/>
              </a:rPr>
              <a:t> May Lose Value  No Bank Guarantee</a:t>
            </a:r>
          </a:p>
        </p:txBody>
      </p:sp>
      <p:sp>
        <p:nvSpPr>
          <p:cNvPr id="41" name="Picture Placeholder 47">
            <a:extLst>
              <a:ext uri="{FF2B5EF4-FFF2-40B4-BE49-F238E27FC236}">
                <a16:creationId xmlns:a16="http://schemas.microsoft.com/office/drawing/2014/main" id="{C468ECCA-D6CD-4381-A8CA-63E89EBEB43A}"/>
              </a:ext>
            </a:extLst>
          </p:cNvPr>
          <p:cNvSpPr>
            <a:spLocks noGrp="1"/>
          </p:cNvSpPr>
          <p:nvPr>
            <p:ph type="pic" sz="quarter" idx="11" hasCustomPrompt="1"/>
          </p:nvPr>
        </p:nvSpPr>
        <p:spPr>
          <a:xfrm>
            <a:off x="804672" y="4105656"/>
            <a:ext cx="2424112" cy="609600"/>
          </a:xfrm>
          <a:noFill/>
        </p:spPr>
        <p:txBody>
          <a:bodyPr anchor="ctr"/>
          <a:lstStyle>
            <a:lvl1pPr>
              <a:defRPr sz="1000" b="0"/>
            </a:lvl1pPr>
          </a:lstStyle>
          <a:p>
            <a:pPr lvl="0"/>
            <a:r>
              <a:rPr lang="en-US" noProof="0" dirty="0"/>
              <a:t>Click icon to add logo</a:t>
            </a:r>
          </a:p>
        </p:txBody>
      </p:sp>
    </p:spTree>
    <p:extLst>
      <p:ext uri="{BB962C8B-B14F-4D97-AF65-F5344CB8AC3E}">
        <p14:creationId xmlns:p14="http://schemas.microsoft.com/office/powerpoint/2010/main" val="2016085728"/>
      </p:ext>
    </p:extLst>
  </p:cSld>
  <p:clrMapOvr>
    <a:masterClrMapping/>
  </p:clrMapOvr>
  <p:extLst>
    <p:ext uri="{DCECCB84-F9BA-43D5-87BE-67443E8EF086}">
      <p15:sldGuideLst xmlns:p15="http://schemas.microsoft.com/office/powerpoint/2012/main">
        <p15:guide id="1" orient="horz" pos="4200">
          <p15:clr>
            <a:srgbClr val="FBAE40"/>
          </p15:clr>
        </p15:guide>
        <p15:guide id="2" pos="504">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GIS Cover">
    <p:spTree>
      <p:nvGrpSpPr>
        <p:cNvPr id="1" name=""/>
        <p:cNvGrpSpPr/>
        <p:nvPr/>
      </p:nvGrpSpPr>
      <p:grpSpPr>
        <a:xfrm>
          <a:off x="0" y="0"/>
          <a:ext cx="0" cy="0"/>
          <a:chOff x="0" y="0"/>
          <a:chExt cx="0" cy="0"/>
        </a:xfrm>
      </p:grpSpPr>
      <p:pic>
        <p:nvPicPr>
          <p:cNvPr id="43" name="Picture 42">
            <a:extLst>
              <a:ext uri="{FF2B5EF4-FFF2-40B4-BE49-F238E27FC236}">
                <a16:creationId xmlns:a16="http://schemas.microsoft.com/office/drawing/2014/main" id="{0D1BD863-8CD3-49D0-A43A-5F0CDC35B02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38" name="Picture 37">
            <a:extLst>
              <a:ext uri="{FF2B5EF4-FFF2-40B4-BE49-F238E27FC236}">
                <a16:creationId xmlns:a16="http://schemas.microsoft.com/office/drawing/2014/main" id="{92EE3B39-64EE-4DDC-A575-0B2059D644D3}"/>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62741"/>
          <a:stretch/>
        </p:blipFill>
        <p:spPr>
          <a:xfrm>
            <a:off x="802002" y="532741"/>
            <a:ext cx="2987046" cy="134009"/>
          </a:xfrm>
          <a:prstGeom prst="rect">
            <a:avLst/>
          </a:prstGeom>
        </p:spPr>
      </p:pic>
      <p:sp>
        <p:nvSpPr>
          <p:cNvPr id="47" name="Rectangle 176"/>
          <p:cNvSpPr>
            <a:spLocks noGrp="1" noChangeArrowheads="1"/>
          </p:cNvSpPr>
          <p:nvPr>
            <p:ph type="ftr" sz="quarter" idx="13"/>
          </p:nvPr>
        </p:nvSpPr>
        <p:spPr>
          <a:xfrm>
            <a:off x="281401" y="6421008"/>
            <a:ext cx="6014623" cy="260350"/>
          </a:xfrm>
        </p:spPr>
        <p:txBody>
          <a:bodyPr anchor="b" anchorCtr="0"/>
          <a:lstStyle>
            <a:lvl1pPr algn="l">
              <a:defRPr sz="800" b="0" smtClean="0">
                <a:solidFill>
                  <a:srgbClr val="000000"/>
                </a:solidFill>
              </a:defRPr>
            </a:lvl1pPr>
          </a:lstStyle>
          <a:p>
            <a:pPr>
              <a:defRPr/>
            </a:pPr>
            <a:r>
              <a:rPr lang="en-US" b="1" dirty="0"/>
              <a:t>Page footer.  </a:t>
            </a:r>
          </a:p>
        </p:txBody>
      </p:sp>
      <p:sp>
        <p:nvSpPr>
          <p:cNvPr id="53" name="Content Placeholder 52"/>
          <p:cNvSpPr>
            <a:spLocks noGrp="1"/>
          </p:cNvSpPr>
          <p:nvPr>
            <p:ph sz="quarter" idx="12"/>
          </p:nvPr>
        </p:nvSpPr>
        <p:spPr>
          <a:xfrm>
            <a:off x="6280150" y="3842381"/>
            <a:ext cx="2487613" cy="165226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a:t>Click to edit Master text styles</a:t>
            </a:r>
          </a:p>
          <a:p>
            <a:pPr lvl="1"/>
            <a:r>
              <a:rPr lang="en-US"/>
              <a:t>Second level</a:t>
            </a:r>
          </a:p>
        </p:txBody>
      </p:sp>
      <p:grpSp>
        <p:nvGrpSpPr>
          <p:cNvPr id="128" name="Group 127">
            <a:extLst>
              <a:ext uri="{FF2B5EF4-FFF2-40B4-BE49-F238E27FC236}">
                <a16:creationId xmlns:a16="http://schemas.microsoft.com/office/drawing/2014/main" id="{D2D227AE-CAFE-4AB3-AB1C-89F3B55E0722}"/>
              </a:ext>
            </a:extLst>
          </p:cNvPr>
          <p:cNvGrpSpPr/>
          <p:nvPr userDrawn="1"/>
        </p:nvGrpSpPr>
        <p:grpSpPr>
          <a:xfrm>
            <a:off x="7358173" y="6361974"/>
            <a:ext cx="1382376" cy="297562"/>
            <a:chOff x="6923088" y="4475163"/>
            <a:chExt cx="1873251" cy="403225"/>
          </a:xfrm>
        </p:grpSpPr>
        <p:sp>
          <p:nvSpPr>
            <p:cNvPr id="129" name="AutoShape 4">
              <a:extLst>
                <a:ext uri="{FF2B5EF4-FFF2-40B4-BE49-F238E27FC236}">
                  <a16:creationId xmlns:a16="http://schemas.microsoft.com/office/drawing/2014/main" id="{5E120DEF-B40A-4CE9-B26D-8060E8DBACDF}"/>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 name="Freeform 6">
              <a:extLst>
                <a:ext uri="{FF2B5EF4-FFF2-40B4-BE49-F238E27FC236}">
                  <a16:creationId xmlns:a16="http://schemas.microsoft.com/office/drawing/2014/main" id="{CCFDE2C2-B48C-42C3-BC30-68C0ADC9DB16}"/>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 name="Freeform 7">
              <a:extLst>
                <a:ext uri="{FF2B5EF4-FFF2-40B4-BE49-F238E27FC236}">
                  <a16:creationId xmlns:a16="http://schemas.microsoft.com/office/drawing/2014/main" id="{E148C66A-8C56-404E-B3CA-D463A4690B60}"/>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 name="Freeform 83">
              <a:extLst>
                <a:ext uri="{FF2B5EF4-FFF2-40B4-BE49-F238E27FC236}">
                  <a16:creationId xmlns:a16="http://schemas.microsoft.com/office/drawing/2014/main" id="{B286DFDF-9604-49BE-8835-296DA52725C2}"/>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 name="Freeform 84">
              <a:extLst>
                <a:ext uri="{FF2B5EF4-FFF2-40B4-BE49-F238E27FC236}">
                  <a16:creationId xmlns:a16="http://schemas.microsoft.com/office/drawing/2014/main" id="{536F82F0-C9F0-44DB-92D0-AD081D722539}"/>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 name="Freeform 85">
              <a:extLst>
                <a:ext uri="{FF2B5EF4-FFF2-40B4-BE49-F238E27FC236}">
                  <a16:creationId xmlns:a16="http://schemas.microsoft.com/office/drawing/2014/main" id="{FA2B1132-6E1E-42BE-841F-6DB6DA058216}"/>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 name="Freeform 86">
              <a:extLst>
                <a:ext uri="{FF2B5EF4-FFF2-40B4-BE49-F238E27FC236}">
                  <a16:creationId xmlns:a16="http://schemas.microsoft.com/office/drawing/2014/main" id="{1605D23B-3245-4081-A709-BC2936596163}"/>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 name="Freeform 87">
              <a:extLst>
                <a:ext uri="{FF2B5EF4-FFF2-40B4-BE49-F238E27FC236}">
                  <a16:creationId xmlns:a16="http://schemas.microsoft.com/office/drawing/2014/main" id="{DD1011A3-8CCE-477C-88EA-2174C0DC1BE3}"/>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 name="Freeform 88">
              <a:extLst>
                <a:ext uri="{FF2B5EF4-FFF2-40B4-BE49-F238E27FC236}">
                  <a16:creationId xmlns:a16="http://schemas.microsoft.com/office/drawing/2014/main" id="{F11F5921-88A4-48C1-B4F6-EA6717F32F9C}"/>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 name="Freeform 89">
              <a:extLst>
                <a:ext uri="{FF2B5EF4-FFF2-40B4-BE49-F238E27FC236}">
                  <a16:creationId xmlns:a16="http://schemas.microsoft.com/office/drawing/2014/main" id="{CA718F0A-66A1-4570-9BE3-D9F9EC9750B7}"/>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 name="Freeform 90">
              <a:extLst>
                <a:ext uri="{FF2B5EF4-FFF2-40B4-BE49-F238E27FC236}">
                  <a16:creationId xmlns:a16="http://schemas.microsoft.com/office/drawing/2014/main" id="{F6EAF93E-D2E6-4C24-B453-AAEAFC13E3D3}"/>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 name="Freeform 91">
              <a:extLst>
                <a:ext uri="{FF2B5EF4-FFF2-40B4-BE49-F238E27FC236}">
                  <a16:creationId xmlns:a16="http://schemas.microsoft.com/office/drawing/2014/main" id="{8D652D86-C2B9-4E83-9167-23634BE72EDC}"/>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 name="Freeform 92">
              <a:extLst>
                <a:ext uri="{FF2B5EF4-FFF2-40B4-BE49-F238E27FC236}">
                  <a16:creationId xmlns:a16="http://schemas.microsoft.com/office/drawing/2014/main" id="{92B43175-B9D1-455D-8FAE-3D2BF6571276}"/>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 name="Freeform 93">
              <a:extLst>
                <a:ext uri="{FF2B5EF4-FFF2-40B4-BE49-F238E27FC236}">
                  <a16:creationId xmlns:a16="http://schemas.microsoft.com/office/drawing/2014/main" id="{76879D52-1795-452B-AD79-74CF3084E9B6}"/>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 name="Freeform 94">
              <a:extLst>
                <a:ext uri="{FF2B5EF4-FFF2-40B4-BE49-F238E27FC236}">
                  <a16:creationId xmlns:a16="http://schemas.microsoft.com/office/drawing/2014/main" id="{C74CCD1A-A742-473F-8636-72B0E8B205FB}"/>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 name="Freeform 95">
              <a:extLst>
                <a:ext uri="{FF2B5EF4-FFF2-40B4-BE49-F238E27FC236}">
                  <a16:creationId xmlns:a16="http://schemas.microsoft.com/office/drawing/2014/main" id="{312AF483-E8B8-41EE-ABBD-CBDC6A4CA5E7}"/>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 name="Freeform 96">
              <a:extLst>
                <a:ext uri="{FF2B5EF4-FFF2-40B4-BE49-F238E27FC236}">
                  <a16:creationId xmlns:a16="http://schemas.microsoft.com/office/drawing/2014/main" id="{A6466488-2DBE-4B8B-B63D-1B2D019DF36C}"/>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 name="Freeform 97">
              <a:extLst>
                <a:ext uri="{FF2B5EF4-FFF2-40B4-BE49-F238E27FC236}">
                  <a16:creationId xmlns:a16="http://schemas.microsoft.com/office/drawing/2014/main" id="{BD5F4D07-DCEA-41C3-AE5B-B7271E672936}"/>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7" name="Freeform 98">
              <a:extLst>
                <a:ext uri="{FF2B5EF4-FFF2-40B4-BE49-F238E27FC236}">
                  <a16:creationId xmlns:a16="http://schemas.microsoft.com/office/drawing/2014/main" id="{42EEE7BD-DCD2-49F7-8A7C-C0D0601C37FD}"/>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 name="Freeform 99">
              <a:extLst>
                <a:ext uri="{FF2B5EF4-FFF2-40B4-BE49-F238E27FC236}">
                  <a16:creationId xmlns:a16="http://schemas.microsoft.com/office/drawing/2014/main" id="{5CFD22A1-E673-4B23-9D36-3B74DE70ECE2}"/>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 name="Freeform 100">
              <a:extLst>
                <a:ext uri="{FF2B5EF4-FFF2-40B4-BE49-F238E27FC236}">
                  <a16:creationId xmlns:a16="http://schemas.microsoft.com/office/drawing/2014/main" id="{7C20FD0C-F35B-4F21-AF3B-81530E295BEB}"/>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 name="Freeform 101">
              <a:extLst>
                <a:ext uri="{FF2B5EF4-FFF2-40B4-BE49-F238E27FC236}">
                  <a16:creationId xmlns:a16="http://schemas.microsoft.com/office/drawing/2014/main" id="{C68C6C2F-09B5-4244-BEBB-F85457E11A54}"/>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 name="Freeform 102">
              <a:extLst>
                <a:ext uri="{FF2B5EF4-FFF2-40B4-BE49-F238E27FC236}">
                  <a16:creationId xmlns:a16="http://schemas.microsoft.com/office/drawing/2014/main" id="{6C7F753E-CE23-4F01-9F10-DCE622C71ABB}"/>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2" name="Freeform 103">
              <a:extLst>
                <a:ext uri="{FF2B5EF4-FFF2-40B4-BE49-F238E27FC236}">
                  <a16:creationId xmlns:a16="http://schemas.microsoft.com/office/drawing/2014/main" id="{12385579-35FD-4613-ABF4-9392759FFF98}"/>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 name="Freeform 104">
              <a:extLst>
                <a:ext uri="{FF2B5EF4-FFF2-40B4-BE49-F238E27FC236}">
                  <a16:creationId xmlns:a16="http://schemas.microsoft.com/office/drawing/2014/main" id="{2BB633EA-47EC-47FB-AFB9-0C8E97548B32}"/>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 name="Freeform 105">
              <a:extLst>
                <a:ext uri="{FF2B5EF4-FFF2-40B4-BE49-F238E27FC236}">
                  <a16:creationId xmlns:a16="http://schemas.microsoft.com/office/drawing/2014/main" id="{D9F0450F-CF35-40ED-BB19-255159FDD4F0}"/>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48" name="Text Placeholder 43">
            <a:extLst>
              <a:ext uri="{FF2B5EF4-FFF2-40B4-BE49-F238E27FC236}">
                <a16:creationId xmlns:a16="http://schemas.microsoft.com/office/drawing/2014/main" id="{05F790A2-A05C-4359-BF8D-44DB6E962950}"/>
              </a:ext>
            </a:extLst>
          </p:cNvPr>
          <p:cNvSpPr>
            <a:spLocks noGrp="1"/>
          </p:cNvSpPr>
          <p:nvPr>
            <p:ph type="body" sz="quarter" idx="10" hasCustomPrompt="1"/>
          </p:nvPr>
        </p:nvSpPr>
        <p:spPr>
          <a:xfrm>
            <a:off x="715495" y="3833787"/>
            <a:ext cx="2455544" cy="332365"/>
          </a:xfrm>
        </p:spPr>
        <p:txBody>
          <a:bodyPr/>
          <a:lstStyle>
            <a:lvl1pPr>
              <a:defRPr lang="en-US" sz="1000" b="1" kern="1200" smtClean="0">
                <a:solidFill>
                  <a:srgbClr val="000000"/>
                </a:solidFill>
                <a:latin typeface="Arial"/>
                <a:ea typeface="ＭＳ Ｐゴシック"/>
                <a:cs typeface="ＭＳ Ｐゴシック"/>
              </a:defRPr>
            </a:lvl1pPr>
          </a:lstStyle>
          <a:p>
            <a:pPr marL="0" indent="0"/>
            <a:r>
              <a:rPr lang="en-US" sz="1200" dirty="0"/>
              <a:t>Global Institutional Solutions</a:t>
            </a:r>
            <a:br>
              <a:rPr lang="en-US" sz="1200" dirty="0"/>
            </a:br>
            <a:endParaRPr lang="en-US" sz="1200" dirty="0"/>
          </a:p>
        </p:txBody>
      </p:sp>
      <p:sp>
        <p:nvSpPr>
          <p:cNvPr id="49" name="Rectangle 6">
            <a:extLst>
              <a:ext uri="{FF2B5EF4-FFF2-40B4-BE49-F238E27FC236}">
                <a16:creationId xmlns:a16="http://schemas.microsoft.com/office/drawing/2014/main" id="{6726F523-A941-4D12-A72D-5434A48C82B7}"/>
              </a:ext>
            </a:extLst>
          </p:cNvPr>
          <p:cNvSpPr>
            <a:spLocks noGrp="1" noChangeArrowheads="1"/>
          </p:cNvSpPr>
          <p:nvPr>
            <p:ph type="subTitle" idx="1"/>
          </p:nvPr>
        </p:nvSpPr>
        <p:spPr>
          <a:xfrm>
            <a:off x="685251" y="2091765"/>
            <a:ext cx="7805762" cy="563076"/>
          </a:xfrm>
        </p:spPr>
        <p:txBody>
          <a:bodyPr lIns="100584" rIns="100584"/>
          <a:lstStyle>
            <a:lvl1pPr marL="0" indent="0">
              <a:spcBef>
                <a:spcPts val="0"/>
              </a:spcBef>
              <a:defRPr sz="2600" b="0">
                <a:solidFill>
                  <a:srgbClr val="7A9B3D"/>
                </a:solidFill>
              </a:defRPr>
            </a:lvl1pPr>
          </a:lstStyle>
          <a:p>
            <a:r>
              <a:rPr lang="en-US"/>
              <a:t>Click to edit Master subtitle style</a:t>
            </a:r>
            <a:endParaRPr lang="en-US" dirty="0"/>
          </a:p>
        </p:txBody>
      </p:sp>
      <p:sp>
        <p:nvSpPr>
          <p:cNvPr id="50" name="Text Placeholder 43">
            <a:extLst>
              <a:ext uri="{FF2B5EF4-FFF2-40B4-BE49-F238E27FC236}">
                <a16:creationId xmlns:a16="http://schemas.microsoft.com/office/drawing/2014/main" id="{B313B328-7802-487D-8859-99EFDE1A2DEF}"/>
              </a:ext>
            </a:extLst>
          </p:cNvPr>
          <p:cNvSpPr>
            <a:spLocks noGrp="1"/>
          </p:cNvSpPr>
          <p:nvPr>
            <p:ph type="body" sz="quarter" idx="14" hasCustomPrompt="1"/>
          </p:nvPr>
        </p:nvSpPr>
        <p:spPr>
          <a:xfrm>
            <a:off x="685251" y="2581276"/>
            <a:ext cx="7805762" cy="266850"/>
          </a:xfrm>
        </p:spPr>
        <p:txBody>
          <a:bodyPr lIns="100584" rIns="100584"/>
          <a:lstStyle>
            <a:lvl1pPr>
              <a:spcBef>
                <a:spcPts val="0"/>
              </a:spcBef>
              <a:defRPr lang="en-US" sz="1200" b="0" kern="1200" dirty="0" smtClean="0">
                <a:solidFill>
                  <a:srgbClr val="333F48"/>
                </a:solidFill>
                <a:latin typeface="Arial"/>
                <a:ea typeface="ＭＳ Ｐゴシック" pitchFamily="34" charset="-128"/>
                <a:cs typeface="+mn-cs"/>
              </a:defRPr>
            </a:lvl1pPr>
          </a:lstStyle>
          <a:p>
            <a:pPr lvl="0"/>
            <a:r>
              <a:rPr lang="en-US" dirty="0"/>
              <a:t>Date</a:t>
            </a:r>
          </a:p>
        </p:txBody>
      </p:sp>
      <p:sp>
        <p:nvSpPr>
          <p:cNvPr id="51" name="Rectangle 50">
            <a:extLst>
              <a:ext uri="{FF2B5EF4-FFF2-40B4-BE49-F238E27FC236}">
                <a16:creationId xmlns:a16="http://schemas.microsoft.com/office/drawing/2014/main" id="{69C0C95F-7139-44A8-BB4A-2C3AFC1DC2CD}"/>
              </a:ext>
            </a:extLst>
          </p:cNvPr>
          <p:cNvSpPr/>
          <p:nvPr userDrawn="1"/>
        </p:nvSpPr>
        <p:spPr>
          <a:xfrm>
            <a:off x="700490" y="1901645"/>
            <a:ext cx="1356462" cy="276999"/>
          </a:xfrm>
          <a:prstGeom prst="rect">
            <a:avLst/>
          </a:prstGeom>
        </p:spPr>
        <p:txBody>
          <a:bodyPr wrap="none">
            <a:spAutoFit/>
          </a:bodyPr>
          <a:lstStyle/>
          <a:p>
            <a:r>
              <a:rPr lang="en-US" b="1" dirty="0">
                <a:solidFill>
                  <a:srgbClr val="333F48"/>
                </a:solidFill>
              </a:rPr>
              <a:t>Presentation to:</a:t>
            </a:r>
            <a:endParaRPr lang="en-US" dirty="0">
              <a:solidFill>
                <a:srgbClr val="000000"/>
              </a:solidFill>
            </a:endParaRPr>
          </a:p>
        </p:txBody>
      </p:sp>
    </p:spTree>
    <p:extLst>
      <p:ext uri="{BB962C8B-B14F-4D97-AF65-F5344CB8AC3E}">
        <p14:creationId xmlns:p14="http://schemas.microsoft.com/office/powerpoint/2010/main" val="629425810"/>
      </p:ext>
    </p:extLst>
  </p:cSld>
  <p:clrMapOvr>
    <a:masterClrMapping/>
  </p:clrMapOvr>
  <p:extLst>
    <p:ext uri="{DCECCB84-F9BA-43D5-87BE-67443E8EF086}">
      <p15:sldGuideLst xmlns:p15="http://schemas.microsoft.com/office/powerpoint/2012/main">
        <p15:guide id="1" orient="horz" pos="4200">
          <p15:clr>
            <a:srgbClr val="FBAE40"/>
          </p15:clr>
        </p15:guide>
        <p15:guide id="2" pos="50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41248"/>
          </a:xfrm>
        </p:spPr>
        <p:txBody>
          <a:bodyPr/>
          <a:lstStyle>
            <a:lvl1pPr>
              <a:defRPr>
                <a:solidFill>
                  <a:srgbClr val="333F48"/>
                </a:solidFill>
              </a:defRPr>
            </a:lvl1pPr>
          </a:lstStyle>
          <a:p>
            <a:r>
              <a:rPr lang="en-US"/>
              <a:t>Click to edit Master title style</a:t>
            </a:r>
            <a:endParaRPr lang="en-US" dirty="0"/>
          </a:p>
        </p:txBody>
      </p:sp>
      <p:sp>
        <p:nvSpPr>
          <p:cNvPr id="11" name="Content Placeholder 2"/>
          <p:cNvSpPr>
            <a:spLocks noGrp="1"/>
          </p:cNvSpPr>
          <p:nvPr>
            <p:ph idx="12"/>
          </p:nvPr>
        </p:nvSpPr>
        <p:spPr>
          <a:xfrm>
            <a:off x="325661" y="1339850"/>
            <a:ext cx="8188710" cy="4878388"/>
          </a:xfrm>
        </p:spPr>
        <p:txBody>
          <a:bodyPr lIns="91440"/>
          <a:lstStyle>
            <a:lvl1pPr marL="0" indent="0" algn="l" rtl="0" fontAlgn="base">
              <a:spcBef>
                <a:spcPts val="480"/>
              </a:spcBef>
              <a:spcAft>
                <a:spcPct val="0"/>
              </a:spcAft>
              <a:buSzPct val="40000"/>
              <a:defRPr lang="en-US" sz="1600" b="1" dirty="0" smtClean="0">
                <a:solidFill>
                  <a:srgbClr val="7A9B3D"/>
                </a:solidFill>
                <a:latin typeface="+mn-lt"/>
                <a:ea typeface="+mn-ea"/>
                <a:cs typeface="+mn-cs"/>
              </a:defRPr>
            </a:lvl1pPr>
            <a:lvl2pPr marL="114300" indent="-114300">
              <a:spcBef>
                <a:spcPts val="288"/>
              </a:spcBef>
              <a:buClr>
                <a:srgbClr val="7A9B3D"/>
              </a:buClr>
              <a:defRPr lang="en-US" dirty="0" smtClean="0">
                <a:solidFill>
                  <a:srgbClr val="000000"/>
                </a:solidFill>
                <a:latin typeface="+mn-lt"/>
              </a:defRPr>
            </a:lvl2pPr>
            <a:lvl3pPr marL="228600" indent="-114300">
              <a:buClr>
                <a:srgbClr val="768692"/>
              </a:buClr>
              <a:defRPr lang="en-US" sz="1200" dirty="0" smtClean="0">
                <a:solidFill>
                  <a:srgbClr val="000000"/>
                </a:solidFill>
                <a:latin typeface="+mn-lt"/>
              </a:defRPr>
            </a:lvl3pPr>
            <a:lvl4pPr marL="342900" indent="-114300">
              <a:buClr>
                <a:srgbClr val="000000"/>
              </a:buClr>
              <a:buSzPct val="100000"/>
              <a:buFont typeface="Arial" pitchFamily="34" charset="0"/>
              <a:buChar char="•"/>
              <a:defRPr sz="1200">
                <a:solidFill>
                  <a:srgbClr val="000000"/>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grpSp>
        <p:nvGrpSpPr>
          <p:cNvPr id="34" name="Group 33">
            <a:extLst>
              <a:ext uri="{FF2B5EF4-FFF2-40B4-BE49-F238E27FC236}">
                <a16:creationId xmlns:a16="http://schemas.microsoft.com/office/drawing/2014/main" id="{F35FDC46-FBEF-4D3A-824F-AA5527F6B538}"/>
              </a:ext>
            </a:extLst>
          </p:cNvPr>
          <p:cNvGrpSpPr/>
          <p:nvPr userDrawn="1"/>
        </p:nvGrpSpPr>
        <p:grpSpPr>
          <a:xfrm>
            <a:off x="7358173" y="6361974"/>
            <a:ext cx="1382376" cy="297562"/>
            <a:chOff x="6923088" y="4475163"/>
            <a:chExt cx="1873251" cy="403225"/>
          </a:xfrm>
        </p:grpSpPr>
        <p:sp>
          <p:nvSpPr>
            <p:cNvPr id="35" name="AutoShape 4">
              <a:extLst>
                <a:ext uri="{FF2B5EF4-FFF2-40B4-BE49-F238E27FC236}">
                  <a16:creationId xmlns:a16="http://schemas.microsoft.com/office/drawing/2014/main" id="{13B1E680-6021-422B-8A8E-1B306778B234}"/>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6">
              <a:extLst>
                <a:ext uri="{FF2B5EF4-FFF2-40B4-BE49-F238E27FC236}">
                  <a16:creationId xmlns:a16="http://schemas.microsoft.com/office/drawing/2014/main" id="{E8025A2B-E398-4697-A9E2-8F0FC31A0D85}"/>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7">
              <a:extLst>
                <a:ext uri="{FF2B5EF4-FFF2-40B4-BE49-F238E27FC236}">
                  <a16:creationId xmlns:a16="http://schemas.microsoft.com/office/drawing/2014/main" id="{C43F9FE8-4030-4823-AFFC-53EC41D610C8}"/>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83">
              <a:extLst>
                <a:ext uri="{FF2B5EF4-FFF2-40B4-BE49-F238E27FC236}">
                  <a16:creationId xmlns:a16="http://schemas.microsoft.com/office/drawing/2014/main" id="{84CFA8D7-B7EA-4C49-8B7B-52F2EBD40D72}"/>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84">
              <a:extLst>
                <a:ext uri="{FF2B5EF4-FFF2-40B4-BE49-F238E27FC236}">
                  <a16:creationId xmlns:a16="http://schemas.microsoft.com/office/drawing/2014/main" id="{E5FA71CE-1849-4F2B-BBF1-D88DF543601E}"/>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85">
              <a:extLst>
                <a:ext uri="{FF2B5EF4-FFF2-40B4-BE49-F238E27FC236}">
                  <a16:creationId xmlns:a16="http://schemas.microsoft.com/office/drawing/2014/main" id="{B09D7E37-F1F3-4A71-A11A-DFFB32209D19}"/>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86">
              <a:extLst>
                <a:ext uri="{FF2B5EF4-FFF2-40B4-BE49-F238E27FC236}">
                  <a16:creationId xmlns:a16="http://schemas.microsoft.com/office/drawing/2014/main" id="{A2B61984-2AF8-42DC-88E5-6AC6F527AD9A}"/>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87">
              <a:extLst>
                <a:ext uri="{FF2B5EF4-FFF2-40B4-BE49-F238E27FC236}">
                  <a16:creationId xmlns:a16="http://schemas.microsoft.com/office/drawing/2014/main" id="{C07FC06A-2E9C-4A48-BBD3-6327F3653272}"/>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88">
              <a:extLst>
                <a:ext uri="{FF2B5EF4-FFF2-40B4-BE49-F238E27FC236}">
                  <a16:creationId xmlns:a16="http://schemas.microsoft.com/office/drawing/2014/main" id="{BC929529-3872-4564-916D-B78F3A022AC1}"/>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89">
              <a:extLst>
                <a:ext uri="{FF2B5EF4-FFF2-40B4-BE49-F238E27FC236}">
                  <a16:creationId xmlns:a16="http://schemas.microsoft.com/office/drawing/2014/main" id="{76C611A8-28A4-4EB7-8E8D-5709B0A9C09D}"/>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90">
              <a:extLst>
                <a:ext uri="{FF2B5EF4-FFF2-40B4-BE49-F238E27FC236}">
                  <a16:creationId xmlns:a16="http://schemas.microsoft.com/office/drawing/2014/main" id="{2A3387E9-C969-42C4-8C31-01B08251BC3A}"/>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91">
              <a:extLst>
                <a:ext uri="{FF2B5EF4-FFF2-40B4-BE49-F238E27FC236}">
                  <a16:creationId xmlns:a16="http://schemas.microsoft.com/office/drawing/2014/main" id="{302AB622-4561-41BC-BC82-5C875ED588E4}"/>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92">
              <a:extLst>
                <a:ext uri="{FF2B5EF4-FFF2-40B4-BE49-F238E27FC236}">
                  <a16:creationId xmlns:a16="http://schemas.microsoft.com/office/drawing/2014/main" id="{E60D74BB-AE92-4309-8898-038C88CD68C4}"/>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93">
              <a:extLst>
                <a:ext uri="{FF2B5EF4-FFF2-40B4-BE49-F238E27FC236}">
                  <a16:creationId xmlns:a16="http://schemas.microsoft.com/office/drawing/2014/main" id="{8B265CB2-CFC3-48F3-A867-1D7250C38C07}"/>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94">
              <a:extLst>
                <a:ext uri="{FF2B5EF4-FFF2-40B4-BE49-F238E27FC236}">
                  <a16:creationId xmlns:a16="http://schemas.microsoft.com/office/drawing/2014/main" id="{67D6C386-B58F-4756-AEDA-323448941B69}"/>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5">
              <a:extLst>
                <a:ext uri="{FF2B5EF4-FFF2-40B4-BE49-F238E27FC236}">
                  <a16:creationId xmlns:a16="http://schemas.microsoft.com/office/drawing/2014/main" id="{A8EC6758-D67A-4DF6-B788-44C3EA3AE253}"/>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6">
              <a:extLst>
                <a:ext uri="{FF2B5EF4-FFF2-40B4-BE49-F238E27FC236}">
                  <a16:creationId xmlns:a16="http://schemas.microsoft.com/office/drawing/2014/main" id="{C765FFF5-FEC7-4B2F-BE49-019DD1B75BC0}"/>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7">
              <a:extLst>
                <a:ext uri="{FF2B5EF4-FFF2-40B4-BE49-F238E27FC236}">
                  <a16:creationId xmlns:a16="http://schemas.microsoft.com/office/drawing/2014/main" id="{4037D999-CE4B-40FE-BDE3-6257E3833FE6}"/>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98">
              <a:extLst>
                <a:ext uri="{FF2B5EF4-FFF2-40B4-BE49-F238E27FC236}">
                  <a16:creationId xmlns:a16="http://schemas.microsoft.com/office/drawing/2014/main" id="{670E1E2A-C6E4-432C-91D5-5002B80FA31E}"/>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99">
              <a:extLst>
                <a:ext uri="{FF2B5EF4-FFF2-40B4-BE49-F238E27FC236}">
                  <a16:creationId xmlns:a16="http://schemas.microsoft.com/office/drawing/2014/main" id="{F4A5B3F1-45B2-446A-85C8-AE25FB0A14B0}"/>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100">
              <a:extLst>
                <a:ext uri="{FF2B5EF4-FFF2-40B4-BE49-F238E27FC236}">
                  <a16:creationId xmlns:a16="http://schemas.microsoft.com/office/drawing/2014/main" id="{04268254-A1B1-43E8-9769-A0BD433D5D0E}"/>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101">
              <a:extLst>
                <a:ext uri="{FF2B5EF4-FFF2-40B4-BE49-F238E27FC236}">
                  <a16:creationId xmlns:a16="http://schemas.microsoft.com/office/drawing/2014/main" id="{F2EDB0F0-6E60-47F6-A679-89912AB17CC3}"/>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02">
              <a:extLst>
                <a:ext uri="{FF2B5EF4-FFF2-40B4-BE49-F238E27FC236}">
                  <a16:creationId xmlns:a16="http://schemas.microsoft.com/office/drawing/2014/main" id="{9305A429-8E7E-40EB-87BD-88486F37CD0D}"/>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103">
              <a:extLst>
                <a:ext uri="{FF2B5EF4-FFF2-40B4-BE49-F238E27FC236}">
                  <a16:creationId xmlns:a16="http://schemas.microsoft.com/office/drawing/2014/main" id="{D39023A5-E518-4444-8B57-73531A0F3B21}"/>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104">
              <a:extLst>
                <a:ext uri="{FF2B5EF4-FFF2-40B4-BE49-F238E27FC236}">
                  <a16:creationId xmlns:a16="http://schemas.microsoft.com/office/drawing/2014/main" id="{00BFEA3B-6363-498A-9DCB-1DDD6916076F}"/>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105">
              <a:extLst>
                <a:ext uri="{FF2B5EF4-FFF2-40B4-BE49-F238E27FC236}">
                  <a16:creationId xmlns:a16="http://schemas.microsoft.com/office/drawing/2014/main" id="{0665DFAE-7DC0-4298-A731-4646C37AFEE5}"/>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2" name="Slide Number Placeholder 3">
            <a:extLst>
              <a:ext uri="{FF2B5EF4-FFF2-40B4-BE49-F238E27FC236}">
                <a16:creationId xmlns:a16="http://schemas.microsoft.com/office/drawing/2014/main" id="{AE8437CA-0496-4DD5-9905-A7ABC5A38B93}"/>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3" name="Rectangle 155">
            <a:extLst>
              <a:ext uri="{FF2B5EF4-FFF2-40B4-BE49-F238E27FC236}">
                <a16:creationId xmlns:a16="http://schemas.microsoft.com/office/drawing/2014/main" id="{D9284EF3-CC3D-477B-A455-E4730B2DF686}"/>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dirty="0"/>
              <a:t>Production code #</a:t>
            </a:r>
          </a:p>
        </p:txBody>
      </p:sp>
      <p:sp>
        <p:nvSpPr>
          <p:cNvPr id="64" name="Rectangle 176">
            <a:extLst>
              <a:ext uri="{FF2B5EF4-FFF2-40B4-BE49-F238E27FC236}">
                <a16:creationId xmlns:a16="http://schemas.microsoft.com/office/drawing/2014/main" id="{5F21FBC4-709C-41E5-B2BD-D589A058990C}"/>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16823108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64" userDrawn="1">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FIAM_Internal_Print_Cover_Presenters-Left">
    <p:spTree>
      <p:nvGrpSpPr>
        <p:cNvPr id="1" name=""/>
        <p:cNvGrpSpPr/>
        <p:nvPr/>
      </p:nvGrpSpPr>
      <p:grpSpPr>
        <a:xfrm>
          <a:off x="0" y="0"/>
          <a:ext cx="0" cy="0"/>
          <a:chOff x="0" y="0"/>
          <a:chExt cx="0" cy="0"/>
        </a:xfrm>
      </p:grpSpPr>
      <p:pic>
        <p:nvPicPr>
          <p:cNvPr id="48" name="Picture 47">
            <a:extLst>
              <a:ext uri="{FF2B5EF4-FFF2-40B4-BE49-F238E27FC236}">
                <a16:creationId xmlns:a16="http://schemas.microsoft.com/office/drawing/2014/main" id="{2E9F67E0-69E9-49A7-9178-F37F20AB25C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pSp>
        <p:nvGrpSpPr>
          <p:cNvPr id="56" name="Group 55">
            <a:extLst>
              <a:ext uri="{FF2B5EF4-FFF2-40B4-BE49-F238E27FC236}">
                <a16:creationId xmlns:a16="http://schemas.microsoft.com/office/drawing/2014/main" id="{37D2BAC2-4174-47A3-A306-325A697F4BF5}"/>
              </a:ext>
            </a:extLst>
          </p:cNvPr>
          <p:cNvGrpSpPr/>
          <p:nvPr userDrawn="1"/>
        </p:nvGrpSpPr>
        <p:grpSpPr>
          <a:xfrm>
            <a:off x="7358173" y="6361974"/>
            <a:ext cx="1382376" cy="297562"/>
            <a:chOff x="6923088" y="4475163"/>
            <a:chExt cx="1873251" cy="403225"/>
          </a:xfrm>
        </p:grpSpPr>
        <p:sp>
          <p:nvSpPr>
            <p:cNvPr id="57" name="AutoShape 4">
              <a:extLst>
                <a:ext uri="{FF2B5EF4-FFF2-40B4-BE49-F238E27FC236}">
                  <a16:creationId xmlns:a16="http://schemas.microsoft.com/office/drawing/2014/main" id="{8B8236BF-A1F4-4AF9-AF18-B1725EEDF1C8}"/>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6">
              <a:extLst>
                <a:ext uri="{FF2B5EF4-FFF2-40B4-BE49-F238E27FC236}">
                  <a16:creationId xmlns:a16="http://schemas.microsoft.com/office/drawing/2014/main" id="{750D2FF4-4FB3-4AB3-A41E-E8F7B6FF1D93}"/>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7">
              <a:extLst>
                <a:ext uri="{FF2B5EF4-FFF2-40B4-BE49-F238E27FC236}">
                  <a16:creationId xmlns:a16="http://schemas.microsoft.com/office/drawing/2014/main" id="{339F89E1-6D2A-4D59-9D15-DDA82073D3F2}"/>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83">
              <a:extLst>
                <a:ext uri="{FF2B5EF4-FFF2-40B4-BE49-F238E27FC236}">
                  <a16:creationId xmlns:a16="http://schemas.microsoft.com/office/drawing/2014/main" id="{C511B55F-F6BE-4366-A189-8653E79F4D87}"/>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84">
              <a:extLst>
                <a:ext uri="{FF2B5EF4-FFF2-40B4-BE49-F238E27FC236}">
                  <a16:creationId xmlns:a16="http://schemas.microsoft.com/office/drawing/2014/main" id="{22F2FBBD-701B-46B3-83EF-8B19041B6FBE}"/>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 name="Freeform 85">
              <a:extLst>
                <a:ext uri="{FF2B5EF4-FFF2-40B4-BE49-F238E27FC236}">
                  <a16:creationId xmlns:a16="http://schemas.microsoft.com/office/drawing/2014/main" id="{1C9FA1AB-8487-4725-A349-64581318AE58}"/>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 name="Freeform 86">
              <a:extLst>
                <a:ext uri="{FF2B5EF4-FFF2-40B4-BE49-F238E27FC236}">
                  <a16:creationId xmlns:a16="http://schemas.microsoft.com/office/drawing/2014/main" id="{DDEE2F38-BDFA-4F6B-B054-31F282493519}"/>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 name="Freeform 87">
              <a:extLst>
                <a:ext uri="{FF2B5EF4-FFF2-40B4-BE49-F238E27FC236}">
                  <a16:creationId xmlns:a16="http://schemas.microsoft.com/office/drawing/2014/main" id="{FF2EE765-ADCA-4144-9632-87914858CDA9}"/>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 name="Freeform 88">
              <a:extLst>
                <a:ext uri="{FF2B5EF4-FFF2-40B4-BE49-F238E27FC236}">
                  <a16:creationId xmlns:a16="http://schemas.microsoft.com/office/drawing/2014/main" id="{AE8A08AC-A834-4F8E-BFA2-4C3D9F65AA10}"/>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 name="Freeform 89">
              <a:extLst>
                <a:ext uri="{FF2B5EF4-FFF2-40B4-BE49-F238E27FC236}">
                  <a16:creationId xmlns:a16="http://schemas.microsoft.com/office/drawing/2014/main" id="{D248C4F7-CE2E-4578-A6E8-EF557C69ABF7}"/>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 name="Freeform 90">
              <a:extLst>
                <a:ext uri="{FF2B5EF4-FFF2-40B4-BE49-F238E27FC236}">
                  <a16:creationId xmlns:a16="http://schemas.microsoft.com/office/drawing/2014/main" id="{E67C1FF2-C9E1-4CBC-8BE3-D014A754AADD}"/>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 name="Freeform 91">
              <a:extLst>
                <a:ext uri="{FF2B5EF4-FFF2-40B4-BE49-F238E27FC236}">
                  <a16:creationId xmlns:a16="http://schemas.microsoft.com/office/drawing/2014/main" id="{B77330CD-CDAF-4CF3-AAF0-65FD6D02A9EE}"/>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 name="Freeform 92">
              <a:extLst>
                <a:ext uri="{FF2B5EF4-FFF2-40B4-BE49-F238E27FC236}">
                  <a16:creationId xmlns:a16="http://schemas.microsoft.com/office/drawing/2014/main" id="{85F23BA4-F5B5-4F7F-A050-CE2D4025A9A9}"/>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 name="Freeform 93">
              <a:extLst>
                <a:ext uri="{FF2B5EF4-FFF2-40B4-BE49-F238E27FC236}">
                  <a16:creationId xmlns:a16="http://schemas.microsoft.com/office/drawing/2014/main" id="{9D41893C-D348-40DE-AE84-781201483138}"/>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 name="Freeform 94">
              <a:extLst>
                <a:ext uri="{FF2B5EF4-FFF2-40B4-BE49-F238E27FC236}">
                  <a16:creationId xmlns:a16="http://schemas.microsoft.com/office/drawing/2014/main" id="{673A8E7B-EBAD-42F6-BBFB-1973AEFF0B8B}"/>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 name="Freeform 95">
              <a:extLst>
                <a:ext uri="{FF2B5EF4-FFF2-40B4-BE49-F238E27FC236}">
                  <a16:creationId xmlns:a16="http://schemas.microsoft.com/office/drawing/2014/main" id="{0C1A8A7E-F3D7-42C1-9012-D3E027942538}"/>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 name="Freeform 96">
              <a:extLst>
                <a:ext uri="{FF2B5EF4-FFF2-40B4-BE49-F238E27FC236}">
                  <a16:creationId xmlns:a16="http://schemas.microsoft.com/office/drawing/2014/main" id="{C113B37C-5692-4452-A175-B8689A633FA8}"/>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 name="Freeform 97">
              <a:extLst>
                <a:ext uri="{FF2B5EF4-FFF2-40B4-BE49-F238E27FC236}">
                  <a16:creationId xmlns:a16="http://schemas.microsoft.com/office/drawing/2014/main" id="{BD37DD38-8B53-4B9C-B71B-8DCCFC03F476}"/>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 name="Freeform 98">
              <a:extLst>
                <a:ext uri="{FF2B5EF4-FFF2-40B4-BE49-F238E27FC236}">
                  <a16:creationId xmlns:a16="http://schemas.microsoft.com/office/drawing/2014/main" id="{9B806109-D094-439B-97DB-E46F96FA6F54}"/>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 name="Freeform 99">
              <a:extLst>
                <a:ext uri="{FF2B5EF4-FFF2-40B4-BE49-F238E27FC236}">
                  <a16:creationId xmlns:a16="http://schemas.microsoft.com/office/drawing/2014/main" id="{2491E5E4-E154-41B2-B1ED-85C42453C70C}"/>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 name="Freeform 100">
              <a:extLst>
                <a:ext uri="{FF2B5EF4-FFF2-40B4-BE49-F238E27FC236}">
                  <a16:creationId xmlns:a16="http://schemas.microsoft.com/office/drawing/2014/main" id="{765C1F64-02AD-4525-9057-89EB9ED335B3}"/>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 name="Freeform 101">
              <a:extLst>
                <a:ext uri="{FF2B5EF4-FFF2-40B4-BE49-F238E27FC236}">
                  <a16:creationId xmlns:a16="http://schemas.microsoft.com/office/drawing/2014/main" id="{76E0FCE8-B1BC-4233-9199-D9673FFC3841}"/>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 name="Freeform 102">
              <a:extLst>
                <a:ext uri="{FF2B5EF4-FFF2-40B4-BE49-F238E27FC236}">
                  <a16:creationId xmlns:a16="http://schemas.microsoft.com/office/drawing/2014/main" id="{CA807538-407E-462D-9681-CA1A524E5702}"/>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 name="Freeform 103">
              <a:extLst>
                <a:ext uri="{FF2B5EF4-FFF2-40B4-BE49-F238E27FC236}">
                  <a16:creationId xmlns:a16="http://schemas.microsoft.com/office/drawing/2014/main" id="{7FAF642D-5B9B-4AB7-A44A-A52E96B83A55}"/>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 name="Freeform 104">
              <a:extLst>
                <a:ext uri="{FF2B5EF4-FFF2-40B4-BE49-F238E27FC236}">
                  <a16:creationId xmlns:a16="http://schemas.microsoft.com/office/drawing/2014/main" id="{C07E4C1C-7FC4-4366-A26F-A5D4C78C3275}"/>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 name="Freeform 105">
              <a:extLst>
                <a:ext uri="{FF2B5EF4-FFF2-40B4-BE49-F238E27FC236}">
                  <a16:creationId xmlns:a16="http://schemas.microsoft.com/office/drawing/2014/main" id="{0C982428-9F7B-45D4-B837-95EC646E7C60}"/>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43" name="Rectangle 6"/>
          <p:cNvSpPr>
            <a:spLocks noGrp="1" noChangeArrowheads="1"/>
          </p:cNvSpPr>
          <p:nvPr>
            <p:ph type="subTitle" idx="1"/>
          </p:nvPr>
        </p:nvSpPr>
        <p:spPr>
          <a:xfrm>
            <a:off x="685251" y="2091765"/>
            <a:ext cx="7805762" cy="563076"/>
          </a:xfrm>
        </p:spPr>
        <p:txBody>
          <a:bodyPr lIns="100584" rIns="100584"/>
          <a:lstStyle>
            <a:lvl1pPr marL="0" indent="0">
              <a:spcBef>
                <a:spcPts val="0"/>
              </a:spcBef>
              <a:defRPr sz="2000" b="0">
                <a:solidFill>
                  <a:srgbClr val="7A9B3D"/>
                </a:solidFill>
              </a:defRPr>
            </a:lvl1pPr>
          </a:lstStyle>
          <a:p>
            <a:r>
              <a:rPr lang="en-US"/>
              <a:t>Click to edit Master subtitle style</a:t>
            </a:r>
            <a:endParaRPr lang="en-US" dirty="0"/>
          </a:p>
        </p:txBody>
      </p:sp>
      <p:sp>
        <p:nvSpPr>
          <p:cNvPr id="42" name="Text Placeholder 43"/>
          <p:cNvSpPr>
            <a:spLocks noGrp="1"/>
          </p:cNvSpPr>
          <p:nvPr>
            <p:ph type="body" sz="quarter" idx="14" hasCustomPrompt="1"/>
          </p:nvPr>
        </p:nvSpPr>
        <p:spPr>
          <a:xfrm>
            <a:off x="685251" y="2581276"/>
            <a:ext cx="7805762" cy="266850"/>
          </a:xfrm>
        </p:spPr>
        <p:txBody>
          <a:bodyPr lIns="100584" rIns="100584"/>
          <a:lstStyle>
            <a:lvl1pPr>
              <a:spcBef>
                <a:spcPts val="0"/>
              </a:spcBef>
              <a:defRPr lang="en-US" sz="1200" b="0" kern="1200" dirty="0" smtClean="0">
                <a:solidFill>
                  <a:srgbClr val="333F48"/>
                </a:solidFill>
                <a:latin typeface="Arial"/>
                <a:ea typeface="ＭＳ Ｐゴシック" pitchFamily="34" charset="-128"/>
                <a:cs typeface="+mn-cs"/>
              </a:defRPr>
            </a:lvl1pPr>
          </a:lstStyle>
          <a:p>
            <a:pPr lvl="0"/>
            <a:r>
              <a:rPr lang="en-US" dirty="0"/>
              <a:t>Date</a:t>
            </a:r>
          </a:p>
        </p:txBody>
      </p:sp>
      <p:sp>
        <p:nvSpPr>
          <p:cNvPr id="81" name="Content Placeholder 52"/>
          <p:cNvSpPr txBox="1">
            <a:spLocks/>
          </p:cNvSpPr>
          <p:nvPr userDrawn="1"/>
        </p:nvSpPr>
        <p:spPr>
          <a:xfrm>
            <a:off x="704301" y="3842381"/>
            <a:ext cx="2487613" cy="1652265"/>
          </a:xfrm>
          <a:prstGeom prst="rect">
            <a:avLst/>
          </a:prstGeom>
        </p:spPr>
        <p:txBody>
          <a:bodyPr lIns="100584" rIns="100584"/>
          <a:lstStyle>
            <a:lvl1pPr marL="0" indent="0" algn="l" rtl="0" eaLnBrk="0" fontAlgn="base" hangingPunct="0">
              <a:spcBef>
                <a:spcPts val="1200"/>
              </a:spcBef>
              <a:spcAft>
                <a:spcPct val="0"/>
              </a:spcAft>
              <a:buClr>
                <a:schemeClr val="bg1"/>
              </a:buClr>
              <a:buNone/>
              <a:tabLst>
                <a:tab pos="120626" algn="l"/>
                <a:tab pos="299978" algn="l"/>
                <a:tab pos="1034844" algn="l"/>
              </a:tabLst>
              <a:defRPr lang="en-US" sz="1000" b="1" kern="1200" dirty="0" smtClean="0">
                <a:solidFill>
                  <a:schemeClr val="tx1"/>
                </a:solidFill>
                <a:latin typeface="Arial" charset="0"/>
                <a:ea typeface="ＭＳ Ｐゴシック" charset="-128"/>
                <a:cs typeface="+mn-cs"/>
              </a:defRPr>
            </a:lvl1pPr>
            <a:lvl2pPr marL="0" indent="0" algn="l" rtl="0" eaLnBrk="0" fontAlgn="base" hangingPunct="0">
              <a:spcBef>
                <a:spcPct val="20000"/>
              </a:spcBef>
              <a:spcAft>
                <a:spcPct val="0"/>
              </a:spcAft>
              <a:buClr>
                <a:schemeClr val="bg1"/>
              </a:buClr>
              <a:buFontTx/>
              <a:buNone/>
              <a:tabLst>
                <a:tab pos="120626" algn="l"/>
                <a:tab pos="299978" algn="l"/>
                <a:tab pos="1034844" algn="l"/>
              </a:tabLst>
              <a:defRPr lang="en-US" sz="1000" b="1" i="1" kern="1200" dirty="0" smtClean="0">
                <a:solidFill>
                  <a:schemeClr val="tx1"/>
                </a:solidFill>
                <a:latin typeface="Arial" charset="0"/>
                <a:ea typeface="ＭＳ Ｐゴシック" charset="-128"/>
                <a:cs typeface="+mn-cs"/>
              </a:defRPr>
            </a:lvl2pPr>
            <a:lvl3pPr marL="326960" indent="0" algn="l" rtl="0" eaLnBrk="0" fontAlgn="base" hangingPunct="0">
              <a:spcBef>
                <a:spcPct val="20000"/>
              </a:spcBef>
              <a:spcAft>
                <a:spcPct val="0"/>
              </a:spcAft>
              <a:buClr>
                <a:schemeClr val="bg1"/>
              </a:buClr>
              <a:buNone/>
              <a:tabLst>
                <a:tab pos="120626" algn="l"/>
                <a:tab pos="299978" algn="l"/>
                <a:tab pos="1034844" algn="l"/>
              </a:tabLst>
              <a:defRPr sz="1200" b="1">
                <a:solidFill>
                  <a:schemeClr val="accent2"/>
                </a:solidFill>
                <a:latin typeface="+mn-lt"/>
              </a:defRPr>
            </a:lvl3pPr>
            <a:lvl4pPr marL="914218" indent="-114277" algn="l" rtl="0" eaLnBrk="0" fontAlgn="base" hangingPunct="0">
              <a:spcBef>
                <a:spcPct val="20000"/>
              </a:spcBef>
              <a:spcAft>
                <a:spcPct val="0"/>
              </a:spcAft>
              <a:buClr>
                <a:schemeClr val="accent1"/>
              </a:buClr>
              <a:buChar char="•"/>
              <a:tabLst>
                <a:tab pos="120626" algn="l"/>
                <a:tab pos="299978" algn="l"/>
                <a:tab pos="1034844" algn="l"/>
              </a:tabLst>
              <a:defRPr sz="1600" b="1">
                <a:solidFill>
                  <a:schemeClr val="tx1"/>
                </a:solidFill>
                <a:latin typeface="+mn-lt"/>
              </a:defRPr>
            </a:lvl4pPr>
            <a:lvl5pPr marL="1142772" indent="-114277" algn="l" rtl="0" eaLnBrk="0" fontAlgn="base" hangingPunct="0">
              <a:spcBef>
                <a:spcPct val="20000"/>
              </a:spcBef>
              <a:spcAft>
                <a:spcPct val="0"/>
              </a:spcAft>
              <a:buClr>
                <a:schemeClr val="accent1"/>
              </a:buClr>
              <a:buChar char="•"/>
              <a:tabLst>
                <a:tab pos="120626" algn="l"/>
                <a:tab pos="299978" algn="l"/>
                <a:tab pos="1034844" algn="l"/>
              </a:tabLst>
              <a:defRPr sz="1600" b="1">
                <a:solidFill>
                  <a:schemeClr val="tx1"/>
                </a:solidFill>
                <a:latin typeface="+mn-lt"/>
              </a:defRPr>
            </a:lvl5pPr>
            <a:lvl6pPr marL="2514096" indent="-228554" algn="l" rtl="0" fontAlgn="base">
              <a:spcBef>
                <a:spcPct val="20000"/>
              </a:spcBef>
              <a:spcAft>
                <a:spcPct val="0"/>
              </a:spcAft>
              <a:buChar char="»"/>
              <a:defRPr sz="2000">
                <a:solidFill>
                  <a:schemeClr val="tx1"/>
                </a:solidFill>
                <a:latin typeface="+mn-lt"/>
              </a:defRPr>
            </a:lvl6pPr>
            <a:lvl7pPr marL="2971205" indent="-228554" algn="l" rtl="0" fontAlgn="base">
              <a:spcBef>
                <a:spcPct val="20000"/>
              </a:spcBef>
              <a:spcAft>
                <a:spcPct val="0"/>
              </a:spcAft>
              <a:buChar char="»"/>
              <a:defRPr sz="2000">
                <a:solidFill>
                  <a:schemeClr val="tx1"/>
                </a:solidFill>
                <a:latin typeface="+mn-lt"/>
              </a:defRPr>
            </a:lvl7pPr>
            <a:lvl8pPr marL="3428314" indent="-228554" algn="l" rtl="0" fontAlgn="base">
              <a:spcBef>
                <a:spcPct val="20000"/>
              </a:spcBef>
              <a:spcAft>
                <a:spcPct val="0"/>
              </a:spcAft>
              <a:buChar char="»"/>
              <a:defRPr sz="2000">
                <a:solidFill>
                  <a:schemeClr val="tx1"/>
                </a:solidFill>
                <a:latin typeface="+mn-lt"/>
              </a:defRPr>
            </a:lvl8pPr>
            <a:lvl9pPr marL="3885423" indent="-228554" algn="l" rtl="0" fontAlgn="base">
              <a:spcBef>
                <a:spcPct val="20000"/>
              </a:spcBef>
              <a:spcAft>
                <a:spcPct val="0"/>
              </a:spcAft>
              <a:buChar char="»"/>
              <a:defRPr sz="2000">
                <a:solidFill>
                  <a:schemeClr val="tx1"/>
                </a:solidFill>
                <a:latin typeface="+mn-lt"/>
              </a:defRPr>
            </a:lvl9pPr>
          </a:lstStyle>
          <a:p>
            <a:pPr>
              <a:buClr>
                <a:srgbClr val="FFFFFF"/>
              </a:buClr>
            </a:pPr>
            <a:endParaRPr b="0">
              <a:solidFill>
                <a:srgbClr val="000000"/>
              </a:solidFill>
              <a:latin typeface="Arial"/>
            </a:endParaRPr>
          </a:p>
        </p:txBody>
      </p:sp>
      <p:sp>
        <p:nvSpPr>
          <p:cNvPr id="120" name="Content Placeholder 52"/>
          <p:cNvSpPr>
            <a:spLocks noGrp="1"/>
          </p:cNvSpPr>
          <p:nvPr>
            <p:ph sz="quarter" idx="12"/>
          </p:nvPr>
        </p:nvSpPr>
        <p:spPr>
          <a:xfrm>
            <a:off x="704301" y="3978275"/>
            <a:ext cx="2576513" cy="178752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121" name="Content Placeholder 52"/>
          <p:cNvSpPr>
            <a:spLocks noGrp="1"/>
          </p:cNvSpPr>
          <p:nvPr>
            <p:ph sz="quarter" idx="15"/>
          </p:nvPr>
        </p:nvSpPr>
        <p:spPr>
          <a:xfrm>
            <a:off x="3396990" y="3978275"/>
            <a:ext cx="2576513" cy="178752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41" name="Rectangle 9"/>
          <p:cNvSpPr>
            <a:spLocks noGrp="1" noChangeArrowheads="1"/>
          </p:cNvSpPr>
          <p:nvPr>
            <p:ph type="title" hasCustomPrompt="1"/>
          </p:nvPr>
        </p:nvSpPr>
        <p:spPr bwMode="auto">
          <a:xfrm>
            <a:off x="685251" y="1581072"/>
            <a:ext cx="7805762" cy="5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b" anchorCtr="0" compatLnSpc="1">
            <a:prstTxWarp prst="textNoShape">
              <a:avLst/>
            </a:prstTxWarp>
          </a:bodyPr>
          <a:lstStyle>
            <a:lvl1pPr>
              <a:defRPr sz="3000">
                <a:solidFill>
                  <a:schemeClr val="bg2"/>
                </a:solidFill>
              </a:defRPr>
            </a:lvl1pPr>
          </a:lstStyle>
          <a:p>
            <a:pPr lvl="0"/>
            <a:r>
              <a:rPr lang="en-US" altLang="en-US" dirty="0"/>
              <a:t>Click To Edit Master Title Style</a:t>
            </a:r>
          </a:p>
        </p:txBody>
      </p:sp>
      <p:sp>
        <p:nvSpPr>
          <p:cNvPr id="84" name="Rectangle 176">
            <a:extLst>
              <a:ext uri="{FF2B5EF4-FFF2-40B4-BE49-F238E27FC236}">
                <a16:creationId xmlns:a16="http://schemas.microsoft.com/office/drawing/2014/main" id="{BC09911A-462B-46F7-AD5F-24FAF02F2217}"/>
              </a:ext>
            </a:extLst>
          </p:cNvPr>
          <p:cNvSpPr>
            <a:spLocks noGrp="1" noChangeArrowheads="1"/>
          </p:cNvSpPr>
          <p:nvPr>
            <p:ph type="ftr" sz="quarter" idx="13"/>
          </p:nvPr>
        </p:nvSpPr>
        <p:spPr>
          <a:xfrm>
            <a:off x="281401" y="6421008"/>
            <a:ext cx="6014623" cy="260350"/>
          </a:xfrm>
        </p:spPr>
        <p:txBody>
          <a:bodyPr anchor="b" anchorCtr="0"/>
          <a:lstStyle>
            <a:lvl1pPr algn="l">
              <a:defRPr sz="800" b="0" smtClean="0">
                <a:solidFill>
                  <a:srgbClr val="000000"/>
                </a:solidFill>
              </a:defRPr>
            </a:lvl1pPr>
          </a:lstStyle>
          <a:p>
            <a:pPr>
              <a:defRPr/>
            </a:pPr>
            <a:endParaRPr lang="en-US" dirty="0"/>
          </a:p>
          <a:p>
            <a:pPr>
              <a:defRPr/>
            </a:pPr>
            <a:r>
              <a:rPr lang="en-US" b="1" dirty="0"/>
              <a:t>Page footer.  </a:t>
            </a:r>
            <a:r>
              <a:rPr lang="en-US" dirty="0"/>
              <a:t>l  © 20XX FMR LLC. All rights reserved.</a:t>
            </a:r>
            <a:endParaRPr lang="en-US" b="1" dirty="0"/>
          </a:p>
        </p:txBody>
      </p:sp>
      <p:pic>
        <p:nvPicPr>
          <p:cNvPr id="39" name="Picture 38">
            <a:extLst>
              <a:ext uri="{FF2B5EF4-FFF2-40B4-BE49-F238E27FC236}">
                <a16:creationId xmlns:a16="http://schemas.microsoft.com/office/drawing/2014/main" id="{19EEFCD7-37DE-4E1C-9841-147079ACF1C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62741"/>
          <a:stretch/>
        </p:blipFill>
        <p:spPr>
          <a:xfrm>
            <a:off x="802002" y="532741"/>
            <a:ext cx="2987046" cy="134009"/>
          </a:xfrm>
          <a:prstGeom prst="rect">
            <a:avLst/>
          </a:prstGeom>
        </p:spPr>
      </p:pic>
    </p:spTree>
    <p:extLst>
      <p:ext uri="{BB962C8B-B14F-4D97-AF65-F5344CB8AC3E}">
        <p14:creationId xmlns:p14="http://schemas.microsoft.com/office/powerpoint/2010/main" val="2778183991"/>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type="title" preserve="1">
  <p:cSld name="Print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58488" name="Rectangle 56"/>
          <p:cNvSpPr>
            <a:spLocks noGrp="1" noChangeArrowheads="1"/>
          </p:cNvSpPr>
          <p:nvPr>
            <p:ph type="ctrTitle"/>
          </p:nvPr>
        </p:nvSpPr>
        <p:spPr>
          <a:xfrm>
            <a:off x="679879" y="2040360"/>
            <a:ext cx="7825945" cy="608013"/>
          </a:xfrm>
          <a:ln algn="ctr"/>
        </p:spPr>
        <p:txBody>
          <a:bodyPr lIns="91440" tIns="45720" anchor="b"/>
          <a:lstStyle>
            <a:lvl1pPr>
              <a:defRPr sz="2800">
                <a:solidFill>
                  <a:srgbClr val="333F48"/>
                </a:solidFill>
              </a:defRPr>
            </a:lvl1pPr>
          </a:lstStyle>
          <a:p>
            <a:r>
              <a:rPr lang="en-US"/>
              <a:t>Click to edit Master title style</a:t>
            </a:r>
            <a:endParaRPr lang="en-US" dirty="0"/>
          </a:p>
        </p:txBody>
      </p:sp>
      <p:sp>
        <p:nvSpPr>
          <p:cNvPr id="658489" name="Rectangle 57"/>
          <p:cNvSpPr>
            <a:spLocks noGrp="1" noChangeArrowheads="1"/>
          </p:cNvSpPr>
          <p:nvPr>
            <p:ph type="subTitle" idx="1"/>
          </p:nvPr>
        </p:nvSpPr>
        <p:spPr>
          <a:xfrm>
            <a:off x="679880" y="2752344"/>
            <a:ext cx="7825946" cy="283464"/>
          </a:xfrm>
          <a:ln algn="ctr"/>
        </p:spPr>
        <p:txBody>
          <a:bodyPr tIns="0"/>
          <a:lstStyle>
            <a:lvl1pPr marL="0" indent="0" algn="l" rtl="0" fontAlgn="base">
              <a:lnSpc>
                <a:spcPct val="100000"/>
              </a:lnSpc>
              <a:spcBef>
                <a:spcPct val="0"/>
              </a:spcBef>
              <a:spcAft>
                <a:spcPct val="0"/>
              </a:spcAft>
              <a:defRPr lang="en-US" sz="2000" b="0" kern="1200" dirty="0">
                <a:solidFill>
                  <a:srgbClr val="768692"/>
                </a:solidFill>
                <a:latin typeface="Arial"/>
                <a:ea typeface="ＭＳ Ｐゴシック" pitchFamily="34" charset="-128"/>
                <a:cs typeface="+mn-cs"/>
              </a:defRPr>
            </a:lvl1pPr>
          </a:lstStyle>
          <a:p>
            <a:r>
              <a:rPr lang="en-US"/>
              <a:t>Click to edit Master subtitle style</a:t>
            </a:r>
            <a:endParaRPr lang="en-US" dirty="0"/>
          </a:p>
        </p:txBody>
      </p:sp>
      <p:sp>
        <p:nvSpPr>
          <p:cNvPr id="60" name="Rectangle 176"/>
          <p:cNvSpPr>
            <a:spLocks noGrp="1" noChangeArrowheads="1"/>
          </p:cNvSpPr>
          <p:nvPr>
            <p:ph type="ftr" sz="quarter" idx="13"/>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cxnSp>
        <p:nvCxnSpPr>
          <p:cNvPr id="6" name="Straight Connector 5"/>
          <p:cNvCxnSpPr/>
          <p:nvPr userDrawn="1"/>
        </p:nvCxnSpPr>
        <p:spPr bwMode="auto">
          <a:xfrm>
            <a:off x="791746" y="2642460"/>
            <a:ext cx="8352254" cy="0"/>
          </a:xfrm>
          <a:prstGeom prst="line">
            <a:avLst/>
          </a:prstGeom>
          <a:solidFill>
            <a:srgbClr val="009681"/>
          </a:solidFill>
          <a:ln w="9525" cap="flat" cmpd="sng" algn="ctr">
            <a:solidFill>
              <a:srgbClr val="768692"/>
            </a:solidFill>
            <a:prstDash val="solid"/>
            <a:round/>
            <a:headEnd type="none" w="med" len="med"/>
            <a:tailEnd type="none" w="med" len="med"/>
          </a:ln>
          <a:effectLst/>
        </p:spPr>
      </p:cxnSp>
      <p:grpSp>
        <p:nvGrpSpPr>
          <p:cNvPr id="89" name="Group 88">
            <a:extLst>
              <a:ext uri="{FF2B5EF4-FFF2-40B4-BE49-F238E27FC236}">
                <a16:creationId xmlns:a16="http://schemas.microsoft.com/office/drawing/2014/main" id="{991DE967-0F82-408F-B89A-AE232A778E53}"/>
              </a:ext>
            </a:extLst>
          </p:cNvPr>
          <p:cNvGrpSpPr/>
          <p:nvPr userDrawn="1"/>
        </p:nvGrpSpPr>
        <p:grpSpPr>
          <a:xfrm>
            <a:off x="7358173" y="6361974"/>
            <a:ext cx="1382376" cy="297562"/>
            <a:chOff x="6923088" y="4475163"/>
            <a:chExt cx="1873251" cy="403225"/>
          </a:xfrm>
        </p:grpSpPr>
        <p:sp>
          <p:nvSpPr>
            <p:cNvPr id="90" name="AutoShape 4">
              <a:extLst>
                <a:ext uri="{FF2B5EF4-FFF2-40B4-BE49-F238E27FC236}">
                  <a16:creationId xmlns:a16="http://schemas.microsoft.com/office/drawing/2014/main" id="{C79E7ACA-A263-4539-87E6-BB3032A565AA}"/>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 name="Freeform 6">
              <a:extLst>
                <a:ext uri="{FF2B5EF4-FFF2-40B4-BE49-F238E27FC236}">
                  <a16:creationId xmlns:a16="http://schemas.microsoft.com/office/drawing/2014/main" id="{3CD4FC34-780F-4C6A-9C1E-6E2EEF836D95}"/>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 name="Freeform 7">
              <a:extLst>
                <a:ext uri="{FF2B5EF4-FFF2-40B4-BE49-F238E27FC236}">
                  <a16:creationId xmlns:a16="http://schemas.microsoft.com/office/drawing/2014/main" id="{AC5BB2A0-5794-42B6-9410-3747DA00DA15}"/>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 name="Freeform 83">
              <a:extLst>
                <a:ext uri="{FF2B5EF4-FFF2-40B4-BE49-F238E27FC236}">
                  <a16:creationId xmlns:a16="http://schemas.microsoft.com/office/drawing/2014/main" id="{C6E5C4C3-0AB4-4023-8682-F0AD227294CB}"/>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 name="Freeform 84">
              <a:extLst>
                <a:ext uri="{FF2B5EF4-FFF2-40B4-BE49-F238E27FC236}">
                  <a16:creationId xmlns:a16="http://schemas.microsoft.com/office/drawing/2014/main" id="{B97EA17F-E820-4EFF-8C60-95A06BCDF11D}"/>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 name="Freeform 85">
              <a:extLst>
                <a:ext uri="{FF2B5EF4-FFF2-40B4-BE49-F238E27FC236}">
                  <a16:creationId xmlns:a16="http://schemas.microsoft.com/office/drawing/2014/main" id="{131E540F-55D2-4006-8834-0F1FD1907314}"/>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 name="Freeform 86">
              <a:extLst>
                <a:ext uri="{FF2B5EF4-FFF2-40B4-BE49-F238E27FC236}">
                  <a16:creationId xmlns:a16="http://schemas.microsoft.com/office/drawing/2014/main" id="{7D987961-3243-40A6-90CA-00D9AD162875}"/>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 name="Freeform 87">
              <a:extLst>
                <a:ext uri="{FF2B5EF4-FFF2-40B4-BE49-F238E27FC236}">
                  <a16:creationId xmlns:a16="http://schemas.microsoft.com/office/drawing/2014/main" id="{ABD33F16-3509-4F80-988B-665950CB0ABC}"/>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 name="Freeform 88">
              <a:extLst>
                <a:ext uri="{FF2B5EF4-FFF2-40B4-BE49-F238E27FC236}">
                  <a16:creationId xmlns:a16="http://schemas.microsoft.com/office/drawing/2014/main" id="{DB1ED5A2-3B59-4AF0-AAE6-0501EDDB26AC}"/>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 name="Freeform 89">
              <a:extLst>
                <a:ext uri="{FF2B5EF4-FFF2-40B4-BE49-F238E27FC236}">
                  <a16:creationId xmlns:a16="http://schemas.microsoft.com/office/drawing/2014/main" id="{2106603A-8F39-42D6-B1DE-070FA0889A24}"/>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 name="Freeform 90">
              <a:extLst>
                <a:ext uri="{FF2B5EF4-FFF2-40B4-BE49-F238E27FC236}">
                  <a16:creationId xmlns:a16="http://schemas.microsoft.com/office/drawing/2014/main" id="{D72B8D90-A6D2-4469-AD0F-753A37590509}"/>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 name="Freeform 91">
              <a:extLst>
                <a:ext uri="{FF2B5EF4-FFF2-40B4-BE49-F238E27FC236}">
                  <a16:creationId xmlns:a16="http://schemas.microsoft.com/office/drawing/2014/main" id="{4086A718-DC10-4ABD-9A39-16979BFA7BC5}"/>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 name="Freeform 92">
              <a:extLst>
                <a:ext uri="{FF2B5EF4-FFF2-40B4-BE49-F238E27FC236}">
                  <a16:creationId xmlns:a16="http://schemas.microsoft.com/office/drawing/2014/main" id="{1812FAEA-94DB-40EC-9B4F-B679C51A0EC6}"/>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 name="Freeform 93">
              <a:extLst>
                <a:ext uri="{FF2B5EF4-FFF2-40B4-BE49-F238E27FC236}">
                  <a16:creationId xmlns:a16="http://schemas.microsoft.com/office/drawing/2014/main" id="{BA5E2700-F933-47D2-862C-A932A805ACB4}"/>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4" name="Freeform 94">
              <a:extLst>
                <a:ext uri="{FF2B5EF4-FFF2-40B4-BE49-F238E27FC236}">
                  <a16:creationId xmlns:a16="http://schemas.microsoft.com/office/drawing/2014/main" id="{0847955D-0A8E-45C2-8997-36D1499E7884}"/>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5" name="Freeform 95">
              <a:extLst>
                <a:ext uri="{FF2B5EF4-FFF2-40B4-BE49-F238E27FC236}">
                  <a16:creationId xmlns:a16="http://schemas.microsoft.com/office/drawing/2014/main" id="{17A8DFA0-F304-4C63-84BD-624306BBB1D6}"/>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6" name="Freeform 96">
              <a:extLst>
                <a:ext uri="{FF2B5EF4-FFF2-40B4-BE49-F238E27FC236}">
                  <a16:creationId xmlns:a16="http://schemas.microsoft.com/office/drawing/2014/main" id="{B95E7678-6DD0-4442-98C6-25A0965E8677}"/>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7" name="Freeform 97">
              <a:extLst>
                <a:ext uri="{FF2B5EF4-FFF2-40B4-BE49-F238E27FC236}">
                  <a16:creationId xmlns:a16="http://schemas.microsoft.com/office/drawing/2014/main" id="{2BCDC77B-2728-463D-82CF-73C96D77BFDF}"/>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8" name="Freeform 98">
              <a:extLst>
                <a:ext uri="{FF2B5EF4-FFF2-40B4-BE49-F238E27FC236}">
                  <a16:creationId xmlns:a16="http://schemas.microsoft.com/office/drawing/2014/main" id="{00173041-5C5E-4364-A960-B9F14DF6920E}"/>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9" name="Freeform 99">
              <a:extLst>
                <a:ext uri="{FF2B5EF4-FFF2-40B4-BE49-F238E27FC236}">
                  <a16:creationId xmlns:a16="http://schemas.microsoft.com/office/drawing/2014/main" id="{5B0A6D3D-9806-4EF1-8579-E41C636148B4}"/>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0" name="Freeform 100">
              <a:extLst>
                <a:ext uri="{FF2B5EF4-FFF2-40B4-BE49-F238E27FC236}">
                  <a16:creationId xmlns:a16="http://schemas.microsoft.com/office/drawing/2014/main" id="{8D4ADC7B-2D9B-4B07-A90D-211BD4DCB60F}"/>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1" name="Freeform 101">
              <a:extLst>
                <a:ext uri="{FF2B5EF4-FFF2-40B4-BE49-F238E27FC236}">
                  <a16:creationId xmlns:a16="http://schemas.microsoft.com/office/drawing/2014/main" id="{9965128A-520F-4D47-831E-7C40AC7A83C6}"/>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2" name="Freeform 102">
              <a:extLst>
                <a:ext uri="{FF2B5EF4-FFF2-40B4-BE49-F238E27FC236}">
                  <a16:creationId xmlns:a16="http://schemas.microsoft.com/office/drawing/2014/main" id="{A4DD5B32-4303-4B40-BE62-DD6157C9CE62}"/>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3" name="Freeform 103">
              <a:extLst>
                <a:ext uri="{FF2B5EF4-FFF2-40B4-BE49-F238E27FC236}">
                  <a16:creationId xmlns:a16="http://schemas.microsoft.com/office/drawing/2014/main" id="{40ED94EA-2D3E-4BDC-8C6C-75AD6879FA04}"/>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4" name="Freeform 104">
              <a:extLst>
                <a:ext uri="{FF2B5EF4-FFF2-40B4-BE49-F238E27FC236}">
                  <a16:creationId xmlns:a16="http://schemas.microsoft.com/office/drawing/2014/main" id="{54780562-5C1B-44EA-BDBB-F1B15F1C136B}"/>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5" name="Freeform 105">
              <a:extLst>
                <a:ext uri="{FF2B5EF4-FFF2-40B4-BE49-F238E27FC236}">
                  <a16:creationId xmlns:a16="http://schemas.microsoft.com/office/drawing/2014/main" id="{50AA1CE6-E207-402A-B793-294ED2A09D42}"/>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Tree>
    <p:extLst>
      <p:ext uri="{BB962C8B-B14F-4D97-AF65-F5344CB8AC3E}">
        <p14:creationId xmlns:p14="http://schemas.microsoft.com/office/powerpoint/2010/main" val="1140335287"/>
      </p:ext>
    </p:extLst>
  </p:cSld>
  <p:clrMapOvr>
    <a:masterClrMapping/>
  </p:clrMapOvr>
  <p:extLst>
    <p:ext uri="{DCECCB84-F9BA-43D5-87BE-67443E8EF086}">
      <p15:sldGuideLst xmlns:p15="http://schemas.microsoft.com/office/powerpoint/2012/main">
        <p15:guide id="1" orient="horz" pos="4200">
          <p15:clr>
            <a:srgbClr val="FBAE40"/>
          </p15:clr>
        </p15:guide>
        <p15:guide id="4" pos="5496">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type="title" preserve="1">
  <p:cSld name="Print Divider Speaker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58488" name="Rectangle 56"/>
          <p:cNvSpPr>
            <a:spLocks noGrp="1" noChangeArrowheads="1"/>
          </p:cNvSpPr>
          <p:nvPr>
            <p:ph type="ctrTitle"/>
          </p:nvPr>
        </p:nvSpPr>
        <p:spPr>
          <a:xfrm>
            <a:off x="679879" y="2040360"/>
            <a:ext cx="7825945" cy="608013"/>
          </a:xfrm>
          <a:ln algn="ctr"/>
        </p:spPr>
        <p:txBody>
          <a:bodyPr lIns="91440" tIns="45720" anchor="b"/>
          <a:lstStyle>
            <a:lvl1pPr>
              <a:defRPr sz="2800">
                <a:solidFill>
                  <a:srgbClr val="333F48"/>
                </a:solidFill>
              </a:defRPr>
            </a:lvl1pPr>
          </a:lstStyle>
          <a:p>
            <a:r>
              <a:rPr lang="en-US"/>
              <a:t>Click to edit Master title style</a:t>
            </a:r>
            <a:endParaRPr lang="en-US" dirty="0"/>
          </a:p>
        </p:txBody>
      </p:sp>
      <p:sp>
        <p:nvSpPr>
          <p:cNvPr id="658489" name="Rectangle 57"/>
          <p:cNvSpPr>
            <a:spLocks noGrp="1" noChangeArrowheads="1"/>
          </p:cNvSpPr>
          <p:nvPr>
            <p:ph type="subTitle" idx="1"/>
          </p:nvPr>
        </p:nvSpPr>
        <p:spPr>
          <a:xfrm>
            <a:off x="679880" y="2819387"/>
            <a:ext cx="7825945" cy="282925"/>
          </a:xfrm>
          <a:ln algn="ctr"/>
        </p:spPr>
        <p:txBody>
          <a:bodyPr tIns="0"/>
          <a:lstStyle>
            <a:lvl1pPr marL="0" indent="0" algn="l" rtl="0" fontAlgn="base">
              <a:lnSpc>
                <a:spcPct val="100000"/>
              </a:lnSpc>
              <a:spcBef>
                <a:spcPts val="600"/>
              </a:spcBef>
              <a:spcAft>
                <a:spcPct val="0"/>
              </a:spcAft>
              <a:defRPr lang="en-US" sz="1600" b="1" kern="1200" baseline="0" dirty="0">
                <a:solidFill>
                  <a:srgbClr val="768692"/>
                </a:solidFill>
                <a:latin typeface="Arial"/>
                <a:ea typeface="ＭＳ Ｐゴシック" pitchFamily="34" charset="-128"/>
                <a:cs typeface="+mn-cs"/>
              </a:defRPr>
            </a:lvl1pPr>
          </a:lstStyle>
          <a:p>
            <a:r>
              <a:rPr lang="en-US"/>
              <a:t>Click to edit Master subtitle style</a:t>
            </a:r>
            <a:endParaRPr lang="en-US" dirty="0"/>
          </a:p>
        </p:txBody>
      </p:sp>
      <p:cxnSp>
        <p:nvCxnSpPr>
          <p:cNvPr id="6" name="Straight Connector 5"/>
          <p:cNvCxnSpPr/>
          <p:nvPr userDrawn="1"/>
        </p:nvCxnSpPr>
        <p:spPr bwMode="auto">
          <a:xfrm>
            <a:off x="791746" y="2642460"/>
            <a:ext cx="8352254" cy="0"/>
          </a:xfrm>
          <a:prstGeom prst="line">
            <a:avLst/>
          </a:prstGeom>
          <a:solidFill>
            <a:srgbClr val="009681"/>
          </a:solidFill>
          <a:ln w="9525" cap="flat" cmpd="sng" algn="ctr">
            <a:solidFill>
              <a:srgbClr val="768692"/>
            </a:solidFill>
            <a:prstDash val="solid"/>
            <a:round/>
            <a:headEnd type="none" w="med" len="med"/>
            <a:tailEnd type="none" w="med" len="med"/>
          </a:ln>
          <a:effectLst/>
        </p:spPr>
      </p:cxnSp>
      <p:grpSp>
        <p:nvGrpSpPr>
          <p:cNvPr id="61" name="Group 60">
            <a:extLst>
              <a:ext uri="{FF2B5EF4-FFF2-40B4-BE49-F238E27FC236}">
                <a16:creationId xmlns:a16="http://schemas.microsoft.com/office/drawing/2014/main" id="{3EF48CAB-2355-427D-924E-A3C73D558CC0}"/>
              </a:ext>
            </a:extLst>
          </p:cNvPr>
          <p:cNvGrpSpPr/>
          <p:nvPr userDrawn="1"/>
        </p:nvGrpSpPr>
        <p:grpSpPr>
          <a:xfrm>
            <a:off x="7358173" y="6361974"/>
            <a:ext cx="1382376" cy="297562"/>
            <a:chOff x="6923088" y="4475163"/>
            <a:chExt cx="1873251" cy="403225"/>
          </a:xfrm>
        </p:grpSpPr>
        <p:sp>
          <p:nvSpPr>
            <p:cNvPr id="62" name="AutoShape 4">
              <a:extLst>
                <a:ext uri="{FF2B5EF4-FFF2-40B4-BE49-F238E27FC236}">
                  <a16:creationId xmlns:a16="http://schemas.microsoft.com/office/drawing/2014/main" id="{88F61506-36CF-4E28-A2C9-50C6F1D3E7EA}"/>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 name="Freeform 6">
              <a:extLst>
                <a:ext uri="{FF2B5EF4-FFF2-40B4-BE49-F238E27FC236}">
                  <a16:creationId xmlns:a16="http://schemas.microsoft.com/office/drawing/2014/main" id="{73C51A6E-0D3D-4E49-962B-03B20A133E87}"/>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 name="Freeform 7">
              <a:extLst>
                <a:ext uri="{FF2B5EF4-FFF2-40B4-BE49-F238E27FC236}">
                  <a16:creationId xmlns:a16="http://schemas.microsoft.com/office/drawing/2014/main" id="{BFBB4A40-9F9E-492F-A7C4-F537841EF997}"/>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 name="Freeform 83">
              <a:extLst>
                <a:ext uri="{FF2B5EF4-FFF2-40B4-BE49-F238E27FC236}">
                  <a16:creationId xmlns:a16="http://schemas.microsoft.com/office/drawing/2014/main" id="{E0757797-0F34-4362-9192-0FE6E5D5173E}"/>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 name="Freeform 84">
              <a:extLst>
                <a:ext uri="{FF2B5EF4-FFF2-40B4-BE49-F238E27FC236}">
                  <a16:creationId xmlns:a16="http://schemas.microsoft.com/office/drawing/2014/main" id="{D3A178E0-80C8-403E-B76D-F2AFD23DC598}"/>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 name="Freeform 85">
              <a:extLst>
                <a:ext uri="{FF2B5EF4-FFF2-40B4-BE49-F238E27FC236}">
                  <a16:creationId xmlns:a16="http://schemas.microsoft.com/office/drawing/2014/main" id="{A421C42C-F506-4D4F-AA27-AC6649BA3F01}"/>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 name="Freeform 86">
              <a:extLst>
                <a:ext uri="{FF2B5EF4-FFF2-40B4-BE49-F238E27FC236}">
                  <a16:creationId xmlns:a16="http://schemas.microsoft.com/office/drawing/2014/main" id="{729B0490-C9D6-4DBB-903A-C2F59D882E77}"/>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 name="Freeform 87">
              <a:extLst>
                <a:ext uri="{FF2B5EF4-FFF2-40B4-BE49-F238E27FC236}">
                  <a16:creationId xmlns:a16="http://schemas.microsoft.com/office/drawing/2014/main" id="{062DA5E6-2BC9-4B3D-8269-FC39B0A87F02}"/>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 name="Freeform 88">
              <a:extLst>
                <a:ext uri="{FF2B5EF4-FFF2-40B4-BE49-F238E27FC236}">
                  <a16:creationId xmlns:a16="http://schemas.microsoft.com/office/drawing/2014/main" id="{B62BD2CA-35DA-43EC-ADD6-9A7645ACAF0F}"/>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 name="Freeform 89">
              <a:extLst>
                <a:ext uri="{FF2B5EF4-FFF2-40B4-BE49-F238E27FC236}">
                  <a16:creationId xmlns:a16="http://schemas.microsoft.com/office/drawing/2014/main" id="{7AEC0B98-C6CD-4FAF-A048-2B9D584D113F}"/>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 name="Freeform 90">
              <a:extLst>
                <a:ext uri="{FF2B5EF4-FFF2-40B4-BE49-F238E27FC236}">
                  <a16:creationId xmlns:a16="http://schemas.microsoft.com/office/drawing/2014/main" id="{A89FA9C4-A3F0-4CBC-A3C7-1383AB133D89}"/>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 name="Freeform 91">
              <a:extLst>
                <a:ext uri="{FF2B5EF4-FFF2-40B4-BE49-F238E27FC236}">
                  <a16:creationId xmlns:a16="http://schemas.microsoft.com/office/drawing/2014/main" id="{7E22A295-35E8-46A8-AE0D-0B878370A1E5}"/>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 name="Freeform 92">
              <a:extLst>
                <a:ext uri="{FF2B5EF4-FFF2-40B4-BE49-F238E27FC236}">
                  <a16:creationId xmlns:a16="http://schemas.microsoft.com/office/drawing/2014/main" id="{04507016-C573-4138-968A-8C0096A114BE}"/>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 name="Freeform 93">
              <a:extLst>
                <a:ext uri="{FF2B5EF4-FFF2-40B4-BE49-F238E27FC236}">
                  <a16:creationId xmlns:a16="http://schemas.microsoft.com/office/drawing/2014/main" id="{B2E70FFA-0DA9-40E1-9E0F-7C78D061FB05}"/>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 name="Freeform 94">
              <a:extLst>
                <a:ext uri="{FF2B5EF4-FFF2-40B4-BE49-F238E27FC236}">
                  <a16:creationId xmlns:a16="http://schemas.microsoft.com/office/drawing/2014/main" id="{984CCE0A-9A73-4F22-9558-658EB334C6C6}"/>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 name="Freeform 95">
              <a:extLst>
                <a:ext uri="{FF2B5EF4-FFF2-40B4-BE49-F238E27FC236}">
                  <a16:creationId xmlns:a16="http://schemas.microsoft.com/office/drawing/2014/main" id="{F951CC34-18E7-4AF8-9426-5F72C121F696}"/>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 name="Freeform 96">
              <a:extLst>
                <a:ext uri="{FF2B5EF4-FFF2-40B4-BE49-F238E27FC236}">
                  <a16:creationId xmlns:a16="http://schemas.microsoft.com/office/drawing/2014/main" id="{6F2985CA-8E29-4063-8731-E5F2BD1D8B53}"/>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 name="Freeform 97">
              <a:extLst>
                <a:ext uri="{FF2B5EF4-FFF2-40B4-BE49-F238E27FC236}">
                  <a16:creationId xmlns:a16="http://schemas.microsoft.com/office/drawing/2014/main" id="{5780A8E9-9129-4E4F-A3D0-4CAEEC8200EC}"/>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 name="Freeform 98">
              <a:extLst>
                <a:ext uri="{FF2B5EF4-FFF2-40B4-BE49-F238E27FC236}">
                  <a16:creationId xmlns:a16="http://schemas.microsoft.com/office/drawing/2014/main" id="{137BAF9B-4A9F-4CD8-B122-71BCB60C9215}"/>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 name="Freeform 99">
              <a:extLst>
                <a:ext uri="{FF2B5EF4-FFF2-40B4-BE49-F238E27FC236}">
                  <a16:creationId xmlns:a16="http://schemas.microsoft.com/office/drawing/2014/main" id="{0C1228B8-0324-4403-AEF6-FCC4AB492C1C}"/>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 name="Freeform 100">
              <a:extLst>
                <a:ext uri="{FF2B5EF4-FFF2-40B4-BE49-F238E27FC236}">
                  <a16:creationId xmlns:a16="http://schemas.microsoft.com/office/drawing/2014/main" id="{B181299C-0CF4-44EA-97F9-852F64FEAEC9}"/>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 name="Freeform 101">
              <a:extLst>
                <a:ext uri="{FF2B5EF4-FFF2-40B4-BE49-F238E27FC236}">
                  <a16:creationId xmlns:a16="http://schemas.microsoft.com/office/drawing/2014/main" id="{0F5CD9DF-80B7-459E-BDE7-37FB8B95C2C7}"/>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 name="Freeform 102">
              <a:extLst>
                <a:ext uri="{FF2B5EF4-FFF2-40B4-BE49-F238E27FC236}">
                  <a16:creationId xmlns:a16="http://schemas.microsoft.com/office/drawing/2014/main" id="{E5CE1E15-24A0-4D9A-A134-E24CABC9C586}"/>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 name="Freeform 103">
              <a:extLst>
                <a:ext uri="{FF2B5EF4-FFF2-40B4-BE49-F238E27FC236}">
                  <a16:creationId xmlns:a16="http://schemas.microsoft.com/office/drawing/2014/main" id="{D022E516-EE17-4E1A-91D7-26798C179342}"/>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 name="Freeform 104">
              <a:extLst>
                <a:ext uri="{FF2B5EF4-FFF2-40B4-BE49-F238E27FC236}">
                  <a16:creationId xmlns:a16="http://schemas.microsoft.com/office/drawing/2014/main" id="{99FC2710-29FD-4CB1-A61F-B17E55A42D26}"/>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 name="Freeform 105">
              <a:extLst>
                <a:ext uri="{FF2B5EF4-FFF2-40B4-BE49-F238E27FC236}">
                  <a16:creationId xmlns:a16="http://schemas.microsoft.com/office/drawing/2014/main" id="{CA07087F-3570-4D22-B714-C015539D263C}"/>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88" name="Rectangle 176">
            <a:extLst>
              <a:ext uri="{FF2B5EF4-FFF2-40B4-BE49-F238E27FC236}">
                <a16:creationId xmlns:a16="http://schemas.microsoft.com/office/drawing/2014/main" id="{F63D2447-968D-4391-82CF-99220D3851CF}"/>
              </a:ext>
            </a:extLst>
          </p:cNvPr>
          <p:cNvSpPr>
            <a:spLocks noGrp="1" noChangeArrowheads="1"/>
          </p:cNvSpPr>
          <p:nvPr>
            <p:ph type="ftr" sz="quarter" idx="13"/>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599817602"/>
      </p:ext>
    </p:extLst>
  </p:cSld>
  <p:clrMapOvr>
    <a:masterClrMapping/>
  </p:clrMapOvr>
  <p:extLst>
    <p:ext uri="{DCECCB84-F9BA-43D5-87BE-67443E8EF086}">
      <p15:sldGuideLst xmlns:p15="http://schemas.microsoft.com/office/powerpoint/2012/main">
        <p15:guide id="1" orient="horz" pos="4200">
          <p15:clr>
            <a:srgbClr val="FBAE40"/>
          </p15:clr>
        </p15:guide>
        <p15:guide id="2" pos="2880">
          <p15:clr>
            <a:srgbClr val="FBAE4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OC/Agenda">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a:noFill/>
          <a:ln w="9525">
            <a:noFill/>
            <a:miter lim="800000"/>
            <a:headEnd/>
            <a:tailEnd/>
          </a:ln>
          <a:effectLst/>
        </p:spPr>
        <p:txBody>
          <a:bodyPr tIns="45720" anchor="t" anchorCtr="0"/>
          <a:lstStyle>
            <a:lvl1pPr>
              <a:defRPr kumimoji="0" lang="en-US" sz="2400" b="0" i="0" u="none" strike="noStrike" kern="0" cap="none" spc="0" normalizeH="0" baseline="0" noProof="0" dirty="0">
                <a:ln>
                  <a:noFill/>
                </a:ln>
                <a:solidFill>
                  <a:srgbClr val="333F48"/>
                </a:solidFill>
                <a:effectLst/>
                <a:uLnTx/>
                <a:uFillTx/>
                <a:latin typeface="+mj-lt"/>
                <a:ea typeface="+mj-ea"/>
                <a:cs typeface="+mj-cs"/>
              </a:defRPr>
            </a:lvl1pPr>
          </a:lstStyle>
          <a:p>
            <a:pPr lvl="0"/>
            <a:r>
              <a:rPr lang="en-US"/>
              <a:t>Click to edit Master title style</a:t>
            </a:r>
            <a:endParaRPr lang="en-US" dirty="0"/>
          </a:p>
        </p:txBody>
      </p:sp>
      <p:sp>
        <p:nvSpPr>
          <p:cNvPr id="10" name="Content Placeholder 9"/>
          <p:cNvSpPr>
            <a:spLocks noGrp="1"/>
          </p:cNvSpPr>
          <p:nvPr>
            <p:ph sz="quarter" idx="13"/>
          </p:nvPr>
        </p:nvSpPr>
        <p:spPr>
          <a:xfrm>
            <a:off x="317115" y="1264280"/>
            <a:ext cx="8188710" cy="3602443"/>
          </a:xfrm>
        </p:spPr>
        <p:txBody>
          <a:bodyPr/>
          <a:lstStyle>
            <a:lvl1pPr marL="227013" indent="-227013">
              <a:spcBef>
                <a:spcPts val="600"/>
              </a:spcBef>
              <a:buClr>
                <a:srgbClr val="7A9B3D"/>
              </a:buClr>
              <a:buSzPct val="100000"/>
              <a:buFont typeface="+mj-lt"/>
              <a:buAutoNum type="arabicPeriod"/>
              <a:defRPr sz="1400" b="0" i="0" baseline="0">
                <a:solidFill>
                  <a:srgbClr val="000000"/>
                </a:solidFill>
                <a:latin typeface="Arial" pitchFamily="34" charset="0"/>
              </a:defRPr>
            </a:lvl1pPr>
            <a:lvl2pPr marL="461963" indent="-217488">
              <a:spcBef>
                <a:spcPts val="600"/>
              </a:spcBef>
              <a:buClr>
                <a:srgbClr val="768692"/>
              </a:buClr>
              <a:buFont typeface="+mj-lt"/>
              <a:buAutoNum type="alphaUcPeriod"/>
              <a:defRPr sz="1200" baseline="0">
                <a:solidFill>
                  <a:srgbClr val="000000"/>
                </a:solidFill>
                <a:latin typeface="Arial" pitchFamily="34" charset="0"/>
              </a:defRPr>
            </a:lvl2pPr>
            <a:lvl3pPr>
              <a:spcBef>
                <a:spcPts val="600"/>
              </a:spcBef>
              <a:buClr>
                <a:srgbClr val="000000"/>
              </a:buClr>
              <a:defRPr baseline="0">
                <a:solidFill>
                  <a:srgbClr val="000000"/>
                </a:solidFill>
              </a:defRPr>
            </a:lvl3pPr>
          </a:lstStyle>
          <a:p>
            <a:pPr lvl="0"/>
            <a:r>
              <a:rPr lang="en-US"/>
              <a:t>Click to edit Master text styles</a:t>
            </a:r>
          </a:p>
          <a:p>
            <a:pPr lvl="1"/>
            <a:r>
              <a:rPr lang="en-US"/>
              <a:t>Second level</a:t>
            </a:r>
          </a:p>
          <a:p>
            <a:pPr lvl="2"/>
            <a:r>
              <a:rPr lang="en-US"/>
              <a:t>Third level</a:t>
            </a:r>
          </a:p>
        </p:txBody>
      </p:sp>
      <p:sp>
        <p:nvSpPr>
          <p:cNvPr id="5"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dirty="0"/>
              <a:t>Page footer, i.e., For institutional use only.</a:t>
            </a:r>
          </a:p>
        </p:txBody>
      </p:sp>
      <p:sp>
        <p:nvSpPr>
          <p:cNvPr id="7"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dirty="0"/>
              <a:t>Production code #</a:t>
            </a:r>
          </a:p>
        </p:txBody>
      </p:sp>
      <p:grpSp>
        <p:nvGrpSpPr>
          <p:cNvPr id="35" name="Group 34">
            <a:extLst>
              <a:ext uri="{FF2B5EF4-FFF2-40B4-BE49-F238E27FC236}">
                <a16:creationId xmlns:a16="http://schemas.microsoft.com/office/drawing/2014/main" id="{B525258B-2348-4903-9B4F-BE4C6EF94DEB}"/>
              </a:ext>
            </a:extLst>
          </p:cNvPr>
          <p:cNvGrpSpPr/>
          <p:nvPr userDrawn="1"/>
        </p:nvGrpSpPr>
        <p:grpSpPr>
          <a:xfrm>
            <a:off x="7358173" y="6361974"/>
            <a:ext cx="1382376" cy="297562"/>
            <a:chOff x="6923088" y="4475163"/>
            <a:chExt cx="1873251" cy="403225"/>
          </a:xfrm>
        </p:grpSpPr>
        <p:sp>
          <p:nvSpPr>
            <p:cNvPr id="37" name="AutoShape 4">
              <a:extLst>
                <a:ext uri="{FF2B5EF4-FFF2-40B4-BE49-F238E27FC236}">
                  <a16:creationId xmlns:a16="http://schemas.microsoft.com/office/drawing/2014/main" id="{FC4144FC-C037-499B-8A95-5F0B44B0FEB7}"/>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6">
              <a:extLst>
                <a:ext uri="{FF2B5EF4-FFF2-40B4-BE49-F238E27FC236}">
                  <a16:creationId xmlns:a16="http://schemas.microsoft.com/office/drawing/2014/main" id="{6B2ACA95-5637-488E-85A5-1732CCB24885}"/>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7">
              <a:extLst>
                <a:ext uri="{FF2B5EF4-FFF2-40B4-BE49-F238E27FC236}">
                  <a16:creationId xmlns:a16="http://schemas.microsoft.com/office/drawing/2014/main" id="{C77C09E5-AC02-47A1-AFAF-3EEE9D22EAC4}"/>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83">
              <a:extLst>
                <a:ext uri="{FF2B5EF4-FFF2-40B4-BE49-F238E27FC236}">
                  <a16:creationId xmlns:a16="http://schemas.microsoft.com/office/drawing/2014/main" id="{F281DB8F-02B0-4E7E-9CEA-91F763EA3C82}"/>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84">
              <a:extLst>
                <a:ext uri="{FF2B5EF4-FFF2-40B4-BE49-F238E27FC236}">
                  <a16:creationId xmlns:a16="http://schemas.microsoft.com/office/drawing/2014/main" id="{923F942A-B607-4731-BF3F-24104CDAB12B}"/>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85">
              <a:extLst>
                <a:ext uri="{FF2B5EF4-FFF2-40B4-BE49-F238E27FC236}">
                  <a16:creationId xmlns:a16="http://schemas.microsoft.com/office/drawing/2014/main" id="{5DF8A0F3-DEE1-4AEC-9A0D-23C1A8CEBDD5}"/>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86">
              <a:extLst>
                <a:ext uri="{FF2B5EF4-FFF2-40B4-BE49-F238E27FC236}">
                  <a16:creationId xmlns:a16="http://schemas.microsoft.com/office/drawing/2014/main" id="{0459FFCA-840D-4211-B211-7C59287653FF}"/>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87">
              <a:extLst>
                <a:ext uri="{FF2B5EF4-FFF2-40B4-BE49-F238E27FC236}">
                  <a16:creationId xmlns:a16="http://schemas.microsoft.com/office/drawing/2014/main" id="{41319F0C-F4AD-438F-B97A-3980E05A1B17}"/>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88">
              <a:extLst>
                <a:ext uri="{FF2B5EF4-FFF2-40B4-BE49-F238E27FC236}">
                  <a16:creationId xmlns:a16="http://schemas.microsoft.com/office/drawing/2014/main" id="{A5D8392A-27E2-4989-8942-EE284BCD9820}"/>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89">
              <a:extLst>
                <a:ext uri="{FF2B5EF4-FFF2-40B4-BE49-F238E27FC236}">
                  <a16:creationId xmlns:a16="http://schemas.microsoft.com/office/drawing/2014/main" id="{BE4CB943-0848-4D80-A244-C2DB4C491711}"/>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90">
              <a:extLst>
                <a:ext uri="{FF2B5EF4-FFF2-40B4-BE49-F238E27FC236}">
                  <a16:creationId xmlns:a16="http://schemas.microsoft.com/office/drawing/2014/main" id="{1E015C79-2C79-4220-8420-629436D62394}"/>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91">
              <a:extLst>
                <a:ext uri="{FF2B5EF4-FFF2-40B4-BE49-F238E27FC236}">
                  <a16:creationId xmlns:a16="http://schemas.microsoft.com/office/drawing/2014/main" id="{B17F6FBF-8DA0-45D5-9040-A8C6570FDF86}"/>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92">
              <a:extLst>
                <a:ext uri="{FF2B5EF4-FFF2-40B4-BE49-F238E27FC236}">
                  <a16:creationId xmlns:a16="http://schemas.microsoft.com/office/drawing/2014/main" id="{9E026874-0653-4EAF-A72F-F609A8B73E2E}"/>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93">
              <a:extLst>
                <a:ext uri="{FF2B5EF4-FFF2-40B4-BE49-F238E27FC236}">
                  <a16:creationId xmlns:a16="http://schemas.microsoft.com/office/drawing/2014/main" id="{D3E9F9FB-41CB-4DB8-8086-EB8467ED13AB}"/>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4">
              <a:extLst>
                <a:ext uri="{FF2B5EF4-FFF2-40B4-BE49-F238E27FC236}">
                  <a16:creationId xmlns:a16="http://schemas.microsoft.com/office/drawing/2014/main" id="{FD982413-8F97-4A7D-82BD-A65DD9B3DB99}"/>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5">
              <a:extLst>
                <a:ext uri="{FF2B5EF4-FFF2-40B4-BE49-F238E27FC236}">
                  <a16:creationId xmlns:a16="http://schemas.microsoft.com/office/drawing/2014/main" id="{D50CB561-8EF5-4308-A455-6D096E075268}"/>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6">
              <a:extLst>
                <a:ext uri="{FF2B5EF4-FFF2-40B4-BE49-F238E27FC236}">
                  <a16:creationId xmlns:a16="http://schemas.microsoft.com/office/drawing/2014/main" id="{FFBC8FBE-606C-4CB3-91E1-ED06ECBB17D0}"/>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97">
              <a:extLst>
                <a:ext uri="{FF2B5EF4-FFF2-40B4-BE49-F238E27FC236}">
                  <a16:creationId xmlns:a16="http://schemas.microsoft.com/office/drawing/2014/main" id="{36FE0ABF-E345-4E5D-8A63-70BAA6FEA256}"/>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98">
              <a:extLst>
                <a:ext uri="{FF2B5EF4-FFF2-40B4-BE49-F238E27FC236}">
                  <a16:creationId xmlns:a16="http://schemas.microsoft.com/office/drawing/2014/main" id="{9267DB30-623D-42E8-92A2-BCF5C69429D3}"/>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99">
              <a:extLst>
                <a:ext uri="{FF2B5EF4-FFF2-40B4-BE49-F238E27FC236}">
                  <a16:creationId xmlns:a16="http://schemas.microsoft.com/office/drawing/2014/main" id="{2E9CA577-8AA9-44EE-AB3E-82147EBFA5D6}"/>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100">
              <a:extLst>
                <a:ext uri="{FF2B5EF4-FFF2-40B4-BE49-F238E27FC236}">
                  <a16:creationId xmlns:a16="http://schemas.microsoft.com/office/drawing/2014/main" id="{001D08BA-9184-4F00-A861-33F8C6DEDC89}"/>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01">
              <a:extLst>
                <a:ext uri="{FF2B5EF4-FFF2-40B4-BE49-F238E27FC236}">
                  <a16:creationId xmlns:a16="http://schemas.microsoft.com/office/drawing/2014/main" id="{BA954CEC-7B7F-4CD7-9D37-D5FA9D58C0CF}"/>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102">
              <a:extLst>
                <a:ext uri="{FF2B5EF4-FFF2-40B4-BE49-F238E27FC236}">
                  <a16:creationId xmlns:a16="http://schemas.microsoft.com/office/drawing/2014/main" id="{05817761-5784-4D7A-9010-24FD70B35031}"/>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103">
              <a:extLst>
                <a:ext uri="{FF2B5EF4-FFF2-40B4-BE49-F238E27FC236}">
                  <a16:creationId xmlns:a16="http://schemas.microsoft.com/office/drawing/2014/main" id="{DC420559-C599-43E4-9F87-D5F7BF1439F6}"/>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104">
              <a:extLst>
                <a:ext uri="{FF2B5EF4-FFF2-40B4-BE49-F238E27FC236}">
                  <a16:creationId xmlns:a16="http://schemas.microsoft.com/office/drawing/2014/main" id="{F8E5C600-936F-456C-A0F3-165AAD26D9E3}"/>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 name="Freeform 105">
              <a:extLst>
                <a:ext uri="{FF2B5EF4-FFF2-40B4-BE49-F238E27FC236}">
                  <a16:creationId xmlns:a16="http://schemas.microsoft.com/office/drawing/2014/main" id="{D08DAE1D-ADBB-440D-9E07-7C279B157E9A}"/>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Tree>
    <p:extLst>
      <p:ext uri="{BB962C8B-B14F-4D97-AF65-F5344CB8AC3E}">
        <p14:creationId xmlns:p14="http://schemas.microsoft.com/office/powerpoint/2010/main" val="916967035"/>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OC/Agenda_CFA">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a:noFill/>
          <a:ln w="9525">
            <a:noFill/>
            <a:miter lim="800000"/>
            <a:headEnd/>
            <a:tailEnd/>
          </a:ln>
          <a:effectLst/>
        </p:spPr>
        <p:txBody>
          <a:bodyPr tIns="45720" anchor="t" anchorCtr="0"/>
          <a:lstStyle>
            <a:lvl1pPr>
              <a:defRPr kumimoji="0" lang="en-US" sz="2400" b="0" i="0" u="none" strike="noStrike" kern="0" cap="none" spc="0" normalizeH="0" baseline="0" noProof="0" dirty="0">
                <a:ln>
                  <a:noFill/>
                </a:ln>
                <a:solidFill>
                  <a:srgbClr val="333F48"/>
                </a:solidFill>
                <a:effectLst/>
                <a:uLnTx/>
                <a:uFillTx/>
                <a:latin typeface="+mj-lt"/>
                <a:ea typeface="+mj-ea"/>
                <a:cs typeface="+mj-cs"/>
              </a:defRPr>
            </a:lvl1pPr>
          </a:lstStyle>
          <a:p>
            <a:pPr lvl="0"/>
            <a:r>
              <a:rPr lang="en-US"/>
              <a:t>Click to edit Master title style</a:t>
            </a:r>
            <a:endParaRPr lang="en-US" dirty="0"/>
          </a:p>
        </p:txBody>
      </p:sp>
      <p:sp>
        <p:nvSpPr>
          <p:cNvPr id="10" name="Content Placeholder 9"/>
          <p:cNvSpPr>
            <a:spLocks noGrp="1"/>
          </p:cNvSpPr>
          <p:nvPr>
            <p:ph sz="quarter" idx="13"/>
          </p:nvPr>
        </p:nvSpPr>
        <p:spPr>
          <a:xfrm>
            <a:off x="317115" y="1264280"/>
            <a:ext cx="8188710" cy="3670457"/>
          </a:xfrm>
        </p:spPr>
        <p:txBody>
          <a:bodyPr/>
          <a:lstStyle>
            <a:lvl1pPr marL="227013" indent="-227013">
              <a:spcBef>
                <a:spcPts val="600"/>
              </a:spcBef>
              <a:buClr>
                <a:srgbClr val="7A9B3D"/>
              </a:buClr>
              <a:buSzPct val="100000"/>
              <a:buFont typeface="+mj-lt"/>
              <a:buAutoNum type="arabicPeriod"/>
              <a:defRPr sz="1400" b="0" i="0" baseline="0">
                <a:solidFill>
                  <a:srgbClr val="000000"/>
                </a:solidFill>
                <a:latin typeface="Arial" pitchFamily="34" charset="0"/>
              </a:defRPr>
            </a:lvl1pPr>
            <a:lvl2pPr marL="461963" indent="-217488">
              <a:spcBef>
                <a:spcPts val="600"/>
              </a:spcBef>
              <a:buClr>
                <a:srgbClr val="768692"/>
              </a:buClr>
              <a:buFont typeface="+mj-lt"/>
              <a:buAutoNum type="alphaUcPeriod"/>
              <a:defRPr sz="1200" baseline="0">
                <a:solidFill>
                  <a:srgbClr val="000000"/>
                </a:solidFill>
                <a:latin typeface="Arial" pitchFamily="34" charset="0"/>
              </a:defRPr>
            </a:lvl2pPr>
            <a:lvl3pPr>
              <a:spcBef>
                <a:spcPts val="600"/>
              </a:spcBef>
              <a:buClr>
                <a:srgbClr val="000000"/>
              </a:buClr>
              <a:defRPr baseline="0">
                <a:solidFill>
                  <a:srgbClr val="000000"/>
                </a:solidFill>
              </a:defRPr>
            </a:lvl3pPr>
          </a:lstStyle>
          <a:p>
            <a:pPr lvl="0"/>
            <a:r>
              <a:rPr lang="en-US"/>
              <a:t>Click to edit Master text styles</a:t>
            </a:r>
          </a:p>
          <a:p>
            <a:pPr lvl="1"/>
            <a:r>
              <a:rPr lang="en-US"/>
              <a:t>Second level</a:t>
            </a:r>
          </a:p>
          <a:p>
            <a:pPr lvl="2"/>
            <a:r>
              <a:rPr lang="en-US"/>
              <a:t>Third level</a:t>
            </a:r>
          </a:p>
        </p:txBody>
      </p:sp>
      <p:sp>
        <p:nvSpPr>
          <p:cNvPr id="5"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dirty="0"/>
              <a:t>Page footer, i.e., For institutional use only.</a:t>
            </a:r>
          </a:p>
        </p:txBody>
      </p:sp>
      <p:sp>
        <p:nvSpPr>
          <p:cNvPr id="7"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dirty="0"/>
              <a:t>Production code #</a:t>
            </a:r>
          </a:p>
        </p:txBody>
      </p:sp>
      <p:sp>
        <p:nvSpPr>
          <p:cNvPr id="36" name="Text Box 5"/>
          <p:cNvSpPr txBox="1">
            <a:spLocks noChangeArrowheads="1"/>
          </p:cNvSpPr>
          <p:nvPr userDrawn="1"/>
        </p:nvSpPr>
        <p:spPr bwMode="auto">
          <a:xfrm>
            <a:off x="320041" y="4851610"/>
            <a:ext cx="6828904" cy="170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anchor="b"/>
          <a:lstStyle>
            <a:lvl1pPr eaLnBrk="0" hangingPunct="0">
              <a:spcBef>
                <a:spcPct val="20000"/>
              </a:spcBef>
              <a:buSzPct val="40000"/>
              <a:defRPr sz="1600" b="1">
                <a:solidFill>
                  <a:schemeClr val="accent1"/>
                </a:solidFill>
                <a:latin typeface="Arial" charset="0"/>
              </a:defRPr>
            </a:lvl1pPr>
            <a:lvl2pPr marL="742950" indent="-285750" eaLnBrk="0" hangingPunct="0">
              <a:spcBef>
                <a:spcPct val="20000"/>
              </a:spcBef>
              <a:buClr>
                <a:srgbClr val="978981"/>
              </a:buClr>
              <a:buChar char="•"/>
              <a:defRPr sz="1400">
                <a:solidFill>
                  <a:schemeClr val="tx1"/>
                </a:solidFill>
                <a:latin typeface="Arial" charset="0"/>
              </a:defRPr>
            </a:lvl2pPr>
            <a:lvl3pPr marL="1143000" indent="-228600" eaLnBrk="0" hangingPunct="0">
              <a:spcBef>
                <a:spcPct val="20000"/>
              </a:spcBef>
              <a:buClr>
                <a:schemeClr val="accent1"/>
              </a:buClr>
              <a:buFont typeface="Arial" charset="0"/>
              <a:buChar char="–"/>
              <a:defRPr sz="1200">
                <a:solidFill>
                  <a:schemeClr val="accent1"/>
                </a:solidFill>
                <a:latin typeface="Arial" charset="0"/>
              </a:defRPr>
            </a:lvl3pPr>
            <a:lvl4pPr marL="1600200" indent="-228600" eaLnBrk="0" hangingPunct="0">
              <a:spcBef>
                <a:spcPct val="20000"/>
              </a:spcBef>
              <a:buFont typeface="Arial" charset="0"/>
              <a:buChar char="•"/>
              <a:defRPr sz="1200">
                <a:solidFill>
                  <a:srgbClr val="4C5F6C"/>
                </a:solidFill>
                <a:latin typeface="Arial" charset="0"/>
              </a:defRPr>
            </a:lvl4pPr>
            <a:lvl5pPr marL="2057400" indent="-228600" eaLnBrk="0" hangingPunct="0">
              <a:lnSpc>
                <a:spcPts val="2400"/>
              </a:lnSpc>
              <a:defRPr sz="1400">
                <a:solidFill>
                  <a:schemeClr val="tx1"/>
                </a:solidFill>
                <a:latin typeface="Arial" charset="0"/>
              </a:defRPr>
            </a:lvl5pPr>
            <a:lvl6pPr marL="2514600" indent="-228600" eaLnBrk="0" fontAlgn="base" hangingPunct="0">
              <a:lnSpc>
                <a:spcPts val="2400"/>
              </a:lnSpc>
              <a:spcBef>
                <a:spcPct val="0"/>
              </a:spcBef>
              <a:spcAft>
                <a:spcPct val="0"/>
              </a:spcAft>
              <a:defRPr sz="1400">
                <a:solidFill>
                  <a:schemeClr val="tx1"/>
                </a:solidFill>
                <a:latin typeface="Arial" charset="0"/>
              </a:defRPr>
            </a:lvl6pPr>
            <a:lvl7pPr marL="2971800" indent="-228600" eaLnBrk="0" fontAlgn="base" hangingPunct="0">
              <a:lnSpc>
                <a:spcPts val="2400"/>
              </a:lnSpc>
              <a:spcBef>
                <a:spcPct val="0"/>
              </a:spcBef>
              <a:spcAft>
                <a:spcPct val="0"/>
              </a:spcAft>
              <a:defRPr sz="1400">
                <a:solidFill>
                  <a:schemeClr val="tx1"/>
                </a:solidFill>
                <a:latin typeface="Arial" charset="0"/>
              </a:defRPr>
            </a:lvl7pPr>
            <a:lvl8pPr marL="3429000" indent="-228600" eaLnBrk="0" fontAlgn="base" hangingPunct="0">
              <a:lnSpc>
                <a:spcPts val="2400"/>
              </a:lnSpc>
              <a:spcBef>
                <a:spcPct val="0"/>
              </a:spcBef>
              <a:spcAft>
                <a:spcPct val="0"/>
              </a:spcAft>
              <a:defRPr sz="1400">
                <a:solidFill>
                  <a:schemeClr val="tx1"/>
                </a:solidFill>
                <a:latin typeface="Arial" charset="0"/>
              </a:defRPr>
            </a:lvl8pPr>
            <a:lvl9pPr marL="3886200" indent="-228600" eaLnBrk="0" fontAlgn="base" hangingPunct="0">
              <a:lnSpc>
                <a:spcPts val="2400"/>
              </a:lnSpc>
              <a:spcBef>
                <a:spcPct val="0"/>
              </a:spcBef>
              <a:spcAft>
                <a:spcPct val="0"/>
              </a:spcAft>
              <a:defRPr sz="1400">
                <a:solidFill>
                  <a:schemeClr val="tx1"/>
                </a:solidFill>
                <a:latin typeface="Arial" charset="0"/>
              </a:defRPr>
            </a:lvl9pPr>
          </a:lstStyle>
          <a:p>
            <a:pPr eaLnBrk="1" hangingPunct="1">
              <a:spcBef>
                <a:spcPct val="0"/>
              </a:spcBef>
              <a:spcAft>
                <a:spcPts val="300"/>
              </a:spcAft>
              <a:buSzTx/>
              <a:defRPr/>
            </a:pPr>
            <a:r>
              <a:rPr lang="en-US" sz="800" b="0" i="1" kern="0" dirty="0">
                <a:solidFill>
                  <a:srgbClr val="000000"/>
                </a:solidFill>
                <a:latin typeface="Arial"/>
              </a:rPr>
              <a:t>Current performance may substantially differ from, and could be significantly lower than, performance shown due to recent significant market volatility. Please contact FIAM for updated performance numbers after the tenth business day following quarter end.</a:t>
            </a:r>
          </a:p>
          <a:p>
            <a:pPr eaLnBrk="1" hangingPunct="1">
              <a:spcBef>
                <a:spcPct val="0"/>
              </a:spcBef>
              <a:spcAft>
                <a:spcPts val="300"/>
              </a:spcAft>
              <a:buSzTx/>
              <a:defRPr/>
            </a:pPr>
            <a:r>
              <a:rPr lang="en-US" altLang="en-US" sz="800" b="0" i="1" kern="0" dirty="0">
                <a:solidFill>
                  <a:srgbClr val="000000"/>
                </a:solidFill>
                <a:latin typeface="Arial"/>
              </a:rPr>
              <a:t>This document does not make an offer or solicitation to buy or sell any securities or services, and is not investment advice. FIAM does not provide legal or tax advice and we encourage you to consult your own lawyer, accountant, or other advisor before making an investment.</a:t>
            </a:r>
          </a:p>
          <a:p>
            <a:pPr eaLnBrk="1" hangingPunct="1">
              <a:spcBef>
                <a:spcPct val="0"/>
              </a:spcBef>
              <a:spcAft>
                <a:spcPts val="300"/>
              </a:spcAft>
              <a:buSzTx/>
              <a:defRPr/>
            </a:pPr>
            <a:r>
              <a:rPr lang="en-US" altLang="en-US" sz="800" b="0" i="1" kern="0" dirty="0">
                <a:solidFill>
                  <a:srgbClr val="000000"/>
                </a:solidFill>
                <a:latin typeface="Arial"/>
              </a:rPr>
              <a:t>Information provided in this document is for informational and educational purposes only. To the extent any investment information in this material is deemed to be a recommendation, it is not meant to be impartial investment advice or advice in a fiduciary capacity and is not intended to be used as a primary basis for you or your client’s investment decisions. Fidelity and its representatives may have a conflict of interest in the products or services mentioned in this material because they have a financial interest in them, and receive compensation, directly or indirectly, in connection with the management, distribution, and/or servicing of these products or services, including Fidelity funds, certain third-party funds and products, and certain investment services. </a:t>
            </a:r>
          </a:p>
          <a:p>
            <a:pPr>
              <a:lnSpc>
                <a:spcPts val="1000"/>
              </a:lnSpc>
              <a:spcBef>
                <a:spcPct val="0"/>
              </a:spcBef>
              <a:spcAft>
                <a:spcPts val="300"/>
              </a:spcAft>
              <a:buSzTx/>
            </a:pPr>
            <a:r>
              <a:rPr lang="en-US" altLang="en-US" sz="800" b="0" dirty="0">
                <a:solidFill>
                  <a:srgbClr val="000000"/>
                </a:solidFill>
                <a:latin typeface="Arial"/>
              </a:rPr>
              <a:t>See “Important Information” for a discussion of performance data, some of the principal risks related to any of the investment strategies </a:t>
            </a:r>
            <a:br>
              <a:rPr lang="en-US" altLang="en-US" sz="800" b="0" dirty="0">
                <a:solidFill>
                  <a:srgbClr val="000000"/>
                </a:solidFill>
                <a:latin typeface="Arial"/>
              </a:rPr>
            </a:br>
            <a:r>
              <a:rPr lang="en-US" altLang="en-US" sz="800" b="0" dirty="0">
                <a:solidFill>
                  <a:srgbClr val="000000"/>
                </a:solidFill>
                <a:latin typeface="Arial"/>
              </a:rPr>
              <a:t>referred to in this presentation, professional designations and how they are obtained, and other information related to this presentation.</a:t>
            </a:r>
          </a:p>
        </p:txBody>
      </p:sp>
      <p:grpSp>
        <p:nvGrpSpPr>
          <p:cNvPr id="35" name="Group 34">
            <a:extLst>
              <a:ext uri="{FF2B5EF4-FFF2-40B4-BE49-F238E27FC236}">
                <a16:creationId xmlns:a16="http://schemas.microsoft.com/office/drawing/2014/main" id="{5C89791D-B2CB-4A97-8110-87E045E85EE3}"/>
              </a:ext>
            </a:extLst>
          </p:cNvPr>
          <p:cNvGrpSpPr/>
          <p:nvPr userDrawn="1"/>
        </p:nvGrpSpPr>
        <p:grpSpPr>
          <a:xfrm>
            <a:off x="7358173" y="6361974"/>
            <a:ext cx="1382376" cy="297562"/>
            <a:chOff x="6923088" y="4475163"/>
            <a:chExt cx="1873251" cy="403225"/>
          </a:xfrm>
        </p:grpSpPr>
        <p:sp>
          <p:nvSpPr>
            <p:cNvPr id="37" name="AutoShape 4">
              <a:extLst>
                <a:ext uri="{FF2B5EF4-FFF2-40B4-BE49-F238E27FC236}">
                  <a16:creationId xmlns:a16="http://schemas.microsoft.com/office/drawing/2014/main" id="{256E42B7-8D40-456D-8837-CE990224176A}"/>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6">
              <a:extLst>
                <a:ext uri="{FF2B5EF4-FFF2-40B4-BE49-F238E27FC236}">
                  <a16:creationId xmlns:a16="http://schemas.microsoft.com/office/drawing/2014/main" id="{CEC5AC92-1445-4A45-B5FA-35F1132B2086}"/>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7">
              <a:extLst>
                <a:ext uri="{FF2B5EF4-FFF2-40B4-BE49-F238E27FC236}">
                  <a16:creationId xmlns:a16="http://schemas.microsoft.com/office/drawing/2014/main" id="{8D9ABD88-51F6-44D2-8638-4499CF72EB4F}"/>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83">
              <a:extLst>
                <a:ext uri="{FF2B5EF4-FFF2-40B4-BE49-F238E27FC236}">
                  <a16:creationId xmlns:a16="http://schemas.microsoft.com/office/drawing/2014/main" id="{AB894C49-45C2-4236-87FC-911492E384C7}"/>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84">
              <a:extLst>
                <a:ext uri="{FF2B5EF4-FFF2-40B4-BE49-F238E27FC236}">
                  <a16:creationId xmlns:a16="http://schemas.microsoft.com/office/drawing/2014/main" id="{06413496-CFDB-4B8E-B601-04A8AE8379AE}"/>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85">
              <a:extLst>
                <a:ext uri="{FF2B5EF4-FFF2-40B4-BE49-F238E27FC236}">
                  <a16:creationId xmlns:a16="http://schemas.microsoft.com/office/drawing/2014/main" id="{F6660DA9-6CF5-43A3-BDEB-61ED91AC4875}"/>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86">
              <a:extLst>
                <a:ext uri="{FF2B5EF4-FFF2-40B4-BE49-F238E27FC236}">
                  <a16:creationId xmlns:a16="http://schemas.microsoft.com/office/drawing/2014/main" id="{517CC972-00A3-4A21-80CC-05D21668455A}"/>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87">
              <a:extLst>
                <a:ext uri="{FF2B5EF4-FFF2-40B4-BE49-F238E27FC236}">
                  <a16:creationId xmlns:a16="http://schemas.microsoft.com/office/drawing/2014/main" id="{D67C55F2-0C06-4A38-867C-6CD74DA2F0E6}"/>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88">
              <a:extLst>
                <a:ext uri="{FF2B5EF4-FFF2-40B4-BE49-F238E27FC236}">
                  <a16:creationId xmlns:a16="http://schemas.microsoft.com/office/drawing/2014/main" id="{0B2C50D3-2919-4B8E-9EE3-508C84B3F4C9}"/>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89">
              <a:extLst>
                <a:ext uri="{FF2B5EF4-FFF2-40B4-BE49-F238E27FC236}">
                  <a16:creationId xmlns:a16="http://schemas.microsoft.com/office/drawing/2014/main" id="{464087C1-209E-4381-BB3E-9855B415D051}"/>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90">
              <a:extLst>
                <a:ext uri="{FF2B5EF4-FFF2-40B4-BE49-F238E27FC236}">
                  <a16:creationId xmlns:a16="http://schemas.microsoft.com/office/drawing/2014/main" id="{9C5CC6E1-99CD-46AA-8EA8-66ECA3BB6743}"/>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91">
              <a:extLst>
                <a:ext uri="{FF2B5EF4-FFF2-40B4-BE49-F238E27FC236}">
                  <a16:creationId xmlns:a16="http://schemas.microsoft.com/office/drawing/2014/main" id="{100564BC-C7D5-4130-8CA4-B74818772BB9}"/>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92">
              <a:extLst>
                <a:ext uri="{FF2B5EF4-FFF2-40B4-BE49-F238E27FC236}">
                  <a16:creationId xmlns:a16="http://schemas.microsoft.com/office/drawing/2014/main" id="{3C5592C7-46B8-440B-9A9B-4BBA10E9A852}"/>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93">
              <a:extLst>
                <a:ext uri="{FF2B5EF4-FFF2-40B4-BE49-F238E27FC236}">
                  <a16:creationId xmlns:a16="http://schemas.microsoft.com/office/drawing/2014/main" id="{B7ED3C6E-0450-46C4-B598-8CF656E61874}"/>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4">
              <a:extLst>
                <a:ext uri="{FF2B5EF4-FFF2-40B4-BE49-F238E27FC236}">
                  <a16:creationId xmlns:a16="http://schemas.microsoft.com/office/drawing/2014/main" id="{AD2B1F3E-7445-4B4C-9528-DB5B631C9489}"/>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5">
              <a:extLst>
                <a:ext uri="{FF2B5EF4-FFF2-40B4-BE49-F238E27FC236}">
                  <a16:creationId xmlns:a16="http://schemas.microsoft.com/office/drawing/2014/main" id="{6A229020-7EF4-44A6-A13C-EAEEBD8AA53D}"/>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6">
              <a:extLst>
                <a:ext uri="{FF2B5EF4-FFF2-40B4-BE49-F238E27FC236}">
                  <a16:creationId xmlns:a16="http://schemas.microsoft.com/office/drawing/2014/main" id="{6A9AD9C9-D486-4508-8EBF-5607B6D0F060}"/>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97">
              <a:extLst>
                <a:ext uri="{FF2B5EF4-FFF2-40B4-BE49-F238E27FC236}">
                  <a16:creationId xmlns:a16="http://schemas.microsoft.com/office/drawing/2014/main" id="{E7B98288-CFE9-4541-AE6E-E1AD9A387086}"/>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98">
              <a:extLst>
                <a:ext uri="{FF2B5EF4-FFF2-40B4-BE49-F238E27FC236}">
                  <a16:creationId xmlns:a16="http://schemas.microsoft.com/office/drawing/2014/main" id="{EC441BBE-D691-48C4-8144-9252918CC3BB}"/>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99">
              <a:extLst>
                <a:ext uri="{FF2B5EF4-FFF2-40B4-BE49-F238E27FC236}">
                  <a16:creationId xmlns:a16="http://schemas.microsoft.com/office/drawing/2014/main" id="{926F933F-6516-44DF-BD19-8DE4F4256134}"/>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100">
              <a:extLst>
                <a:ext uri="{FF2B5EF4-FFF2-40B4-BE49-F238E27FC236}">
                  <a16:creationId xmlns:a16="http://schemas.microsoft.com/office/drawing/2014/main" id="{7D55741F-239C-4ACB-9617-839C2C76A953}"/>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01">
              <a:extLst>
                <a:ext uri="{FF2B5EF4-FFF2-40B4-BE49-F238E27FC236}">
                  <a16:creationId xmlns:a16="http://schemas.microsoft.com/office/drawing/2014/main" id="{97BA2CBA-119F-417A-A3D5-615918135136}"/>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102">
              <a:extLst>
                <a:ext uri="{FF2B5EF4-FFF2-40B4-BE49-F238E27FC236}">
                  <a16:creationId xmlns:a16="http://schemas.microsoft.com/office/drawing/2014/main" id="{25CE3DC2-26FB-4D97-9877-C6F95846336A}"/>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103">
              <a:extLst>
                <a:ext uri="{FF2B5EF4-FFF2-40B4-BE49-F238E27FC236}">
                  <a16:creationId xmlns:a16="http://schemas.microsoft.com/office/drawing/2014/main" id="{7140E4E0-8622-4F41-8E64-43A97C658F97}"/>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104">
              <a:extLst>
                <a:ext uri="{FF2B5EF4-FFF2-40B4-BE49-F238E27FC236}">
                  <a16:creationId xmlns:a16="http://schemas.microsoft.com/office/drawing/2014/main" id="{0C14C9C0-D305-4FCB-872A-AB351588739B}"/>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 name="Freeform 105">
              <a:extLst>
                <a:ext uri="{FF2B5EF4-FFF2-40B4-BE49-F238E27FC236}">
                  <a16:creationId xmlns:a16="http://schemas.microsoft.com/office/drawing/2014/main" id="{E56ECF2C-32AC-43B5-B663-5A5BD09CDC3C}"/>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Tree>
    <p:extLst>
      <p:ext uri="{BB962C8B-B14F-4D97-AF65-F5344CB8AC3E}">
        <p14:creationId xmlns:p14="http://schemas.microsoft.com/office/powerpoint/2010/main" val="2330093938"/>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OC/Agenda_FIL">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a:noFill/>
          <a:ln w="9525">
            <a:noFill/>
            <a:miter lim="800000"/>
            <a:headEnd/>
            <a:tailEnd/>
          </a:ln>
          <a:effectLst/>
        </p:spPr>
        <p:txBody>
          <a:bodyPr tIns="45720" anchor="t" anchorCtr="0"/>
          <a:lstStyle>
            <a:lvl1pPr>
              <a:defRPr kumimoji="0" lang="en-US" sz="2400" b="0" i="0" u="none" strike="noStrike" kern="0" cap="none" spc="0" normalizeH="0" baseline="0" noProof="0" dirty="0">
                <a:ln>
                  <a:noFill/>
                </a:ln>
                <a:solidFill>
                  <a:srgbClr val="333F48"/>
                </a:solidFill>
                <a:effectLst/>
                <a:uLnTx/>
                <a:uFillTx/>
                <a:latin typeface="+mj-lt"/>
                <a:ea typeface="+mj-ea"/>
                <a:cs typeface="+mj-cs"/>
              </a:defRPr>
            </a:lvl1pPr>
          </a:lstStyle>
          <a:p>
            <a:pPr lvl="0"/>
            <a:r>
              <a:rPr lang="en-US"/>
              <a:t>Click to edit Master title style</a:t>
            </a:r>
            <a:endParaRPr lang="en-US" dirty="0"/>
          </a:p>
        </p:txBody>
      </p:sp>
      <p:sp>
        <p:nvSpPr>
          <p:cNvPr id="10" name="Content Placeholder 9"/>
          <p:cNvSpPr>
            <a:spLocks noGrp="1"/>
          </p:cNvSpPr>
          <p:nvPr>
            <p:ph sz="quarter" idx="13"/>
          </p:nvPr>
        </p:nvSpPr>
        <p:spPr>
          <a:xfrm>
            <a:off x="317115" y="1264280"/>
            <a:ext cx="8188710" cy="3879131"/>
          </a:xfrm>
        </p:spPr>
        <p:txBody>
          <a:bodyPr/>
          <a:lstStyle>
            <a:lvl1pPr marL="227013" indent="-227013">
              <a:spcBef>
                <a:spcPts val="600"/>
              </a:spcBef>
              <a:buClr>
                <a:srgbClr val="7A9B3D"/>
              </a:buClr>
              <a:buSzPct val="100000"/>
              <a:buFont typeface="+mj-lt"/>
              <a:buAutoNum type="arabicPeriod"/>
              <a:defRPr sz="1400" b="0" i="0" baseline="0">
                <a:solidFill>
                  <a:srgbClr val="000000"/>
                </a:solidFill>
                <a:latin typeface="Arial" pitchFamily="34" charset="0"/>
              </a:defRPr>
            </a:lvl1pPr>
            <a:lvl2pPr marL="461963" indent="-217488">
              <a:spcBef>
                <a:spcPts val="600"/>
              </a:spcBef>
              <a:buClr>
                <a:srgbClr val="768692"/>
              </a:buClr>
              <a:buFont typeface="+mj-lt"/>
              <a:buAutoNum type="alphaUcPeriod"/>
              <a:defRPr sz="1200" baseline="0">
                <a:solidFill>
                  <a:srgbClr val="000000"/>
                </a:solidFill>
                <a:latin typeface="Arial" pitchFamily="34" charset="0"/>
              </a:defRPr>
            </a:lvl2pPr>
            <a:lvl3pPr>
              <a:spcBef>
                <a:spcPts val="600"/>
              </a:spcBef>
              <a:buClr>
                <a:srgbClr val="000000"/>
              </a:buClr>
              <a:defRPr baseline="0">
                <a:solidFill>
                  <a:srgbClr val="000000"/>
                </a:solidFill>
              </a:defRPr>
            </a:lvl3pPr>
          </a:lstStyle>
          <a:p>
            <a:pPr lvl="0"/>
            <a:r>
              <a:rPr lang="en-US"/>
              <a:t>Click to edit Master text styles</a:t>
            </a:r>
          </a:p>
          <a:p>
            <a:pPr lvl="1"/>
            <a:r>
              <a:rPr lang="en-US"/>
              <a:t>Second level</a:t>
            </a:r>
          </a:p>
          <a:p>
            <a:pPr lvl="2"/>
            <a:r>
              <a:rPr lang="en-US"/>
              <a:t>Third level</a:t>
            </a:r>
          </a:p>
        </p:txBody>
      </p:sp>
      <p:sp>
        <p:nvSpPr>
          <p:cNvPr id="5"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dirty="0"/>
              <a:t>Page footer, i.e., For institutional use only.</a:t>
            </a:r>
          </a:p>
        </p:txBody>
      </p:sp>
      <p:sp>
        <p:nvSpPr>
          <p:cNvPr id="7"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dirty="0"/>
              <a:t>Production code #</a:t>
            </a:r>
          </a:p>
        </p:txBody>
      </p:sp>
      <p:sp>
        <p:nvSpPr>
          <p:cNvPr id="36" name="Text Box 5"/>
          <p:cNvSpPr txBox="1">
            <a:spLocks noChangeArrowheads="1"/>
          </p:cNvSpPr>
          <p:nvPr userDrawn="1"/>
        </p:nvSpPr>
        <p:spPr bwMode="auto">
          <a:xfrm>
            <a:off x="320040" y="6189203"/>
            <a:ext cx="6715550" cy="367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anchor="b"/>
          <a:lstStyle>
            <a:lvl1pPr eaLnBrk="0" hangingPunct="0">
              <a:spcBef>
                <a:spcPct val="20000"/>
              </a:spcBef>
              <a:buSzPct val="40000"/>
              <a:defRPr sz="1600" b="1">
                <a:solidFill>
                  <a:schemeClr val="accent1"/>
                </a:solidFill>
                <a:latin typeface="Arial" charset="0"/>
              </a:defRPr>
            </a:lvl1pPr>
            <a:lvl2pPr marL="742950" indent="-285750" eaLnBrk="0" hangingPunct="0">
              <a:spcBef>
                <a:spcPct val="20000"/>
              </a:spcBef>
              <a:buClr>
                <a:srgbClr val="978981"/>
              </a:buClr>
              <a:buChar char="•"/>
              <a:defRPr sz="1400">
                <a:solidFill>
                  <a:schemeClr val="tx1"/>
                </a:solidFill>
                <a:latin typeface="Arial" charset="0"/>
              </a:defRPr>
            </a:lvl2pPr>
            <a:lvl3pPr marL="1143000" indent="-228600" eaLnBrk="0" hangingPunct="0">
              <a:spcBef>
                <a:spcPct val="20000"/>
              </a:spcBef>
              <a:buClr>
                <a:schemeClr val="accent1"/>
              </a:buClr>
              <a:buFont typeface="Arial" charset="0"/>
              <a:buChar char="–"/>
              <a:defRPr sz="1200">
                <a:solidFill>
                  <a:schemeClr val="accent1"/>
                </a:solidFill>
                <a:latin typeface="Arial" charset="0"/>
              </a:defRPr>
            </a:lvl3pPr>
            <a:lvl4pPr marL="1600200" indent="-228600" eaLnBrk="0" hangingPunct="0">
              <a:spcBef>
                <a:spcPct val="20000"/>
              </a:spcBef>
              <a:buFont typeface="Arial" charset="0"/>
              <a:buChar char="•"/>
              <a:defRPr sz="1200">
                <a:solidFill>
                  <a:srgbClr val="4C5F6C"/>
                </a:solidFill>
                <a:latin typeface="Arial" charset="0"/>
              </a:defRPr>
            </a:lvl4pPr>
            <a:lvl5pPr marL="2057400" indent="-228600" eaLnBrk="0" hangingPunct="0">
              <a:lnSpc>
                <a:spcPts val="2400"/>
              </a:lnSpc>
              <a:defRPr sz="1400">
                <a:solidFill>
                  <a:schemeClr val="tx1"/>
                </a:solidFill>
                <a:latin typeface="Arial" charset="0"/>
              </a:defRPr>
            </a:lvl5pPr>
            <a:lvl6pPr marL="2514600" indent="-228600" eaLnBrk="0" fontAlgn="base" hangingPunct="0">
              <a:lnSpc>
                <a:spcPts val="2400"/>
              </a:lnSpc>
              <a:spcBef>
                <a:spcPct val="0"/>
              </a:spcBef>
              <a:spcAft>
                <a:spcPct val="0"/>
              </a:spcAft>
              <a:defRPr sz="1400">
                <a:solidFill>
                  <a:schemeClr val="tx1"/>
                </a:solidFill>
                <a:latin typeface="Arial" charset="0"/>
              </a:defRPr>
            </a:lvl6pPr>
            <a:lvl7pPr marL="2971800" indent="-228600" eaLnBrk="0" fontAlgn="base" hangingPunct="0">
              <a:lnSpc>
                <a:spcPts val="2400"/>
              </a:lnSpc>
              <a:spcBef>
                <a:spcPct val="0"/>
              </a:spcBef>
              <a:spcAft>
                <a:spcPct val="0"/>
              </a:spcAft>
              <a:defRPr sz="1400">
                <a:solidFill>
                  <a:schemeClr val="tx1"/>
                </a:solidFill>
                <a:latin typeface="Arial" charset="0"/>
              </a:defRPr>
            </a:lvl7pPr>
            <a:lvl8pPr marL="3429000" indent="-228600" eaLnBrk="0" fontAlgn="base" hangingPunct="0">
              <a:lnSpc>
                <a:spcPts val="2400"/>
              </a:lnSpc>
              <a:spcBef>
                <a:spcPct val="0"/>
              </a:spcBef>
              <a:spcAft>
                <a:spcPct val="0"/>
              </a:spcAft>
              <a:defRPr sz="1400">
                <a:solidFill>
                  <a:schemeClr val="tx1"/>
                </a:solidFill>
                <a:latin typeface="Arial" charset="0"/>
              </a:defRPr>
            </a:lvl8pPr>
            <a:lvl9pPr marL="3886200" indent="-228600" eaLnBrk="0" fontAlgn="base" hangingPunct="0">
              <a:lnSpc>
                <a:spcPts val="2400"/>
              </a:lnSpc>
              <a:spcBef>
                <a:spcPct val="0"/>
              </a:spcBef>
              <a:spcAft>
                <a:spcPct val="0"/>
              </a:spcAft>
              <a:defRPr sz="1400">
                <a:solidFill>
                  <a:schemeClr val="tx1"/>
                </a:solidFill>
                <a:latin typeface="Arial" charset="0"/>
              </a:defRPr>
            </a:lvl9pPr>
          </a:lstStyle>
          <a:p>
            <a:pPr>
              <a:lnSpc>
                <a:spcPts val="1000"/>
              </a:lnSpc>
              <a:spcBef>
                <a:spcPct val="0"/>
              </a:spcBef>
              <a:spcAft>
                <a:spcPts val="300"/>
              </a:spcAft>
              <a:buSzTx/>
              <a:defRPr/>
            </a:pPr>
            <a:r>
              <a:rPr lang="en-US" sz="800" b="0" i="1" kern="0" dirty="0">
                <a:solidFill>
                  <a:srgbClr val="000000"/>
                </a:solidFill>
                <a:latin typeface="Arial"/>
              </a:rPr>
              <a:t>Current performance may substantially differ from, and could be significantly lower than, performance shown due to recent significant market volatility. Please contact FIAM for updated performance numbers after the tenth business day following quarter end.</a:t>
            </a:r>
            <a:endParaRPr lang="en-US" altLang="en-US" sz="800" b="0" dirty="0">
              <a:solidFill>
                <a:srgbClr val="000000"/>
              </a:solidFill>
              <a:latin typeface="Arial"/>
            </a:endParaRPr>
          </a:p>
          <a:p>
            <a:pPr>
              <a:lnSpc>
                <a:spcPts val="1000"/>
              </a:lnSpc>
              <a:spcBef>
                <a:spcPct val="0"/>
              </a:spcBef>
              <a:spcAft>
                <a:spcPts val="300"/>
              </a:spcAft>
              <a:buSzTx/>
            </a:pPr>
            <a:r>
              <a:rPr lang="en-US" altLang="en-US" sz="800" b="0" dirty="0">
                <a:solidFill>
                  <a:srgbClr val="000000"/>
                </a:solidFill>
                <a:latin typeface="Arial"/>
              </a:rPr>
              <a:t>See “Important Information” for a discussion of performance data, some of the principal risks related to any of the investment strategies referred to in this presentation, </a:t>
            </a:r>
            <a:r>
              <a:rPr lang="en-US" altLang="en-US" sz="800" b="0" dirty="0">
                <a:solidFill>
                  <a:srgbClr val="FF0000"/>
                </a:solidFill>
                <a:latin typeface="Arial"/>
              </a:rPr>
              <a:t>professional designations and how they are obtained, </a:t>
            </a:r>
            <a:r>
              <a:rPr lang="en-US" altLang="en-US" sz="800" b="0" dirty="0">
                <a:solidFill>
                  <a:srgbClr val="000000"/>
                </a:solidFill>
                <a:latin typeface="Arial"/>
              </a:rPr>
              <a:t>and other information related to this presentation.</a:t>
            </a:r>
          </a:p>
        </p:txBody>
      </p:sp>
      <p:grpSp>
        <p:nvGrpSpPr>
          <p:cNvPr id="35" name="Group 34">
            <a:extLst>
              <a:ext uri="{FF2B5EF4-FFF2-40B4-BE49-F238E27FC236}">
                <a16:creationId xmlns:a16="http://schemas.microsoft.com/office/drawing/2014/main" id="{9B671028-E48D-40C5-8ACD-C05FDF7D449F}"/>
              </a:ext>
            </a:extLst>
          </p:cNvPr>
          <p:cNvGrpSpPr/>
          <p:nvPr userDrawn="1"/>
        </p:nvGrpSpPr>
        <p:grpSpPr>
          <a:xfrm>
            <a:off x="7358173" y="6361974"/>
            <a:ext cx="1382376" cy="297562"/>
            <a:chOff x="6923088" y="4475163"/>
            <a:chExt cx="1873251" cy="403225"/>
          </a:xfrm>
        </p:grpSpPr>
        <p:sp>
          <p:nvSpPr>
            <p:cNvPr id="37" name="AutoShape 4">
              <a:extLst>
                <a:ext uri="{FF2B5EF4-FFF2-40B4-BE49-F238E27FC236}">
                  <a16:creationId xmlns:a16="http://schemas.microsoft.com/office/drawing/2014/main" id="{41A0A4C3-79DD-40B6-8BC6-D9EE8117E164}"/>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6">
              <a:extLst>
                <a:ext uri="{FF2B5EF4-FFF2-40B4-BE49-F238E27FC236}">
                  <a16:creationId xmlns:a16="http://schemas.microsoft.com/office/drawing/2014/main" id="{06A09DE6-1F7D-487C-89F5-0133C2811EF1}"/>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7">
              <a:extLst>
                <a:ext uri="{FF2B5EF4-FFF2-40B4-BE49-F238E27FC236}">
                  <a16:creationId xmlns:a16="http://schemas.microsoft.com/office/drawing/2014/main" id="{BC537B18-1528-4582-A10A-FD2BFCA85C9B}"/>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83">
              <a:extLst>
                <a:ext uri="{FF2B5EF4-FFF2-40B4-BE49-F238E27FC236}">
                  <a16:creationId xmlns:a16="http://schemas.microsoft.com/office/drawing/2014/main" id="{A763B7BA-5F06-45F4-B336-0D7F28991AC1}"/>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84">
              <a:extLst>
                <a:ext uri="{FF2B5EF4-FFF2-40B4-BE49-F238E27FC236}">
                  <a16:creationId xmlns:a16="http://schemas.microsoft.com/office/drawing/2014/main" id="{B59244BE-4416-4E71-8CFD-E3148F4E65B4}"/>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85">
              <a:extLst>
                <a:ext uri="{FF2B5EF4-FFF2-40B4-BE49-F238E27FC236}">
                  <a16:creationId xmlns:a16="http://schemas.microsoft.com/office/drawing/2014/main" id="{D7CB18BD-454C-4083-ACF8-08A15D7DE79D}"/>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86">
              <a:extLst>
                <a:ext uri="{FF2B5EF4-FFF2-40B4-BE49-F238E27FC236}">
                  <a16:creationId xmlns:a16="http://schemas.microsoft.com/office/drawing/2014/main" id="{94B7FE36-E6D8-48D3-A920-E17EA9D8FF8A}"/>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87">
              <a:extLst>
                <a:ext uri="{FF2B5EF4-FFF2-40B4-BE49-F238E27FC236}">
                  <a16:creationId xmlns:a16="http://schemas.microsoft.com/office/drawing/2014/main" id="{91500554-36B6-48B3-B52C-B65BB750F0AF}"/>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88">
              <a:extLst>
                <a:ext uri="{FF2B5EF4-FFF2-40B4-BE49-F238E27FC236}">
                  <a16:creationId xmlns:a16="http://schemas.microsoft.com/office/drawing/2014/main" id="{242806E8-1993-4314-9125-9F718CD2463F}"/>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89">
              <a:extLst>
                <a:ext uri="{FF2B5EF4-FFF2-40B4-BE49-F238E27FC236}">
                  <a16:creationId xmlns:a16="http://schemas.microsoft.com/office/drawing/2014/main" id="{D4AFA8A6-1EEC-415E-BB42-399FE44894EE}"/>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90">
              <a:extLst>
                <a:ext uri="{FF2B5EF4-FFF2-40B4-BE49-F238E27FC236}">
                  <a16:creationId xmlns:a16="http://schemas.microsoft.com/office/drawing/2014/main" id="{99DC5ADB-9A49-4B3F-930C-28D84D6505AC}"/>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91">
              <a:extLst>
                <a:ext uri="{FF2B5EF4-FFF2-40B4-BE49-F238E27FC236}">
                  <a16:creationId xmlns:a16="http://schemas.microsoft.com/office/drawing/2014/main" id="{AED2E847-3F3A-4514-BF00-2256431A212D}"/>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92">
              <a:extLst>
                <a:ext uri="{FF2B5EF4-FFF2-40B4-BE49-F238E27FC236}">
                  <a16:creationId xmlns:a16="http://schemas.microsoft.com/office/drawing/2014/main" id="{5AD1B40E-46E6-4893-B807-94DA6F5E0C6B}"/>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93">
              <a:extLst>
                <a:ext uri="{FF2B5EF4-FFF2-40B4-BE49-F238E27FC236}">
                  <a16:creationId xmlns:a16="http://schemas.microsoft.com/office/drawing/2014/main" id="{BAEC2E29-1A2F-4FB2-AEAC-2728E44A0D66}"/>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4">
              <a:extLst>
                <a:ext uri="{FF2B5EF4-FFF2-40B4-BE49-F238E27FC236}">
                  <a16:creationId xmlns:a16="http://schemas.microsoft.com/office/drawing/2014/main" id="{2D42C520-E013-4E29-B604-496C5C1FF3FA}"/>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5">
              <a:extLst>
                <a:ext uri="{FF2B5EF4-FFF2-40B4-BE49-F238E27FC236}">
                  <a16:creationId xmlns:a16="http://schemas.microsoft.com/office/drawing/2014/main" id="{B7DD14D4-C960-46FA-8A45-D56F5C19EAD4}"/>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6">
              <a:extLst>
                <a:ext uri="{FF2B5EF4-FFF2-40B4-BE49-F238E27FC236}">
                  <a16:creationId xmlns:a16="http://schemas.microsoft.com/office/drawing/2014/main" id="{E16CF84E-5E30-4B1D-A884-C3C46A6FCD54}"/>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97">
              <a:extLst>
                <a:ext uri="{FF2B5EF4-FFF2-40B4-BE49-F238E27FC236}">
                  <a16:creationId xmlns:a16="http://schemas.microsoft.com/office/drawing/2014/main" id="{FCAFF8C7-3F9F-4B5D-992B-894297B50B97}"/>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98">
              <a:extLst>
                <a:ext uri="{FF2B5EF4-FFF2-40B4-BE49-F238E27FC236}">
                  <a16:creationId xmlns:a16="http://schemas.microsoft.com/office/drawing/2014/main" id="{3C7CE6E6-40FF-4BFB-AF55-B1ACB79E45B4}"/>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99">
              <a:extLst>
                <a:ext uri="{FF2B5EF4-FFF2-40B4-BE49-F238E27FC236}">
                  <a16:creationId xmlns:a16="http://schemas.microsoft.com/office/drawing/2014/main" id="{9053C78C-E959-476C-B6BE-1F5CD9988B1D}"/>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100">
              <a:extLst>
                <a:ext uri="{FF2B5EF4-FFF2-40B4-BE49-F238E27FC236}">
                  <a16:creationId xmlns:a16="http://schemas.microsoft.com/office/drawing/2014/main" id="{6B650DC3-F60E-4D00-B0B4-6826F061302A}"/>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01">
              <a:extLst>
                <a:ext uri="{FF2B5EF4-FFF2-40B4-BE49-F238E27FC236}">
                  <a16:creationId xmlns:a16="http://schemas.microsoft.com/office/drawing/2014/main" id="{92A617C5-EA9A-4E5E-BCA5-D29DDB093EB1}"/>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102">
              <a:extLst>
                <a:ext uri="{FF2B5EF4-FFF2-40B4-BE49-F238E27FC236}">
                  <a16:creationId xmlns:a16="http://schemas.microsoft.com/office/drawing/2014/main" id="{7664EE20-78C2-4457-88D7-0E7298C674FC}"/>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103">
              <a:extLst>
                <a:ext uri="{FF2B5EF4-FFF2-40B4-BE49-F238E27FC236}">
                  <a16:creationId xmlns:a16="http://schemas.microsoft.com/office/drawing/2014/main" id="{33D15C1A-04E9-463A-8619-EDB39EBA46BB}"/>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104">
              <a:extLst>
                <a:ext uri="{FF2B5EF4-FFF2-40B4-BE49-F238E27FC236}">
                  <a16:creationId xmlns:a16="http://schemas.microsoft.com/office/drawing/2014/main" id="{2AD3A8A6-2731-4BC1-B17D-F9165A963F23}"/>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 name="Freeform 105">
              <a:extLst>
                <a:ext uri="{FF2B5EF4-FFF2-40B4-BE49-F238E27FC236}">
                  <a16:creationId xmlns:a16="http://schemas.microsoft.com/office/drawing/2014/main" id="{53B0DC82-B3F2-4112-B778-9F65A4293160}"/>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Tree>
    <p:extLst>
      <p:ext uri="{BB962C8B-B14F-4D97-AF65-F5344CB8AC3E}">
        <p14:creationId xmlns:p14="http://schemas.microsoft.com/office/powerpoint/2010/main" val="687970969"/>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lvl1pPr>
              <a:defRPr>
                <a:solidFill>
                  <a:srgbClr val="333F48"/>
                </a:solidFill>
              </a:defRPr>
            </a:lvl1pPr>
          </a:lstStyle>
          <a:p>
            <a:r>
              <a:rPr lang="en-US"/>
              <a:t>Click to edit Master title style</a:t>
            </a:r>
            <a:endParaRPr lang="en-US" dirty="0"/>
          </a:p>
        </p:txBody>
      </p:sp>
      <p:grpSp>
        <p:nvGrpSpPr>
          <p:cNvPr id="33" name="Group 32">
            <a:extLst>
              <a:ext uri="{FF2B5EF4-FFF2-40B4-BE49-F238E27FC236}">
                <a16:creationId xmlns:a16="http://schemas.microsoft.com/office/drawing/2014/main" id="{0F62616B-A113-49C2-BCA3-32AFDB89CBE2}"/>
              </a:ext>
            </a:extLst>
          </p:cNvPr>
          <p:cNvGrpSpPr/>
          <p:nvPr userDrawn="1"/>
        </p:nvGrpSpPr>
        <p:grpSpPr>
          <a:xfrm>
            <a:off x="7358173" y="6361974"/>
            <a:ext cx="1382376" cy="297562"/>
            <a:chOff x="6923088" y="4475163"/>
            <a:chExt cx="1873251" cy="403225"/>
          </a:xfrm>
        </p:grpSpPr>
        <p:sp>
          <p:nvSpPr>
            <p:cNvPr id="34" name="AutoShape 4">
              <a:extLst>
                <a:ext uri="{FF2B5EF4-FFF2-40B4-BE49-F238E27FC236}">
                  <a16:creationId xmlns:a16="http://schemas.microsoft.com/office/drawing/2014/main" id="{49D58BA8-C307-41D7-A988-42E097D1EF76}"/>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6">
              <a:extLst>
                <a:ext uri="{FF2B5EF4-FFF2-40B4-BE49-F238E27FC236}">
                  <a16:creationId xmlns:a16="http://schemas.microsoft.com/office/drawing/2014/main" id="{99E6BBF1-6900-43FC-B106-808C1203D52D}"/>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7">
              <a:extLst>
                <a:ext uri="{FF2B5EF4-FFF2-40B4-BE49-F238E27FC236}">
                  <a16:creationId xmlns:a16="http://schemas.microsoft.com/office/drawing/2014/main" id="{1CAA1F79-AF27-468E-8586-71EF43CE357A}"/>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83">
              <a:extLst>
                <a:ext uri="{FF2B5EF4-FFF2-40B4-BE49-F238E27FC236}">
                  <a16:creationId xmlns:a16="http://schemas.microsoft.com/office/drawing/2014/main" id="{25628C13-6D93-4F00-8ED8-90737568691A}"/>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84">
              <a:extLst>
                <a:ext uri="{FF2B5EF4-FFF2-40B4-BE49-F238E27FC236}">
                  <a16:creationId xmlns:a16="http://schemas.microsoft.com/office/drawing/2014/main" id="{85C9C7A1-11FD-4D2C-8EDF-4833DE82B50F}"/>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85">
              <a:extLst>
                <a:ext uri="{FF2B5EF4-FFF2-40B4-BE49-F238E27FC236}">
                  <a16:creationId xmlns:a16="http://schemas.microsoft.com/office/drawing/2014/main" id="{713E574F-4758-48CF-8C5C-4B0FEAD58DBC}"/>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86">
              <a:extLst>
                <a:ext uri="{FF2B5EF4-FFF2-40B4-BE49-F238E27FC236}">
                  <a16:creationId xmlns:a16="http://schemas.microsoft.com/office/drawing/2014/main" id="{5095EFD8-8B78-4FEF-966C-2B785E288D2C}"/>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87">
              <a:extLst>
                <a:ext uri="{FF2B5EF4-FFF2-40B4-BE49-F238E27FC236}">
                  <a16:creationId xmlns:a16="http://schemas.microsoft.com/office/drawing/2014/main" id="{E1B3AF36-9DB0-4539-A4AF-978F6A19D6B3}"/>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88">
              <a:extLst>
                <a:ext uri="{FF2B5EF4-FFF2-40B4-BE49-F238E27FC236}">
                  <a16:creationId xmlns:a16="http://schemas.microsoft.com/office/drawing/2014/main" id="{F15062CC-7097-4E22-AE5F-F76A8333AC1D}"/>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89">
              <a:extLst>
                <a:ext uri="{FF2B5EF4-FFF2-40B4-BE49-F238E27FC236}">
                  <a16:creationId xmlns:a16="http://schemas.microsoft.com/office/drawing/2014/main" id="{62041FF7-97A2-4A11-9271-8D11EF1B6F17}"/>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90">
              <a:extLst>
                <a:ext uri="{FF2B5EF4-FFF2-40B4-BE49-F238E27FC236}">
                  <a16:creationId xmlns:a16="http://schemas.microsoft.com/office/drawing/2014/main" id="{866430AE-6669-4687-886A-98B81A7EF4AC}"/>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91">
              <a:extLst>
                <a:ext uri="{FF2B5EF4-FFF2-40B4-BE49-F238E27FC236}">
                  <a16:creationId xmlns:a16="http://schemas.microsoft.com/office/drawing/2014/main" id="{57909145-25A0-4EAB-B40E-FBACBBFF5AE0}"/>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92">
              <a:extLst>
                <a:ext uri="{FF2B5EF4-FFF2-40B4-BE49-F238E27FC236}">
                  <a16:creationId xmlns:a16="http://schemas.microsoft.com/office/drawing/2014/main" id="{62666816-D824-4ACC-8078-CCF01B95645F}"/>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93">
              <a:extLst>
                <a:ext uri="{FF2B5EF4-FFF2-40B4-BE49-F238E27FC236}">
                  <a16:creationId xmlns:a16="http://schemas.microsoft.com/office/drawing/2014/main" id="{1F0724D1-2EFF-4A05-AA97-B428B60B54AA}"/>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94">
              <a:extLst>
                <a:ext uri="{FF2B5EF4-FFF2-40B4-BE49-F238E27FC236}">
                  <a16:creationId xmlns:a16="http://schemas.microsoft.com/office/drawing/2014/main" id="{D34C7757-1028-46E7-A0FC-91415EC881CB}"/>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95">
              <a:extLst>
                <a:ext uri="{FF2B5EF4-FFF2-40B4-BE49-F238E27FC236}">
                  <a16:creationId xmlns:a16="http://schemas.microsoft.com/office/drawing/2014/main" id="{36C1B6E4-AA6D-4CF5-B8E3-594DC6CE63A1}"/>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6">
              <a:extLst>
                <a:ext uri="{FF2B5EF4-FFF2-40B4-BE49-F238E27FC236}">
                  <a16:creationId xmlns:a16="http://schemas.microsoft.com/office/drawing/2014/main" id="{DF1C8D13-DF52-4DA1-BA6C-7FDF9DC5423E}"/>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7">
              <a:extLst>
                <a:ext uri="{FF2B5EF4-FFF2-40B4-BE49-F238E27FC236}">
                  <a16:creationId xmlns:a16="http://schemas.microsoft.com/office/drawing/2014/main" id="{0B1E1E0F-7A95-4895-BC4B-813467036ACD}"/>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8">
              <a:extLst>
                <a:ext uri="{FF2B5EF4-FFF2-40B4-BE49-F238E27FC236}">
                  <a16:creationId xmlns:a16="http://schemas.microsoft.com/office/drawing/2014/main" id="{1724219D-3EC2-412F-BEDC-0B04B4D64F07}"/>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99">
              <a:extLst>
                <a:ext uri="{FF2B5EF4-FFF2-40B4-BE49-F238E27FC236}">
                  <a16:creationId xmlns:a16="http://schemas.microsoft.com/office/drawing/2014/main" id="{66CE2863-34C9-4A02-9B77-AFA590051207}"/>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100">
              <a:extLst>
                <a:ext uri="{FF2B5EF4-FFF2-40B4-BE49-F238E27FC236}">
                  <a16:creationId xmlns:a16="http://schemas.microsoft.com/office/drawing/2014/main" id="{80C1B223-C089-47E5-927C-E60A5CDCA764}"/>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101">
              <a:extLst>
                <a:ext uri="{FF2B5EF4-FFF2-40B4-BE49-F238E27FC236}">
                  <a16:creationId xmlns:a16="http://schemas.microsoft.com/office/drawing/2014/main" id="{058054D3-04AE-4AA2-873C-35A5A9D314DF}"/>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102">
              <a:extLst>
                <a:ext uri="{FF2B5EF4-FFF2-40B4-BE49-F238E27FC236}">
                  <a16:creationId xmlns:a16="http://schemas.microsoft.com/office/drawing/2014/main" id="{CC748DEB-C39E-42D7-937A-08EF61FC5D31}"/>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03">
              <a:extLst>
                <a:ext uri="{FF2B5EF4-FFF2-40B4-BE49-F238E27FC236}">
                  <a16:creationId xmlns:a16="http://schemas.microsoft.com/office/drawing/2014/main" id="{B18D9B0F-C3B3-45D2-BAAC-62562A3321F1}"/>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104">
              <a:extLst>
                <a:ext uri="{FF2B5EF4-FFF2-40B4-BE49-F238E27FC236}">
                  <a16:creationId xmlns:a16="http://schemas.microsoft.com/office/drawing/2014/main" id="{88CA10C9-6D49-426A-B008-08E0E8E944BC}"/>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105">
              <a:extLst>
                <a:ext uri="{FF2B5EF4-FFF2-40B4-BE49-F238E27FC236}">
                  <a16:creationId xmlns:a16="http://schemas.microsoft.com/office/drawing/2014/main" id="{070CAC55-C633-45AA-A07A-C0957C583FFD}"/>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1" name="Slide Number Placeholder 3">
            <a:extLst>
              <a:ext uri="{FF2B5EF4-FFF2-40B4-BE49-F238E27FC236}">
                <a16:creationId xmlns:a16="http://schemas.microsoft.com/office/drawing/2014/main" id="{EF524037-F5D0-4428-9CA5-C04BEDCCDDDB}"/>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2" name="Rectangle 155">
            <a:extLst>
              <a:ext uri="{FF2B5EF4-FFF2-40B4-BE49-F238E27FC236}">
                <a16:creationId xmlns:a16="http://schemas.microsoft.com/office/drawing/2014/main" id="{2B1046A9-03EE-49D1-911F-F1D3C9D50387}"/>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dirty="0"/>
              <a:t>Production code #</a:t>
            </a:r>
          </a:p>
        </p:txBody>
      </p:sp>
      <p:sp>
        <p:nvSpPr>
          <p:cNvPr id="63" name="Rectangle 176">
            <a:extLst>
              <a:ext uri="{FF2B5EF4-FFF2-40B4-BE49-F238E27FC236}">
                <a16:creationId xmlns:a16="http://schemas.microsoft.com/office/drawing/2014/main" id="{3D2F4685-1C9C-46FB-9AD7-3D8BB399C73D}"/>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3752128684"/>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p>
            <a:r>
              <a:rPr lang="en-US"/>
              <a:t>Click to edit Master title style</a:t>
            </a:r>
            <a:endParaRPr lang="en-US" dirty="0"/>
          </a:p>
        </p:txBody>
      </p:sp>
      <p:sp>
        <p:nvSpPr>
          <p:cNvPr id="7" name="Content Placeholder 2"/>
          <p:cNvSpPr>
            <a:spLocks noGrp="1"/>
          </p:cNvSpPr>
          <p:nvPr>
            <p:ph idx="13"/>
          </p:nvPr>
        </p:nvSpPr>
        <p:spPr>
          <a:xfrm>
            <a:off x="325661" y="1339850"/>
            <a:ext cx="8188710" cy="4878388"/>
          </a:xfrm>
        </p:spPr>
        <p:txBody>
          <a:bodyPr lIns="91440"/>
          <a:lstStyle>
            <a:lvl1pPr marL="0" indent="0" algn="l" rtl="0" fontAlgn="base">
              <a:spcBef>
                <a:spcPts val="480"/>
              </a:spcBef>
              <a:spcAft>
                <a:spcPct val="0"/>
              </a:spcAft>
              <a:buSzPct val="40000"/>
              <a:defRPr lang="en-US" sz="1600" b="1" dirty="0" smtClean="0">
                <a:solidFill>
                  <a:srgbClr val="7A9A3D"/>
                </a:solidFill>
                <a:latin typeface="+mn-lt"/>
                <a:ea typeface="+mn-ea"/>
                <a:cs typeface="+mn-cs"/>
              </a:defRPr>
            </a:lvl1pPr>
            <a:lvl2pPr>
              <a:spcBef>
                <a:spcPts val="2000"/>
              </a:spcBef>
              <a:defRPr lang="en-US" dirty="0" smtClean="0">
                <a:solidFill>
                  <a:schemeClr val="tx1"/>
                </a:solidFill>
                <a:latin typeface="+mn-lt"/>
              </a:defRPr>
            </a:lvl2pPr>
            <a:lvl3pPr>
              <a:defRPr lang="en-US" sz="1600" dirty="0" smtClean="0">
                <a:solidFill>
                  <a:schemeClr val="accent1"/>
                </a:solidFill>
                <a:latin typeface="+mn-lt"/>
              </a:defRPr>
            </a:lvl3pPr>
            <a:lvl4pPr>
              <a:buClr>
                <a:schemeClr val="bg2"/>
              </a:buClr>
              <a:buSzPct val="80000"/>
              <a:buFont typeface="Arial" pitchFamily="34" charset="0"/>
              <a:buChar char="•"/>
              <a:defRPr sz="1400">
                <a:solidFill>
                  <a:schemeClr val="accent1"/>
                </a:solidFill>
              </a:defRPr>
            </a:lvl4pPr>
          </a:lstStyle>
          <a:p>
            <a:pPr lvl="0"/>
            <a:r>
              <a:rPr lang="en-US"/>
              <a:t>Click to edit Master text styles</a:t>
            </a:r>
          </a:p>
        </p:txBody>
      </p:sp>
      <p:grpSp>
        <p:nvGrpSpPr>
          <p:cNvPr id="34" name="Group 33">
            <a:extLst>
              <a:ext uri="{FF2B5EF4-FFF2-40B4-BE49-F238E27FC236}">
                <a16:creationId xmlns:a16="http://schemas.microsoft.com/office/drawing/2014/main" id="{7645B271-DC5A-455C-972F-184CD6F75FE1}"/>
              </a:ext>
            </a:extLst>
          </p:cNvPr>
          <p:cNvGrpSpPr/>
          <p:nvPr userDrawn="1"/>
        </p:nvGrpSpPr>
        <p:grpSpPr>
          <a:xfrm>
            <a:off x="7358173" y="6361974"/>
            <a:ext cx="1382376" cy="297562"/>
            <a:chOff x="6923088" y="4475163"/>
            <a:chExt cx="1873251" cy="403225"/>
          </a:xfrm>
        </p:grpSpPr>
        <p:sp>
          <p:nvSpPr>
            <p:cNvPr id="35" name="AutoShape 4">
              <a:extLst>
                <a:ext uri="{FF2B5EF4-FFF2-40B4-BE49-F238E27FC236}">
                  <a16:creationId xmlns:a16="http://schemas.microsoft.com/office/drawing/2014/main" id="{981F299B-B30A-4200-882E-A1DB110E54A1}"/>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6">
              <a:extLst>
                <a:ext uri="{FF2B5EF4-FFF2-40B4-BE49-F238E27FC236}">
                  <a16:creationId xmlns:a16="http://schemas.microsoft.com/office/drawing/2014/main" id="{8CB19815-5037-45FC-9786-8C9AD1058016}"/>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7">
              <a:extLst>
                <a:ext uri="{FF2B5EF4-FFF2-40B4-BE49-F238E27FC236}">
                  <a16:creationId xmlns:a16="http://schemas.microsoft.com/office/drawing/2014/main" id="{210663C0-C8F9-403A-8CD2-C1F7CF8FC2BF}"/>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83">
              <a:extLst>
                <a:ext uri="{FF2B5EF4-FFF2-40B4-BE49-F238E27FC236}">
                  <a16:creationId xmlns:a16="http://schemas.microsoft.com/office/drawing/2014/main" id="{8158FE4D-784E-459F-A960-4E125DF0F251}"/>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84">
              <a:extLst>
                <a:ext uri="{FF2B5EF4-FFF2-40B4-BE49-F238E27FC236}">
                  <a16:creationId xmlns:a16="http://schemas.microsoft.com/office/drawing/2014/main" id="{84E0C97A-D15D-41FF-A250-6C5D06F3172F}"/>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85">
              <a:extLst>
                <a:ext uri="{FF2B5EF4-FFF2-40B4-BE49-F238E27FC236}">
                  <a16:creationId xmlns:a16="http://schemas.microsoft.com/office/drawing/2014/main" id="{9286D920-7349-4DA5-8098-FBBBA4142274}"/>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86">
              <a:extLst>
                <a:ext uri="{FF2B5EF4-FFF2-40B4-BE49-F238E27FC236}">
                  <a16:creationId xmlns:a16="http://schemas.microsoft.com/office/drawing/2014/main" id="{C1B434F8-ADCA-4E47-AE1A-49F89DAFECC5}"/>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87">
              <a:extLst>
                <a:ext uri="{FF2B5EF4-FFF2-40B4-BE49-F238E27FC236}">
                  <a16:creationId xmlns:a16="http://schemas.microsoft.com/office/drawing/2014/main" id="{282F5851-8545-4EE9-A625-19BE3095ACB6}"/>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88">
              <a:extLst>
                <a:ext uri="{FF2B5EF4-FFF2-40B4-BE49-F238E27FC236}">
                  <a16:creationId xmlns:a16="http://schemas.microsoft.com/office/drawing/2014/main" id="{D6AB1CC1-1D24-4B74-A27D-D1B8A703D991}"/>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89">
              <a:extLst>
                <a:ext uri="{FF2B5EF4-FFF2-40B4-BE49-F238E27FC236}">
                  <a16:creationId xmlns:a16="http://schemas.microsoft.com/office/drawing/2014/main" id="{3862B34B-4D7E-4367-ABFC-C70AAC34F925}"/>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90">
              <a:extLst>
                <a:ext uri="{FF2B5EF4-FFF2-40B4-BE49-F238E27FC236}">
                  <a16:creationId xmlns:a16="http://schemas.microsoft.com/office/drawing/2014/main" id="{E5F1F9C5-A51C-4CC0-8DF0-465C55D60173}"/>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91">
              <a:extLst>
                <a:ext uri="{FF2B5EF4-FFF2-40B4-BE49-F238E27FC236}">
                  <a16:creationId xmlns:a16="http://schemas.microsoft.com/office/drawing/2014/main" id="{569D52C3-EFFA-4F6C-88D6-95C2B8F81034}"/>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92">
              <a:extLst>
                <a:ext uri="{FF2B5EF4-FFF2-40B4-BE49-F238E27FC236}">
                  <a16:creationId xmlns:a16="http://schemas.microsoft.com/office/drawing/2014/main" id="{42ED9E5F-C2B4-42A4-AA2A-AF48941C81EB}"/>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93">
              <a:extLst>
                <a:ext uri="{FF2B5EF4-FFF2-40B4-BE49-F238E27FC236}">
                  <a16:creationId xmlns:a16="http://schemas.microsoft.com/office/drawing/2014/main" id="{CC43DE98-B858-4BA0-96D4-87DABB0B9042}"/>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94">
              <a:extLst>
                <a:ext uri="{FF2B5EF4-FFF2-40B4-BE49-F238E27FC236}">
                  <a16:creationId xmlns:a16="http://schemas.microsoft.com/office/drawing/2014/main" id="{C77B781B-7A72-4CD0-B5D7-93667054DEC7}"/>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5">
              <a:extLst>
                <a:ext uri="{FF2B5EF4-FFF2-40B4-BE49-F238E27FC236}">
                  <a16:creationId xmlns:a16="http://schemas.microsoft.com/office/drawing/2014/main" id="{65A1C4BE-A361-43C9-9F99-35D7D96B6351}"/>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6">
              <a:extLst>
                <a:ext uri="{FF2B5EF4-FFF2-40B4-BE49-F238E27FC236}">
                  <a16:creationId xmlns:a16="http://schemas.microsoft.com/office/drawing/2014/main" id="{A0712A7E-616F-4D72-9D69-992C6EECD487}"/>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7">
              <a:extLst>
                <a:ext uri="{FF2B5EF4-FFF2-40B4-BE49-F238E27FC236}">
                  <a16:creationId xmlns:a16="http://schemas.microsoft.com/office/drawing/2014/main" id="{622CAA9B-3BBB-4A0A-9F4F-A55FF6A4F70F}"/>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98">
              <a:extLst>
                <a:ext uri="{FF2B5EF4-FFF2-40B4-BE49-F238E27FC236}">
                  <a16:creationId xmlns:a16="http://schemas.microsoft.com/office/drawing/2014/main" id="{05FA4D1B-0AF0-478D-9483-3C9AD781F457}"/>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99">
              <a:extLst>
                <a:ext uri="{FF2B5EF4-FFF2-40B4-BE49-F238E27FC236}">
                  <a16:creationId xmlns:a16="http://schemas.microsoft.com/office/drawing/2014/main" id="{759E997B-853C-4C4C-A139-FCA7C81D155F}"/>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100">
              <a:extLst>
                <a:ext uri="{FF2B5EF4-FFF2-40B4-BE49-F238E27FC236}">
                  <a16:creationId xmlns:a16="http://schemas.microsoft.com/office/drawing/2014/main" id="{986E164C-CF11-4423-93E0-CE6765080049}"/>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101">
              <a:extLst>
                <a:ext uri="{FF2B5EF4-FFF2-40B4-BE49-F238E27FC236}">
                  <a16:creationId xmlns:a16="http://schemas.microsoft.com/office/drawing/2014/main" id="{2BA4917F-73B1-42C6-8A7A-BC93E1E70930}"/>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02">
              <a:extLst>
                <a:ext uri="{FF2B5EF4-FFF2-40B4-BE49-F238E27FC236}">
                  <a16:creationId xmlns:a16="http://schemas.microsoft.com/office/drawing/2014/main" id="{5219F6E5-979C-417D-B1BC-F638E25EC2C3}"/>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103">
              <a:extLst>
                <a:ext uri="{FF2B5EF4-FFF2-40B4-BE49-F238E27FC236}">
                  <a16:creationId xmlns:a16="http://schemas.microsoft.com/office/drawing/2014/main" id="{A50A41F6-9858-47F8-8C00-C523EFC2667E}"/>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104">
              <a:extLst>
                <a:ext uri="{FF2B5EF4-FFF2-40B4-BE49-F238E27FC236}">
                  <a16:creationId xmlns:a16="http://schemas.microsoft.com/office/drawing/2014/main" id="{D34DAA34-328E-42B7-AEF3-A67AF79B1509}"/>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105">
              <a:extLst>
                <a:ext uri="{FF2B5EF4-FFF2-40B4-BE49-F238E27FC236}">
                  <a16:creationId xmlns:a16="http://schemas.microsoft.com/office/drawing/2014/main" id="{09E02178-BC20-4656-8320-DBEE2C2D78BF}"/>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2" name="Slide Number Placeholder 3">
            <a:extLst>
              <a:ext uri="{FF2B5EF4-FFF2-40B4-BE49-F238E27FC236}">
                <a16:creationId xmlns:a16="http://schemas.microsoft.com/office/drawing/2014/main" id="{4BACBA7A-3B9C-4FA4-BE9B-2701ADADA166}"/>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3" name="Rectangle 155">
            <a:extLst>
              <a:ext uri="{FF2B5EF4-FFF2-40B4-BE49-F238E27FC236}">
                <a16:creationId xmlns:a16="http://schemas.microsoft.com/office/drawing/2014/main" id="{14E214B7-BB48-4178-B022-500F2BA5A5EF}"/>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dirty="0"/>
              <a:t>Production code #</a:t>
            </a:r>
          </a:p>
        </p:txBody>
      </p:sp>
      <p:sp>
        <p:nvSpPr>
          <p:cNvPr id="64" name="Rectangle 176">
            <a:extLst>
              <a:ext uri="{FF2B5EF4-FFF2-40B4-BE49-F238E27FC236}">
                <a16:creationId xmlns:a16="http://schemas.microsoft.com/office/drawing/2014/main" id="{1206BE26-E5C7-4ADA-8A9A-41BDC4C42A8A}"/>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3189844538"/>
      </p:ext>
    </p:extLst>
  </p:cSld>
  <p:clrMapOvr>
    <a:masterClrMapping/>
  </p:clrMapOvr>
  <p:extLst>
    <p:ext uri="{DCECCB84-F9BA-43D5-87BE-67443E8EF086}">
      <p15:sldGuideLst xmlns:p15="http://schemas.microsoft.com/office/powerpoint/2012/main">
        <p15:guide id="1" orient="horz" pos="2160">
          <p15:clr>
            <a:srgbClr val="FBAE40"/>
          </p15:clr>
        </p15:guide>
        <p15:guide id="2" pos="264">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41248"/>
          </a:xfrm>
        </p:spPr>
        <p:txBody>
          <a:bodyPr/>
          <a:lstStyle>
            <a:lvl1pPr>
              <a:defRPr>
                <a:solidFill>
                  <a:srgbClr val="333F48"/>
                </a:solidFill>
              </a:defRPr>
            </a:lvl1pPr>
          </a:lstStyle>
          <a:p>
            <a:r>
              <a:rPr lang="en-US"/>
              <a:t>Click to edit Master title style</a:t>
            </a:r>
            <a:endParaRPr lang="en-US" dirty="0"/>
          </a:p>
        </p:txBody>
      </p:sp>
      <p:sp>
        <p:nvSpPr>
          <p:cNvPr id="11" name="Content Placeholder 2"/>
          <p:cNvSpPr>
            <a:spLocks noGrp="1"/>
          </p:cNvSpPr>
          <p:nvPr>
            <p:ph idx="12"/>
          </p:nvPr>
        </p:nvSpPr>
        <p:spPr>
          <a:xfrm>
            <a:off x="325661" y="1339850"/>
            <a:ext cx="8188710" cy="4878388"/>
          </a:xfrm>
        </p:spPr>
        <p:txBody>
          <a:bodyPr lIns="91440"/>
          <a:lstStyle>
            <a:lvl1pPr marL="0" indent="0" algn="l" rtl="0" fontAlgn="base">
              <a:spcBef>
                <a:spcPts val="480"/>
              </a:spcBef>
              <a:spcAft>
                <a:spcPct val="0"/>
              </a:spcAft>
              <a:buSzPct val="40000"/>
              <a:defRPr lang="en-US" sz="1600" b="1" dirty="0" smtClean="0">
                <a:solidFill>
                  <a:srgbClr val="7A9B3D"/>
                </a:solidFill>
                <a:latin typeface="+mn-lt"/>
                <a:ea typeface="+mn-ea"/>
                <a:cs typeface="+mn-cs"/>
              </a:defRPr>
            </a:lvl1pPr>
            <a:lvl2pPr marL="114300" indent="-114300">
              <a:spcBef>
                <a:spcPts val="288"/>
              </a:spcBef>
              <a:buClr>
                <a:srgbClr val="7A9B3D"/>
              </a:buClr>
              <a:defRPr lang="en-US" dirty="0" smtClean="0">
                <a:solidFill>
                  <a:srgbClr val="000000"/>
                </a:solidFill>
                <a:latin typeface="+mn-lt"/>
              </a:defRPr>
            </a:lvl2pPr>
            <a:lvl3pPr marL="228600" indent="-114300">
              <a:buClr>
                <a:srgbClr val="768692"/>
              </a:buClr>
              <a:defRPr lang="en-US" sz="1200" dirty="0" smtClean="0">
                <a:solidFill>
                  <a:srgbClr val="000000"/>
                </a:solidFill>
                <a:latin typeface="+mn-lt"/>
              </a:defRPr>
            </a:lvl3pPr>
            <a:lvl4pPr marL="342900" indent="-114300">
              <a:buClr>
                <a:srgbClr val="000000"/>
              </a:buClr>
              <a:buSzPct val="100000"/>
              <a:buFont typeface="Arial" pitchFamily="34" charset="0"/>
              <a:buChar char="•"/>
              <a:defRPr sz="1200">
                <a:solidFill>
                  <a:srgbClr val="000000"/>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grpSp>
        <p:nvGrpSpPr>
          <p:cNvPr id="34" name="Group 33">
            <a:extLst>
              <a:ext uri="{FF2B5EF4-FFF2-40B4-BE49-F238E27FC236}">
                <a16:creationId xmlns:a16="http://schemas.microsoft.com/office/drawing/2014/main" id="{F35FDC46-FBEF-4D3A-824F-AA5527F6B538}"/>
              </a:ext>
            </a:extLst>
          </p:cNvPr>
          <p:cNvGrpSpPr/>
          <p:nvPr userDrawn="1"/>
        </p:nvGrpSpPr>
        <p:grpSpPr>
          <a:xfrm>
            <a:off x="7358173" y="6361974"/>
            <a:ext cx="1382376" cy="297562"/>
            <a:chOff x="6923088" y="4475163"/>
            <a:chExt cx="1873251" cy="403225"/>
          </a:xfrm>
        </p:grpSpPr>
        <p:sp>
          <p:nvSpPr>
            <p:cNvPr id="35" name="AutoShape 4">
              <a:extLst>
                <a:ext uri="{FF2B5EF4-FFF2-40B4-BE49-F238E27FC236}">
                  <a16:creationId xmlns:a16="http://schemas.microsoft.com/office/drawing/2014/main" id="{13B1E680-6021-422B-8A8E-1B306778B234}"/>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6">
              <a:extLst>
                <a:ext uri="{FF2B5EF4-FFF2-40B4-BE49-F238E27FC236}">
                  <a16:creationId xmlns:a16="http://schemas.microsoft.com/office/drawing/2014/main" id="{E8025A2B-E398-4697-A9E2-8F0FC31A0D85}"/>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7">
              <a:extLst>
                <a:ext uri="{FF2B5EF4-FFF2-40B4-BE49-F238E27FC236}">
                  <a16:creationId xmlns:a16="http://schemas.microsoft.com/office/drawing/2014/main" id="{C43F9FE8-4030-4823-AFFC-53EC41D610C8}"/>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83">
              <a:extLst>
                <a:ext uri="{FF2B5EF4-FFF2-40B4-BE49-F238E27FC236}">
                  <a16:creationId xmlns:a16="http://schemas.microsoft.com/office/drawing/2014/main" id="{84CFA8D7-B7EA-4C49-8B7B-52F2EBD40D72}"/>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84">
              <a:extLst>
                <a:ext uri="{FF2B5EF4-FFF2-40B4-BE49-F238E27FC236}">
                  <a16:creationId xmlns:a16="http://schemas.microsoft.com/office/drawing/2014/main" id="{E5FA71CE-1849-4F2B-BBF1-D88DF543601E}"/>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85">
              <a:extLst>
                <a:ext uri="{FF2B5EF4-FFF2-40B4-BE49-F238E27FC236}">
                  <a16:creationId xmlns:a16="http://schemas.microsoft.com/office/drawing/2014/main" id="{B09D7E37-F1F3-4A71-A11A-DFFB32209D19}"/>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86">
              <a:extLst>
                <a:ext uri="{FF2B5EF4-FFF2-40B4-BE49-F238E27FC236}">
                  <a16:creationId xmlns:a16="http://schemas.microsoft.com/office/drawing/2014/main" id="{A2B61984-2AF8-42DC-88E5-6AC6F527AD9A}"/>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87">
              <a:extLst>
                <a:ext uri="{FF2B5EF4-FFF2-40B4-BE49-F238E27FC236}">
                  <a16:creationId xmlns:a16="http://schemas.microsoft.com/office/drawing/2014/main" id="{C07FC06A-2E9C-4A48-BBD3-6327F3653272}"/>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88">
              <a:extLst>
                <a:ext uri="{FF2B5EF4-FFF2-40B4-BE49-F238E27FC236}">
                  <a16:creationId xmlns:a16="http://schemas.microsoft.com/office/drawing/2014/main" id="{BC929529-3872-4564-916D-B78F3A022AC1}"/>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89">
              <a:extLst>
                <a:ext uri="{FF2B5EF4-FFF2-40B4-BE49-F238E27FC236}">
                  <a16:creationId xmlns:a16="http://schemas.microsoft.com/office/drawing/2014/main" id="{76C611A8-28A4-4EB7-8E8D-5709B0A9C09D}"/>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90">
              <a:extLst>
                <a:ext uri="{FF2B5EF4-FFF2-40B4-BE49-F238E27FC236}">
                  <a16:creationId xmlns:a16="http://schemas.microsoft.com/office/drawing/2014/main" id="{2A3387E9-C969-42C4-8C31-01B08251BC3A}"/>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91">
              <a:extLst>
                <a:ext uri="{FF2B5EF4-FFF2-40B4-BE49-F238E27FC236}">
                  <a16:creationId xmlns:a16="http://schemas.microsoft.com/office/drawing/2014/main" id="{302AB622-4561-41BC-BC82-5C875ED588E4}"/>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92">
              <a:extLst>
                <a:ext uri="{FF2B5EF4-FFF2-40B4-BE49-F238E27FC236}">
                  <a16:creationId xmlns:a16="http://schemas.microsoft.com/office/drawing/2014/main" id="{E60D74BB-AE92-4309-8898-038C88CD68C4}"/>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93">
              <a:extLst>
                <a:ext uri="{FF2B5EF4-FFF2-40B4-BE49-F238E27FC236}">
                  <a16:creationId xmlns:a16="http://schemas.microsoft.com/office/drawing/2014/main" id="{8B265CB2-CFC3-48F3-A867-1D7250C38C07}"/>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94">
              <a:extLst>
                <a:ext uri="{FF2B5EF4-FFF2-40B4-BE49-F238E27FC236}">
                  <a16:creationId xmlns:a16="http://schemas.microsoft.com/office/drawing/2014/main" id="{67D6C386-B58F-4756-AEDA-323448941B69}"/>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5">
              <a:extLst>
                <a:ext uri="{FF2B5EF4-FFF2-40B4-BE49-F238E27FC236}">
                  <a16:creationId xmlns:a16="http://schemas.microsoft.com/office/drawing/2014/main" id="{A8EC6758-D67A-4DF6-B788-44C3EA3AE253}"/>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6">
              <a:extLst>
                <a:ext uri="{FF2B5EF4-FFF2-40B4-BE49-F238E27FC236}">
                  <a16:creationId xmlns:a16="http://schemas.microsoft.com/office/drawing/2014/main" id="{C765FFF5-FEC7-4B2F-BE49-019DD1B75BC0}"/>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7">
              <a:extLst>
                <a:ext uri="{FF2B5EF4-FFF2-40B4-BE49-F238E27FC236}">
                  <a16:creationId xmlns:a16="http://schemas.microsoft.com/office/drawing/2014/main" id="{4037D999-CE4B-40FE-BDE3-6257E3833FE6}"/>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98">
              <a:extLst>
                <a:ext uri="{FF2B5EF4-FFF2-40B4-BE49-F238E27FC236}">
                  <a16:creationId xmlns:a16="http://schemas.microsoft.com/office/drawing/2014/main" id="{670E1E2A-C6E4-432C-91D5-5002B80FA31E}"/>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99">
              <a:extLst>
                <a:ext uri="{FF2B5EF4-FFF2-40B4-BE49-F238E27FC236}">
                  <a16:creationId xmlns:a16="http://schemas.microsoft.com/office/drawing/2014/main" id="{F4A5B3F1-45B2-446A-85C8-AE25FB0A14B0}"/>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100">
              <a:extLst>
                <a:ext uri="{FF2B5EF4-FFF2-40B4-BE49-F238E27FC236}">
                  <a16:creationId xmlns:a16="http://schemas.microsoft.com/office/drawing/2014/main" id="{04268254-A1B1-43E8-9769-A0BD433D5D0E}"/>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101">
              <a:extLst>
                <a:ext uri="{FF2B5EF4-FFF2-40B4-BE49-F238E27FC236}">
                  <a16:creationId xmlns:a16="http://schemas.microsoft.com/office/drawing/2014/main" id="{F2EDB0F0-6E60-47F6-A679-89912AB17CC3}"/>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02">
              <a:extLst>
                <a:ext uri="{FF2B5EF4-FFF2-40B4-BE49-F238E27FC236}">
                  <a16:creationId xmlns:a16="http://schemas.microsoft.com/office/drawing/2014/main" id="{9305A429-8E7E-40EB-87BD-88486F37CD0D}"/>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103">
              <a:extLst>
                <a:ext uri="{FF2B5EF4-FFF2-40B4-BE49-F238E27FC236}">
                  <a16:creationId xmlns:a16="http://schemas.microsoft.com/office/drawing/2014/main" id="{D39023A5-E518-4444-8B57-73531A0F3B21}"/>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104">
              <a:extLst>
                <a:ext uri="{FF2B5EF4-FFF2-40B4-BE49-F238E27FC236}">
                  <a16:creationId xmlns:a16="http://schemas.microsoft.com/office/drawing/2014/main" id="{00BFEA3B-6363-498A-9DCB-1DDD6916076F}"/>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105">
              <a:extLst>
                <a:ext uri="{FF2B5EF4-FFF2-40B4-BE49-F238E27FC236}">
                  <a16:creationId xmlns:a16="http://schemas.microsoft.com/office/drawing/2014/main" id="{0665DFAE-7DC0-4298-A731-4646C37AFEE5}"/>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2" name="Slide Number Placeholder 3">
            <a:extLst>
              <a:ext uri="{FF2B5EF4-FFF2-40B4-BE49-F238E27FC236}">
                <a16:creationId xmlns:a16="http://schemas.microsoft.com/office/drawing/2014/main" id="{AE8437CA-0496-4DD5-9905-A7ABC5A38B93}"/>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3" name="Rectangle 155">
            <a:extLst>
              <a:ext uri="{FF2B5EF4-FFF2-40B4-BE49-F238E27FC236}">
                <a16:creationId xmlns:a16="http://schemas.microsoft.com/office/drawing/2014/main" id="{D9284EF3-CC3D-477B-A455-E4730B2DF686}"/>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dirty="0"/>
              <a:t>Production code #</a:t>
            </a:r>
          </a:p>
        </p:txBody>
      </p:sp>
      <p:sp>
        <p:nvSpPr>
          <p:cNvPr id="64" name="Rectangle 176">
            <a:extLst>
              <a:ext uri="{FF2B5EF4-FFF2-40B4-BE49-F238E27FC236}">
                <a16:creationId xmlns:a16="http://schemas.microsoft.com/office/drawing/2014/main" id="{5F21FBC4-709C-41E5-B2BD-D589A058990C}"/>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592454043"/>
      </p:ext>
    </p:extLst>
  </p:cSld>
  <p:clrMapOvr>
    <a:masterClrMapping/>
  </p:clrMapOvr>
  <p:extLst>
    <p:ext uri="{DCECCB84-F9BA-43D5-87BE-67443E8EF086}">
      <p15:sldGuideLst xmlns:p15="http://schemas.microsoft.com/office/powerpoint/2012/main">
        <p15:guide id="1" orient="horz" pos="2160">
          <p15:clr>
            <a:srgbClr val="FBAE40"/>
          </p15:clr>
        </p15:guide>
        <p15:guide id="2" pos="264">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ulleted List - with subhead">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41248"/>
          </a:xfrm>
        </p:spPr>
        <p:txBody>
          <a:bodyPr/>
          <a:lstStyle/>
          <a:p>
            <a:r>
              <a:rPr lang="en-US"/>
              <a:t>Click to edit Master title style</a:t>
            </a:r>
            <a:endParaRPr lang="en-US" dirty="0"/>
          </a:p>
        </p:txBody>
      </p:sp>
      <p:sp>
        <p:nvSpPr>
          <p:cNvPr id="11" name="Content Placeholder 2"/>
          <p:cNvSpPr>
            <a:spLocks noGrp="1"/>
          </p:cNvSpPr>
          <p:nvPr>
            <p:ph idx="12"/>
          </p:nvPr>
        </p:nvSpPr>
        <p:spPr>
          <a:xfrm>
            <a:off x="325661" y="1339850"/>
            <a:ext cx="8188710" cy="4878388"/>
          </a:xfrm>
        </p:spPr>
        <p:txBody>
          <a:bodyPr lIns="91440"/>
          <a:lstStyle>
            <a:lvl1pPr marL="0" indent="0" algn="l" rtl="0" fontAlgn="base">
              <a:spcBef>
                <a:spcPts val="480"/>
              </a:spcBef>
              <a:spcAft>
                <a:spcPct val="0"/>
              </a:spcAft>
              <a:buSzPct val="40000"/>
              <a:defRPr lang="en-US" sz="1400" b="1" dirty="0" smtClean="0">
                <a:solidFill>
                  <a:srgbClr val="7A9B3D"/>
                </a:solidFill>
                <a:latin typeface="+mn-lt"/>
                <a:ea typeface="+mn-ea"/>
                <a:cs typeface="+mn-cs"/>
              </a:defRPr>
            </a:lvl1pPr>
            <a:lvl2pPr marL="114300" indent="-114300">
              <a:spcBef>
                <a:spcPts val="288"/>
              </a:spcBef>
              <a:buClr>
                <a:srgbClr val="7A9B3D"/>
              </a:buClr>
              <a:defRPr lang="en-US" sz="1200" dirty="0" smtClean="0">
                <a:solidFill>
                  <a:srgbClr val="000000"/>
                </a:solidFill>
                <a:latin typeface="+mn-lt"/>
              </a:defRPr>
            </a:lvl2pPr>
            <a:lvl3pPr marL="228600" indent="-114300">
              <a:buClr>
                <a:srgbClr val="7A9A3D"/>
              </a:buClr>
              <a:defRPr lang="en-US" sz="1100" dirty="0" smtClean="0">
                <a:solidFill>
                  <a:srgbClr val="000000"/>
                </a:solidFill>
                <a:latin typeface="+mn-lt"/>
              </a:defRPr>
            </a:lvl3pPr>
            <a:lvl4pPr marL="342900" indent="-114300">
              <a:buClr>
                <a:srgbClr val="7A9A3D"/>
              </a:buClr>
              <a:buSzPct val="100000"/>
              <a:buFont typeface="Arial" pitchFamily="34" charset="0"/>
              <a:buChar char="•"/>
              <a:defRPr sz="1100">
                <a:solidFill>
                  <a:srgbClr val="000000"/>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grpSp>
        <p:nvGrpSpPr>
          <p:cNvPr id="34" name="Group 33">
            <a:extLst>
              <a:ext uri="{FF2B5EF4-FFF2-40B4-BE49-F238E27FC236}">
                <a16:creationId xmlns:a16="http://schemas.microsoft.com/office/drawing/2014/main" id="{D28BA5D5-7577-4DB0-9BC0-1966AD89CF1A}"/>
              </a:ext>
            </a:extLst>
          </p:cNvPr>
          <p:cNvGrpSpPr/>
          <p:nvPr userDrawn="1"/>
        </p:nvGrpSpPr>
        <p:grpSpPr>
          <a:xfrm>
            <a:off x="7358173" y="6361974"/>
            <a:ext cx="1382376" cy="297562"/>
            <a:chOff x="6923088" y="4475163"/>
            <a:chExt cx="1873251" cy="403225"/>
          </a:xfrm>
        </p:grpSpPr>
        <p:sp>
          <p:nvSpPr>
            <p:cNvPr id="35" name="AutoShape 4">
              <a:extLst>
                <a:ext uri="{FF2B5EF4-FFF2-40B4-BE49-F238E27FC236}">
                  <a16:creationId xmlns:a16="http://schemas.microsoft.com/office/drawing/2014/main" id="{81528732-0B22-455F-8181-76F748DA3CCA}"/>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6">
              <a:extLst>
                <a:ext uri="{FF2B5EF4-FFF2-40B4-BE49-F238E27FC236}">
                  <a16:creationId xmlns:a16="http://schemas.microsoft.com/office/drawing/2014/main" id="{5A6B5828-B285-4B2A-87A0-0FBC6A49E983}"/>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7">
              <a:extLst>
                <a:ext uri="{FF2B5EF4-FFF2-40B4-BE49-F238E27FC236}">
                  <a16:creationId xmlns:a16="http://schemas.microsoft.com/office/drawing/2014/main" id="{BA9A7A8C-0055-48D8-8CDB-835865091C57}"/>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83">
              <a:extLst>
                <a:ext uri="{FF2B5EF4-FFF2-40B4-BE49-F238E27FC236}">
                  <a16:creationId xmlns:a16="http://schemas.microsoft.com/office/drawing/2014/main" id="{10EB657C-BE66-4635-89D3-1E933230114F}"/>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84">
              <a:extLst>
                <a:ext uri="{FF2B5EF4-FFF2-40B4-BE49-F238E27FC236}">
                  <a16:creationId xmlns:a16="http://schemas.microsoft.com/office/drawing/2014/main" id="{5EDFA9F8-4FAD-46D1-8ABC-D231E3876DE2}"/>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85">
              <a:extLst>
                <a:ext uri="{FF2B5EF4-FFF2-40B4-BE49-F238E27FC236}">
                  <a16:creationId xmlns:a16="http://schemas.microsoft.com/office/drawing/2014/main" id="{C807C58D-1491-44D6-9716-89F7B7746AFE}"/>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86">
              <a:extLst>
                <a:ext uri="{FF2B5EF4-FFF2-40B4-BE49-F238E27FC236}">
                  <a16:creationId xmlns:a16="http://schemas.microsoft.com/office/drawing/2014/main" id="{5594BE26-E188-4C15-88D4-6634A095626F}"/>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87">
              <a:extLst>
                <a:ext uri="{FF2B5EF4-FFF2-40B4-BE49-F238E27FC236}">
                  <a16:creationId xmlns:a16="http://schemas.microsoft.com/office/drawing/2014/main" id="{9C261F2B-017C-492C-83EC-7327405AED5C}"/>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88">
              <a:extLst>
                <a:ext uri="{FF2B5EF4-FFF2-40B4-BE49-F238E27FC236}">
                  <a16:creationId xmlns:a16="http://schemas.microsoft.com/office/drawing/2014/main" id="{36F6085D-3297-4DE4-A169-3C2B8E42B575}"/>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89">
              <a:extLst>
                <a:ext uri="{FF2B5EF4-FFF2-40B4-BE49-F238E27FC236}">
                  <a16:creationId xmlns:a16="http://schemas.microsoft.com/office/drawing/2014/main" id="{B3C2FE72-800A-4FC4-BB26-44492DBDFCE5}"/>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90">
              <a:extLst>
                <a:ext uri="{FF2B5EF4-FFF2-40B4-BE49-F238E27FC236}">
                  <a16:creationId xmlns:a16="http://schemas.microsoft.com/office/drawing/2014/main" id="{185F0E5E-F44E-47BE-84B9-016C499FF549}"/>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91">
              <a:extLst>
                <a:ext uri="{FF2B5EF4-FFF2-40B4-BE49-F238E27FC236}">
                  <a16:creationId xmlns:a16="http://schemas.microsoft.com/office/drawing/2014/main" id="{6202E0E2-C79A-46B7-8A4B-618E59D30316}"/>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92">
              <a:extLst>
                <a:ext uri="{FF2B5EF4-FFF2-40B4-BE49-F238E27FC236}">
                  <a16:creationId xmlns:a16="http://schemas.microsoft.com/office/drawing/2014/main" id="{52D8B876-4146-41FC-90E5-EB069956E4F4}"/>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93">
              <a:extLst>
                <a:ext uri="{FF2B5EF4-FFF2-40B4-BE49-F238E27FC236}">
                  <a16:creationId xmlns:a16="http://schemas.microsoft.com/office/drawing/2014/main" id="{41EDBBAC-DC0B-4BD0-9310-D6838B3F6E38}"/>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94">
              <a:extLst>
                <a:ext uri="{FF2B5EF4-FFF2-40B4-BE49-F238E27FC236}">
                  <a16:creationId xmlns:a16="http://schemas.microsoft.com/office/drawing/2014/main" id="{84ACC00C-F95C-4B32-BF4F-3411850639EA}"/>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5">
              <a:extLst>
                <a:ext uri="{FF2B5EF4-FFF2-40B4-BE49-F238E27FC236}">
                  <a16:creationId xmlns:a16="http://schemas.microsoft.com/office/drawing/2014/main" id="{417D68F0-30E3-4096-A9F7-CEDEAC64534B}"/>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6">
              <a:extLst>
                <a:ext uri="{FF2B5EF4-FFF2-40B4-BE49-F238E27FC236}">
                  <a16:creationId xmlns:a16="http://schemas.microsoft.com/office/drawing/2014/main" id="{859C69A3-C929-4929-BC3B-138672DDCDE4}"/>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7">
              <a:extLst>
                <a:ext uri="{FF2B5EF4-FFF2-40B4-BE49-F238E27FC236}">
                  <a16:creationId xmlns:a16="http://schemas.microsoft.com/office/drawing/2014/main" id="{1716567F-37F9-49DF-B000-78B220024D1B}"/>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98">
              <a:extLst>
                <a:ext uri="{FF2B5EF4-FFF2-40B4-BE49-F238E27FC236}">
                  <a16:creationId xmlns:a16="http://schemas.microsoft.com/office/drawing/2014/main" id="{E5138AFD-F944-4D25-91A7-6B6003B813B3}"/>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99">
              <a:extLst>
                <a:ext uri="{FF2B5EF4-FFF2-40B4-BE49-F238E27FC236}">
                  <a16:creationId xmlns:a16="http://schemas.microsoft.com/office/drawing/2014/main" id="{B956A5F5-A12F-416D-BE39-E5525A328EE2}"/>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100">
              <a:extLst>
                <a:ext uri="{FF2B5EF4-FFF2-40B4-BE49-F238E27FC236}">
                  <a16:creationId xmlns:a16="http://schemas.microsoft.com/office/drawing/2014/main" id="{CB57E0C9-1534-4789-BE5D-72C287BE68D9}"/>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101">
              <a:extLst>
                <a:ext uri="{FF2B5EF4-FFF2-40B4-BE49-F238E27FC236}">
                  <a16:creationId xmlns:a16="http://schemas.microsoft.com/office/drawing/2014/main" id="{FC7E3BDF-8DC5-4B7B-B4A9-836F3873BE34}"/>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02">
              <a:extLst>
                <a:ext uri="{FF2B5EF4-FFF2-40B4-BE49-F238E27FC236}">
                  <a16:creationId xmlns:a16="http://schemas.microsoft.com/office/drawing/2014/main" id="{B9EB18AF-CC98-464A-871E-F56D7D66EC9B}"/>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103">
              <a:extLst>
                <a:ext uri="{FF2B5EF4-FFF2-40B4-BE49-F238E27FC236}">
                  <a16:creationId xmlns:a16="http://schemas.microsoft.com/office/drawing/2014/main" id="{A5234D59-E2B2-44AA-BA14-4A6AB7455855}"/>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104">
              <a:extLst>
                <a:ext uri="{FF2B5EF4-FFF2-40B4-BE49-F238E27FC236}">
                  <a16:creationId xmlns:a16="http://schemas.microsoft.com/office/drawing/2014/main" id="{2730BDAA-DA90-48A3-AAF4-09E47007FAF1}"/>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105">
              <a:extLst>
                <a:ext uri="{FF2B5EF4-FFF2-40B4-BE49-F238E27FC236}">
                  <a16:creationId xmlns:a16="http://schemas.microsoft.com/office/drawing/2014/main" id="{F603AB9B-36DA-4AEA-9C6F-2246A6643BAB}"/>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2" name="Slide Number Placeholder 3">
            <a:extLst>
              <a:ext uri="{FF2B5EF4-FFF2-40B4-BE49-F238E27FC236}">
                <a16:creationId xmlns:a16="http://schemas.microsoft.com/office/drawing/2014/main" id="{4A053A76-615F-4FBA-B14F-6384383F7E56}"/>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3" name="Rectangle 155">
            <a:extLst>
              <a:ext uri="{FF2B5EF4-FFF2-40B4-BE49-F238E27FC236}">
                <a16:creationId xmlns:a16="http://schemas.microsoft.com/office/drawing/2014/main" id="{239E84CF-F60D-4345-ABF5-5413EBC827D4}"/>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dirty="0"/>
              <a:t>Production code #</a:t>
            </a:r>
          </a:p>
        </p:txBody>
      </p:sp>
      <p:sp>
        <p:nvSpPr>
          <p:cNvPr id="64" name="Rectangle 176">
            <a:extLst>
              <a:ext uri="{FF2B5EF4-FFF2-40B4-BE49-F238E27FC236}">
                <a16:creationId xmlns:a16="http://schemas.microsoft.com/office/drawing/2014/main" id="{8E42AD6F-48FC-4927-9EA5-C0808419781D}"/>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4251528618"/>
      </p:ext>
    </p:extLst>
  </p:cSld>
  <p:clrMapOvr>
    <a:masterClrMapping/>
  </p:clrMapOvr>
  <p:extLst>
    <p:ext uri="{DCECCB84-F9BA-43D5-87BE-67443E8EF086}">
      <p15:sldGuideLst xmlns:p15="http://schemas.microsoft.com/office/powerpoint/2012/main">
        <p15:guide id="1" orient="horz" pos="2160">
          <p15:clr>
            <a:srgbClr val="FBAE40"/>
          </p15:clr>
        </p15:guide>
        <p15:guide id="2" pos="26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ulleted List - with subhead">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41248"/>
          </a:xfrm>
        </p:spPr>
        <p:txBody>
          <a:bodyPr/>
          <a:lstStyle/>
          <a:p>
            <a:r>
              <a:rPr lang="en-US"/>
              <a:t>Click to edit Master title style</a:t>
            </a:r>
            <a:endParaRPr lang="en-US" dirty="0"/>
          </a:p>
        </p:txBody>
      </p:sp>
      <p:sp>
        <p:nvSpPr>
          <p:cNvPr id="11" name="Content Placeholder 2"/>
          <p:cNvSpPr>
            <a:spLocks noGrp="1"/>
          </p:cNvSpPr>
          <p:nvPr>
            <p:ph idx="12"/>
          </p:nvPr>
        </p:nvSpPr>
        <p:spPr>
          <a:xfrm>
            <a:off x="325661" y="1339850"/>
            <a:ext cx="8188710" cy="4878388"/>
          </a:xfrm>
        </p:spPr>
        <p:txBody>
          <a:bodyPr lIns="91440"/>
          <a:lstStyle>
            <a:lvl1pPr marL="0" indent="0" algn="l" rtl="0" fontAlgn="base">
              <a:spcBef>
                <a:spcPts val="480"/>
              </a:spcBef>
              <a:spcAft>
                <a:spcPct val="0"/>
              </a:spcAft>
              <a:buSzPct val="40000"/>
              <a:defRPr lang="en-US" sz="1400" b="1" dirty="0" smtClean="0">
                <a:solidFill>
                  <a:srgbClr val="7A9B3D"/>
                </a:solidFill>
                <a:latin typeface="+mn-lt"/>
                <a:ea typeface="+mn-ea"/>
                <a:cs typeface="+mn-cs"/>
              </a:defRPr>
            </a:lvl1pPr>
            <a:lvl2pPr marL="114300" indent="-114300">
              <a:spcBef>
                <a:spcPts val="288"/>
              </a:spcBef>
              <a:buClr>
                <a:srgbClr val="7A9B3D"/>
              </a:buClr>
              <a:defRPr lang="en-US" sz="1200" dirty="0" smtClean="0">
                <a:solidFill>
                  <a:srgbClr val="000000"/>
                </a:solidFill>
                <a:latin typeface="+mn-lt"/>
              </a:defRPr>
            </a:lvl2pPr>
            <a:lvl3pPr marL="228600" indent="-114300">
              <a:buClr>
                <a:srgbClr val="7A9A3D"/>
              </a:buClr>
              <a:defRPr lang="en-US" sz="1100" dirty="0" smtClean="0">
                <a:solidFill>
                  <a:srgbClr val="000000"/>
                </a:solidFill>
                <a:latin typeface="+mn-lt"/>
              </a:defRPr>
            </a:lvl3pPr>
            <a:lvl4pPr marL="342900" indent="-114300">
              <a:buClr>
                <a:srgbClr val="7A9A3D"/>
              </a:buClr>
              <a:buSzPct val="100000"/>
              <a:buFont typeface="Arial" pitchFamily="34" charset="0"/>
              <a:buChar char="•"/>
              <a:defRPr sz="1100">
                <a:solidFill>
                  <a:srgbClr val="000000"/>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grpSp>
        <p:nvGrpSpPr>
          <p:cNvPr id="34" name="Group 33">
            <a:extLst>
              <a:ext uri="{FF2B5EF4-FFF2-40B4-BE49-F238E27FC236}">
                <a16:creationId xmlns:a16="http://schemas.microsoft.com/office/drawing/2014/main" id="{D28BA5D5-7577-4DB0-9BC0-1966AD89CF1A}"/>
              </a:ext>
            </a:extLst>
          </p:cNvPr>
          <p:cNvGrpSpPr/>
          <p:nvPr userDrawn="1"/>
        </p:nvGrpSpPr>
        <p:grpSpPr>
          <a:xfrm>
            <a:off x="7358173" y="6361974"/>
            <a:ext cx="1382376" cy="297562"/>
            <a:chOff x="6923088" y="4475163"/>
            <a:chExt cx="1873251" cy="403225"/>
          </a:xfrm>
        </p:grpSpPr>
        <p:sp>
          <p:nvSpPr>
            <p:cNvPr id="35" name="AutoShape 4">
              <a:extLst>
                <a:ext uri="{FF2B5EF4-FFF2-40B4-BE49-F238E27FC236}">
                  <a16:creationId xmlns:a16="http://schemas.microsoft.com/office/drawing/2014/main" id="{81528732-0B22-455F-8181-76F748DA3CCA}"/>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6">
              <a:extLst>
                <a:ext uri="{FF2B5EF4-FFF2-40B4-BE49-F238E27FC236}">
                  <a16:creationId xmlns:a16="http://schemas.microsoft.com/office/drawing/2014/main" id="{5A6B5828-B285-4B2A-87A0-0FBC6A49E983}"/>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7">
              <a:extLst>
                <a:ext uri="{FF2B5EF4-FFF2-40B4-BE49-F238E27FC236}">
                  <a16:creationId xmlns:a16="http://schemas.microsoft.com/office/drawing/2014/main" id="{BA9A7A8C-0055-48D8-8CDB-835865091C57}"/>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83">
              <a:extLst>
                <a:ext uri="{FF2B5EF4-FFF2-40B4-BE49-F238E27FC236}">
                  <a16:creationId xmlns:a16="http://schemas.microsoft.com/office/drawing/2014/main" id="{10EB657C-BE66-4635-89D3-1E933230114F}"/>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84">
              <a:extLst>
                <a:ext uri="{FF2B5EF4-FFF2-40B4-BE49-F238E27FC236}">
                  <a16:creationId xmlns:a16="http://schemas.microsoft.com/office/drawing/2014/main" id="{5EDFA9F8-4FAD-46D1-8ABC-D231E3876DE2}"/>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85">
              <a:extLst>
                <a:ext uri="{FF2B5EF4-FFF2-40B4-BE49-F238E27FC236}">
                  <a16:creationId xmlns:a16="http://schemas.microsoft.com/office/drawing/2014/main" id="{C807C58D-1491-44D6-9716-89F7B7746AFE}"/>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86">
              <a:extLst>
                <a:ext uri="{FF2B5EF4-FFF2-40B4-BE49-F238E27FC236}">
                  <a16:creationId xmlns:a16="http://schemas.microsoft.com/office/drawing/2014/main" id="{5594BE26-E188-4C15-88D4-6634A095626F}"/>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87">
              <a:extLst>
                <a:ext uri="{FF2B5EF4-FFF2-40B4-BE49-F238E27FC236}">
                  <a16:creationId xmlns:a16="http://schemas.microsoft.com/office/drawing/2014/main" id="{9C261F2B-017C-492C-83EC-7327405AED5C}"/>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88">
              <a:extLst>
                <a:ext uri="{FF2B5EF4-FFF2-40B4-BE49-F238E27FC236}">
                  <a16:creationId xmlns:a16="http://schemas.microsoft.com/office/drawing/2014/main" id="{36F6085D-3297-4DE4-A169-3C2B8E42B575}"/>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89">
              <a:extLst>
                <a:ext uri="{FF2B5EF4-FFF2-40B4-BE49-F238E27FC236}">
                  <a16:creationId xmlns:a16="http://schemas.microsoft.com/office/drawing/2014/main" id="{B3C2FE72-800A-4FC4-BB26-44492DBDFCE5}"/>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90">
              <a:extLst>
                <a:ext uri="{FF2B5EF4-FFF2-40B4-BE49-F238E27FC236}">
                  <a16:creationId xmlns:a16="http://schemas.microsoft.com/office/drawing/2014/main" id="{185F0E5E-F44E-47BE-84B9-016C499FF549}"/>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91">
              <a:extLst>
                <a:ext uri="{FF2B5EF4-FFF2-40B4-BE49-F238E27FC236}">
                  <a16:creationId xmlns:a16="http://schemas.microsoft.com/office/drawing/2014/main" id="{6202E0E2-C79A-46B7-8A4B-618E59D30316}"/>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92">
              <a:extLst>
                <a:ext uri="{FF2B5EF4-FFF2-40B4-BE49-F238E27FC236}">
                  <a16:creationId xmlns:a16="http://schemas.microsoft.com/office/drawing/2014/main" id="{52D8B876-4146-41FC-90E5-EB069956E4F4}"/>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93">
              <a:extLst>
                <a:ext uri="{FF2B5EF4-FFF2-40B4-BE49-F238E27FC236}">
                  <a16:creationId xmlns:a16="http://schemas.microsoft.com/office/drawing/2014/main" id="{41EDBBAC-DC0B-4BD0-9310-D6838B3F6E38}"/>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94">
              <a:extLst>
                <a:ext uri="{FF2B5EF4-FFF2-40B4-BE49-F238E27FC236}">
                  <a16:creationId xmlns:a16="http://schemas.microsoft.com/office/drawing/2014/main" id="{84ACC00C-F95C-4B32-BF4F-3411850639EA}"/>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5">
              <a:extLst>
                <a:ext uri="{FF2B5EF4-FFF2-40B4-BE49-F238E27FC236}">
                  <a16:creationId xmlns:a16="http://schemas.microsoft.com/office/drawing/2014/main" id="{417D68F0-30E3-4096-A9F7-CEDEAC64534B}"/>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6">
              <a:extLst>
                <a:ext uri="{FF2B5EF4-FFF2-40B4-BE49-F238E27FC236}">
                  <a16:creationId xmlns:a16="http://schemas.microsoft.com/office/drawing/2014/main" id="{859C69A3-C929-4929-BC3B-138672DDCDE4}"/>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7">
              <a:extLst>
                <a:ext uri="{FF2B5EF4-FFF2-40B4-BE49-F238E27FC236}">
                  <a16:creationId xmlns:a16="http://schemas.microsoft.com/office/drawing/2014/main" id="{1716567F-37F9-49DF-B000-78B220024D1B}"/>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98">
              <a:extLst>
                <a:ext uri="{FF2B5EF4-FFF2-40B4-BE49-F238E27FC236}">
                  <a16:creationId xmlns:a16="http://schemas.microsoft.com/office/drawing/2014/main" id="{E5138AFD-F944-4D25-91A7-6B6003B813B3}"/>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99">
              <a:extLst>
                <a:ext uri="{FF2B5EF4-FFF2-40B4-BE49-F238E27FC236}">
                  <a16:creationId xmlns:a16="http://schemas.microsoft.com/office/drawing/2014/main" id="{B956A5F5-A12F-416D-BE39-E5525A328EE2}"/>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100">
              <a:extLst>
                <a:ext uri="{FF2B5EF4-FFF2-40B4-BE49-F238E27FC236}">
                  <a16:creationId xmlns:a16="http://schemas.microsoft.com/office/drawing/2014/main" id="{CB57E0C9-1534-4789-BE5D-72C287BE68D9}"/>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101">
              <a:extLst>
                <a:ext uri="{FF2B5EF4-FFF2-40B4-BE49-F238E27FC236}">
                  <a16:creationId xmlns:a16="http://schemas.microsoft.com/office/drawing/2014/main" id="{FC7E3BDF-8DC5-4B7B-B4A9-836F3873BE34}"/>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02">
              <a:extLst>
                <a:ext uri="{FF2B5EF4-FFF2-40B4-BE49-F238E27FC236}">
                  <a16:creationId xmlns:a16="http://schemas.microsoft.com/office/drawing/2014/main" id="{B9EB18AF-CC98-464A-871E-F56D7D66EC9B}"/>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103">
              <a:extLst>
                <a:ext uri="{FF2B5EF4-FFF2-40B4-BE49-F238E27FC236}">
                  <a16:creationId xmlns:a16="http://schemas.microsoft.com/office/drawing/2014/main" id="{A5234D59-E2B2-44AA-BA14-4A6AB7455855}"/>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104">
              <a:extLst>
                <a:ext uri="{FF2B5EF4-FFF2-40B4-BE49-F238E27FC236}">
                  <a16:creationId xmlns:a16="http://schemas.microsoft.com/office/drawing/2014/main" id="{2730BDAA-DA90-48A3-AAF4-09E47007FAF1}"/>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105">
              <a:extLst>
                <a:ext uri="{FF2B5EF4-FFF2-40B4-BE49-F238E27FC236}">
                  <a16:creationId xmlns:a16="http://schemas.microsoft.com/office/drawing/2014/main" id="{F603AB9B-36DA-4AEA-9C6F-2246A6643BAB}"/>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2" name="Slide Number Placeholder 3">
            <a:extLst>
              <a:ext uri="{FF2B5EF4-FFF2-40B4-BE49-F238E27FC236}">
                <a16:creationId xmlns:a16="http://schemas.microsoft.com/office/drawing/2014/main" id="{4A053A76-615F-4FBA-B14F-6384383F7E56}"/>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3" name="Rectangle 155">
            <a:extLst>
              <a:ext uri="{FF2B5EF4-FFF2-40B4-BE49-F238E27FC236}">
                <a16:creationId xmlns:a16="http://schemas.microsoft.com/office/drawing/2014/main" id="{239E84CF-F60D-4345-ABF5-5413EBC827D4}"/>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dirty="0"/>
              <a:t>Production code #</a:t>
            </a:r>
          </a:p>
        </p:txBody>
      </p:sp>
      <p:sp>
        <p:nvSpPr>
          <p:cNvPr id="64" name="Rectangle 176">
            <a:extLst>
              <a:ext uri="{FF2B5EF4-FFF2-40B4-BE49-F238E27FC236}">
                <a16:creationId xmlns:a16="http://schemas.microsoft.com/office/drawing/2014/main" id="{8E42AD6F-48FC-4927-9EA5-C0808419781D}"/>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417820647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64" userDrawn="1">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Important Information">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lvl1pPr>
              <a:defRPr>
                <a:solidFill>
                  <a:srgbClr val="333F48"/>
                </a:solidFill>
              </a:defRPr>
            </a:lvl1pPr>
          </a:lstStyle>
          <a:p>
            <a:r>
              <a:rPr lang="en-US"/>
              <a:t>Click to edit Master title style</a:t>
            </a:r>
            <a:endParaRPr lang="en-US" dirty="0"/>
          </a:p>
        </p:txBody>
      </p:sp>
      <p:sp>
        <p:nvSpPr>
          <p:cNvPr id="3" name="Content Placeholder 2"/>
          <p:cNvSpPr>
            <a:spLocks noGrp="1"/>
          </p:cNvSpPr>
          <p:nvPr>
            <p:ph idx="1"/>
          </p:nvPr>
        </p:nvSpPr>
        <p:spPr>
          <a:xfrm>
            <a:off x="325661" y="1076325"/>
            <a:ext cx="8188710" cy="4808538"/>
          </a:xfrm>
          <a:noFill/>
          <a:ln w="9525">
            <a:noFill/>
            <a:miter lim="800000"/>
            <a:headEnd/>
            <a:tailEnd/>
          </a:ln>
          <a:effectLst/>
        </p:spPr>
        <p:txBody>
          <a:bodyPr lIns="91440"/>
          <a:lstStyle>
            <a:lvl1pPr marL="0" indent="0" algn="l" rtl="0" eaLnBrk="1" fontAlgn="base" hangingPunct="1">
              <a:spcAft>
                <a:spcPct val="0"/>
              </a:spcAft>
              <a:buSzPct val="40000"/>
              <a:defRPr lang="en-US" sz="1000" b="0" dirty="0" smtClean="0">
                <a:solidFill>
                  <a:srgbClr val="000000"/>
                </a:solidFill>
                <a:latin typeface="+mn-lt"/>
                <a:ea typeface="+mn-ea"/>
                <a:cs typeface="+mn-cs"/>
              </a:defRPr>
            </a:lvl1pPr>
            <a:lvl2pPr marL="0" indent="0" algn="l" rtl="0" eaLnBrk="1" fontAlgn="base" hangingPunct="1">
              <a:spcBef>
                <a:spcPts val="600"/>
              </a:spcBef>
              <a:spcAft>
                <a:spcPct val="0"/>
              </a:spcAft>
              <a:buSzPct val="40000"/>
              <a:buNone/>
              <a:defRPr lang="en-US" sz="1000" b="1" dirty="0">
                <a:solidFill>
                  <a:srgbClr val="000000"/>
                </a:solidFill>
                <a:latin typeface="+mn-lt"/>
                <a:ea typeface="+mn-ea"/>
                <a:cs typeface="+mn-cs"/>
              </a:defRPr>
            </a:lvl2pPr>
          </a:lstStyle>
          <a:p>
            <a:pPr lvl="0"/>
            <a:r>
              <a:rPr lang="en-US"/>
              <a:t>Click to edit Master text styles</a:t>
            </a:r>
          </a:p>
          <a:p>
            <a:pPr lvl="1"/>
            <a:r>
              <a:rPr lang="en-US"/>
              <a:t>Second level</a:t>
            </a:r>
          </a:p>
        </p:txBody>
      </p:sp>
      <p:grpSp>
        <p:nvGrpSpPr>
          <p:cNvPr id="34" name="Group 33">
            <a:extLst>
              <a:ext uri="{FF2B5EF4-FFF2-40B4-BE49-F238E27FC236}">
                <a16:creationId xmlns:a16="http://schemas.microsoft.com/office/drawing/2014/main" id="{840E14F0-3EE3-4127-BC16-D3F3953FFE3F}"/>
              </a:ext>
            </a:extLst>
          </p:cNvPr>
          <p:cNvGrpSpPr/>
          <p:nvPr userDrawn="1"/>
        </p:nvGrpSpPr>
        <p:grpSpPr>
          <a:xfrm>
            <a:off x="7358173" y="6361974"/>
            <a:ext cx="1382376" cy="297562"/>
            <a:chOff x="6923088" y="4475163"/>
            <a:chExt cx="1873251" cy="403225"/>
          </a:xfrm>
        </p:grpSpPr>
        <p:sp>
          <p:nvSpPr>
            <p:cNvPr id="35" name="AutoShape 4">
              <a:extLst>
                <a:ext uri="{FF2B5EF4-FFF2-40B4-BE49-F238E27FC236}">
                  <a16:creationId xmlns:a16="http://schemas.microsoft.com/office/drawing/2014/main" id="{6CD5F173-C5BB-4F2E-848B-68E571D2511E}"/>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6">
              <a:extLst>
                <a:ext uri="{FF2B5EF4-FFF2-40B4-BE49-F238E27FC236}">
                  <a16:creationId xmlns:a16="http://schemas.microsoft.com/office/drawing/2014/main" id="{F35D1E52-C58A-4226-814B-B889E5D392A2}"/>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7">
              <a:extLst>
                <a:ext uri="{FF2B5EF4-FFF2-40B4-BE49-F238E27FC236}">
                  <a16:creationId xmlns:a16="http://schemas.microsoft.com/office/drawing/2014/main" id="{3931309B-69B1-4504-BC9E-723A4E648811}"/>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83">
              <a:extLst>
                <a:ext uri="{FF2B5EF4-FFF2-40B4-BE49-F238E27FC236}">
                  <a16:creationId xmlns:a16="http://schemas.microsoft.com/office/drawing/2014/main" id="{E71D54FB-4ABD-4C44-B32E-1CE4D98AD4B3}"/>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84">
              <a:extLst>
                <a:ext uri="{FF2B5EF4-FFF2-40B4-BE49-F238E27FC236}">
                  <a16:creationId xmlns:a16="http://schemas.microsoft.com/office/drawing/2014/main" id="{6FC76818-6D97-40AA-97B0-54614807A538}"/>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85">
              <a:extLst>
                <a:ext uri="{FF2B5EF4-FFF2-40B4-BE49-F238E27FC236}">
                  <a16:creationId xmlns:a16="http://schemas.microsoft.com/office/drawing/2014/main" id="{7DFFF7DB-1434-4536-8069-7E21C8D1B9E3}"/>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86">
              <a:extLst>
                <a:ext uri="{FF2B5EF4-FFF2-40B4-BE49-F238E27FC236}">
                  <a16:creationId xmlns:a16="http://schemas.microsoft.com/office/drawing/2014/main" id="{23BA871E-A0EA-41BA-8724-5CABEF76296C}"/>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87">
              <a:extLst>
                <a:ext uri="{FF2B5EF4-FFF2-40B4-BE49-F238E27FC236}">
                  <a16:creationId xmlns:a16="http://schemas.microsoft.com/office/drawing/2014/main" id="{5F7C586C-3E26-4206-A96B-DA86E954214E}"/>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88">
              <a:extLst>
                <a:ext uri="{FF2B5EF4-FFF2-40B4-BE49-F238E27FC236}">
                  <a16:creationId xmlns:a16="http://schemas.microsoft.com/office/drawing/2014/main" id="{CFE70E27-46F5-465B-9F57-F55E3CEF8736}"/>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89">
              <a:extLst>
                <a:ext uri="{FF2B5EF4-FFF2-40B4-BE49-F238E27FC236}">
                  <a16:creationId xmlns:a16="http://schemas.microsoft.com/office/drawing/2014/main" id="{7FAE27B7-D81B-4001-834F-776859495AA1}"/>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90">
              <a:extLst>
                <a:ext uri="{FF2B5EF4-FFF2-40B4-BE49-F238E27FC236}">
                  <a16:creationId xmlns:a16="http://schemas.microsoft.com/office/drawing/2014/main" id="{4AE5BF09-27E6-4688-B9C4-19E2671CA566}"/>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91">
              <a:extLst>
                <a:ext uri="{FF2B5EF4-FFF2-40B4-BE49-F238E27FC236}">
                  <a16:creationId xmlns:a16="http://schemas.microsoft.com/office/drawing/2014/main" id="{8810B2AB-A2BA-46AC-86CE-C8DB6C050979}"/>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92">
              <a:extLst>
                <a:ext uri="{FF2B5EF4-FFF2-40B4-BE49-F238E27FC236}">
                  <a16:creationId xmlns:a16="http://schemas.microsoft.com/office/drawing/2014/main" id="{F0E21CE3-1B3A-48A2-8777-3ACB130A176F}"/>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93">
              <a:extLst>
                <a:ext uri="{FF2B5EF4-FFF2-40B4-BE49-F238E27FC236}">
                  <a16:creationId xmlns:a16="http://schemas.microsoft.com/office/drawing/2014/main" id="{0E106C86-6E92-414C-8C1F-193ABA3372F2}"/>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94">
              <a:extLst>
                <a:ext uri="{FF2B5EF4-FFF2-40B4-BE49-F238E27FC236}">
                  <a16:creationId xmlns:a16="http://schemas.microsoft.com/office/drawing/2014/main" id="{7FFBAE3E-1E34-4024-8E12-C6A804E61E90}"/>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5">
              <a:extLst>
                <a:ext uri="{FF2B5EF4-FFF2-40B4-BE49-F238E27FC236}">
                  <a16:creationId xmlns:a16="http://schemas.microsoft.com/office/drawing/2014/main" id="{34A75038-5822-4211-8429-EEE73276E055}"/>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6">
              <a:extLst>
                <a:ext uri="{FF2B5EF4-FFF2-40B4-BE49-F238E27FC236}">
                  <a16:creationId xmlns:a16="http://schemas.microsoft.com/office/drawing/2014/main" id="{693F0C95-0D69-4520-8F8E-82883B076B30}"/>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7">
              <a:extLst>
                <a:ext uri="{FF2B5EF4-FFF2-40B4-BE49-F238E27FC236}">
                  <a16:creationId xmlns:a16="http://schemas.microsoft.com/office/drawing/2014/main" id="{2DCC514B-8D65-4A2F-B9D3-A26B2C512584}"/>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98">
              <a:extLst>
                <a:ext uri="{FF2B5EF4-FFF2-40B4-BE49-F238E27FC236}">
                  <a16:creationId xmlns:a16="http://schemas.microsoft.com/office/drawing/2014/main" id="{86B9EC89-49BC-4B67-9837-B486AC5DA24B}"/>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99">
              <a:extLst>
                <a:ext uri="{FF2B5EF4-FFF2-40B4-BE49-F238E27FC236}">
                  <a16:creationId xmlns:a16="http://schemas.microsoft.com/office/drawing/2014/main" id="{07013593-EDCD-49A4-8483-37A94E197F46}"/>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100">
              <a:extLst>
                <a:ext uri="{FF2B5EF4-FFF2-40B4-BE49-F238E27FC236}">
                  <a16:creationId xmlns:a16="http://schemas.microsoft.com/office/drawing/2014/main" id="{E4C82CFE-24C2-4335-91A1-786AA56B78AE}"/>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101">
              <a:extLst>
                <a:ext uri="{FF2B5EF4-FFF2-40B4-BE49-F238E27FC236}">
                  <a16:creationId xmlns:a16="http://schemas.microsoft.com/office/drawing/2014/main" id="{269AE1D0-2ED3-45BA-8B41-5958312CC5FE}"/>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02">
              <a:extLst>
                <a:ext uri="{FF2B5EF4-FFF2-40B4-BE49-F238E27FC236}">
                  <a16:creationId xmlns:a16="http://schemas.microsoft.com/office/drawing/2014/main" id="{293258D7-F5FB-43FE-946C-050D5A534B0B}"/>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103">
              <a:extLst>
                <a:ext uri="{FF2B5EF4-FFF2-40B4-BE49-F238E27FC236}">
                  <a16:creationId xmlns:a16="http://schemas.microsoft.com/office/drawing/2014/main" id="{ED28C0B7-779D-48AC-B3D7-2EE77B274C6C}"/>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104">
              <a:extLst>
                <a:ext uri="{FF2B5EF4-FFF2-40B4-BE49-F238E27FC236}">
                  <a16:creationId xmlns:a16="http://schemas.microsoft.com/office/drawing/2014/main" id="{F91BA0B7-9AA1-4A35-A3B5-1DF23E7E6BC0}"/>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105">
              <a:extLst>
                <a:ext uri="{FF2B5EF4-FFF2-40B4-BE49-F238E27FC236}">
                  <a16:creationId xmlns:a16="http://schemas.microsoft.com/office/drawing/2014/main" id="{0CD9D2F1-AB4D-41BA-BB3A-ABD0BB2DB8FD}"/>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2" name="Slide Number Placeholder 3">
            <a:extLst>
              <a:ext uri="{FF2B5EF4-FFF2-40B4-BE49-F238E27FC236}">
                <a16:creationId xmlns:a16="http://schemas.microsoft.com/office/drawing/2014/main" id="{9A263509-98AC-4546-B2C5-DF2F4C4F986A}"/>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3" name="Rectangle 155">
            <a:extLst>
              <a:ext uri="{FF2B5EF4-FFF2-40B4-BE49-F238E27FC236}">
                <a16:creationId xmlns:a16="http://schemas.microsoft.com/office/drawing/2014/main" id="{5EDCB748-D9FF-41F0-9AE5-3D6778696294}"/>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dirty="0"/>
              <a:t>Production code #</a:t>
            </a:r>
          </a:p>
        </p:txBody>
      </p:sp>
      <p:sp>
        <p:nvSpPr>
          <p:cNvPr id="64" name="Rectangle 176">
            <a:extLst>
              <a:ext uri="{FF2B5EF4-FFF2-40B4-BE49-F238E27FC236}">
                <a16:creationId xmlns:a16="http://schemas.microsoft.com/office/drawing/2014/main" id="{B1F08EC2-0348-4B46-8C6D-BF6EDFBBBD44}"/>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2451567955"/>
      </p:ext>
    </p:extLst>
  </p:cSld>
  <p:clrMapOvr>
    <a:masterClrMapping/>
  </p:clrMapOvr>
  <p:extLst>
    <p:ext uri="{DCECCB84-F9BA-43D5-87BE-67443E8EF086}">
      <p15:sldGuideLst xmlns:p15="http://schemas.microsoft.com/office/powerpoint/2012/main">
        <p15:guide id="1" orient="horz" pos="2160">
          <p15:clr>
            <a:srgbClr val="FBAE40"/>
          </p15:clr>
        </p15:guide>
        <p15:guide id="2" pos="264">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lvl1pPr>
              <a:defRPr>
                <a:solidFill>
                  <a:srgbClr val="333F48"/>
                </a:solidFill>
              </a:defRPr>
            </a:lvl1pPr>
          </a:lstStyle>
          <a:p>
            <a:r>
              <a:rPr lang="en-US"/>
              <a:t>Click to edit Master title style</a:t>
            </a:r>
          </a:p>
        </p:txBody>
      </p:sp>
      <p:grpSp>
        <p:nvGrpSpPr>
          <p:cNvPr id="33" name="Group 32">
            <a:extLst>
              <a:ext uri="{FF2B5EF4-FFF2-40B4-BE49-F238E27FC236}">
                <a16:creationId xmlns:a16="http://schemas.microsoft.com/office/drawing/2014/main" id="{0F62616B-A113-49C2-BCA3-32AFDB89CBE2}"/>
              </a:ext>
            </a:extLst>
          </p:cNvPr>
          <p:cNvGrpSpPr/>
          <p:nvPr userDrawn="1"/>
        </p:nvGrpSpPr>
        <p:grpSpPr>
          <a:xfrm>
            <a:off x="7358173" y="6361974"/>
            <a:ext cx="1382376" cy="297562"/>
            <a:chOff x="6923088" y="4475163"/>
            <a:chExt cx="1873251" cy="403225"/>
          </a:xfrm>
        </p:grpSpPr>
        <p:sp>
          <p:nvSpPr>
            <p:cNvPr id="34" name="AutoShape 4">
              <a:extLst>
                <a:ext uri="{FF2B5EF4-FFF2-40B4-BE49-F238E27FC236}">
                  <a16:creationId xmlns:a16="http://schemas.microsoft.com/office/drawing/2014/main" id="{49D58BA8-C307-41D7-A988-42E097D1EF76}"/>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6">
              <a:extLst>
                <a:ext uri="{FF2B5EF4-FFF2-40B4-BE49-F238E27FC236}">
                  <a16:creationId xmlns:a16="http://schemas.microsoft.com/office/drawing/2014/main" id="{99E6BBF1-6900-43FC-B106-808C1203D52D}"/>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7">
              <a:extLst>
                <a:ext uri="{FF2B5EF4-FFF2-40B4-BE49-F238E27FC236}">
                  <a16:creationId xmlns:a16="http://schemas.microsoft.com/office/drawing/2014/main" id="{1CAA1F79-AF27-468E-8586-71EF43CE357A}"/>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83">
              <a:extLst>
                <a:ext uri="{FF2B5EF4-FFF2-40B4-BE49-F238E27FC236}">
                  <a16:creationId xmlns:a16="http://schemas.microsoft.com/office/drawing/2014/main" id="{25628C13-6D93-4F00-8ED8-90737568691A}"/>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84">
              <a:extLst>
                <a:ext uri="{FF2B5EF4-FFF2-40B4-BE49-F238E27FC236}">
                  <a16:creationId xmlns:a16="http://schemas.microsoft.com/office/drawing/2014/main" id="{85C9C7A1-11FD-4D2C-8EDF-4833DE82B50F}"/>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85">
              <a:extLst>
                <a:ext uri="{FF2B5EF4-FFF2-40B4-BE49-F238E27FC236}">
                  <a16:creationId xmlns:a16="http://schemas.microsoft.com/office/drawing/2014/main" id="{713E574F-4758-48CF-8C5C-4B0FEAD58DBC}"/>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86">
              <a:extLst>
                <a:ext uri="{FF2B5EF4-FFF2-40B4-BE49-F238E27FC236}">
                  <a16:creationId xmlns:a16="http://schemas.microsoft.com/office/drawing/2014/main" id="{5095EFD8-8B78-4FEF-966C-2B785E288D2C}"/>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87">
              <a:extLst>
                <a:ext uri="{FF2B5EF4-FFF2-40B4-BE49-F238E27FC236}">
                  <a16:creationId xmlns:a16="http://schemas.microsoft.com/office/drawing/2014/main" id="{E1B3AF36-9DB0-4539-A4AF-978F6A19D6B3}"/>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88">
              <a:extLst>
                <a:ext uri="{FF2B5EF4-FFF2-40B4-BE49-F238E27FC236}">
                  <a16:creationId xmlns:a16="http://schemas.microsoft.com/office/drawing/2014/main" id="{F15062CC-7097-4E22-AE5F-F76A8333AC1D}"/>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89">
              <a:extLst>
                <a:ext uri="{FF2B5EF4-FFF2-40B4-BE49-F238E27FC236}">
                  <a16:creationId xmlns:a16="http://schemas.microsoft.com/office/drawing/2014/main" id="{62041FF7-97A2-4A11-9271-8D11EF1B6F17}"/>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90">
              <a:extLst>
                <a:ext uri="{FF2B5EF4-FFF2-40B4-BE49-F238E27FC236}">
                  <a16:creationId xmlns:a16="http://schemas.microsoft.com/office/drawing/2014/main" id="{866430AE-6669-4687-886A-98B81A7EF4AC}"/>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91">
              <a:extLst>
                <a:ext uri="{FF2B5EF4-FFF2-40B4-BE49-F238E27FC236}">
                  <a16:creationId xmlns:a16="http://schemas.microsoft.com/office/drawing/2014/main" id="{57909145-25A0-4EAB-B40E-FBACBBFF5AE0}"/>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92">
              <a:extLst>
                <a:ext uri="{FF2B5EF4-FFF2-40B4-BE49-F238E27FC236}">
                  <a16:creationId xmlns:a16="http://schemas.microsoft.com/office/drawing/2014/main" id="{62666816-D824-4ACC-8078-CCF01B95645F}"/>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93">
              <a:extLst>
                <a:ext uri="{FF2B5EF4-FFF2-40B4-BE49-F238E27FC236}">
                  <a16:creationId xmlns:a16="http://schemas.microsoft.com/office/drawing/2014/main" id="{1F0724D1-2EFF-4A05-AA97-B428B60B54AA}"/>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94">
              <a:extLst>
                <a:ext uri="{FF2B5EF4-FFF2-40B4-BE49-F238E27FC236}">
                  <a16:creationId xmlns:a16="http://schemas.microsoft.com/office/drawing/2014/main" id="{D34C7757-1028-46E7-A0FC-91415EC881CB}"/>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95">
              <a:extLst>
                <a:ext uri="{FF2B5EF4-FFF2-40B4-BE49-F238E27FC236}">
                  <a16:creationId xmlns:a16="http://schemas.microsoft.com/office/drawing/2014/main" id="{36C1B6E4-AA6D-4CF5-B8E3-594DC6CE63A1}"/>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6">
              <a:extLst>
                <a:ext uri="{FF2B5EF4-FFF2-40B4-BE49-F238E27FC236}">
                  <a16:creationId xmlns:a16="http://schemas.microsoft.com/office/drawing/2014/main" id="{DF1C8D13-DF52-4DA1-BA6C-7FDF9DC5423E}"/>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7">
              <a:extLst>
                <a:ext uri="{FF2B5EF4-FFF2-40B4-BE49-F238E27FC236}">
                  <a16:creationId xmlns:a16="http://schemas.microsoft.com/office/drawing/2014/main" id="{0B1E1E0F-7A95-4895-BC4B-813467036ACD}"/>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8">
              <a:extLst>
                <a:ext uri="{FF2B5EF4-FFF2-40B4-BE49-F238E27FC236}">
                  <a16:creationId xmlns:a16="http://schemas.microsoft.com/office/drawing/2014/main" id="{1724219D-3EC2-412F-BEDC-0B04B4D64F07}"/>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99">
              <a:extLst>
                <a:ext uri="{FF2B5EF4-FFF2-40B4-BE49-F238E27FC236}">
                  <a16:creationId xmlns:a16="http://schemas.microsoft.com/office/drawing/2014/main" id="{66CE2863-34C9-4A02-9B77-AFA590051207}"/>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100">
              <a:extLst>
                <a:ext uri="{FF2B5EF4-FFF2-40B4-BE49-F238E27FC236}">
                  <a16:creationId xmlns:a16="http://schemas.microsoft.com/office/drawing/2014/main" id="{80C1B223-C089-47E5-927C-E60A5CDCA764}"/>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101">
              <a:extLst>
                <a:ext uri="{FF2B5EF4-FFF2-40B4-BE49-F238E27FC236}">
                  <a16:creationId xmlns:a16="http://schemas.microsoft.com/office/drawing/2014/main" id="{058054D3-04AE-4AA2-873C-35A5A9D314DF}"/>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102">
              <a:extLst>
                <a:ext uri="{FF2B5EF4-FFF2-40B4-BE49-F238E27FC236}">
                  <a16:creationId xmlns:a16="http://schemas.microsoft.com/office/drawing/2014/main" id="{CC748DEB-C39E-42D7-937A-08EF61FC5D31}"/>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03">
              <a:extLst>
                <a:ext uri="{FF2B5EF4-FFF2-40B4-BE49-F238E27FC236}">
                  <a16:creationId xmlns:a16="http://schemas.microsoft.com/office/drawing/2014/main" id="{B18D9B0F-C3B3-45D2-BAAC-62562A3321F1}"/>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104">
              <a:extLst>
                <a:ext uri="{FF2B5EF4-FFF2-40B4-BE49-F238E27FC236}">
                  <a16:creationId xmlns:a16="http://schemas.microsoft.com/office/drawing/2014/main" id="{88CA10C9-6D49-426A-B008-08E0E8E944BC}"/>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105">
              <a:extLst>
                <a:ext uri="{FF2B5EF4-FFF2-40B4-BE49-F238E27FC236}">
                  <a16:creationId xmlns:a16="http://schemas.microsoft.com/office/drawing/2014/main" id="{070CAC55-C633-45AA-A07A-C0957C583FFD}"/>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1" name="Slide Number Placeholder 3">
            <a:extLst>
              <a:ext uri="{FF2B5EF4-FFF2-40B4-BE49-F238E27FC236}">
                <a16:creationId xmlns:a16="http://schemas.microsoft.com/office/drawing/2014/main" id="{EF524037-F5D0-4428-9CA5-C04BEDCCDDDB}"/>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a:p>
        </p:txBody>
      </p:sp>
      <p:sp>
        <p:nvSpPr>
          <p:cNvPr id="62" name="Rectangle 155">
            <a:extLst>
              <a:ext uri="{FF2B5EF4-FFF2-40B4-BE49-F238E27FC236}">
                <a16:creationId xmlns:a16="http://schemas.microsoft.com/office/drawing/2014/main" id="{2B1046A9-03EE-49D1-911F-F1D3C9D50387}"/>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a:t>Production code #</a:t>
            </a:r>
          </a:p>
        </p:txBody>
      </p:sp>
      <p:sp>
        <p:nvSpPr>
          <p:cNvPr id="63" name="Rectangle 176">
            <a:extLst>
              <a:ext uri="{FF2B5EF4-FFF2-40B4-BE49-F238E27FC236}">
                <a16:creationId xmlns:a16="http://schemas.microsoft.com/office/drawing/2014/main" id="{3D2F4685-1C9C-46FB-9AD7-3D8BB399C73D}"/>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a:t>Page footer, i.e., For institutional use only.</a:t>
            </a:r>
          </a:p>
        </p:txBody>
      </p:sp>
    </p:spTree>
    <p:extLst>
      <p:ext uri="{BB962C8B-B14F-4D97-AF65-F5344CB8AC3E}">
        <p14:creationId xmlns:p14="http://schemas.microsoft.com/office/powerpoint/2010/main" val="89889857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p>
            <a:r>
              <a:rPr lang="en-US"/>
              <a:t>Click to edit Master title style</a:t>
            </a:r>
          </a:p>
        </p:txBody>
      </p:sp>
      <p:sp>
        <p:nvSpPr>
          <p:cNvPr id="7" name="Content Placeholder 2"/>
          <p:cNvSpPr>
            <a:spLocks noGrp="1"/>
          </p:cNvSpPr>
          <p:nvPr>
            <p:ph idx="13"/>
          </p:nvPr>
        </p:nvSpPr>
        <p:spPr>
          <a:xfrm>
            <a:off x="325661" y="1339850"/>
            <a:ext cx="8188710" cy="4878388"/>
          </a:xfrm>
        </p:spPr>
        <p:txBody>
          <a:bodyPr lIns="91440"/>
          <a:lstStyle>
            <a:lvl1pPr marL="0" indent="0" algn="l" rtl="0" fontAlgn="base">
              <a:spcBef>
                <a:spcPts val="480"/>
              </a:spcBef>
              <a:spcAft>
                <a:spcPct val="0"/>
              </a:spcAft>
              <a:buSzPct val="40000"/>
              <a:defRPr lang="en-US" sz="1600" b="1" dirty="0" smtClean="0">
                <a:solidFill>
                  <a:srgbClr val="7A9A3D"/>
                </a:solidFill>
                <a:latin typeface="+mn-lt"/>
                <a:ea typeface="+mn-ea"/>
                <a:cs typeface="+mn-cs"/>
              </a:defRPr>
            </a:lvl1pPr>
            <a:lvl2pPr>
              <a:spcBef>
                <a:spcPts val="2000"/>
              </a:spcBef>
              <a:defRPr lang="en-US" dirty="0" smtClean="0">
                <a:solidFill>
                  <a:schemeClr val="tx1"/>
                </a:solidFill>
                <a:latin typeface="+mn-lt"/>
              </a:defRPr>
            </a:lvl2pPr>
            <a:lvl3pPr>
              <a:defRPr lang="en-US" sz="1600" dirty="0" smtClean="0">
                <a:solidFill>
                  <a:schemeClr val="accent1"/>
                </a:solidFill>
                <a:latin typeface="+mn-lt"/>
              </a:defRPr>
            </a:lvl3pPr>
            <a:lvl4pPr>
              <a:buClr>
                <a:schemeClr val="bg2"/>
              </a:buClr>
              <a:buSzPct val="80000"/>
              <a:buFont typeface="Arial" pitchFamily="34" charset="0"/>
              <a:buChar char="•"/>
              <a:defRPr sz="1400">
                <a:solidFill>
                  <a:schemeClr val="accent1"/>
                </a:solidFill>
              </a:defRPr>
            </a:lvl4pPr>
          </a:lstStyle>
          <a:p>
            <a:pPr lvl="0"/>
            <a:r>
              <a:rPr lang="en-US"/>
              <a:t>Click to edit Master text styles</a:t>
            </a:r>
          </a:p>
        </p:txBody>
      </p:sp>
      <p:grpSp>
        <p:nvGrpSpPr>
          <p:cNvPr id="34" name="Group 33">
            <a:extLst>
              <a:ext uri="{FF2B5EF4-FFF2-40B4-BE49-F238E27FC236}">
                <a16:creationId xmlns:a16="http://schemas.microsoft.com/office/drawing/2014/main" id="{7645B271-DC5A-455C-972F-184CD6F75FE1}"/>
              </a:ext>
            </a:extLst>
          </p:cNvPr>
          <p:cNvGrpSpPr/>
          <p:nvPr userDrawn="1"/>
        </p:nvGrpSpPr>
        <p:grpSpPr>
          <a:xfrm>
            <a:off x="7358173" y="6361974"/>
            <a:ext cx="1382376" cy="297562"/>
            <a:chOff x="6923088" y="4475163"/>
            <a:chExt cx="1873251" cy="403225"/>
          </a:xfrm>
        </p:grpSpPr>
        <p:sp>
          <p:nvSpPr>
            <p:cNvPr id="35" name="AutoShape 4">
              <a:extLst>
                <a:ext uri="{FF2B5EF4-FFF2-40B4-BE49-F238E27FC236}">
                  <a16:creationId xmlns:a16="http://schemas.microsoft.com/office/drawing/2014/main" id="{981F299B-B30A-4200-882E-A1DB110E54A1}"/>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6">
              <a:extLst>
                <a:ext uri="{FF2B5EF4-FFF2-40B4-BE49-F238E27FC236}">
                  <a16:creationId xmlns:a16="http://schemas.microsoft.com/office/drawing/2014/main" id="{8CB19815-5037-45FC-9786-8C9AD1058016}"/>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7">
              <a:extLst>
                <a:ext uri="{FF2B5EF4-FFF2-40B4-BE49-F238E27FC236}">
                  <a16:creationId xmlns:a16="http://schemas.microsoft.com/office/drawing/2014/main" id="{210663C0-C8F9-403A-8CD2-C1F7CF8FC2BF}"/>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83">
              <a:extLst>
                <a:ext uri="{FF2B5EF4-FFF2-40B4-BE49-F238E27FC236}">
                  <a16:creationId xmlns:a16="http://schemas.microsoft.com/office/drawing/2014/main" id="{8158FE4D-784E-459F-A960-4E125DF0F251}"/>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84">
              <a:extLst>
                <a:ext uri="{FF2B5EF4-FFF2-40B4-BE49-F238E27FC236}">
                  <a16:creationId xmlns:a16="http://schemas.microsoft.com/office/drawing/2014/main" id="{84E0C97A-D15D-41FF-A250-6C5D06F3172F}"/>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85">
              <a:extLst>
                <a:ext uri="{FF2B5EF4-FFF2-40B4-BE49-F238E27FC236}">
                  <a16:creationId xmlns:a16="http://schemas.microsoft.com/office/drawing/2014/main" id="{9286D920-7349-4DA5-8098-FBBBA4142274}"/>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86">
              <a:extLst>
                <a:ext uri="{FF2B5EF4-FFF2-40B4-BE49-F238E27FC236}">
                  <a16:creationId xmlns:a16="http://schemas.microsoft.com/office/drawing/2014/main" id="{C1B434F8-ADCA-4E47-AE1A-49F89DAFECC5}"/>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87">
              <a:extLst>
                <a:ext uri="{FF2B5EF4-FFF2-40B4-BE49-F238E27FC236}">
                  <a16:creationId xmlns:a16="http://schemas.microsoft.com/office/drawing/2014/main" id="{282F5851-8545-4EE9-A625-19BE3095ACB6}"/>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88">
              <a:extLst>
                <a:ext uri="{FF2B5EF4-FFF2-40B4-BE49-F238E27FC236}">
                  <a16:creationId xmlns:a16="http://schemas.microsoft.com/office/drawing/2014/main" id="{D6AB1CC1-1D24-4B74-A27D-D1B8A703D991}"/>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89">
              <a:extLst>
                <a:ext uri="{FF2B5EF4-FFF2-40B4-BE49-F238E27FC236}">
                  <a16:creationId xmlns:a16="http://schemas.microsoft.com/office/drawing/2014/main" id="{3862B34B-4D7E-4367-ABFC-C70AAC34F925}"/>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90">
              <a:extLst>
                <a:ext uri="{FF2B5EF4-FFF2-40B4-BE49-F238E27FC236}">
                  <a16:creationId xmlns:a16="http://schemas.microsoft.com/office/drawing/2014/main" id="{E5F1F9C5-A51C-4CC0-8DF0-465C55D60173}"/>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91">
              <a:extLst>
                <a:ext uri="{FF2B5EF4-FFF2-40B4-BE49-F238E27FC236}">
                  <a16:creationId xmlns:a16="http://schemas.microsoft.com/office/drawing/2014/main" id="{569D52C3-EFFA-4F6C-88D6-95C2B8F81034}"/>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92">
              <a:extLst>
                <a:ext uri="{FF2B5EF4-FFF2-40B4-BE49-F238E27FC236}">
                  <a16:creationId xmlns:a16="http://schemas.microsoft.com/office/drawing/2014/main" id="{42ED9E5F-C2B4-42A4-AA2A-AF48941C81EB}"/>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93">
              <a:extLst>
                <a:ext uri="{FF2B5EF4-FFF2-40B4-BE49-F238E27FC236}">
                  <a16:creationId xmlns:a16="http://schemas.microsoft.com/office/drawing/2014/main" id="{CC43DE98-B858-4BA0-96D4-87DABB0B9042}"/>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94">
              <a:extLst>
                <a:ext uri="{FF2B5EF4-FFF2-40B4-BE49-F238E27FC236}">
                  <a16:creationId xmlns:a16="http://schemas.microsoft.com/office/drawing/2014/main" id="{C77B781B-7A72-4CD0-B5D7-93667054DEC7}"/>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5">
              <a:extLst>
                <a:ext uri="{FF2B5EF4-FFF2-40B4-BE49-F238E27FC236}">
                  <a16:creationId xmlns:a16="http://schemas.microsoft.com/office/drawing/2014/main" id="{65A1C4BE-A361-43C9-9F99-35D7D96B6351}"/>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6">
              <a:extLst>
                <a:ext uri="{FF2B5EF4-FFF2-40B4-BE49-F238E27FC236}">
                  <a16:creationId xmlns:a16="http://schemas.microsoft.com/office/drawing/2014/main" id="{A0712A7E-616F-4D72-9D69-992C6EECD487}"/>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7">
              <a:extLst>
                <a:ext uri="{FF2B5EF4-FFF2-40B4-BE49-F238E27FC236}">
                  <a16:creationId xmlns:a16="http://schemas.microsoft.com/office/drawing/2014/main" id="{622CAA9B-3BBB-4A0A-9F4F-A55FF6A4F70F}"/>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98">
              <a:extLst>
                <a:ext uri="{FF2B5EF4-FFF2-40B4-BE49-F238E27FC236}">
                  <a16:creationId xmlns:a16="http://schemas.microsoft.com/office/drawing/2014/main" id="{05FA4D1B-0AF0-478D-9483-3C9AD781F457}"/>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99">
              <a:extLst>
                <a:ext uri="{FF2B5EF4-FFF2-40B4-BE49-F238E27FC236}">
                  <a16:creationId xmlns:a16="http://schemas.microsoft.com/office/drawing/2014/main" id="{759E997B-853C-4C4C-A139-FCA7C81D155F}"/>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100">
              <a:extLst>
                <a:ext uri="{FF2B5EF4-FFF2-40B4-BE49-F238E27FC236}">
                  <a16:creationId xmlns:a16="http://schemas.microsoft.com/office/drawing/2014/main" id="{986E164C-CF11-4423-93E0-CE6765080049}"/>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101">
              <a:extLst>
                <a:ext uri="{FF2B5EF4-FFF2-40B4-BE49-F238E27FC236}">
                  <a16:creationId xmlns:a16="http://schemas.microsoft.com/office/drawing/2014/main" id="{2BA4917F-73B1-42C6-8A7A-BC93E1E70930}"/>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02">
              <a:extLst>
                <a:ext uri="{FF2B5EF4-FFF2-40B4-BE49-F238E27FC236}">
                  <a16:creationId xmlns:a16="http://schemas.microsoft.com/office/drawing/2014/main" id="{5219F6E5-979C-417D-B1BC-F638E25EC2C3}"/>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103">
              <a:extLst>
                <a:ext uri="{FF2B5EF4-FFF2-40B4-BE49-F238E27FC236}">
                  <a16:creationId xmlns:a16="http://schemas.microsoft.com/office/drawing/2014/main" id="{A50A41F6-9858-47F8-8C00-C523EFC2667E}"/>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104">
              <a:extLst>
                <a:ext uri="{FF2B5EF4-FFF2-40B4-BE49-F238E27FC236}">
                  <a16:creationId xmlns:a16="http://schemas.microsoft.com/office/drawing/2014/main" id="{D34DAA34-328E-42B7-AEF3-A67AF79B1509}"/>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105">
              <a:extLst>
                <a:ext uri="{FF2B5EF4-FFF2-40B4-BE49-F238E27FC236}">
                  <a16:creationId xmlns:a16="http://schemas.microsoft.com/office/drawing/2014/main" id="{09E02178-BC20-4656-8320-DBEE2C2D78BF}"/>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2" name="Slide Number Placeholder 3">
            <a:extLst>
              <a:ext uri="{FF2B5EF4-FFF2-40B4-BE49-F238E27FC236}">
                <a16:creationId xmlns:a16="http://schemas.microsoft.com/office/drawing/2014/main" id="{4BACBA7A-3B9C-4FA4-BE9B-2701ADADA166}"/>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a:p>
        </p:txBody>
      </p:sp>
      <p:sp>
        <p:nvSpPr>
          <p:cNvPr id="63" name="Rectangle 155">
            <a:extLst>
              <a:ext uri="{FF2B5EF4-FFF2-40B4-BE49-F238E27FC236}">
                <a16:creationId xmlns:a16="http://schemas.microsoft.com/office/drawing/2014/main" id="{14E214B7-BB48-4178-B022-500F2BA5A5EF}"/>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a:t>Production code #</a:t>
            </a:r>
          </a:p>
        </p:txBody>
      </p:sp>
      <p:sp>
        <p:nvSpPr>
          <p:cNvPr id="64" name="Rectangle 176">
            <a:extLst>
              <a:ext uri="{FF2B5EF4-FFF2-40B4-BE49-F238E27FC236}">
                <a16:creationId xmlns:a16="http://schemas.microsoft.com/office/drawing/2014/main" id="{1206BE26-E5C7-4ADA-8A9A-41BDC4C42A8A}"/>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a:t>Page footer, i.e., For institutional use only.</a:t>
            </a:r>
          </a:p>
        </p:txBody>
      </p:sp>
    </p:spTree>
    <p:extLst>
      <p:ext uri="{BB962C8B-B14F-4D97-AF65-F5344CB8AC3E}">
        <p14:creationId xmlns:p14="http://schemas.microsoft.com/office/powerpoint/2010/main" val="262290881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264">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41248"/>
          </a:xfrm>
        </p:spPr>
        <p:txBody>
          <a:bodyPr/>
          <a:lstStyle>
            <a:lvl1pPr>
              <a:defRPr>
                <a:solidFill>
                  <a:srgbClr val="333F48"/>
                </a:solidFill>
              </a:defRPr>
            </a:lvl1pPr>
          </a:lstStyle>
          <a:p>
            <a:r>
              <a:rPr lang="en-US"/>
              <a:t>Click to edit Master title style</a:t>
            </a:r>
          </a:p>
        </p:txBody>
      </p:sp>
      <p:sp>
        <p:nvSpPr>
          <p:cNvPr id="11" name="Content Placeholder 2"/>
          <p:cNvSpPr>
            <a:spLocks noGrp="1"/>
          </p:cNvSpPr>
          <p:nvPr>
            <p:ph idx="12"/>
          </p:nvPr>
        </p:nvSpPr>
        <p:spPr>
          <a:xfrm>
            <a:off x="325661" y="1339850"/>
            <a:ext cx="8188710" cy="4878388"/>
          </a:xfrm>
        </p:spPr>
        <p:txBody>
          <a:bodyPr lIns="91440"/>
          <a:lstStyle>
            <a:lvl1pPr marL="0" indent="0" algn="l" rtl="0" fontAlgn="base">
              <a:spcBef>
                <a:spcPts val="480"/>
              </a:spcBef>
              <a:spcAft>
                <a:spcPct val="0"/>
              </a:spcAft>
              <a:buSzPct val="40000"/>
              <a:defRPr lang="en-US" sz="1600" b="1" dirty="0" smtClean="0">
                <a:solidFill>
                  <a:srgbClr val="7A9B3D"/>
                </a:solidFill>
                <a:latin typeface="+mn-lt"/>
                <a:ea typeface="+mn-ea"/>
                <a:cs typeface="+mn-cs"/>
              </a:defRPr>
            </a:lvl1pPr>
            <a:lvl2pPr marL="114300" indent="-114300">
              <a:spcBef>
                <a:spcPts val="288"/>
              </a:spcBef>
              <a:buClr>
                <a:srgbClr val="7A9B3D"/>
              </a:buClr>
              <a:defRPr lang="en-US" dirty="0" smtClean="0">
                <a:solidFill>
                  <a:srgbClr val="000000"/>
                </a:solidFill>
                <a:latin typeface="+mn-lt"/>
              </a:defRPr>
            </a:lvl2pPr>
            <a:lvl3pPr marL="228600" indent="-114300">
              <a:buClr>
                <a:srgbClr val="768692"/>
              </a:buClr>
              <a:defRPr lang="en-US" sz="1200" dirty="0" smtClean="0">
                <a:solidFill>
                  <a:srgbClr val="000000"/>
                </a:solidFill>
                <a:latin typeface="+mn-lt"/>
              </a:defRPr>
            </a:lvl3pPr>
            <a:lvl4pPr marL="342900" indent="-114300">
              <a:buClr>
                <a:srgbClr val="000000"/>
              </a:buClr>
              <a:buSzPct val="100000"/>
              <a:buFont typeface="Arial" pitchFamily="34" charset="0"/>
              <a:buChar char="•"/>
              <a:defRPr sz="1200">
                <a:solidFill>
                  <a:srgbClr val="000000"/>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grpSp>
        <p:nvGrpSpPr>
          <p:cNvPr id="34" name="Group 33">
            <a:extLst>
              <a:ext uri="{FF2B5EF4-FFF2-40B4-BE49-F238E27FC236}">
                <a16:creationId xmlns:a16="http://schemas.microsoft.com/office/drawing/2014/main" id="{F35FDC46-FBEF-4D3A-824F-AA5527F6B538}"/>
              </a:ext>
            </a:extLst>
          </p:cNvPr>
          <p:cNvGrpSpPr/>
          <p:nvPr userDrawn="1"/>
        </p:nvGrpSpPr>
        <p:grpSpPr>
          <a:xfrm>
            <a:off x="7358173" y="6361974"/>
            <a:ext cx="1382376" cy="297562"/>
            <a:chOff x="6923088" y="4475163"/>
            <a:chExt cx="1873251" cy="403225"/>
          </a:xfrm>
        </p:grpSpPr>
        <p:sp>
          <p:nvSpPr>
            <p:cNvPr id="35" name="AutoShape 4">
              <a:extLst>
                <a:ext uri="{FF2B5EF4-FFF2-40B4-BE49-F238E27FC236}">
                  <a16:creationId xmlns:a16="http://schemas.microsoft.com/office/drawing/2014/main" id="{13B1E680-6021-422B-8A8E-1B306778B234}"/>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6">
              <a:extLst>
                <a:ext uri="{FF2B5EF4-FFF2-40B4-BE49-F238E27FC236}">
                  <a16:creationId xmlns:a16="http://schemas.microsoft.com/office/drawing/2014/main" id="{E8025A2B-E398-4697-A9E2-8F0FC31A0D85}"/>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7">
              <a:extLst>
                <a:ext uri="{FF2B5EF4-FFF2-40B4-BE49-F238E27FC236}">
                  <a16:creationId xmlns:a16="http://schemas.microsoft.com/office/drawing/2014/main" id="{C43F9FE8-4030-4823-AFFC-53EC41D610C8}"/>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83">
              <a:extLst>
                <a:ext uri="{FF2B5EF4-FFF2-40B4-BE49-F238E27FC236}">
                  <a16:creationId xmlns:a16="http://schemas.microsoft.com/office/drawing/2014/main" id="{84CFA8D7-B7EA-4C49-8B7B-52F2EBD40D72}"/>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84">
              <a:extLst>
                <a:ext uri="{FF2B5EF4-FFF2-40B4-BE49-F238E27FC236}">
                  <a16:creationId xmlns:a16="http://schemas.microsoft.com/office/drawing/2014/main" id="{E5FA71CE-1849-4F2B-BBF1-D88DF543601E}"/>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85">
              <a:extLst>
                <a:ext uri="{FF2B5EF4-FFF2-40B4-BE49-F238E27FC236}">
                  <a16:creationId xmlns:a16="http://schemas.microsoft.com/office/drawing/2014/main" id="{B09D7E37-F1F3-4A71-A11A-DFFB32209D19}"/>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86">
              <a:extLst>
                <a:ext uri="{FF2B5EF4-FFF2-40B4-BE49-F238E27FC236}">
                  <a16:creationId xmlns:a16="http://schemas.microsoft.com/office/drawing/2014/main" id="{A2B61984-2AF8-42DC-88E5-6AC6F527AD9A}"/>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87">
              <a:extLst>
                <a:ext uri="{FF2B5EF4-FFF2-40B4-BE49-F238E27FC236}">
                  <a16:creationId xmlns:a16="http://schemas.microsoft.com/office/drawing/2014/main" id="{C07FC06A-2E9C-4A48-BBD3-6327F3653272}"/>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88">
              <a:extLst>
                <a:ext uri="{FF2B5EF4-FFF2-40B4-BE49-F238E27FC236}">
                  <a16:creationId xmlns:a16="http://schemas.microsoft.com/office/drawing/2014/main" id="{BC929529-3872-4564-916D-B78F3A022AC1}"/>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89">
              <a:extLst>
                <a:ext uri="{FF2B5EF4-FFF2-40B4-BE49-F238E27FC236}">
                  <a16:creationId xmlns:a16="http://schemas.microsoft.com/office/drawing/2014/main" id="{76C611A8-28A4-4EB7-8E8D-5709B0A9C09D}"/>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90">
              <a:extLst>
                <a:ext uri="{FF2B5EF4-FFF2-40B4-BE49-F238E27FC236}">
                  <a16:creationId xmlns:a16="http://schemas.microsoft.com/office/drawing/2014/main" id="{2A3387E9-C969-42C4-8C31-01B08251BC3A}"/>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91">
              <a:extLst>
                <a:ext uri="{FF2B5EF4-FFF2-40B4-BE49-F238E27FC236}">
                  <a16:creationId xmlns:a16="http://schemas.microsoft.com/office/drawing/2014/main" id="{302AB622-4561-41BC-BC82-5C875ED588E4}"/>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92">
              <a:extLst>
                <a:ext uri="{FF2B5EF4-FFF2-40B4-BE49-F238E27FC236}">
                  <a16:creationId xmlns:a16="http://schemas.microsoft.com/office/drawing/2014/main" id="{E60D74BB-AE92-4309-8898-038C88CD68C4}"/>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93">
              <a:extLst>
                <a:ext uri="{FF2B5EF4-FFF2-40B4-BE49-F238E27FC236}">
                  <a16:creationId xmlns:a16="http://schemas.microsoft.com/office/drawing/2014/main" id="{8B265CB2-CFC3-48F3-A867-1D7250C38C07}"/>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94">
              <a:extLst>
                <a:ext uri="{FF2B5EF4-FFF2-40B4-BE49-F238E27FC236}">
                  <a16:creationId xmlns:a16="http://schemas.microsoft.com/office/drawing/2014/main" id="{67D6C386-B58F-4756-AEDA-323448941B69}"/>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5">
              <a:extLst>
                <a:ext uri="{FF2B5EF4-FFF2-40B4-BE49-F238E27FC236}">
                  <a16:creationId xmlns:a16="http://schemas.microsoft.com/office/drawing/2014/main" id="{A8EC6758-D67A-4DF6-B788-44C3EA3AE253}"/>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6">
              <a:extLst>
                <a:ext uri="{FF2B5EF4-FFF2-40B4-BE49-F238E27FC236}">
                  <a16:creationId xmlns:a16="http://schemas.microsoft.com/office/drawing/2014/main" id="{C765FFF5-FEC7-4B2F-BE49-019DD1B75BC0}"/>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7">
              <a:extLst>
                <a:ext uri="{FF2B5EF4-FFF2-40B4-BE49-F238E27FC236}">
                  <a16:creationId xmlns:a16="http://schemas.microsoft.com/office/drawing/2014/main" id="{4037D999-CE4B-40FE-BDE3-6257E3833FE6}"/>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98">
              <a:extLst>
                <a:ext uri="{FF2B5EF4-FFF2-40B4-BE49-F238E27FC236}">
                  <a16:creationId xmlns:a16="http://schemas.microsoft.com/office/drawing/2014/main" id="{670E1E2A-C6E4-432C-91D5-5002B80FA31E}"/>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99">
              <a:extLst>
                <a:ext uri="{FF2B5EF4-FFF2-40B4-BE49-F238E27FC236}">
                  <a16:creationId xmlns:a16="http://schemas.microsoft.com/office/drawing/2014/main" id="{F4A5B3F1-45B2-446A-85C8-AE25FB0A14B0}"/>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100">
              <a:extLst>
                <a:ext uri="{FF2B5EF4-FFF2-40B4-BE49-F238E27FC236}">
                  <a16:creationId xmlns:a16="http://schemas.microsoft.com/office/drawing/2014/main" id="{04268254-A1B1-43E8-9769-A0BD433D5D0E}"/>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101">
              <a:extLst>
                <a:ext uri="{FF2B5EF4-FFF2-40B4-BE49-F238E27FC236}">
                  <a16:creationId xmlns:a16="http://schemas.microsoft.com/office/drawing/2014/main" id="{F2EDB0F0-6E60-47F6-A679-89912AB17CC3}"/>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02">
              <a:extLst>
                <a:ext uri="{FF2B5EF4-FFF2-40B4-BE49-F238E27FC236}">
                  <a16:creationId xmlns:a16="http://schemas.microsoft.com/office/drawing/2014/main" id="{9305A429-8E7E-40EB-87BD-88486F37CD0D}"/>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103">
              <a:extLst>
                <a:ext uri="{FF2B5EF4-FFF2-40B4-BE49-F238E27FC236}">
                  <a16:creationId xmlns:a16="http://schemas.microsoft.com/office/drawing/2014/main" id="{D39023A5-E518-4444-8B57-73531A0F3B21}"/>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104">
              <a:extLst>
                <a:ext uri="{FF2B5EF4-FFF2-40B4-BE49-F238E27FC236}">
                  <a16:creationId xmlns:a16="http://schemas.microsoft.com/office/drawing/2014/main" id="{00BFEA3B-6363-498A-9DCB-1DDD6916076F}"/>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105">
              <a:extLst>
                <a:ext uri="{FF2B5EF4-FFF2-40B4-BE49-F238E27FC236}">
                  <a16:creationId xmlns:a16="http://schemas.microsoft.com/office/drawing/2014/main" id="{0665DFAE-7DC0-4298-A731-4646C37AFEE5}"/>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2" name="Slide Number Placeholder 3">
            <a:extLst>
              <a:ext uri="{FF2B5EF4-FFF2-40B4-BE49-F238E27FC236}">
                <a16:creationId xmlns:a16="http://schemas.microsoft.com/office/drawing/2014/main" id="{AE8437CA-0496-4DD5-9905-A7ABC5A38B93}"/>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a:p>
        </p:txBody>
      </p:sp>
      <p:sp>
        <p:nvSpPr>
          <p:cNvPr id="63" name="Rectangle 155">
            <a:extLst>
              <a:ext uri="{FF2B5EF4-FFF2-40B4-BE49-F238E27FC236}">
                <a16:creationId xmlns:a16="http://schemas.microsoft.com/office/drawing/2014/main" id="{D9284EF3-CC3D-477B-A455-E4730B2DF686}"/>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a:t>Production code #</a:t>
            </a:r>
          </a:p>
        </p:txBody>
      </p:sp>
      <p:sp>
        <p:nvSpPr>
          <p:cNvPr id="64" name="Rectangle 176">
            <a:extLst>
              <a:ext uri="{FF2B5EF4-FFF2-40B4-BE49-F238E27FC236}">
                <a16:creationId xmlns:a16="http://schemas.microsoft.com/office/drawing/2014/main" id="{5F21FBC4-709C-41E5-B2BD-D589A058990C}"/>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a:t>Page footer, i.e., For institutional use only.</a:t>
            </a:r>
          </a:p>
        </p:txBody>
      </p:sp>
    </p:spTree>
    <p:extLst>
      <p:ext uri="{BB962C8B-B14F-4D97-AF65-F5344CB8AC3E}">
        <p14:creationId xmlns:p14="http://schemas.microsoft.com/office/powerpoint/2010/main" val="310729149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264">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Bulleted List - with subhead">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41248"/>
          </a:xfrm>
        </p:spPr>
        <p:txBody>
          <a:bodyPr/>
          <a:lstStyle/>
          <a:p>
            <a:r>
              <a:rPr lang="en-US"/>
              <a:t>Click to edit Master title style</a:t>
            </a:r>
          </a:p>
        </p:txBody>
      </p:sp>
      <p:sp>
        <p:nvSpPr>
          <p:cNvPr id="11" name="Content Placeholder 2"/>
          <p:cNvSpPr>
            <a:spLocks noGrp="1"/>
          </p:cNvSpPr>
          <p:nvPr>
            <p:ph idx="12"/>
          </p:nvPr>
        </p:nvSpPr>
        <p:spPr>
          <a:xfrm>
            <a:off x="325661" y="1339850"/>
            <a:ext cx="8188710" cy="4878388"/>
          </a:xfrm>
        </p:spPr>
        <p:txBody>
          <a:bodyPr lIns="91440"/>
          <a:lstStyle>
            <a:lvl1pPr marL="0" indent="0" algn="l" rtl="0" fontAlgn="base">
              <a:spcBef>
                <a:spcPts val="480"/>
              </a:spcBef>
              <a:spcAft>
                <a:spcPct val="0"/>
              </a:spcAft>
              <a:buSzPct val="40000"/>
              <a:defRPr lang="en-US" sz="1400" b="1" dirty="0" smtClean="0">
                <a:solidFill>
                  <a:srgbClr val="7A9B3D"/>
                </a:solidFill>
                <a:latin typeface="+mn-lt"/>
                <a:ea typeface="+mn-ea"/>
                <a:cs typeface="+mn-cs"/>
              </a:defRPr>
            </a:lvl1pPr>
            <a:lvl2pPr marL="114300" indent="-114300">
              <a:spcBef>
                <a:spcPts val="288"/>
              </a:spcBef>
              <a:buClr>
                <a:srgbClr val="7A9B3D"/>
              </a:buClr>
              <a:defRPr lang="en-US" sz="1200" dirty="0" smtClean="0">
                <a:solidFill>
                  <a:srgbClr val="000000"/>
                </a:solidFill>
                <a:latin typeface="+mn-lt"/>
              </a:defRPr>
            </a:lvl2pPr>
            <a:lvl3pPr marL="228600" indent="-114300">
              <a:buClr>
                <a:srgbClr val="7A9A3D"/>
              </a:buClr>
              <a:defRPr lang="en-US" sz="1100" dirty="0" smtClean="0">
                <a:solidFill>
                  <a:srgbClr val="000000"/>
                </a:solidFill>
                <a:latin typeface="+mn-lt"/>
              </a:defRPr>
            </a:lvl3pPr>
            <a:lvl4pPr marL="342900" indent="-114300">
              <a:buClr>
                <a:srgbClr val="7A9A3D"/>
              </a:buClr>
              <a:buSzPct val="100000"/>
              <a:buFont typeface="Arial" pitchFamily="34" charset="0"/>
              <a:buChar char="•"/>
              <a:defRPr sz="1100">
                <a:solidFill>
                  <a:srgbClr val="000000"/>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grpSp>
        <p:nvGrpSpPr>
          <p:cNvPr id="34" name="Group 33">
            <a:extLst>
              <a:ext uri="{FF2B5EF4-FFF2-40B4-BE49-F238E27FC236}">
                <a16:creationId xmlns:a16="http://schemas.microsoft.com/office/drawing/2014/main" id="{D28BA5D5-7577-4DB0-9BC0-1966AD89CF1A}"/>
              </a:ext>
            </a:extLst>
          </p:cNvPr>
          <p:cNvGrpSpPr/>
          <p:nvPr userDrawn="1"/>
        </p:nvGrpSpPr>
        <p:grpSpPr>
          <a:xfrm>
            <a:off x="7358173" y="6361974"/>
            <a:ext cx="1382376" cy="297562"/>
            <a:chOff x="6923088" y="4475163"/>
            <a:chExt cx="1873251" cy="403225"/>
          </a:xfrm>
        </p:grpSpPr>
        <p:sp>
          <p:nvSpPr>
            <p:cNvPr id="35" name="AutoShape 4">
              <a:extLst>
                <a:ext uri="{FF2B5EF4-FFF2-40B4-BE49-F238E27FC236}">
                  <a16:creationId xmlns:a16="http://schemas.microsoft.com/office/drawing/2014/main" id="{81528732-0B22-455F-8181-76F748DA3CCA}"/>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6">
              <a:extLst>
                <a:ext uri="{FF2B5EF4-FFF2-40B4-BE49-F238E27FC236}">
                  <a16:creationId xmlns:a16="http://schemas.microsoft.com/office/drawing/2014/main" id="{5A6B5828-B285-4B2A-87A0-0FBC6A49E983}"/>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7">
              <a:extLst>
                <a:ext uri="{FF2B5EF4-FFF2-40B4-BE49-F238E27FC236}">
                  <a16:creationId xmlns:a16="http://schemas.microsoft.com/office/drawing/2014/main" id="{BA9A7A8C-0055-48D8-8CDB-835865091C57}"/>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83">
              <a:extLst>
                <a:ext uri="{FF2B5EF4-FFF2-40B4-BE49-F238E27FC236}">
                  <a16:creationId xmlns:a16="http://schemas.microsoft.com/office/drawing/2014/main" id="{10EB657C-BE66-4635-89D3-1E933230114F}"/>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84">
              <a:extLst>
                <a:ext uri="{FF2B5EF4-FFF2-40B4-BE49-F238E27FC236}">
                  <a16:creationId xmlns:a16="http://schemas.microsoft.com/office/drawing/2014/main" id="{5EDFA9F8-4FAD-46D1-8ABC-D231E3876DE2}"/>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85">
              <a:extLst>
                <a:ext uri="{FF2B5EF4-FFF2-40B4-BE49-F238E27FC236}">
                  <a16:creationId xmlns:a16="http://schemas.microsoft.com/office/drawing/2014/main" id="{C807C58D-1491-44D6-9716-89F7B7746AFE}"/>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86">
              <a:extLst>
                <a:ext uri="{FF2B5EF4-FFF2-40B4-BE49-F238E27FC236}">
                  <a16:creationId xmlns:a16="http://schemas.microsoft.com/office/drawing/2014/main" id="{5594BE26-E188-4C15-88D4-6634A095626F}"/>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87">
              <a:extLst>
                <a:ext uri="{FF2B5EF4-FFF2-40B4-BE49-F238E27FC236}">
                  <a16:creationId xmlns:a16="http://schemas.microsoft.com/office/drawing/2014/main" id="{9C261F2B-017C-492C-83EC-7327405AED5C}"/>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88">
              <a:extLst>
                <a:ext uri="{FF2B5EF4-FFF2-40B4-BE49-F238E27FC236}">
                  <a16:creationId xmlns:a16="http://schemas.microsoft.com/office/drawing/2014/main" id="{36F6085D-3297-4DE4-A169-3C2B8E42B575}"/>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89">
              <a:extLst>
                <a:ext uri="{FF2B5EF4-FFF2-40B4-BE49-F238E27FC236}">
                  <a16:creationId xmlns:a16="http://schemas.microsoft.com/office/drawing/2014/main" id="{B3C2FE72-800A-4FC4-BB26-44492DBDFCE5}"/>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90">
              <a:extLst>
                <a:ext uri="{FF2B5EF4-FFF2-40B4-BE49-F238E27FC236}">
                  <a16:creationId xmlns:a16="http://schemas.microsoft.com/office/drawing/2014/main" id="{185F0E5E-F44E-47BE-84B9-016C499FF549}"/>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91">
              <a:extLst>
                <a:ext uri="{FF2B5EF4-FFF2-40B4-BE49-F238E27FC236}">
                  <a16:creationId xmlns:a16="http://schemas.microsoft.com/office/drawing/2014/main" id="{6202E0E2-C79A-46B7-8A4B-618E59D30316}"/>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92">
              <a:extLst>
                <a:ext uri="{FF2B5EF4-FFF2-40B4-BE49-F238E27FC236}">
                  <a16:creationId xmlns:a16="http://schemas.microsoft.com/office/drawing/2014/main" id="{52D8B876-4146-41FC-90E5-EB069956E4F4}"/>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93">
              <a:extLst>
                <a:ext uri="{FF2B5EF4-FFF2-40B4-BE49-F238E27FC236}">
                  <a16:creationId xmlns:a16="http://schemas.microsoft.com/office/drawing/2014/main" id="{41EDBBAC-DC0B-4BD0-9310-D6838B3F6E38}"/>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94">
              <a:extLst>
                <a:ext uri="{FF2B5EF4-FFF2-40B4-BE49-F238E27FC236}">
                  <a16:creationId xmlns:a16="http://schemas.microsoft.com/office/drawing/2014/main" id="{84ACC00C-F95C-4B32-BF4F-3411850639EA}"/>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5">
              <a:extLst>
                <a:ext uri="{FF2B5EF4-FFF2-40B4-BE49-F238E27FC236}">
                  <a16:creationId xmlns:a16="http://schemas.microsoft.com/office/drawing/2014/main" id="{417D68F0-30E3-4096-A9F7-CEDEAC64534B}"/>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6">
              <a:extLst>
                <a:ext uri="{FF2B5EF4-FFF2-40B4-BE49-F238E27FC236}">
                  <a16:creationId xmlns:a16="http://schemas.microsoft.com/office/drawing/2014/main" id="{859C69A3-C929-4929-BC3B-138672DDCDE4}"/>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7">
              <a:extLst>
                <a:ext uri="{FF2B5EF4-FFF2-40B4-BE49-F238E27FC236}">
                  <a16:creationId xmlns:a16="http://schemas.microsoft.com/office/drawing/2014/main" id="{1716567F-37F9-49DF-B000-78B220024D1B}"/>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98">
              <a:extLst>
                <a:ext uri="{FF2B5EF4-FFF2-40B4-BE49-F238E27FC236}">
                  <a16:creationId xmlns:a16="http://schemas.microsoft.com/office/drawing/2014/main" id="{E5138AFD-F944-4D25-91A7-6B6003B813B3}"/>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99">
              <a:extLst>
                <a:ext uri="{FF2B5EF4-FFF2-40B4-BE49-F238E27FC236}">
                  <a16:creationId xmlns:a16="http://schemas.microsoft.com/office/drawing/2014/main" id="{B956A5F5-A12F-416D-BE39-E5525A328EE2}"/>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100">
              <a:extLst>
                <a:ext uri="{FF2B5EF4-FFF2-40B4-BE49-F238E27FC236}">
                  <a16:creationId xmlns:a16="http://schemas.microsoft.com/office/drawing/2014/main" id="{CB57E0C9-1534-4789-BE5D-72C287BE68D9}"/>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101">
              <a:extLst>
                <a:ext uri="{FF2B5EF4-FFF2-40B4-BE49-F238E27FC236}">
                  <a16:creationId xmlns:a16="http://schemas.microsoft.com/office/drawing/2014/main" id="{FC7E3BDF-8DC5-4B7B-B4A9-836F3873BE34}"/>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02">
              <a:extLst>
                <a:ext uri="{FF2B5EF4-FFF2-40B4-BE49-F238E27FC236}">
                  <a16:creationId xmlns:a16="http://schemas.microsoft.com/office/drawing/2014/main" id="{B9EB18AF-CC98-464A-871E-F56D7D66EC9B}"/>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103">
              <a:extLst>
                <a:ext uri="{FF2B5EF4-FFF2-40B4-BE49-F238E27FC236}">
                  <a16:creationId xmlns:a16="http://schemas.microsoft.com/office/drawing/2014/main" id="{A5234D59-E2B2-44AA-BA14-4A6AB7455855}"/>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104">
              <a:extLst>
                <a:ext uri="{FF2B5EF4-FFF2-40B4-BE49-F238E27FC236}">
                  <a16:creationId xmlns:a16="http://schemas.microsoft.com/office/drawing/2014/main" id="{2730BDAA-DA90-48A3-AAF4-09E47007FAF1}"/>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105">
              <a:extLst>
                <a:ext uri="{FF2B5EF4-FFF2-40B4-BE49-F238E27FC236}">
                  <a16:creationId xmlns:a16="http://schemas.microsoft.com/office/drawing/2014/main" id="{F603AB9B-36DA-4AEA-9C6F-2246A6643BAB}"/>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2" name="Slide Number Placeholder 3">
            <a:extLst>
              <a:ext uri="{FF2B5EF4-FFF2-40B4-BE49-F238E27FC236}">
                <a16:creationId xmlns:a16="http://schemas.microsoft.com/office/drawing/2014/main" id="{4A053A76-615F-4FBA-B14F-6384383F7E56}"/>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a:p>
        </p:txBody>
      </p:sp>
      <p:sp>
        <p:nvSpPr>
          <p:cNvPr id="63" name="Rectangle 155">
            <a:extLst>
              <a:ext uri="{FF2B5EF4-FFF2-40B4-BE49-F238E27FC236}">
                <a16:creationId xmlns:a16="http://schemas.microsoft.com/office/drawing/2014/main" id="{239E84CF-F60D-4345-ABF5-5413EBC827D4}"/>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a:t>Production code #</a:t>
            </a:r>
          </a:p>
        </p:txBody>
      </p:sp>
      <p:sp>
        <p:nvSpPr>
          <p:cNvPr id="64" name="Rectangle 176">
            <a:extLst>
              <a:ext uri="{FF2B5EF4-FFF2-40B4-BE49-F238E27FC236}">
                <a16:creationId xmlns:a16="http://schemas.microsoft.com/office/drawing/2014/main" id="{8E42AD6F-48FC-4927-9EA5-C0808419781D}"/>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a:t>Page footer, i.e., For institutional use only.</a:t>
            </a:r>
          </a:p>
        </p:txBody>
      </p:sp>
    </p:spTree>
    <p:extLst>
      <p:ext uri="{BB962C8B-B14F-4D97-AF65-F5344CB8AC3E}">
        <p14:creationId xmlns:p14="http://schemas.microsoft.com/office/powerpoint/2010/main" val="399492844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264">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Important Information">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lvl1pPr>
              <a:defRPr>
                <a:solidFill>
                  <a:srgbClr val="333F48"/>
                </a:solidFill>
              </a:defRPr>
            </a:lvl1pPr>
          </a:lstStyle>
          <a:p>
            <a:r>
              <a:rPr lang="en-US"/>
              <a:t>Click to edit Master title style</a:t>
            </a:r>
          </a:p>
        </p:txBody>
      </p:sp>
      <p:sp>
        <p:nvSpPr>
          <p:cNvPr id="3" name="Content Placeholder 2"/>
          <p:cNvSpPr>
            <a:spLocks noGrp="1"/>
          </p:cNvSpPr>
          <p:nvPr>
            <p:ph idx="1"/>
          </p:nvPr>
        </p:nvSpPr>
        <p:spPr>
          <a:xfrm>
            <a:off x="325661" y="1076325"/>
            <a:ext cx="8188710" cy="4808538"/>
          </a:xfrm>
          <a:noFill/>
          <a:ln w="9525">
            <a:noFill/>
            <a:miter lim="800000"/>
            <a:headEnd/>
            <a:tailEnd/>
          </a:ln>
          <a:effectLst/>
        </p:spPr>
        <p:txBody>
          <a:bodyPr lIns="91440"/>
          <a:lstStyle>
            <a:lvl1pPr marL="0" indent="0" algn="l" rtl="0" eaLnBrk="1" fontAlgn="base" hangingPunct="1">
              <a:spcAft>
                <a:spcPct val="0"/>
              </a:spcAft>
              <a:buSzPct val="40000"/>
              <a:defRPr lang="en-US" sz="1000" b="0" dirty="0" smtClean="0">
                <a:solidFill>
                  <a:srgbClr val="000000"/>
                </a:solidFill>
                <a:latin typeface="+mn-lt"/>
                <a:ea typeface="+mn-ea"/>
                <a:cs typeface="+mn-cs"/>
              </a:defRPr>
            </a:lvl1pPr>
            <a:lvl2pPr marL="0" indent="0" algn="l" rtl="0" eaLnBrk="1" fontAlgn="base" hangingPunct="1">
              <a:spcBef>
                <a:spcPts val="600"/>
              </a:spcBef>
              <a:spcAft>
                <a:spcPct val="0"/>
              </a:spcAft>
              <a:buSzPct val="40000"/>
              <a:buNone/>
              <a:defRPr lang="en-US" sz="1000" b="1" dirty="0">
                <a:solidFill>
                  <a:srgbClr val="000000"/>
                </a:solidFill>
                <a:latin typeface="+mn-lt"/>
                <a:ea typeface="+mn-ea"/>
                <a:cs typeface="+mn-cs"/>
              </a:defRPr>
            </a:lvl2pPr>
          </a:lstStyle>
          <a:p>
            <a:pPr lvl="0"/>
            <a:r>
              <a:rPr lang="en-US"/>
              <a:t>Click to edit Master text styles</a:t>
            </a:r>
          </a:p>
          <a:p>
            <a:pPr lvl="1"/>
            <a:r>
              <a:rPr lang="en-US"/>
              <a:t>Second level</a:t>
            </a:r>
          </a:p>
        </p:txBody>
      </p:sp>
      <p:grpSp>
        <p:nvGrpSpPr>
          <p:cNvPr id="34" name="Group 33">
            <a:extLst>
              <a:ext uri="{FF2B5EF4-FFF2-40B4-BE49-F238E27FC236}">
                <a16:creationId xmlns:a16="http://schemas.microsoft.com/office/drawing/2014/main" id="{840E14F0-3EE3-4127-BC16-D3F3953FFE3F}"/>
              </a:ext>
            </a:extLst>
          </p:cNvPr>
          <p:cNvGrpSpPr/>
          <p:nvPr userDrawn="1"/>
        </p:nvGrpSpPr>
        <p:grpSpPr>
          <a:xfrm>
            <a:off x="7358173" y="6361974"/>
            <a:ext cx="1382376" cy="297562"/>
            <a:chOff x="6923088" y="4475163"/>
            <a:chExt cx="1873251" cy="403225"/>
          </a:xfrm>
        </p:grpSpPr>
        <p:sp>
          <p:nvSpPr>
            <p:cNvPr id="35" name="AutoShape 4">
              <a:extLst>
                <a:ext uri="{FF2B5EF4-FFF2-40B4-BE49-F238E27FC236}">
                  <a16:creationId xmlns:a16="http://schemas.microsoft.com/office/drawing/2014/main" id="{6CD5F173-C5BB-4F2E-848B-68E571D2511E}"/>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6">
              <a:extLst>
                <a:ext uri="{FF2B5EF4-FFF2-40B4-BE49-F238E27FC236}">
                  <a16:creationId xmlns:a16="http://schemas.microsoft.com/office/drawing/2014/main" id="{F35D1E52-C58A-4226-814B-B889E5D392A2}"/>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7">
              <a:extLst>
                <a:ext uri="{FF2B5EF4-FFF2-40B4-BE49-F238E27FC236}">
                  <a16:creationId xmlns:a16="http://schemas.microsoft.com/office/drawing/2014/main" id="{3931309B-69B1-4504-BC9E-723A4E648811}"/>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83">
              <a:extLst>
                <a:ext uri="{FF2B5EF4-FFF2-40B4-BE49-F238E27FC236}">
                  <a16:creationId xmlns:a16="http://schemas.microsoft.com/office/drawing/2014/main" id="{E71D54FB-4ABD-4C44-B32E-1CE4D98AD4B3}"/>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84">
              <a:extLst>
                <a:ext uri="{FF2B5EF4-FFF2-40B4-BE49-F238E27FC236}">
                  <a16:creationId xmlns:a16="http://schemas.microsoft.com/office/drawing/2014/main" id="{6FC76818-6D97-40AA-97B0-54614807A538}"/>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85">
              <a:extLst>
                <a:ext uri="{FF2B5EF4-FFF2-40B4-BE49-F238E27FC236}">
                  <a16:creationId xmlns:a16="http://schemas.microsoft.com/office/drawing/2014/main" id="{7DFFF7DB-1434-4536-8069-7E21C8D1B9E3}"/>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86">
              <a:extLst>
                <a:ext uri="{FF2B5EF4-FFF2-40B4-BE49-F238E27FC236}">
                  <a16:creationId xmlns:a16="http://schemas.microsoft.com/office/drawing/2014/main" id="{23BA871E-A0EA-41BA-8724-5CABEF76296C}"/>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87">
              <a:extLst>
                <a:ext uri="{FF2B5EF4-FFF2-40B4-BE49-F238E27FC236}">
                  <a16:creationId xmlns:a16="http://schemas.microsoft.com/office/drawing/2014/main" id="{5F7C586C-3E26-4206-A96B-DA86E954214E}"/>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88">
              <a:extLst>
                <a:ext uri="{FF2B5EF4-FFF2-40B4-BE49-F238E27FC236}">
                  <a16:creationId xmlns:a16="http://schemas.microsoft.com/office/drawing/2014/main" id="{CFE70E27-46F5-465B-9F57-F55E3CEF8736}"/>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89">
              <a:extLst>
                <a:ext uri="{FF2B5EF4-FFF2-40B4-BE49-F238E27FC236}">
                  <a16:creationId xmlns:a16="http://schemas.microsoft.com/office/drawing/2014/main" id="{7FAE27B7-D81B-4001-834F-776859495AA1}"/>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90">
              <a:extLst>
                <a:ext uri="{FF2B5EF4-FFF2-40B4-BE49-F238E27FC236}">
                  <a16:creationId xmlns:a16="http://schemas.microsoft.com/office/drawing/2014/main" id="{4AE5BF09-27E6-4688-B9C4-19E2671CA566}"/>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91">
              <a:extLst>
                <a:ext uri="{FF2B5EF4-FFF2-40B4-BE49-F238E27FC236}">
                  <a16:creationId xmlns:a16="http://schemas.microsoft.com/office/drawing/2014/main" id="{8810B2AB-A2BA-46AC-86CE-C8DB6C050979}"/>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92">
              <a:extLst>
                <a:ext uri="{FF2B5EF4-FFF2-40B4-BE49-F238E27FC236}">
                  <a16:creationId xmlns:a16="http://schemas.microsoft.com/office/drawing/2014/main" id="{F0E21CE3-1B3A-48A2-8777-3ACB130A176F}"/>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93">
              <a:extLst>
                <a:ext uri="{FF2B5EF4-FFF2-40B4-BE49-F238E27FC236}">
                  <a16:creationId xmlns:a16="http://schemas.microsoft.com/office/drawing/2014/main" id="{0E106C86-6E92-414C-8C1F-193ABA3372F2}"/>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94">
              <a:extLst>
                <a:ext uri="{FF2B5EF4-FFF2-40B4-BE49-F238E27FC236}">
                  <a16:creationId xmlns:a16="http://schemas.microsoft.com/office/drawing/2014/main" id="{7FFBAE3E-1E34-4024-8E12-C6A804E61E90}"/>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5">
              <a:extLst>
                <a:ext uri="{FF2B5EF4-FFF2-40B4-BE49-F238E27FC236}">
                  <a16:creationId xmlns:a16="http://schemas.microsoft.com/office/drawing/2014/main" id="{34A75038-5822-4211-8429-EEE73276E055}"/>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6">
              <a:extLst>
                <a:ext uri="{FF2B5EF4-FFF2-40B4-BE49-F238E27FC236}">
                  <a16:creationId xmlns:a16="http://schemas.microsoft.com/office/drawing/2014/main" id="{693F0C95-0D69-4520-8F8E-82883B076B30}"/>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7">
              <a:extLst>
                <a:ext uri="{FF2B5EF4-FFF2-40B4-BE49-F238E27FC236}">
                  <a16:creationId xmlns:a16="http://schemas.microsoft.com/office/drawing/2014/main" id="{2DCC514B-8D65-4A2F-B9D3-A26B2C512584}"/>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98">
              <a:extLst>
                <a:ext uri="{FF2B5EF4-FFF2-40B4-BE49-F238E27FC236}">
                  <a16:creationId xmlns:a16="http://schemas.microsoft.com/office/drawing/2014/main" id="{86B9EC89-49BC-4B67-9837-B486AC5DA24B}"/>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99">
              <a:extLst>
                <a:ext uri="{FF2B5EF4-FFF2-40B4-BE49-F238E27FC236}">
                  <a16:creationId xmlns:a16="http://schemas.microsoft.com/office/drawing/2014/main" id="{07013593-EDCD-49A4-8483-37A94E197F46}"/>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100">
              <a:extLst>
                <a:ext uri="{FF2B5EF4-FFF2-40B4-BE49-F238E27FC236}">
                  <a16:creationId xmlns:a16="http://schemas.microsoft.com/office/drawing/2014/main" id="{E4C82CFE-24C2-4335-91A1-786AA56B78AE}"/>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101">
              <a:extLst>
                <a:ext uri="{FF2B5EF4-FFF2-40B4-BE49-F238E27FC236}">
                  <a16:creationId xmlns:a16="http://schemas.microsoft.com/office/drawing/2014/main" id="{269AE1D0-2ED3-45BA-8B41-5958312CC5FE}"/>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02">
              <a:extLst>
                <a:ext uri="{FF2B5EF4-FFF2-40B4-BE49-F238E27FC236}">
                  <a16:creationId xmlns:a16="http://schemas.microsoft.com/office/drawing/2014/main" id="{293258D7-F5FB-43FE-946C-050D5A534B0B}"/>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103">
              <a:extLst>
                <a:ext uri="{FF2B5EF4-FFF2-40B4-BE49-F238E27FC236}">
                  <a16:creationId xmlns:a16="http://schemas.microsoft.com/office/drawing/2014/main" id="{ED28C0B7-779D-48AC-B3D7-2EE77B274C6C}"/>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104">
              <a:extLst>
                <a:ext uri="{FF2B5EF4-FFF2-40B4-BE49-F238E27FC236}">
                  <a16:creationId xmlns:a16="http://schemas.microsoft.com/office/drawing/2014/main" id="{F91BA0B7-9AA1-4A35-A3B5-1DF23E7E6BC0}"/>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105">
              <a:extLst>
                <a:ext uri="{FF2B5EF4-FFF2-40B4-BE49-F238E27FC236}">
                  <a16:creationId xmlns:a16="http://schemas.microsoft.com/office/drawing/2014/main" id="{0CD9D2F1-AB4D-41BA-BB3A-ABD0BB2DB8FD}"/>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2" name="Slide Number Placeholder 3">
            <a:extLst>
              <a:ext uri="{FF2B5EF4-FFF2-40B4-BE49-F238E27FC236}">
                <a16:creationId xmlns:a16="http://schemas.microsoft.com/office/drawing/2014/main" id="{9A263509-98AC-4546-B2C5-DF2F4C4F986A}"/>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a:p>
        </p:txBody>
      </p:sp>
      <p:sp>
        <p:nvSpPr>
          <p:cNvPr id="63" name="Rectangle 155">
            <a:extLst>
              <a:ext uri="{FF2B5EF4-FFF2-40B4-BE49-F238E27FC236}">
                <a16:creationId xmlns:a16="http://schemas.microsoft.com/office/drawing/2014/main" id="{5EDCB748-D9FF-41F0-9AE5-3D6778696294}"/>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a:t>Production code #</a:t>
            </a:r>
          </a:p>
        </p:txBody>
      </p:sp>
      <p:sp>
        <p:nvSpPr>
          <p:cNvPr id="64" name="Rectangle 176">
            <a:extLst>
              <a:ext uri="{FF2B5EF4-FFF2-40B4-BE49-F238E27FC236}">
                <a16:creationId xmlns:a16="http://schemas.microsoft.com/office/drawing/2014/main" id="{B1F08EC2-0348-4B46-8C6D-BF6EDFBBBD44}"/>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a:t>Page footer, i.e., For institutional use only.</a:t>
            </a:r>
          </a:p>
        </p:txBody>
      </p:sp>
    </p:spTree>
    <p:extLst>
      <p:ext uri="{BB962C8B-B14F-4D97-AF65-F5344CB8AC3E}">
        <p14:creationId xmlns:p14="http://schemas.microsoft.com/office/powerpoint/2010/main" val="219362753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264">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Biography">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p>
            <a:r>
              <a:rPr lang="en-US"/>
              <a:t>Click to edit Master title style</a:t>
            </a:r>
          </a:p>
        </p:txBody>
      </p:sp>
      <p:sp>
        <p:nvSpPr>
          <p:cNvPr id="3" name="Content Placeholder 2"/>
          <p:cNvSpPr>
            <a:spLocks noGrp="1"/>
          </p:cNvSpPr>
          <p:nvPr>
            <p:ph idx="1"/>
          </p:nvPr>
        </p:nvSpPr>
        <p:spPr>
          <a:xfrm>
            <a:off x="325661" y="1073258"/>
            <a:ext cx="8188710" cy="439305"/>
          </a:xfrm>
        </p:spPr>
        <p:txBody>
          <a:bodyPr lIns="91440"/>
          <a:lstStyle>
            <a:lvl1pPr marL="0" indent="0">
              <a:spcBef>
                <a:spcPts val="0"/>
              </a:spcBef>
              <a:defRPr lang="en-US" sz="1200" b="1" dirty="0" smtClean="0">
                <a:solidFill>
                  <a:srgbClr val="7A9A3D"/>
                </a:solidFill>
                <a:latin typeface="+mn-lt"/>
                <a:ea typeface="+mn-ea"/>
                <a:cs typeface="+mn-cs"/>
              </a:defRPr>
            </a:lvl1pPr>
            <a:lvl2pPr marL="0" indent="0">
              <a:spcBef>
                <a:spcPts val="0"/>
              </a:spcBef>
              <a:buNone/>
              <a:defRPr sz="1200" b="0" i="1">
                <a:solidFill>
                  <a:srgbClr val="7A9A3D"/>
                </a:solidFill>
              </a:defRPr>
            </a:lvl2pPr>
          </a:lstStyle>
          <a:p>
            <a:pPr lvl="0"/>
            <a:r>
              <a:rPr lang="en-US"/>
              <a:t>Click to edit Master text styles</a:t>
            </a:r>
          </a:p>
          <a:p>
            <a:pPr lvl="1"/>
            <a:r>
              <a:rPr lang="en-US"/>
              <a:t>Second level</a:t>
            </a:r>
          </a:p>
        </p:txBody>
      </p:sp>
      <p:sp>
        <p:nvSpPr>
          <p:cNvPr id="10" name="Content Placeholder 9"/>
          <p:cNvSpPr>
            <a:spLocks noGrp="1"/>
          </p:cNvSpPr>
          <p:nvPr>
            <p:ph sz="quarter" idx="13"/>
          </p:nvPr>
        </p:nvSpPr>
        <p:spPr>
          <a:xfrm>
            <a:off x="325661" y="1526850"/>
            <a:ext cx="8188710" cy="4691387"/>
          </a:xfrm>
        </p:spPr>
        <p:txBody>
          <a:bodyPr lIns="91440"/>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5" name="Group 34">
            <a:extLst>
              <a:ext uri="{FF2B5EF4-FFF2-40B4-BE49-F238E27FC236}">
                <a16:creationId xmlns:a16="http://schemas.microsoft.com/office/drawing/2014/main" id="{C75946E2-9CE1-4073-B70C-BBB1984B336B}"/>
              </a:ext>
            </a:extLst>
          </p:cNvPr>
          <p:cNvGrpSpPr/>
          <p:nvPr userDrawn="1"/>
        </p:nvGrpSpPr>
        <p:grpSpPr>
          <a:xfrm>
            <a:off x="7358173" y="6361974"/>
            <a:ext cx="1382376" cy="297562"/>
            <a:chOff x="6923088" y="4475163"/>
            <a:chExt cx="1873251" cy="403225"/>
          </a:xfrm>
        </p:grpSpPr>
        <p:sp>
          <p:nvSpPr>
            <p:cNvPr id="36" name="AutoShape 4">
              <a:extLst>
                <a:ext uri="{FF2B5EF4-FFF2-40B4-BE49-F238E27FC236}">
                  <a16:creationId xmlns:a16="http://schemas.microsoft.com/office/drawing/2014/main" id="{2064C2BD-8DD3-4C25-B8AC-2511CF7EA6EF}"/>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6">
              <a:extLst>
                <a:ext uri="{FF2B5EF4-FFF2-40B4-BE49-F238E27FC236}">
                  <a16:creationId xmlns:a16="http://schemas.microsoft.com/office/drawing/2014/main" id="{93C5C3B7-4D48-473C-9C5D-A7CC88B7C54C}"/>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7">
              <a:extLst>
                <a:ext uri="{FF2B5EF4-FFF2-40B4-BE49-F238E27FC236}">
                  <a16:creationId xmlns:a16="http://schemas.microsoft.com/office/drawing/2014/main" id="{531D8C9A-73C8-49F6-8615-D07EC3D32C40}"/>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83">
              <a:extLst>
                <a:ext uri="{FF2B5EF4-FFF2-40B4-BE49-F238E27FC236}">
                  <a16:creationId xmlns:a16="http://schemas.microsoft.com/office/drawing/2014/main" id="{6D2B5CD5-7073-41ED-A84D-6573FC02C1C8}"/>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84">
              <a:extLst>
                <a:ext uri="{FF2B5EF4-FFF2-40B4-BE49-F238E27FC236}">
                  <a16:creationId xmlns:a16="http://schemas.microsoft.com/office/drawing/2014/main" id="{7569C185-1C46-46A0-A03E-24819C436803}"/>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85">
              <a:extLst>
                <a:ext uri="{FF2B5EF4-FFF2-40B4-BE49-F238E27FC236}">
                  <a16:creationId xmlns:a16="http://schemas.microsoft.com/office/drawing/2014/main" id="{46F20CF6-25E8-4222-B486-9A86E0E46A37}"/>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86">
              <a:extLst>
                <a:ext uri="{FF2B5EF4-FFF2-40B4-BE49-F238E27FC236}">
                  <a16:creationId xmlns:a16="http://schemas.microsoft.com/office/drawing/2014/main" id="{6FF91587-F189-49E6-B5D5-940D53155449}"/>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87">
              <a:extLst>
                <a:ext uri="{FF2B5EF4-FFF2-40B4-BE49-F238E27FC236}">
                  <a16:creationId xmlns:a16="http://schemas.microsoft.com/office/drawing/2014/main" id="{0CA455CC-F50E-4794-8937-E59F4FAFEA6E}"/>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88">
              <a:extLst>
                <a:ext uri="{FF2B5EF4-FFF2-40B4-BE49-F238E27FC236}">
                  <a16:creationId xmlns:a16="http://schemas.microsoft.com/office/drawing/2014/main" id="{3EE40542-ADA6-4C3B-8A70-A65519704A9B}"/>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89">
              <a:extLst>
                <a:ext uri="{FF2B5EF4-FFF2-40B4-BE49-F238E27FC236}">
                  <a16:creationId xmlns:a16="http://schemas.microsoft.com/office/drawing/2014/main" id="{7B3B4879-B6C1-4F74-BDCF-5F19BB04E0F4}"/>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90">
              <a:extLst>
                <a:ext uri="{FF2B5EF4-FFF2-40B4-BE49-F238E27FC236}">
                  <a16:creationId xmlns:a16="http://schemas.microsoft.com/office/drawing/2014/main" id="{E4BC8AEB-A584-479B-8EEF-2AE54D5872B7}"/>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91">
              <a:extLst>
                <a:ext uri="{FF2B5EF4-FFF2-40B4-BE49-F238E27FC236}">
                  <a16:creationId xmlns:a16="http://schemas.microsoft.com/office/drawing/2014/main" id="{D18A4DCC-C243-4E3F-A2E2-0D29AD7D002A}"/>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92">
              <a:extLst>
                <a:ext uri="{FF2B5EF4-FFF2-40B4-BE49-F238E27FC236}">
                  <a16:creationId xmlns:a16="http://schemas.microsoft.com/office/drawing/2014/main" id="{4D5F04D4-1A7F-41A0-A0E2-BCF50E27D5C6}"/>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93">
              <a:extLst>
                <a:ext uri="{FF2B5EF4-FFF2-40B4-BE49-F238E27FC236}">
                  <a16:creationId xmlns:a16="http://schemas.microsoft.com/office/drawing/2014/main" id="{F96DDB2D-2296-402A-9FB9-212112A5001F}"/>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4">
              <a:extLst>
                <a:ext uri="{FF2B5EF4-FFF2-40B4-BE49-F238E27FC236}">
                  <a16:creationId xmlns:a16="http://schemas.microsoft.com/office/drawing/2014/main" id="{2F742842-62E0-472A-B09A-2A7D39017EB8}"/>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5">
              <a:extLst>
                <a:ext uri="{FF2B5EF4-FFF2-40B4-BE49-F238E27FC236}">
                  <a16:creationId xmlns:a16="http://schemas.microsoft.com/office/drawing/2014/main" id="{E7229456-9A67-45F4-ABC1-C2770B0268FA}"/>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6">
              <a:extLst>
                <a:ext uri="{FF2B5EF4-FFF2-40B4-BE49-F238E27FC236}">
                  <a16:creationId xmlns:a16="http://schemas.microsoft.com/office/drawing/2014/main" id="{1F9751DB-34CD-46BB-B4BC-6259060855F0}"/>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97">
              <a:extLst>
                <a:ext uri="{FF2B5EF4-FFF2-40B4-BE49-F238E27FC236}">
                  <a16:creationId xmlns:a16="http://schemas.microsoft.com/office/drawing/2014/main" id="{5ABC6AFB-E816-4431-A76A-68A3A63D2E44}"/>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98">
              <a:extLst>
                <a:ext uri="{FF2B5EF4-FFF2-40B4-BE49-F238E27FC236}">
                  <a16:creationId xmlns:a16="http://schemas.microsoft.com/office/drawing/2014/main" id="{60E91C8F-F1CE-4BBB-BB3E-56924AB9AC02}"/>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99">
              <a:extLst>
                <a:ext uri="{FF2B5EF4-FFF2-40B4-BE49-F238E27FC236}">
                  <a16:creationId xmlns:a16="http://schemas.microsoft.com/office/drawing/2014/main" id="{0144D498-DBBB-48AB-9938-6860296C54C0}"/>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100">
              <a:extLst>
                <a:ext uri="{FF2B5EF4-FFF2-40B4-BE49-F238E27FC236}">
                  <a16:creationId xmlns:a16="http://schemas.microsoft.com/office/drawing/2014/main" id="{57DA06B8-E74A-4A4F-A5C6-D228C33D4C07}"/>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01">
              <a:extLst>
                <a:ext uri="{FF2B5EF4-FFF2-40B4-BE49-F238E27FC236}">
                  <a16:creationId xmlns:a16="http://schemas.microsoft.com/office/drawing/2014/main" id="{9EE94CD4-EF90-465E-99B0-5D8FE5E0954C}"/>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102">
              <a:extLst>
                <a:ext uri="{FF2B5EF4-FFF2-40B4-BE49-F238E27FC236}">
                  <a16:creationId xmlns:a16="http://schemas.microsoft.com/office/drawing/2014/main" id="{C0D9FFE4-3F0B-4424-9C2B-7BE6269B031E}"/>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103">
              <a:extLst>
                <a:ext uri="{FF2B5EF4-FFF2-40B4-BE49-F238E27FC236}">
                  <a16:creationId xmlns:a16="http://schemas.microsoft.com/office/drawing/2014/main" id="{689B4BCD-46B5-40D0-9B5E-0928400345C7}"/>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104">
              <a:extLst>
                <a:ext uri="{FF2B5EF4-FFF2-40B4-BE49-F238E27FC236}">
                  <a16:creationId xmlns:a16="http://schemas.microsoft.com/office/drawing/2014/main" id="{2BE4801D-4A50-4671-B276-15040C725153}"/>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 name="Freeform 105">
              <a:extLst>
                <a:ext uri="{FF2B5EF4-FFF2-40B4-BE49-F238E27FC236}">
                  <a16:creationId xmlns:a16="http://schemas.microsoft.com/office/drawing/2014/main" id="{9B3CA6D7-EDFA-45F6-A972-C4764E2EF71D}"/>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3" name="Slide Number Placeholder 3">
            <a:extLst>
              <a:ext uri="{FF2B5EF4-FFF2-40B4-BE49-F238E27FC236}">
                <a16:creationId xmlns:a16="http://schemas.microsoft.com/office/drawing/2014/main" id="{7EA345A8-99C1-46D2-B43D-EBB13DCF1ED2}"/>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a:p>
        </p:txBody>
      </p:sp>
      <p:sp>
        <p:nvSpPr>
          <p:cNvPr id="64" name="Rectangle 155">
            <a:extLst>
              <a:ext uri="{FF2B5EF4-FFF2-40B4-BE49-F238E27FC236}">
                <a16:creationId xmlns:a16="http://schemas.microsoft.com/office/drawing/2014/main" id="{89581FD7-1A7A-4D55-96D3-115BEF36627D}"/>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a:t>Production code #</a:t>
            </a:r>
          </a:p>
        </p:txBody>
      </p:sp>
      <p:sp>
        <p:nvSpPr>
          <p:cNvPr id="65" name="Rectangle 176">
            <a:extLst>
              <a:ext uri="{FF2B5EF4-FFF2-40B4-BE49-F238E27FC236}">
                <a16:creationId xmlns:a16="http://schemas.microsoft.com/office/drawing/2014/main" id="{9906DF31-BFC5-4876-8473-BB825737ABD0}"/>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a:t>Page footer, i.e., For institutional use only.</a:t>
            </a:r>
          </a:p>
        </p:txBody>
      </p:sp>
    </p:spTree>
    <p:extLst>
      <p:ext uri="{BB962C8B-B14F-4D97-AF65-F5344CB8AC3E}">
        <p14:creationId xmlns:p14="http://schemas.microsoft.com/office/powerpoint/2010/main" val="278631344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264">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Biography 2">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7948" cy="838200"/>
          </a:xfrm>
        </p:spPr>
        <p:txBody>
          <a:bodyPr/>
          <a:lstStyle/>
          <a:p>
            <a:r>
              <a:rPr lang="en-US"/>
              <a:t>Click to edit Master title style</a:t>
            </a:r>
          </a:p>
        </p:txBody>
      </p:sp>
      <p:sp>
        <p:nvSpPr>
          <p:cNvPr id="3" name="Content Placeholder 2"/>
          <p:cNvSpPr>
            <a:spLocks noGrp="1"/>
          </p:cNvSpPr>
          <p:nvPr>
            <p:ph idx="1"/>
          </p:nvPr>
        </p:nvSpPr>
        <p:spPr>
          <a:xfrm>
            <a:off x="325661" y="1073258"/>
            <a:ext cx="8187948" cy="439305"/>
          </a:xfrm>
        </p:spPr>
        <p:txBody>
          <a:bodyPr lIns="91440"/>
          <a:lstStyle>
            <a:lvl1pPr marL="0" indent="0">
              <a:spcBef>
                <a:spcPts val="0"/>
              </a:spcBef>
              <a:defRPr lang="en-US" sz="1200" b="1" dirty="0" smtClean="0">
                <a:solidFill>
                  <a:srgbClr val="7A9A3D"/>
                </a:solidFill>
                <a:latin typeface="+mn-lt"/>
                <a:ea typeface="+mn-ea"/>
                <a:cs typeface="+mn-cs"/>
              </a:defRPr>
            </a:lvl1pPr>
            <a:lvl2pPr marL="0" indent="0">
              <a:spcBef>
                <a:spcPts val="0"/>
              </a:spcBef>
              <a:buNone/>
              <a:defRPr sz="1200" b="0" i="1">
                <a:solidFill>
                  <a:srgbClr val="7A9A3D"/>
                </a:solidFill>
              </a:defRPr>
            </a:lvl2pPr>
          </a:lstStyle>
          <a:p>
            <a:pPr lvl="0"/>
            <a:r>
              <a:rPr lang="en-US"/>
              <a:t>Click to edit Master text styles</a:t>
            </a:r>
          </a:p>
          <a:p>
            <a:pPr lvl="1"/>
            <a:r>
              <a:rPr lang="en-US"/>
              <a:t>Second level</a:t>
            </a:r>
          </a:p>
        </p:txBody>
      </p:sp>
      <p:sp>
        <p:nvSpPr>
          <p:cNvPr id="10" name="Content Placeholder 9"/>
          <p:cNvSpPr>
            <a:spLocks noGrp="1"/>
          </p:cNvSpPr>
          <p:nvPr>
            <p:ph sz="quarter" idx="13"/>
          </p:nvPr>
        </p:nvSpPr>
        <p:spPr>
          <a:xfrm>
            <a:off x="325661" y="1526851"/>
            <a:ext cx="8188710" cy="1902149"/>
          </a:xfrm>
        </p:spPr>
        <p:txBody>
          <a:bodyPr lIns="91440"/>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p:cNvSpPr>
            <a:spLocks noGrp="1"/>
          </p:cNvSpPr>
          <p:nvPr>
            <p:ph idx="17"/>
          </p:nvPr>
        </p:nvSpPr>
        <p:spPr>
          <a:xfrm>
            <a:off x="325661" y="3666458"/>
            <a:ext cx="8188710" cy="439305"/>
          </a:xfrm>
        </p:spPr>
        <p:txBody>
          <a:bodyPr lIns="91440"/>
          <a:lstStyle>
            <a:lvl1pPr marL="0" indent="0">
              <a:spcBef>
                <a:spcPts val="0"/>
              </a:spcBef>
              <a:defRPr lang="en-US" sz="1200" b="1" dirty="0" smtClean="0">
                <a:solidFill>
                  <a:srgbClr val="7A9A3D"/>
                </a:solidFill>
                <a:latin typeface="+mn-lt"/>
                <a:ea typeface="+mn-ea"/>
                <a:cs typeface="+mn-cs"/>
              </a:defRPr>
            </a:lvl1pPr>
            <a:lvl2pPr marL="0" indent="0">
              <a:spcBef>
                <a:spcPts val="0"/>
              </a:spcBef>
              <a:buNone/>
              <a:defRPr sz="1200" b="0" i="1">
                <a:solidFill>
                  <a:srgbClr val="7A9A3D"/>
                </a:solidFill>
              </a:defRPr>
            </a:lvl2pPr>
          </a:lstStyle>
          <a:p>
            <a:pPr lvl="0"/>
            <a:r>
              <a:rPr lang="en-US"/>
              <a:t>Click to edit Master text styles</a:t>
            </a:r>
          </a:p>
          <a:p>
            <a:pPr lvl="1"/>
            <a:r>
              <a:rPr lang="en-US"/>
              <a:t>Second level</a:t>
            </a:r>
          </a:p>
        </p:txBody>
      </p:sp>
      <p:sp>
        <p:nvSpPr>
          <p:cNvPr id="9" name="Content Placeholder 9"/>
          <p:cNvSpPr>
            <a:spLocks noGrp="1"/>
          </p:cNvSpPr>
          <p:nvPr>
            <p:ph sz="quarter" idx="18"/>
          </p:nvPr>
        </p:nvSpPr>
        <p:spPr>
          <a:xfrm>
            <a:off x="325661" y="4120051"/>
            <a:ext cx="8188710" cy="1902149"/>
          </a:xfrm>
        </p:spPr>
        <p:txBody>
          <a:bodyPr lIns="91440"/>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7" name="Group 36">
            <a:extLst>
              <a:ext uri="{FF2B5EF4-FFF2-40B4-BE49-F238E27FC236}">
                <a16:creationId xmlns:a16="http://schemas.microsoft.com/office/drawing/2014/main" id="{AD47060C-9B45-4CFF-98F4-FE27989B6517}"/>
              </a:ext>
            </a:extLst>
          </p:cNvPr>
          <p:cNvGrpSpPr/>
          <p:nvPr userDrawn="1"/>
        </p:nvGrpSpPr>
        <p:grpSpPr>
          <a:xfrm>
            <a:off x="7358173" y="6361974"/>
            <a:ext cx="1382376" cy="297562"/>
            <a:chOff x="6923088" y="4475163"/>
            <a:chExt cx="1873251" cy="403225"/>
          </a:xfrm>
        </p:grpSpPr>
        <p:sp>
          <p:nvSpPr>
            <p:cNvPr id="38" name="AutoShape 4">
              <a:extLst>
                <a:ext uri="{FF2B5EF4-FFF2-40B4-BE49-F238E27FC236}">
                  <a16:creationId xmlns:a16="http://schemas.microsoft.com/office/drawing/2014/main" id="{A50C7966-165F-4807-AFEA-C12F2BCA17FB}"/>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6">
              <a:extLst>
                <a:ext uri="{FF2B5EF4-FFF2-40B4-BE49-F238E27FC236}">
                  <a16:creationId xmlns:a16="http://schemas.microsoft.com/office/drawing/2014/main" id="{2D416542-B102-488D-BF19-9EDA79075042}"/>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7">
              <a:extLst>
                <a:ext uri="{FF2B5EF4-FFF2-40B4-BE49-F238E27FC236}">
                  <a16:creationId xmlns:a16="http://schemas.microsoft.com/office/drawing/2014/main" id="{20EA49BF-25F1-44C7-B3A3-56209FB69046}"/>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83">
              <a:extLst>
                <a:ext uri="{FF2B5EF4-FFF2-40B4-BE49-F238E27FC236}">
                  <a16:creationId xmlns:a16="http://schemas.microsoft.com/office/drawing/2014/main" id="{93865A9A-4077-40DF-807C-57106D5F955A}"/>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84">
              <a:extLst>
                <a:ext uri="{FF2B5EF4-FFF2-40B4-BE49-F238E27FC236}">
                  <a16:creationId xmlns:a16="http://schemas.microsoft.com/office/drawing/2014/main" id="{FC0FB584-1254-43CD-9B50-F7E305FCF015}"/>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85">
              <a:extLst>
                <a:ext uri="{FF2B5EF4-FFF2-40B4-BE49-F238E27FC236}">
                  <a16:creationId xmlns:a16="http://schemas.microsoft.com/office/drawing/2014/main" id="{EF08544E-126E-4F54-A00B-6F0382B734E3}"/>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86">
              <a:extLst>
                <a:ext uri="{FF2B5EF4-FFF2-40B4-BE49-F238E27FC236}">
                  <a16:creationId xmlns:a16="http://schemas.microsoft.com/office/drawing/2014/main" id="{B7C8C951-F508-45D9-904C-71C7B64EA3D0}"/>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87">
              <a:extLst>
                <a:ext uri="{FF2B5EF4-FFF2-40B4-BE49-F238E27FC236}">
                  <a16:creationId xmlns:a16="http://schemas.microsoft.com/office/drawing/2014/main" id="{BF59C57B-5654-43F0-BA0C-E27B3C2F62F0}"/>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88">
              <a:extLst>
                <a:ext uri="{FF2B5EF4-FFF2-40B4-BE49-F238E27FC236}">
                  <a16:creationId xmlns:a16="http://schemas.microsoft.com/office/drawing/2014/main" id="{B2B8E467-EB9C-43CB-ABBD-81EF05FBA74B}"/>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89">
              <a:extLst>
                <a:ext uri="{FF2B5EF4-FFF2-40B4-BE49-F238E27FC236}">
                  <a16:creationId xmlns:a16="http://schemas.microsoft.com/office/drawing/2014/main" id="{5729355F-EB63-44E1-96E2-095C971F95BC}"/>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90">
              <a:extLst>
                <a:ext uri="{FF2B5EF4-FFF2-40B4-BE49-F238E27FC236}">
                  <a16:creationId xmlns:a16="http://schemas.microsoft.com/office/drawing/2014/main" id="{B2BD55CF-6ED1-4857-B856-B55BE2966D11}"/>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91">
              <a:extLst>
                <a:ext uri="{FF2B5EF4-FFF2-40B4-BE49-F238E27FC236}">
                  <a16:creationId xmlns:a16="http://schemas.microsoft.com/office/drawing/2014/main" id="{91FFB3E8-240C-4EBF-9A50-5B17BEB0AEDD}"/>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2">
              <a:extLst>
                <a:ext uri="{FF2B5EF4-FFF2-40B4-BE49-F238E27FC236}">
                  <a16:creationId xmlns:a16="http://schemas.microsoft.com/office/drawing/2014/main" id="{0F7093E9-640F-4B9B-83B9-27422D4BBCEA}"/>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3">
              <a:extLst>
                <a:ext uri="{FF2B5EF4-FFF2-40B4-BE49-F238E27FC236}">
                  <a16:creationId xmlns:a16="http://schemas.microsoft.com/office/drawing/2014/main" id="{CDDE04FA-9432-48D8-9E57-ABC89785B966}"/>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4">
              <a:extLst>
                <a:ext uri="{FF2B5EF4-FFF2-40B4-BE49-F238E27FC236}">
                  <a16:creationId xmlns:a16="http://schemas.microsoft.com/office/drawing/2014/main" id="{9FB26D40-47C6-47E5-9FC7-3A94E8B3C66B}"/>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95">
              <a:extLst>
                <a:ext uri="{FF2B5EF4-FFF2-40B4-BE49-F238E27FC236}">
                  <a16:creationId xmlns:a16="http://schemas.microsoft.com/office/drawing/2014/main" id="{F4507BC5-5154-4DFC-842E-135C92100B92}"/>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96">
              <a:extLst>
                <a:ext uri="{FF2B5EF4-FFF2-40B4-BE49-F238E27FC236}">
                  <a16:creationId xmlns:a16="http://schemas.microsoft.com/office/drawing/2014/main" id="{75387EE5-700A-4DDE-AE3A-90A6F5B94044}"/>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97">
              <a:extLst>
                <a:ext uri="{FF2B5EF4-FFF2-40B4-BE49-F238E27FC236}">
                  <a16:creationId xmlns:a16="http://schemas.microsoft.com/office/drawing/2014/main" id="{9758482D-85DB-4DDF-B79B-7B188F9F0143}"/>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98">
              <a:extLst>
                <a:ext uri="{FF2B5EF4-FFF2-40B4-BE49-F238E27FC236}">
                  <a16:creationId xmlns:a16="http://schemas.microsoft.com/office/drawing/2014/main" id="{EF151CAF-7ED9-42DE-B1B9-1AACB59758C2}"/>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99">
              <a:extLst>
                <a:ext uri="{FF2B5EF4-FFF2-40B4-BE49-F238E27FC236}">
                  <a16:creationId xmlns:a16="http://schemas.microsoft.com/office/drawing/2014/main" id="{A792E0C4-20CF-4AC8-9F70-AE8E83B4A35C}"/>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100">
              <a:extLst>
                <a:ext uri="{FF2B5EF4-FFF2-40B4-BE49-F238E27FC236}">
                  <a16:creationId xmlns:a16="http://schemas.microsoft.com/office/drawing/2014/main" id="{39DBB25B-35A5-4398-A82F-C9BA146E9BD3}"/>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101">
              <a:extLst>
                <a:ext uri="{FF2B5EF4-FFF2-40B4-BE49-F238E27FC236}">
                  <a16:creationId xmlns:a16="http://schemas.microsoft.com/office/drawing/2014/main" id="{79A902AC-2DE8-4C34-BB27-7ABE95066A6C}"/>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102">
              <a:extLst>
                <a:ext uri="{FF2B5EF4-FFF2-40B4-BE49-F238E27FC236}">
                  <a16:creationId xmlns:a16="http://schemas.microsoft.com/office/drawing/2014/main" id="{8561171B-2D21-495A-B71C-95D9A80939CD}"/>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 name="Freeform 103">
              <a:extLst>
                <a:ext uri="{FF2B5EF4-FFF2-40B4-BE49-F238E27FC236}">
                  <a16:creationId xmlns:a16="http://schemas.microsoft.com/office/drawing/2014/main" id="{864D7054-9BEE-4BF3-968D-6A0C5C3D31CE}"/>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 name="Freeform 104">
              <a:extLst>
                <a:ext uri="{FF2B5EF4-FFF2-40B4-BE49-F238E27FC236}">
                  <a16:creationId xmlns:a16="http://schemas.microsoft.com/office/drawing/2014/main" id="{CC385E1A-8F4F-4C9D-9CF5-375C670B1017}"/>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 name="Freeform 105">
              <a:extLst>
                <a:ext uri="{FF2B5EF4-FFF2-40B4-BE49-F238E27FC236}">
                  <a16:creationId xmlns:a16="http://schemas.microsoft.com/office/drawing/2014/main" id="{7895869E-4BC5-4BA7-AF72-8FC48EFE9BF7}"/>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5" name="Slide Number Placeholder 3">
            <a:extLst>
              <a:ext uri="{FF2B5EF4-FFF2-40B4-BE49-F238E27FC236}">
                <a16:creationId xmlns:a16="http://schemas.microsoft.com/office/drawing/2014/main" id="{E8A4DA1C-022C-486D-AE72-319ED27E49CB}"/>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a:p>
        </p:txBody>
      </p:sp>
      <p:sp>
        <p:nvSpPr>
          <p:cNvPr id="66" name="Rectangle 155">
            <a:extLst>
              <a:ext uri="{FF2B5EF4-FFF2-40B4-BE49-F238E27FC236}">
                <a16:creationId xmlns:a16="http://schemas.microsoft.com/office/drawing/2014/main" id="{F5375835-282B-48B9-BA05-8C7189097404}"/>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a:t>Production code #</a:t>
            </a:r>
          </a:p>
        </p:txBody>
      </p:sp>
      <p:sp>
        <p:nvSpPr>
          <p:cNvPr id="67" name="Rectangle 176">
            <a:extLst>
              <a:ext uri="{FF2B5EF4-FFF2-40B4-BE49-F238E27FC236}">
                <a16:creationId xmlns:a16="http://schemas.microsoft.com/office/drawing/2014/main" id="{1E8B0D02-E4F8-412E-BDB8-086E6FE9CF00}"/>
              </a:ext>
            </a:extLst>
          </p:cNvPr>
          <p:cNvSpPr>
            <a:spLocks noGrp="1" noChangeArrowheads="1"/>
          </p:cNvSpPr>
          <p:nvPr>
            <p:ph type="ftr" sz="quarter" idx="19"/>
          </p:nvPr>
        </p:nvSpPr>
        <p:spPr>
          <a:xfrm>
            <a:off x="320040" y="6508597"/>
            <a:ext cx="3931920" cy="173736"/>
          </a:xfrm>
        </p:spPr>
        <p:txBody>
          <a:bodyPr/>
          <a:lstStyle>
            <a:lvl1pPr algn="l">
              <a:defRPr sz="800" b="0" smtClean="0">
                <a:solidFill>
                  <a:srgbClr val="000000"/>
                </a:solidFill>
              </a:defRPr>
            </a:lvl1pPr>
          </a:lstStyle>
          <a:p>
            <a:pPr>
              <a:defRPr/>
            </a:pPr>
            <a:r>
              <a:rPr lang="en-US"/>
              <a:t>Page footer, i.e., For institutional use only.</a:t>
            </a:r>
          </a:p>
        </p:txBody>
      </p:sp>
    </p:spTree>
    <p:extLst>
      <p:ext uri="{BB962C8B-B14F-4D97-AF65-F5344CB8AC3E}">
        <p14:creationId xmlns:p14="http://schemas.microsoft.com/office/powerpoint/2010/main" val="415917938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264">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73742" cy="838200"/>
          </a:xfrm>
        </p:spPr>
        <p:txBody>
          <a:bodyPr/>
          <a:lstStyle/>
          <a:p>
            <a:r>
              <a:rPr lang="en-US"/>
              <a:t>Click to edit Master title style</a:t>
            </a:r>
          </a:p>
        </p:txBody>
      </p:sp>
      <p:sp>
        <p:nvSpPr>
          <p:cNvPr id="3" name="Content Placeholder 2"/>
          <p:cNvSpPr>
            <a:spLocks noGrp="1"/>
          </p:cNvSpPr>
          <p:nvPr>
            <p:ph sz="half" idx="1"/>
          </p:nvPr>
        </p:nvSpPr>
        <p:spPr>
          <a:xfrm>
            <a:off x="325661" y="1339850"/>
            <a:ext cx="3878262" cy="4878388"/>
          </a:xfrm>
        </p:spPr>
        <p:txBody>
          <a:bodyPr lIns="91440"/>
          <a:lstStyle>
            <a:lvl1pPr>
              <a:spcBef>
                <a:spcPts val="600"/>
              </a:spcBef>
              <a:defRPr sz="1400">
                <a:solidFill>
                  <a:srgbClr val="7A9A3D"/>
                </a:solidFill>
              </a:defRPr>
            </a:lvl1pPr>
            <a:lvl2pPr marL="114300" indent="-114300">
              <a:spcBef>
                <a:spcPts val="600"/>
              </a:spcBef>
              <a:buClr>
                <a:srgbClr val="7A9A3D"/>
              </a:buClr>
              <a:defRPr sz="1200">
                <a:solidFill>
                  <a:srgbClr val="000000"/>
                </a:solidFill>
              </a:defRPr>
            </a:lvl2pPr>
            <a:lvl3pPr marL="228600" indent="-114300">
              <a:spcBef>
                <a:spcPts val="600"/>
              </a:spcBef>
              <a:buClr>
                <a:srgbClr val="7A9A3D"/>
              </a:buClr>
              <a:defRPr sz="1100">
                <a:solidFill>
                  <a:srgbClr val="000000"/>
                </a:solidFill>
              </a:defRPr>
            </a:lvl3pPr>
            <a:lvl4pPr marL="342900" indent="-114300">
              <a:spcBef>
                <a:spcPts val="600"/>
              </a:spcBef>
              <a:buClr>
                <a:srgbClr val="7A9A3D"/>
              </a:buClr>
              <a:defRPr sz="1100">
                <a:solidFill>
                  <a:srgbClr val="000000"/>
                </a:solidFill>
              </a:defRPr>
            </a:lvl4pPr>
            <a:lvl5pPr>
              <a:defRPr sz="105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2"/>
          <p:cNvSpPr>
            <a:spLocks noGrp="1"/>
          </p:cNvSpPr>
          <p:nvPr>
            <p:ph sz="half" idx="13"/>
          </p:nvPr>
        </p:nvSpPr>
        <p:spPr>
          <a:xfrm>
            <a:off x="4611450" y="1339850"/>
            <a:ext cx="3878262" cy="4878388"/>
          </a:xfrm>
        </p:spPr>
        <p:txBody>
          <a:bodyPr lIns="91440"/>
          <a:lstStyle>
            <a:lvl1pPr>
              <a:spcBef>
                <a:spcPts val="600"/>
              </a:spcBef>
              <a:defRPr sz="1400">
                <a:solidFill>
                  <a:srgbClr val="7A9A3D"/>
                </a:solidFill>
              </a:defRPr>
            </a:lvl1pPr>
            <a:lvl2pPr marL="114300" indent="-114300">
              <a:spcBef>
                <a:spcPts val="600"/>
              </a:spcBef>
              <a:buClr>
                <a:srgbClr val="7A9A3D"/>
              </a:buClr>
              <a:defRPr sz="1200">
                <a:solidFill>
                  <a:srgbClr val="000000"/>
                </a:solidFill>
              </a:defRPr>
            </a:lvl2pPr>
            <a:lvl3pPr marL="228600" indent="-114300">
              <a:spcBef>
                <a:spcPts val="600"/>
              </a:spcBef>
              <a:buClr>
                <a:srgbClr val="7A9A3D"/>
              </a:buClr>
              <a:defRPr sz="1100">
                <a:solidFill>
                  <a:srgbClr val="000000"/>
                </a:solidFill>
              </a:defRPr>
            </a:lvl3pPr>
            <a:lvl4pPr marL="342900" indent="-114300">
              <a:spcBef>
                <a:spcPts val="600"/>
              </a:spcBef>
              <a:buClr>
                <a:srgbClr val="7A9A3D"/>
              </a:buClr>
              <a:defRPr sz="1100">
                <a:solidFill>
                  <a:srgbClr val="000000"/>
                </a:solidFill>
              </a:defRPr>
            </a:lvl4pPr>
            <a:lvl5pPr>
              <a:defRPr sz="105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grpSp>
        <p:nvGrpSpPr>
          <p:cNvPr id="35" name="Group 34">
            <a:extLst>
              <a:ext uri="{FF2B5EF4-FFF2-40B4-BE49-F238E27FC236}">
                <a16:creationId xmlns:a16="http://schemas.microsoft.com/office/drawing/2014/main" id="{2AFCA40D-8F58-429B-B9CC-8837A21EB90D}"/>
              </a:ext>
            </a:extLst>
          </p:cNvPr>
          <p:cNvGrpSpPr/>
          <p:nvPr userDrawn="1"/>
        </p:nvGrpSpPr>
        <p:grpSpPr>
          <a:xfrm>
            <a:off x="7358173" y="6361974"/>
            <a:ext cx="1382376" cy="297562"/>
            <a:chOff x="6923088" y="4475163"/>
            <a:chExt cx="1873251" cy="403225"/>
          </a:xfrm>
        </p:grpSpPr>
        <p:sp>
          <p:nvSpPr>
            <p:cNvPr id="36" name="AutoShape 4">
              <a:extLst>
                <a:ext uri="{FF2B5EF4-FFF2-40B4-BE49-F238E27FC236}">
                  <a16:creationId xmlns:a16="http://schemas.microsoft.com/office/drawing/2014/main" id="{8DFB9938-63A0-4A34-8449-BE002E9AF923}"/>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6">
              <a:extLst>
                <a:ext uri="{FF2B5EF4-FFF2-40B4-BE49-F238E27FC236}">
                  <a16:creationId xmlns:a16="http://schemas.microsoft.com/office/drawing/2014/main" id="{A28F1350-5F1B-44AA-821E-44CCD813CA02}"/>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7">
              <a:extLst>
                <a:ext uri="{FF2B5EF4-FFF2-40B4-BE49-F238E27FC236}">
                  <a16:creationId xmlns:a16="http://schemas.microsoft.com/office/drawing/2014/main" id="{FCCB5549-4BD4-4157-837C-79C5F090E2AB}"/>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83">
              <a:extLst>
                <a:ext uri="{FF2B5EF4-FFF2-40B4-BE49-F238E27FC236}">
                  <a16:creationId xmlns:a16="http://schemas.microsoft.com/office/drawing/2014/main" id="{E66A0397-0D9A-454D-B863-45119AA30F0A}"/>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84">
              <a:extLst>
                <a:ext uri="{FF2B5EF4-FFF2-40B4-BE49-F238E27FC236}">
                  <a16:creationId xmlns:a16="http://schemas.microsoft.com/office/drawing/2014/main" id="{1159932D-D4AA-4554-80A3-C5953FD235BD}"/>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85">
              <a:extLst>
                <a:ext uri="{FF2B5EF4-FFF2-40B4-BE49-F238E27FC236}">
                  <a16:creationId xmlns:a16="http://schemas.microsoft.com/office/drawing/2014/main" id="{99EA43E4-E207-4DE8-86BD-FE173B0D11B7}"/>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86">
              <a:extLst>
                <a:ext uri="{FF2B5EF4-FFF2-40B4-BE49-F238E27FC236}">
                  <a16:creationId xmlns:a16="http://schemas.microsoft.com/office/drawing/2014/main" id="{3D5E77D7-98DF-4F64-8E1D-556C5538EF71}"/>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87">
              <a:extLst>
                <a:ext uri="{FF2B5EF4-FFF2-40B4-BE49-F238E27FC236}">
                  <a16:creationId xmlns:a16="http://schemas.microsoft.com/office/drawing/2014/main" id="{1A7515BE-7CAE-4A11-A11B-4B99A5C9E2AC}"/>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88">
              <a:extLst>
                <a:ext uri="{FF2B5EF4-FFF2-40B4-BE49-F238E27FC236}">
                  <a16:creationId xmlns:a16="http://schemas.microsoft.com/office/drawing/2014/main" id="{D694EEF5-E4E7-45C7-8B2C-0BC6FA89E172}"/>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89">
              <a:extLst>
                <a:ext uri="{FF2B5EF4-FFF2-40B4-BE49-F238E27FC236}">
                  <a16:creationId xmlns:a16="http://schemas.microsoft.com/office/drawing/2014/main" id="{9F7A167B-7471-440D-A0ED-79CAA455AA23}"/>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90">
              <a:extLst>
                <a:ext uri="{FF2B5EF4-FFF2-40B4-BE49-F238E27FC236}">
                  <a16:creationId xmlns:a16="http://schemas.microsoft.com/office/drawing/2014/main" id="{FC6AE01D-51AE-4B9E-BEFD-19330091AB5D}"/>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91">
              <a:extLst>
                <a:ext uri="{FF2B5EF4-FFF2-40B4-BE49-F238E27FC236}">
                  <a16:creationId xmlns:a16="http://schemas.microsoft.com/office/drawing/2014/main" id="{B726AD82-47C6-47F3-9CE2-4A8F4DDCBDF9}"/>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92">
              <a:extLst>
                <a:ext uri="{FF2B5EF4-FFF2-40B4-BE49-F238E27FC236}">
                  <a16:creationId xmlns:a16="http://schemas.microsoft.com/office/drawing/2014/main" id="{214E2653-82A5-43E3-B666-1B0E9D70D71F}"/>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93">
              <a:extLst>
                <a:ext uri="{FF2B5EF4-FFF2-40B4-BE49-F238E27FC236}">
                  <a16:creationId xmlns:a16="http://schemas.microsoft.com/office/drawing/2014/main" id="{60F840A2-381E-4048-8295-88F95AC524FF}"/>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4">
              <a:extLst>
                <a:ext uri="{FF2B5EF4-FFF2-40B4-BE49-F238E27FC236}">
                  <a16:creationId xmlns:a16="http://schemas.microsoft.com/office/drawing/2014/main" id="{DFA6C402-3CCD-4FC6-A518-DE487141DAD7}"/>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5">
              <a:extLst>
                <a:ext uri="{FF2B5EF4-FFF2-40B4-BE49-F238E27FC236}">
                  <a16:creationId xmlns:a16="http://schemas.microsoft.com/office/drawing/2014/main" id="{6BCE0A60-59BA-4A31-84DF-83EF81C96B9E}"/>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6">
              <a:extLst>
                <a:ext uri="{FF2B5EF4-FFF2-40B4-BE49-F238E27FC236}">
                  <a16:creationId xmlns:a16="http://schemas.microsoft.com/office/drawing/2014/main" id="{64F2B275-69D4-4CE0-B768-F5AEE48D8E75}"/>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97">
              <a:extLst>
                <a:ext uri="{FF2B5EF4-FFF2-40B4-BE49-F238E27FC236}">
                  <a16:creationId xmlns:a16="http://schemas.microsoft.com/office/drawing/2014/main" id="{62B10CCD-9C7A-4E26-B43B-D74312D407B5}"/>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98">
              <a:extLst>
                <a:ext uri="{FF2B5EF4-FFF2-40B4-BE49-F238E27FC236}">
                  <a16:creationId xmlns:a16="http://schemas.microsoft.com/office/drawing/2014/main" id="{96F83C84-C17B-4B94-ACA5-05431674C481}"/>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99">
              <a:extLst>
                <a:ext uri="{FF2B5EF4-FFF2-40B4-BE49-F238E27FC236}">
                  <a16:creationId xmlns:a16="http://schemas.microsoft.com/office/drawing/2014/main" id="{1E05D619-B8D6-4805-A3F9-780F60543EB6}"/>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100">
              <a:extLst>
                <a:ext uri="{FF2B5EF4-FFF2-40B4-BE49-F238E27FC236}">
                  <a16:creationId xmlns:a16="http://schemas.microsoft.com/office/drawing/2014/main" id="{A0103845-613F-45A7-B66E-688FD3E3246E}"/>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01">
              <a:extLst>
                <a:ext uri="{FF2B5EF4-FFF2-40B4-BE49-F238E27FC236}">
                  <a16:creationId xmlns:a16="http://schemas.microsoft.com/office/drawing/2014/main" id="{DE8DA4D6-B281-47E4-A7BF-F95430547F0B}"/>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102">
              <a:extLst>
                <a:ext uri="{FF2B5EF4-FFF2-40B4-BE49-F238E27FC236}">
                  <a16:creationId xmlns:a16="http://schemas.microsoft.com/office/drawing/2014/main" id="{897DEA63-F6D7-489B-A9E8-1D2F3B2898E7}"/>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103">
              <a:extLst>
                <a:ext uri="{FF2B5EF4-FFF2-40B4-BE49-F238E27FC236}">
                  <a16:creationId xmlns:a16="http://schemas.microsoft.com/office/drawing/2014/main" id="{54874F82-9013-46F0-A138-0F6D2E53904F}"/>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104">
              <a:extLst>
                <a:ext uri="{FF2B5EF4-FFF2-40B4-BE49-F238E27FC236}">
                  <a16:creationId xmlns:a16="http://schemas.microsoft.com/office/drawing/2014/main" id="{7934340A-F61F-4A9C-BB0A-9854348706BB}"/>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 name="Freeform 105">
              <a:extLst>
                <a:ext uri="{FF2B5EF4-FFF2-40B4-BE49-F238E27FC236}">
                  <a16:creationId xmlns:a16="http://schemas.microsoft.com/office/drawing/2014/main" id="{5289D484-713A-4780-8642-C297A02968CC}"/>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3" name="Slide Number Placeholder 3">
            <a:extLst>
              <a:ext uri="{FF2B5EF4-FFF2-40B4-BE49-F238E27FC236}">
                <a16:creationId xmlns:a16="http://schemas.microsoft.com/office/drawing/2014/main" id="{962933B9-4871-4551-B211-283BF78E4B31}"/>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a:p>
        </p:txBody>
      </p:sp>
      <p:sp>
        <p:nvSpPr>
          <p:cNvPr id="64" name="Rectangle 155">
            <a:extLst>
              <a:ext uri="{FF2B5EF4-FFF2-40B4-BE49-F238E27FC236}">
                <a16:creationId xmlns:a16="http://schemas.microsoft.com/office/drawing/2014/main" id="{B7058636-AC71-4357-A634-03DF107B85A4}"/>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a:t>Production code #</a:t>
            </a:r>
          </a:p>
        </p:txBody>
      </p:sp>
      <p:sp>
        <p:nvSpPr>
          <p:cNvPr id="65" name="Rectangle 176">
            <a:extLst>
              <a:ext uri="{FF2B5EF4-FFF2-40B4-BE49-F238E27FC236}">
                <a16:creationId xmlns:a16="http://schemas.microsoft.com/office/drawing/2014/main" id="{6160F30A-F128-4555-90DE-A89193F5A54B}"/>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a:t>Page footer, i.e., For institutional use only.</a:t>
            </a:r>
          </a:p>
        </p:txBody>
      </p:sp>
    </p:spTree>
    <p:extLst>
      <p:ext uri="{BB962C8B-B14F-4D97-AF65-F5344CB8AC3E}">
        <p14:creationId xmlns:p14="http://schemas.microsoft.com/office/powerpoint/2010/main" val="69293243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264">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ack_Cover_Disclosures">
    <p:spTree>
      <p:nvGrpSpPr>
        <p:cNvPr id="1" name=""/>
        <p:cNvGrpSpPr/>
        <p:nvPr/>
      </p:nvGrpSpPr>
      <p:grpSpPr>
        <a:xfrm>
          <a:off x="0" y="0"/>
          <a:ext cx="0" cy="0"/>
          <a:chOff x="0" y="0"/>
          <a:chExt cx="0" cy="0"/>
        </a:xfrm>
      </p:grpSpPr>
      <p:sp>
        <p:nvSpPr>
          <p:cNvPr id="11" name="Content Placeholder 10"/>
          <p:cNvSpPr>
            <a:spLocks noGrp="1"/>
          </p:cNvSpPr>
          <p:nvPr>
            <p:ph sz="quarter" idx="15" hasCustomPrompt="1"/>
          </p:nvPr>
        </p:nvSpPr>
        <p:spPr>
          <a:xfrm>
            <a:off x="324088" y="6526412"/>
            <a:ext cx="711200" cy="214312"/>
          </a:xfrm>
        </p:spPr>
        <p:txBody>
          <a:bodyPr/>
          <a:lstStyle>
            <a:lvl1pPr>
              <a:defRPr sz="700" b="0">
                <a:solidFill>
                  <a:schemeClr val="tx1"/>
                </a:solidFill>
              </a:defRPr>
            </a:lvl1pPr>
            <a:lvl2pPr>
              <a:defRPr sz="700" b="0">
                <a:solidFill>
                  <a:schemeClr val="tx1"/>
                </a:solidFill>
              </a:defRPr>
            </a:lvl2pPr>
            <a:lvl3pPr>
              <a:defRPr sz="700" b="0">
                <a:solidFill>
                  <a:schemeClr val="tx1"/>
                </a:solidFill>
              </a:defRPr>
            </a:lvl3pPr>
            <a:lvl4pPr>
              <a:defRPr sz="700" b="0">
                <a:solidFill>
                  <a:schemeClr val="tx1"/>
                </a:solidFill>
              </a:defRPr>
            </a:lvl4pPr>
            <a:lvl5pPr>
              <a:defRPr sz="700" b="0">
                <a:solidFill>
                  <a:schemeClr val="tx1"/>
                </a:solidFill>
              </a:defRPr>
            </a:lvl5pPr>
          </a:lstStyle>
          <a:p>
            <a:pPr lvl="0"/>
            <a:r>
              <a:rPr lang="en-US"/>
              <a:t>XXXXXX.1.0</a:t>
            </a:r>
          </a:p>
        </p:txBody>
      </p:sp>
      <p:sp>
        <p:nvSpPr>
          <p:cNvPr id="6" name="Content Placeholder 5"/>
          <p:cNvSpPr>
            <a:spLocks noGrp="1"/>
          </p:cNvSpPr>
          <p:nvPr>
            <p:ph sz="quarter" idx="14" hasCustomPrompt="1"/>
          </p:nvPr>
        </p:nvSpPr>
        <p:spPr>
          <a:xfrm>
            <a:off x="1333500" y="6503543"/>
            <a:ext cx="6477000" cy="214312"/>
          </a:xfrm>
        </p:spPr>
        <p:txBody>
          <a:bodyPr/>
          <a:lstStyle>
            <a:lvl1pPr algn="ctr">
              <a:defRPr sz="900" b="0">
                <a:solidFill>
                  <a:schemeClr val="tx1"/>
                </a:solidFill>
              </a:defRPr>
            </a:lvl1pPr>
            <a:lvl2pPr algn="ctr">
              <a:defRPr sz="900" b="0">
                <a:solidFill>
                  <a:schemeClr val="tx1"/>
                </a:solidFill>
              </a:defRPr>
            </a:lvl2pPr>
            <a:lvl3pPr algn="ctr">
              <a:defRPr sz="900" b="0">
                <a:solidFill>
                  <a:schemeClr val="tx1"/>
                </a:solidFill>
              </a:defRPr>
            </a:lvl3pPr>
            <a:lvl4pPr algn="ctr">
              <a:defRPr sz="900" b="0">
                <a:solidFill>
                  <a:schemeClr val="tx1"/>
                </a:solidFill>
              </a:defRPr>
            </a:lvl4pPr>
            <a:lvl5pPr algn="ctr">
              <a:defRPr sz="900" b="0">
                <a:solidFill>
                  <a:schemeClr val="tx1"/>
                </a:solidFill>
              </a:defRPr>
            </a:lvl5pPr>
          </a:lstStyle>
          <a:p>
            <a:pPr lvl="0"/>
            <a:r>
              <a:rPr lang="en-US" altLang="en-US" sz="900"/>
              <a:t>BROKER/DEALER and ADDRESS PLACEHOLDER</a:t>
            </a:r>
          </a:p>
        </p:txBody>
      </p:sp>
      <p:sp>
        <p:nvSpPr>
          <p:cNvPr id="7" name="Content Placeholder 2"/>
          <p:cNvSpPr>
            <a:spLocks noGrp="1"/>
          </p:cNvSpPr>
          <p:nvPr>
            <p:ph idx="13" hasCustomPrompt="1"/>
          </p:nvPr>
        </p:nvSpPr>
        <p:spPr>
          <a:xfrm>
            <a:off x="325661" y="3228975"/>
            <a:ext cx="8506210" cy="2903538"/>
          </a:xfrm>
        </p:spPr>
        <p:txBody>
          <a:bodyPr lIns="91440" anchor="b"/>
          <a:lstStyle>
            <a:lvl1pPr marL="0" indent="0" algn="l" rtl="0" eaLnBrk="1" fontAlgn="base" hangingPunct="1">
              <a:spcBef>
                <a:spcPts val="300"/>
              </a:spcBef>
              <a:spcAft>
                <a:spcPct val="0"/>
              </a:spcAft>
              <a:buClrTx/>
              <a:buSzTx/>
              <a:buFontTx/>
              <a:buNone/>
              <a:defRPr lang="en-US" sz="1000" b="0" dirty="0" smtClean="0">
                <a:solidFill>
                  <a:schemeClr val="tx1"/>
                </a:solidFill>
              </a:defRPr>
            </a:lvl1pPr>
            <a:lvl2pPr>
              <a:spcBef>
                <a:spcPts val="2000"/>
              </a:spcBef>
              <a:defRPr lang="en-US" dirty="0" smtClean="0">
                <a:solidFill>
                  <a:schemeClr val="tx1"/>
                </a:solidFill>
                <a:latin typeface="+mn-lt"/>
              </a:defRPr>
            </a:lvl2pPr>
            <a:lvl3pPr>
              <a:defRPr lang="en-US" sz="1600" dirty="0" smtClean="0">
                <a:solidFill>
                  <a:schemeClr val="accent1"/>
                </a:solidFill>
                <a:latin typeface="+mn-lt"/>
              </a:defRPr>
            </a:lvl3pPr>
            <a:lvl4pPr>
              <a:buClr>
                <a:schemeClr val="bg2"/>
              </a:buClr>
              <a:buSzPct val="80000"/>
              <a:buFont typeface="Arial" pitchFamily="34" charset="0"/>
              <a:buChar char="•"/>
              <a:defRPr sz="1400">
                <a:solidFill>
                  <a:schemeClr val="accent1"/>
                </a:solidFill>
              </a:defRPr>
            </a:lvl4pPr>
          </a:lstStyle>
          <a:p>
            <a:pPr eaLnBrk="1" hangingPunct="1">
              <a:spcBef>
                <a:spcPts val="300"/>
              </a:spcBef>
              <a:buClrTx/>
              <a:buSzTx/>
              <a:buFontTx/>
              <a:buNone/>
            </a:pPr>
            <a:r>
              <a:rPr lang="en-US" sz="1000">
                <a:latin typeface="+mj-lt"/>
              </a:rPr>
              <a:t>Lorem ipsum e </a:t>
            </a:r>
            <a:r>
              <a:rPr lang="en-US" sz="1000" err="1">
                <a:latin typeface="+mj-lt"/>
              </a:rPr>
              <a:t>dolore</a:t>
            </a:r>
            <a:r>
              <a:rPr lang="en-US" sz="1000">
                <a:latin typeface="+mj-lt"/>
              </a:rPr>
              <a:t> sit </a:t>
            </a:r>
            <a:r>
              <a:rPr lang="en-US" sz="1000" err="1">
                <a:latin typeface="+mj-lt"/>
              </a:rPr>
              <a:t>amet</a:t>
            </a:r>
            <a:r>
              <a:rPr lang="en-US" sz="1000">
                <a:latin typeface="+mj-lt"/>
              </a:rPr>
              <a:t> con </a:t>
            </a:r>
            <a:r>
              <a:rPr lang="en-US" sz="1000" err="1">
                <a:latin typeface="+mj-lt"/>
              </a:rPr>
              <a:t>secuatur</a:t>
            </a:r>
            <a:r>
              <a:rPr lang="en-US" sz="1000">
                <a:latin typeface="+mj-lt"/>
              </a:rPr>
              <a:t> </a:t>
            </a:r>
            <a:r>
              <a:rPr lang="en-US" sz="1000" err="1">
                <a:latin typeface="+mj-lt"/>
              </a:rPr>
              <a:t>voltare</a:t>
            </a:r>
            <a:r>
              <a:rPr lang="en-US" sz="1000">
                <a:latin typeface="+mj-lt"/>
              </a:rPr>
              <a:t> sans </a:t>
            </a:r>
            <a:r>
              <a:rPr lang="en-US" sz="1000" err="1">
                <a:latin typeface="+mj-lt"/>
              </a:rPr>
              <a:t>hitre</a:t>
            </a:r>
            <a:r>
              <a:rPr lang="en-US" sz="1000">
                <a:latin typeface="+mj-lt"/>
              </a:rPr>
              <a:t> </a:t>
            </a:r>
            <a:r>
              <a:rPr lang="en-US" sz="1000" err="1">
                <a:latin typeface="+mj-lt"/>
              </a:rPr>
              <a:t>vintaxe</a:t>
            </a:r>
            <a:r>
              <a:rPr lang="en-US" sz="1000">
                <a:latin typeface="+mj-lt"/>
              </a:rPr>
              <a:t> </a:t>
            </a:r>
            <a:r>
              <a:rPr lang="en-US" sz="1000" err="1">
                <a:latin typeface="+mj-lt"/>
              </a:rPr>
              <a:t>ellert</a:t>
            </a:r>
            <a:r>
              <a:rPr lang="en-US" sz="1000">
                <a:latin typeface="+mj-lt"/>
              </a:rPr>
              <a:t>  ipsum e </a:t>
            </a:r>
            <a:r>
              <a:rPr lang="en-US" sz="1000" err="1">
                <a:latin typeface="+mj-lt"/>
              </a:rPr>
              <a:t>dolore</a:t>
            </a:r>
            <a:r>
              <a:rPr lang="en-US" sz="1000">
                <a:latin typeface="+mj-lt"/>
              </a:rPr>
              <a:t> sit </a:t>
            </a:r>
            <a:r>
              <a:rPr lang="en-US" sz="1000" err="1">
                <a:latin typeface="+mj-lt"/>
              </a:rPr>
              <a:t>amet</a:t>
            </a:r>
            <a:r>
              <a:rPr lang="en-US" sz="1000">
                <a:latin typeface="+mj-lt"/>
              </a:rPr>
              <a:t> con </a:t>
            </a:r>
            <a:r>
              <a:rPr lang="en-US" sz="1000" err="1">
                <a:latin typeface="+mj-lt"/>
              </a:rPr>
              <a:t>secuatur</a:t>
            </a:r>
            <a:r>
              <a:rPr lang="en-US" sz="1000">
                <a:latin typeface="+mj-lt"/>
              </a:rPr>
              <a:t> </a:t>
            </a:r>
            <a:r>
              <a:rPr lang="en-US" sz="1000" err="1">
                <a:latin typeface="+mj-lt"/>
              </a:rPr>
              <a:t>voltare</a:t>
            </a:r>
            <a:r>
              <a:rPr lang="en-US" sz="1000">
                <a:latin typeface="+mj-lt"/>
              </a:rPr>
              <a:t> sans </a:t>
            </a:r>
            <a:r>
              <a:rPr lang="en-US" sz="1000" err="1">
                <a:latin typeface="+mj-lt"/>
              </a:rPr>
              <a:t>hitre</a:t>
            </a:r>
            <a:r>
              <a:rPr lang="en-US" sz="1000">
                <a:latin typeface="+mj-lt"/>
              </a:rPr>
              <a:t> </a:t>
            </a:r>
            <a:r>
              <a:rPr lang="en-US" sz="1000" err="1">
                <a:latin typeface="+mj-lt"/>
              </a:rPr>
              <a:t>vintaxe</a:t>
            </a:r>
            <a:r>
              <a:rPr lang="en-US" sz="1000">
                <a:latin typeface="+mj-lt"/>
              </a:rPr>
              <a:t> </a:t>
            </a:r>
            <a:r>
              <a:rPr lang="en-US" sz="1000" err="1">
                <a:latin typeface="+mj-lt"/>
              </a:rPr>
              <a:t>ellert</a:t>
            </a:r>
            <a:r>
              <a:rPr lang="en-US" sz="1000">
                <a:latin typeface="+mj-lt"/>
              </a:rPr>
              <a:t>. Lorem ipsum e </a:t>
            </a:r>
            <a:r>
              <a:rPr lang="en-US" sz="1000" err="1">
                <a:latin typeface="+mj-lt"/>
              </a:rPr>
              <a:t>dolore</a:t>
            </a:r>
            <a:r>
              <a:rPr lang="en-US" sz="1000">
                <a:latin typeface="+mj-lt"/>
              </a:rPr>
              <a:t> sit </a:t>
            </a:r>
            <a:r>
              <a:rPr lang="en-US" sz="1000" err="1">
                <a:latin typeface="+mj-lt"/>
              </a:rPr>
              <a:t>amet</a:t>
            </a:r>
            <a:r>
              <a:rPr lang="en-US" sz="1000">
                <a:latin typeface="+mj-lt"/>
              </a:rPr>
              <a:t> con </a:t>
            </a:r>
            <a:r>
              <a:rPr lang="en-US" sz="1000" err="1">
                <a:latin typeface="+mj-lt"/>
              </a:rPr>
              <a:t>secuatur</a:t>
            </a:r>
            <a:r>
              <a:rPr lang="en-US" sz="1000">
                <a:latin typeface="+mj-lt"/>
              </a:rPr>
              <a:t> </a:t>
            </a:r>
            <a:r>
              <a:rPr lang="en-US" sz="1000" err="1">
                <a:latin typeface="+mj-lt"/>
              </a:rPr>
              <a:t>voltare</a:t>
            </a:r>
            <a:r>
              <a:rPr lang="en-US" sz="1000">
                <a:latin typeface="+mj-lt"/>
              </a:rPr>
              <a:t> sans </a:t>
            </a:r>
            <a:r>
              <a:rPr lang="en-US" sz="1000" err="1">
                <a:latin typeface="+mj-lt"/>
              </a:rPr>
              <a:t>hitre</a:t>
            </a:r>
            <a:r>
              <a:rPr lang="en-US" sz="1000">
                <a:latin typeface="+mj-lt"/>
              </a:rPr>
              <a:t> </a:t>
            </a:r>
            <a:r>
              <a:rPr lang="en-US" sz="1000" err="1">
                <a:latin typeface="+mj-lt"/>
              </a:rPr>
              <a:t>vintaxe</a:t>
            </a:r>
            <a:r>
              <a:rPr lang="en-US" sz="1000">
                <a:latin typeface="+mj-lt"/>
              </a:rPr>
              <a:t> </a:t>
            </a:r>
            <a:r>
              <a:rPr lang="en-US" sz="1000" err="1">
                <a:latin typeface="+mj-lt"/>
              </a:rPr>
              <a:t>ellert</a:t>
            </a:r>
            <a:r>
              <a:rPr lang="en-US" sz="1000">
                <a:latin typeface="+mj-lt"/>
              </a:rPr>
              <a:t>. Lorem ipsum e </a:t>
            </a:r>
            <a:r>
              <a:rPr lang="en-US" sz="1000" err="1">
                <a:latin typeface="+mj-lt"/>
              </a:rPr>
              <a:t>dolore</a:t>
            </a:r>
            <a:r>
              <a:rPr lang="en-US" sz="1000">
                <a:latin typeface="+mj-lt"/>
              </a:rPr>
              <a:t> sit </a:t>
            </a:r>
            <a:r>
              <a:rPr lang="en-US" sz="1000" err="1">
                <a:latin typeface="+mj-lt"/>
              </a:rPr>
              <a:t>amet</a:t>
            </a:r>
            <a:r>
              <a:rPr lang="en-US" sz="1000">
                <a:latin typeface="+mj-lt"/>
              </a:rPr>
              <a:t> con </a:t>
            </a:r>
            <a:r>
              <a:rPr lang="en-US" sz="1000" err="1">
                <a:latin typeface="+mj-lt"/>
              </a:rPr>
              <a:t>secuatur</a:t>
            </a:r>
            <a:r>
              <a:rPr lang="en-US" sz="1000">
                <a:latin typeface="+mj-lt"/>
              </a:rPr>
              <a:t> </a:t>
            </a:r>
            <a:r>
              <a:rPr lang="en-US" sz="1000" err="1">
                <a:latin typeface="+mj-lt"/>
              </a:rPr>
              <a:t>voltare</a:t>
            </a:r>
            <a:r>
              <a:rPr lang="en-US" sz="1000">
                <a:latin typeface="+mj-lt"/>
              </a:rPr>
              <a:t> sans </a:t>
            </a:r>
            <a:r>
              <a:rPr lang="en-US" sz="1000" err="1">
                <a:latin typeface="+mj-lt"/>
              </a:rPr>
              <a:t>hitre</a:t>
            </a:r>
            <a:r>
              <a:rPr lang="en-US" sz="1000">
                <a:latin typeface="+mj-lt"/>
              </a:rPr>
              <a:t> </a:t>
            </a:r>
            <a:r>
              <a:rPr lang="en-US" sz="1000" err="1">
                <a:latin typeface="+mj-lt"/>
              </a:rPr>
              <a:t>vintaxe</a:t>
            </a:r>
            <a:r>
              <a:rPr lang="en-US" sz="1000">
                <a:latin typeface="+mj-lt"/>
              </a:rPr>
              <a:t> </a:t>
            </a:r>
            <a:r>
              <a:rPr lang="en-US" sz="1000" err="1">
                <a:latin typeface="+mj-lt"/>
              </a:rPr>
              <a:t>ellert</a:t>
            </a:r>
            <a:r>
              <a:rPr lang="en-US" sz="1000">
                <a:latin typeface="+mj-lt"/>
              </a:rPr>
              <a:t>. Lorem ipsum e </a:t>
            </a:r>
            <a:r>
              <a:rPr lang="en-US" sz="1000" err="1">
                <a:latin typeface="+mj-lt"/>
              </a:rPr>
              <a:t>dolore</a:t>
            </a:r>
            <a:r>
              <a:rPr lang="en-US" sz="1000">
                <a:latin typeface="+mj-lt"/>
              </a:rPr>
              <a:t> sit </a:t>
            </a:r>
            <a:r>
              <a:rPr lang="en-US" sz="1000" err="1">
                <a:latin typeface="+mj-lt"/>
              </a:rPr>
              <a:t>amet</a:t>
            </a:r>
            <a:r>
              <a:rPr lang="en-US" sz="1000">
                <a:latin typeface="+mj-lt"/>
              </a:rPr>
              <a:t> con </a:t>
            </a:r>
            <a:r>
              <a:rPr lang="en-US" sz="1000" err="1">
                <a:latin typeface="+mj-lt"/>
              </a:rPr>
              <a:t>secuatur</a:t>
            </a:r>
            <a:r>
              <a:rPr lang="en-US" sz="1000">
                <a:latin typeface="+mj-lt"/>
              </a:rPr>
              <a:t> </a:t>
            </a:r>
            <a:r>
              <a:rPr lang="en-US" sz="1000" err="1">
                <a:latin typeface="+mj-lt"/>
              </a:rPr>
              <a:t>voltare</a:t>
            </a:r>
            <a:r>
              <a:rPr lang="en-US" sz="1000">
                <a:latin typeface="+mj-lt"/>
              </a:rPr>
              <a:t> sans </a:t>
            </a:r>
            <a:r>
              <a:rPr lang="en-US" sz="1000" err="1">
                <a:latin typeface="+mj-lt"/>
              </a:rPr>
              <a:t>hitre</a:t>
            </a:r>
            <a:r>
              <a:rPr lang="en-US" sz="1000">
                <a:latin typeface="+mj-lt"/>
              </a:rPr>
              <a:t> </a:t>
            </a:r>
            <a:r>
              <a:rPr lang="en-US" sz="1000" err="1">
                <a:latin typeface="+mj-lt"/>
              </a:rPr>
              <a:t>vintaxe</a:t>
            </a:r>
            <a:r>
              <a:rPr lang="en-US" sz="1000">
                <a:latin typeface="+mj-lt"/>
              </a:rPr>
              <a:t> </a:t>
            </a:r>
            <a:r>
              <a:rPr lang="en-US" sz="1000" err="1">
                <a:latin typeface="+mj-lt"/>
              </a:rPr>
              <a:t>ellert</a:t>
            </a:r>
            <a:r>
              <a:rPr lang="en-US" sz="1000">
                <a:latin typeface="+mj-lt"/>
              </a:rPr>
              <a:t>. Lorem ipsum e </a:t>
            </a:r>
            <a:r>
              <a:rPr lang="en-US" sz="1000" err="1">
                <a:latin typeface="+mj-lt"/>
              </a:rPr>
              <a:t>dolore</a:t>
            </a:r>
            <a:r>
              <a:rPr lang="en-US" sz="1000">
                <a:latin typeface="+mj-lt"/>
              </a:rPr>
              <a:t> sit </a:t>
            </a:r>
            <a:r>
              <a:rPr lang="en-US" sz="1000" err="1">
                <a:latin typeface="+mj-lt"/>
              </a:rPr>
              <a:t>amet</a:t>
            </a:r>
            <a:r>
              <a:rPr lang="en-US" sz="1000">
                <a:latin typeface="+mj-lt"/>
              </a:rPr>
              <a:t> con </a:t>
            </a:r>
            <a:r>
              <a:rPr lang="en-US" sz="1000" err="1">
                <a:latin typeface="+mj-lt"/>
              </a:rPr>
              <a:t>secuatur</a:t>
            </a:r>
            <a:r>
              <a:rPr lang="en-US" sz="1000">
                <a:latin typeface="+mj-lt"/>
              </a:rPr>
              <a:t> </a:t>
            </a:r>
            <a:r>
              <a:rPr lang="en-US" sz="1000" err="1">
                <a:latin typeface="+mj-lt"/>
              </a:rPr>
              <a:t>voltare</a:t>
            </a:r>
            <a:r>
              <a:rPr lang="en-US" sz="1000">
                <a:latin typeface="+mj-lt"/>
              </a:rPr>
              <a:t> sans </a:t>
            </a:r>
            <a:r>
              <a:rPr lang="en-US" sz="1000" err="1">
                <a:latin typeface="+mj-lt"/>
              </a:rPr>
              <a:t>hitre</a:t>
            </a:r>
            <a:r>
              <a:rPr lang="en-US" sz="1000">
                <a:latin typeface="+mj-lt"/>
              </a:rPr>
              <a:t> </a:t>
            </a:r>
            <a:r>
              <a:rPr lang="en-US" sz="1000" err="1">
                <a:latin typeface="+mj-lt"/>
              </a:rPr>
              <a:t>vintaxe</a:t>
            </a:r>
            <a:r>
              <a:rPr lang="en-US" sz="1000">
                <a:latin typeface="+mj-lt"/>
              </a:rPr>
              <a:t> </a:t>
            </a:r>
            <a:r>
              <a:rPr lang="en-US" sz="1000" err="1">
                <a:latin typeface="+mj-lt"/>
              </a:rPr>
              <a:t>ellert</a:t>
            </a:r>
            <a:r>
              <a:rPr lang="en-US" sz="1000">
                <a:latin typeface="+mj-lt"/>
              </a:rPr>
              <a:t>. Lorem ipsum e </a:t>
            </a:r>
            <a:r>
              <a:rPr lang="en-US" sz="1000" err="1">
                <a:latin typeface="+mj-lt"/>
              </a:rPr>
              <a:t>dolore</a:t>
            </a:r>
            <a:r>
              <a:rPr lang="en-US" sz="1000">
                <a:latin typeface="+mj-lt"/>
              </a:rPr>
              <a:t> sit </a:t>
            </a:r>
            <a:r>
              <a:rPr lang="en-US" sz="1000" err="1">
                <a:latin typeface="+mj-lt"/>
              </a:rPr>
              <a:t>amet</a:t>
            </a:r>
            <a:r>
              <a:rPr lang="en-US" sz="1000">
                <a:latin typeface="+mj-lt"/>
              </a:rPr>
              <a:t> con </a:t>
            </a:r>
            <a:r>
              <a:rPr lang="en-US" sz="1000" err="1">
                <a:latin typeface="+mj-lt"/>
              </a:rPr>
              <a:t>secuatur</a:t>
            </a:r>
            <a:r>
              <a:rPr lang="en-US" sz="1000">
                <a:latin typeface="+mj-lt"/>
              </a:rPr>
              <a:t> </a:t>
            </a:r>
            <a:r>
              <a:rPr lang="en-US" sz="1000" err="1">
                <a:latin typeface="+mj-lt"/>
              </a:rPr>
              <a:t>voltare</a:t>
            </a:r>
            <a:r>
              <a:rPr lang="en-US" sz="1000">
                <a:latin typeface="+mj-lt"/>
              </a:rPr>
              <a:t> sans </a:t>
            </a:r>
            <a:r>
              <a:rPr lang="en-US" sz="1000" err="1">
                <a:latin typeface="+mj-lt"/>
              </a:rPr>
              <a:t>hitre</a:t>
            </a:r>
            <a:r>
              <a:rPr lang="en-US" sz="1000">
                <a:latin typeface="+mj-lt"/>
              </a:rPr>
              <a:t> </a:t>
            </a:r>
            <a:r>
              <a:rPr lang="en-US" sz="1000" err="1">
                <a:latin typeface="+mj-lt"/>
              </a:rPr>
              <a:t>vintaxe</a:t>
            </a:r>
            <a:r>
              <a:rPr lang="en-US" sz="1000">
                <a:latin typeface="+mj-lt"/>
              </a:rPr>
              <a:t> </a:t>
            </a:r>
            <a:r>
              <a:rPr lang="en-US" sz="1000" err="1">
                <a:latin typeface="+mj-lt"/>
              </a:rPr>
              <a:t>ellert</a:t>
            </a:r>
            <a:r>
              <a:rPr lang="en-US" sz="1000">
                <a:latin typeface="+mj-lt"/>
              </a:rPr>
              <a:t>. Lorem ipsum e </a:t>
            </a:r>
            <a:r>
              <a:rPr lang="en-US" sz="1000" err="1">
                <a:latin typeface="+mj-lt"/>
              </a:rPr>
              <a:t>dolore</a:t>
            </a:r>
            <a:r>
              <a:rPr lang="en-US" sz="1000">
                <a:latin typeface="+mj-lt"/>
              </a:rPr>
              <a:t> sit </a:t>
            </a:r>
            <a:r>
              <a:rPr lang="en-US" sz="1000" err="1">
                <a:latin typeface="+mj-lt"/>
              </a:rPr>
              <a:t>amet</a:t>
            </a:r>
            <a:r>
              <a:rPr lang="en-US" sz="1000">
                <a:latin typeface="+mj-lt"/>
              </a:rPr>
              <a:t> con </a:t>
            </a:r>
            <a:r>
              <a:rPr lang="en-US" sz="1000" err="1">
                <a:latin typeface="+mj-lt"/>
              </a:rPr>
              <a:t>secuatur</a:t>
            </a:r>
            <a:r>
              <a:rPr lang="en-US" sz="1000">
                <a:latin typeface="+mj-lt"/>
              </a:rPr>
              <a:t> </a:t>
            </a:r>
            <a:r>
              <a:rPr lang="en-US" sz="1000" err="1">
                <a:latin typeface="+mj-lt"/>
              </a:rPr>
              <a:t>voltare</a:t>
            </a:r>
            <a:r>
              <a:rPr lang="en-US" sz="1000">
                <a:latin typeface="+mj-lt"/>
              </a:rPr>
              <a:t> sans </a:t>
            </a:r>
            <a:r>
              <a:rPr lang="en-US" sz="1000" err="1">
                <a:latin typeface="+mj-lt"/>
              </a:rPr>
              <a:t>hitre</a:t>
            </a:r>
            <a:r>
              <a:rPr lang="en-US" sz="1000">
                <a:latin typeface="+mj-lt"/>
              </a:rPr>
              <a:t> </a:t>
            </a:r>
            <a:r>
              <a:rPr lang="en-US" sz="1000" err="1">
                <a:latin typeface="+mj-lt"/>
              </a:rPr>
              <a:t>vintaxe</a:t>
            </a:r>
            <a:r>
              <a:rPr lang="en-US" sz="1000">
                <a:latin typeface="+mj-lt"/>
              </a:rPr>
              <a:t> </a:t>
            </a:r>
            <a:r>
              <a:rPr lang="en-US" sz="1000" err="1">
                <a:latin typeface="+mj-lt"/>
              </a:rPr>
              <a:t>ellert</a:t>
            </a:r>
            <a:r>
              <a:rPr lang="en-US" sz="1000">
                <a:latin typeface="+mj-lt"/>
              </a:rPr>
              <a:t>. sit </a:t>
            </a:r>
            <a:r>
              <a:rPr lang="en-US" sz="1000" err="1">
                <a:latin typeface="+mj-lt"/>
              </a:rPr>
              <a:t>amet</a:t>
            </a:r>
            <a:r>
              <a:rPr lang="en-US" sz="1000">
                <a:latin typeface="+mj-lt"/>
              </a:rPr>
              <a:t> con </a:t>
            </a:r>
            <a:r>
              <a:rPr lang="en-US" sz="1000" err="1">
                <a:latin typeface="+mj-lt"/>
              </a:rPr>
              <a:t>secuatur</a:t>
            </a:r>
            <a:r>
              <a:rPr lang="en-US" sz="1000">
                <a:latin typeface="+mj-lt"/>
              </a:rPr>
              <a:t> </a:t>
            </a:r>
            <a:r>
              <a:rPr lang="en-US" sz="1000" err="1">
                <a:latin typeface="+mj-lt"/>
              </a:rPr>
              <a:t>voltare</a:t>
            </a:r>
            <a:r>
              <a:rPr lang="en-US" sz="1000">
                <a:latin typeface="+mj-lt"/>
              </a:rPr>
              <a:t> sans </a:t>
            </a:r>
            <a:r>
              <a:rPr lang="en-US" sz="1000" err="1">
                <a:latin typeface="+mj-lt"/>
              </a:rPr>
              <a:t>hitre</a:t>
            </a:r>
            <a:r>
              <a:rPr lang="en-US" sz="1000">
                <a:latin typeface="+mj-lt"/>
              </a:rPr>
              <a:t> </a:t>
            </a:r>
            <a:r>
              <a:rPr lang="en-US" sz="1000" err="1">
                <a:latin typeface="+mj-lt"/>
              </a:rPr>
              <a:t>vintaxe</a:t>
            </a:r>
            <a:r>
              <a:rPr lang="en-US" sz="1000">
                <a:latin typeface="+mj-lt"/>
              </a:rPr>
              <a:t> </a:t>
            </a:r>
            <a:r>
              <a:rPr lang="en-US" sz="1000" err="1">
                <a:latin typeface="+mj-lt"/>
              </a:rPr>
              <a:t>ellert</a:t>
            </a:r>
            <a:r>
              <a:rPr lang="en-US" sz="1000">
                <a:latin typeface="+mj-lt"/>
              </a:rPr>
              <a:t>. Lorem ipsum e </a:t>
            </a:r>
            <a:r>
              <a:rPr lang="en-US" sz="1000" err="1">
                <a:latin typeface="+mj-lt"/>
              </a:rPr>
              <a:t>dolore</a:t>
            </a:r>
            <a:r>
              <a:rPr lang="en-US" sz="1000">
                <a:latin typeface="+mj-lt"/>
              </a:rPr>
              <a:t> sit </a:t>
            </a:r>
            <a:r>
              <a:rPr lang="en-US" sz="1000" err="1">
                <a:latin typeface="+mj-lt"/>
              </a:rPr>
              <a:t>amet</a:t>
            </a:r>
            <a:r>
              <a:rPr lang="en-US" sz="1000">
                <a:latin typeface="+mj-lt"/>
              </a:rPr>
              <a:t> con </a:t>
            </a:r>
            <a:r>
              <a:rPr lang="en-US" sz="1000" err="1">
                <a:latin typeface="+mj-lt"/>
              </a:rPr>
              <a:t>secuatur</a:t>
            </a:r>
            <a:r>
              <a:rPr lang="en-US" sz="1000">
                <a:latin typeface="+mj-lt"/>
              </a:rPr>
              <a:t> </a:t>
            </a:r>
            <a:r>
              <a:rPr lang="en-US" sz="1000" err="1">
                <a:latin typeface="+mj-lt"/>
              </a:rPr>
              <a:t>voltare</a:t>
            </a:r>
            <a:r>
              <a:rPr lang="en-US" sz="1000">
                <a:latin typeface="+mj-lt"/>
              </a:rPr>
              <a:t> sans </a:t>
            </a:r>
            <a:r>
              <a:rPr lang="en-US" sz="1000" err="1">
                <a:latin typeface="+mj-lt"/>
              </a:rPr>
              <a:t>hitre</a:t>
            </a:r>
            <a:r>
              <a:rPr lang="en-US" sz="1000">
                <a:latin typeface="+mj-lt"/>
              </a:rPr>
              <a:t> </a:t>
            </a:r>
            <a:r>
              <a:rPr lang="en-US" sz="1000" err="1">
                <a:latin typeface="+mj-lt"/>
              </a:rPr>
              <a:t>vintaxe</a:t>
            </a:r>
            <a:r>
              <a:rPr lang="en-US" sz="1000">
                <a:latin typeface="+mj-lt"/>
              </a:rPr>
              <a:t> </a:t>
            </a:r>
            <a:r>
              <a:rPr lang="en-US" sz="1000" err="1">
                <a:latin typeface="+mj-lt"/>
              </a:rPr>
              <a:t>ellert</a:t>
            </a:r>
            <a:r>
              <a:rPr lang="en-US" sz="1000">
                <a:latin typeface="+mj-lt"/>
              </a:rPr>
              <a:t>. Lorem ipsum e </a:t>
            </a:r>
            <a:r>
              <a:rPr lang="en-US" sz="1000" err="1">
                <a:latin typeface="+mj-lt"/>
              </a:rPr>
              <a:t>dolore</a:t>
            </a:r>
            <a:r>
              <a:rPr lang="en-US" sz="1000">
                <a:latin typeface="+mj-lt"/>
              </a:rPr>
              <a:t> sit </a:t>
            </a:r>
            <a:r>
              <a:rPr lang="en-US" sz="1000" err="1">
                <a:latin typeface="+mj-lt"/>
              </a:rPr>
              <a:t>amet</a:t>
            </a:r>
            <a:r>
              <a:rPr lang="en-US" sz="1000">
                <a:latin typeface="+mj-lt"/>
              </a:rPr>
              <a:t> con </a:t>
            </a:r>
            <a:r>
              <a:rPr lang="en-US" sz="1000" err="1">
                <a:latin typeface="+mj-lt"/>
              </a:rPr>
              <a:t>secuatur</a:t>
            </a:r>
            <a:r>
              <a:rPr lang="en-US" sz="1000">
                <a:latin typeface="+mj-lt"/>
              </a:rPr>
              <a:t> </a:t>
            </a:r>
            <a:r>
              <a:rPr lang="en-US" sz="1000" err="1">
                <a:latin typeface="+mj-lt"/>
              </a:rPr>
              <a:t>voltare</a:t>
            </a:r>
            <a:r>
              <a:rPr lang="en-US" sz="1000">
                <a:latin typeface="+mj-lt"/>
              </a:rPr>
              <a:t> sans </a:t>
            </a:r>
            <a:r>
              <a:rPr lang="en-US" sz="1000" err="1">
                <a:latin typeface="+mj-lt"/>
              </a:rPr>
              <a:t>hitre</a:t>
            </a:r>
            <a:r>
              <a:rPr lang="en-US" sz="1000">
                <a:latin typeface="+mj-lt"/>
              </a:rPr>
              <a:t> </a:t>
            </a:r>
            <a:r>
              <a:rPr lang="en-US" sz="1000" err="1">
                <a:latin typeface="+mj-lt"/>
              </a:rPr>
              <a:t>vintaxe</a:t>
            </a:r>
            <a:r>
              <a:rPr lang="en-US" sz="1000">
                <a:latin typeface="+mj-lt"/>
              </a:rPr>
              <a:t> </a:t>
            </a:r>
            <a:r>
              <a:rPr lang="en-US" sz="1000" err="1">
                <a:latin typeface="+mj-lt"/>
              </a:rPr>
              <a:t>ellert</a:t>
            </a:r>
            <a:r>
              <a:rPr lang="en-US" sz="1000">
                <a:latin typeface="+mj-lt"/>
              </a:rPr>
              <a:t>. Lorem ipsum e </a:t>
            </a:r>
            <a:r>
              <a:rPr lang="en-US" sz="1000" err="1">
                <a:latin typeface="+mj-lt"/>
              </a:rPr>
              <a:t>dolore</a:t>
            </a:r>
            <a:r>
              <a:rPr lang="en-US" sz="1000">
                <a:latin typeface="+mj-lt"/>
              </a:rPr>
              <a:t> sit </a:t>
            </a:r>
            <a:r>
              <a:rPr lang="en-US" sz="1000" err="1">
                <a:latin typeface="+mj-lt"/>
              </a:rPr>
              <a:t>amet</a:t>
            </a:r>
            <a:r>
              <a:rPr lang="en-US" sz="1000">
                <a:latin typeface="+mj-lt"/>
              </a:rPr>
              <a:t> con </a:t>
            </a:r>
            <a:r>
              <a:rPr lang="en-US" sz="1000" err="1">
                <a:latin typeface="+mj-lt"/>
              </a:rPr>
              <a:t>secuatur</a:t>
            </a:r>
            <a:r>
              <a:rPr lang="en-US" sz="1000">
                <a:latin typeface="+mj-lt"/>
              </a:rPr>
              <a:t> </a:t>
            </a:r>
            <a:r>
              <a:rPr lang="en-US" sz="1000" err="1">
                <a:latin typeface="+mj-lt"/>
              </a:rPr>
              <a:t>voltare</a:t>
            </a:r>
            <a:r>
              <a:rPr lang="en-US" sz="1000">
                <a:latin typeface="+mj-lt"/>
              </a:rPr>
              <a:t> sans </a:t>
            </a:r>
            <a:r>
              <a:rPr lang="en-US" sz="1000" err="1">
                <a:latin typeface="+mj-lt"/>
              </a:rPr>
              <a:t>hitre</a:t>
            </a:r>
            <a:r>
              <a:rPr lang="en-US" sz="1000">
                <a:latin typeface="+mj-lt"/>
              </a:rPr>
              <a:t> </a:t>
            </a:r>
            <a:r>
              <a:rPr lang="en-US" sz="1000" err="1">
                <a:latin typeface="+mj-lt"/>
              </a:rPr>
              <a:t>vintaxe</a:t>
            </a:r>
            <a:r>
              <a:rPr lang="en-US" sz="1000">
                <a:latin typeface="+mj-lt"/>
              </a:rPr>
              <a:t> </a:t>
            </a:r>
            <a:r>
              <a:rPr lang="en-US" sz="1000" err="1">
                <a:latin typeface="+mj-lt"/>
              </a:rPr>
              <a:t>ellert</a:t>
            </a:r>
            <a:r>
              <a:rPr lang="en-US" sz="1000">
                <a:latin typeface="+mj-lt"/>
              </a:rPr>
              <a:t>. Lorem ipsum e </a:t>
            </a:r>
            <a:r>
              <a:rPr lang="en-US" sz="1000" err="1">
                <a:latin typeface="+mj-lt"/>
              </a:rPr>
              <a:t>dolore</a:t>
            </a:r>
            <a:r>
              <a:rPr lang="en-US" sz="1000">
                <a:latin typeface="+mj-lt"/>
              </a:rPr>
              <a:t> sit </a:t>
            </a:r>
            <a:r>
              <a:rPr lang="en-US" sz="1000" err="1">
                <a:latin typeface="+mj-lt"/>
              </a:rPr>
              <a:t>amet</a:t>
            </a:r>
            <a:r>
              <a:rPr lang="en-US" sz="1000">
                <a:latin typeface="+mj-lt"/>
              </a:rPr>
              <a:t> con </a:t>
            </a:r>
            <a:r>
              <a:rPr lang="en-US" sz="1000" err="1">
                <a:latin typeface="+mj-lt"/>
              </a:rPr>
              <a:t>secuatur</a:t>
            </a:r>
            <a:r>
              <a:rPr lang="en-US" sz="1000">
                <a:latin typeface="+mj-lt"/>
              </a:rPr>
              <a:t> </a:t>
            </a:r>
            <a:r>
              <a:rPr lang="en-US" sz="1000" err="1">
                <a:latin typeface="+mj-lt"/>
              </a:rPr>
              <a:t>voltare</a:t>
            </a:r>
            <a:r>
              <a:rPr lang="en-US" sz="1000">
                <a:latin typeface="+mj-lt"/>
              </a:rPr>
              <a:t> sans </a:t>
            </a:r>
            <a:r>
              <a:rPr lang="en-US" sz="1000" err="1">
                <a:latin typeface="+mj-lt"/>
              </a:rPr>
              <a:t>hitre</a:t>
            </a:r>
            <a:r>
              <a:rPr lang="en-US" sz="1000">
                <a:latin typeface="+mj-lt"/>
              </a:rPr>
              <a:t> </a:t>
            </a:r>
            <a:r>
              <a:rPr lang="en-US" sz="1000" err="1">
                <a:latin typeface="+mj-lt"/>
              </a:rPr>
              <a:t>vintaxe</a:t>
            </a:r>
            <a:r>
              <a:rPr lang="en-US" sz="1000">
                <a:latin typeface="+mj-lt"/>
              </a:rPr>
              <a:t> </a:t>
            </a:r>
            <a:r>
              <a:rPr lang="en-US" sz="1000" err="1">
                <a:latin typeface="+mj-lt"/>
              </a:rPr>
              <a:t>ellert</a:t>
            </a:r>
            <a:r>
              <a:rPr lang="en-US" sz="1000">
                <a:latin typeface="+mj-lt"/>
              </a:rPr>
              <a:t>. Lorem ipsum e </a:t>
            </a:r>
            <a:r>
              <a:rPr lang="en-US" sz="1000" err="1">
                <a:latin typeface="+mj-lt"/>
              </a:rPr>
              <a:t>dolore</a:t>
            </a:r>
            <a:r>
              <a:rPr lang="en-US" sz="1000">
                <a:latin typeface="+mj-lt"/>
              </a:rPr>
              <a:t> sit </a:t>
            </a:r>
            <a:r>
              <a:rPr lang="en-US" sz="1000" err="1">
                <a:latin typeface="+mj-lt"/>
              </a:rPr>
              <a:t>amet</a:t>
            </a:r>
            <a:r>
              <a:rPr lang="en-US" sz="1000">
                <a:latin typeface="+mj-lt"/>
              </a:rPr>
              <a:t> con </a:t>
            </a:r>
            <a:r>
              <a:rPr lang="en-US" sz="1000" err="1">
                <a:latin typeface="+mj-lt"/>
              </a:rPr>
              <a:t>secuatur</a:t>
            </a:r>
            <a:r>
              <a:rPr lang="en-US" sz="1000">
                <a:latin typeface="+mj-lt"/>
              </a:rPr>
              <a:t> </a:t>
            </a:r>
            <a:r>
              <a:rPr lang="en-US" sz="1000" err="1">
                <a:latin typeface="+mj-lt"/>
              </a:rPr>
              <a:t>voltare</a:t>
            </a:r>
            <a:r>
              <a:rPr lang="en-US" sz="1000">
                <a:latin typeface="+mj-lt"/>
              </a:rPr>
              <a:t> sans </a:t>
            </a:r>
            <a:r>
              <a:rPr lang="en-US" sz="1000" err="1">
                <a:latin typeface="+mj-lt"/>
              </a:rPr>
              <a:t>hitre</a:t>
            </a:r>
            <a:r>
              <a:rPr lang="en-US" sz="1000">
                <a:latin typeface="+mj-lt"/>
              </a:rPr>
              <a:t> </a:t>
            </a:r>
            <a:r>
              <a:rPr lang="en-US" sz="1000" err="1">
                <a:latin typeface="+mj-lt"/>
              </a:rPr>
              <a:t>vintaxe</a:t>
            </a:r>
            <a:r>
              <a:rPr lang="en-US" sz="1000">
                <a:latin typeface="+mj-lt"/>
              </a:rPr>
              <a:t> </a:t>
            </a:r>
            <a:r>
              <a:rPr lang="en-US" sz="1000" err="1">
                <a:latin typeface="+mj-lt"/>
              </a:rPr>
              <a:t>ellert</a:t>
            </a:r>
            <a:r>
              <a:rPr lang="en-US" sz="1000">
                <a:latin typeface="+mj-lt"/>
              </a:rPr>
              <a:t>. Lorem ipsum e </a:t>
            </a:r>
            <a:r>
              <a:rPr lang="en-US" sz="1000" err="1">
                <a:latin typeface="+mj-lt"/>
              </a:rPr>
              <a:t>dolore</a:t>
            </a:r>
            <a:r>
              <a:rPr lang="en-US" sz="1000">
                <a:latin typeface="+mj-lt"/>
              </a:rPr>
              <a:t> sit </a:t>
            </a:r>
            <a:r>
              <a:rPr lang="en-US" sz="1000" err="1">
                <a:latin typeface="+mj-lt"/>
              </a:rPr>
              <a:t>amet</a:t>
            </a:r>
            <a:r>
              <a:rPr lang="en-US" sz="1000">
                <a:latin typeface="+mj-lt"/>
              </a:rPr>
              <a:t> con </a:t>
            </a:r>
            <a:r>
              <a:rPr lang="en-US" sz="1000" err="1">
                <a:latin typeface="+mj-lt"/>
              </a:rPr>
              <a:t>secuatur</a:t>
            </a:r>
            <a:r>
              <a:rPr lang="en-US" sz="1000">
                <a:latin typeface="+mj-lt"/>
              </a:rPr>
              <a:t> </a:t>
            </a:r>
            <a:r>
              <a:rPr lang="en-US" sz="1000" err="1">
                <a:latin typeface="+mj-lt"/>
              </a:rPr>
              <a:t>voltare</a:t>
            </a:r>
            <a:r>
              <a:rPr lang="en-US" sz="1000">
                <a:latin typeface="+mj-lt"/>
              </a:rPr>
              <a:t> sans </a:t>
            </a:r>
            <a:r>
              <a:rPr lang="en-US" sz="1000" err="1">
                <a:latin typeface="+mj-lt"/>
              </a:rPr>
              <a:t>hitre</a:t>
            </a:r>
            <a:r>
              <a:rPr lang="en-US" sz="1000">
                <a:latin typeface="+mj-lt"/>
              </a:rPr>
              <a:t> </a:t>
            </a:r>
            <a:r>
              <a:rPr lang="en-US" sz="1000" err="1">
                <a:latin typeface="+mj-lt"/>
              </a:rPr>
              <a:t>vintaxe</a:t>
            </a:r>
            <a:r>
              <a:rPr lang="en-US" sz="1000">
                <a:latin typeface="+mj-lt"/>
              </a:rPr>
              <a:t> </a:t>
            </a:r>
            <a:r>
              <a:rPr lang="en-US" sz="1000" err="1">
                <a:latin typeface="+mj-lt"/>
              </a:rPr>
              <a:t>ellert</a:t>
            </a:r>
            <a:r>
              <a:rPr lang="en-US" sz="1000">
                <a:latin typeface="+mj-lt"/>
              </a:rPr>
              <a:t>.</a:t>
            </a:r>
          </a:p>
          <a:p>
            <a:pPr eaLnBrk="1" hangingPunct="1">
              <a:spcBef>
                <a:spcPts val="300"/>
              </a:spcBef>
              <a:buClrTx/>
              <a:buSzTx/>
              <a:buFontTx/>
              <a:buNone/>
            </a:pPr>
            <a:r>
              <a:rPr lang="en-US" sz="1000" b="1">
                <a:latin typeface="+mj-lt"/>
              </a:rPr>
              <a:t>Lorem ipsum e </a:t>
            </a:r>
            <a:r>
              <a:rPr lang="en-US" sz="1000" b="1" err="1">
                <a:latin typeface="+mj-lt"/>
              </a:rPr>
              <a:t>dolore</a:t>
            </a:r>
            <a:r>
              <a:rPr lang="en-US" sz="1000" b="1">
                <a:latin typeface="+mj-lt"/>
              </a:rPr>
              <a:t> sit </a:t>
            </a:r>
            <a:r>
              <a:rPr lang="en-US" sz="1000" b="1" err="1">
                <a:latin typeface="+mj-lt"/>
              </a:rPr>
              <a:t>amet</a:t>
            </a:r>
            <a:r>
              <a:rPr lang="en-US" sz="1000" b="1">
                <a:latin typeface="+mj-lt"/>
              </a:rPr>
              <a:t> con </a:t>
            </a:r>
            <a:r>
              <a:rPr lang="en-US" sz="1000" b="1" err="1">
                <a:latin typeface="+mj-lt"/>
              </a:rPr>
              <a:t>secuatur</a:t>
            </a:r>
            <a:r>
              <a:rPr lang="en-US" sz="1000" b="1">
                <a:latin typeface="+mj-lt"/>
              </a:rPr>
              <a:t> </a:t>
            </a:r>
            <a:r>
              <a:rPr lang="en-US" sz="1000" b="1" err="1">
                <a:latin typeface="+mj-lt"/>
              </a:rPr>
              <a:t>voltare</a:t>
            </a:r>
            <a:r>
              <a:rPr lang="en-US" sz="1000" b="1">
                <a:latin typeface="+mj-lt"/>
              </a:rPr>
              <a:t> sans </a:t>
            </a:r>
            <a:r>
              <a:rPr lang="en-US" sz="1000" b="1" err="1">
                <a:latin typeface="+mj-lt"/>
              </a:rPr>
              <a:t>hitre</a:t>
            </a:r>
            <a:r>
              <a:rPr lang="en-US" sz="1000" b="1">
                <a:latin typeface="+mj-lt"/>
              </a:rPr>
              <a:t> </a:t>
            </a:r>
            <a:r>
              <a:rPr lang="en-US" sz="1000" b="1" err="1">
                <a:latin typeface="+mj-lt"/>
              </a:rPr>
              <a:t>vintaxe</a:t>
            </a:r>
            <a:r>
              <a:rPr lang="en-US" sz="1000" b="1">
                <a:latin typeface="+mj-lt"/>
              </a:rPr>
              <a:t> </a:t>
            </a:r>
            <a:r>
              <a:rPr lang="en-US" sz="1000" b="1" err="1">
                <a:latin typeface="+mj-lt"/>
              </a:rPr>
              <a:t>ellert</a:t>
            </a:r>
            <a:r>
              <a:rPr lang="en-US" sz="1000" b="1">
                <a:latin typeface="+mj-lt"/>
              </a:rPr>
              <a:t>  ipsum e </a:t>
            </a:r>
            <a:r>
              <a:rPr lang="en-US" sz="1000" b="1" err="1">
                <a:latin typeface="+mj-lt"/>
              </a:rPr>
              <a:t>dolore</a:t>
            </a:r>
            <a:r>
              <a:rPr lang="en-US" sz="1000" b="1">
                <a:latin typeface="+mj-lt"/>
              </a:rPr>
              <a:t> sit </a:t>
            </a:r>
            <a:r>
              <a:rPr lang="en-US" sz="1000" b="1" err="1">
                <a:latin typeface="+mj-lt"/>
              </a:rPr>
              <a:t>amet</a:t>
            </a:r>
            <a:r>
              <a:rPr lang="en-US" sz="1000" b="1">
                <a:latin typeface="+mj-lt"/>
              </a:rPr>
              <a:t> con </a:t>
            </a:r>
            <a:r>
              <a:rPr lang="en-US" sz="1000" b="1" err="1">
                <a:latin typeface="+mj-lt"/>
              </a:rPr>
              <a:t>secuatur</a:t>
            </a:r>
            <a:r>
              <a:rPr lang="en-US" sz="1000" b="1">
                <a:latin typeface="+mj-lt"/>
              </a:rPr>
              <a:t> </a:t>
            </a:r>
            <a:r>
              <a:rPr lang="en-US" sz="1000" b="1" err="1">
                <a:latin typeface="+mj-lt"/>
              </a:rPr>
              <a:t>voltare</a:t>
            </a:r>
            <a:r>
              <a:rPr lang="en-US" sz="1000" b="1">
                <a:latin typeface="+mj-lt"/>
              </a:rPr>
              <a:t> sans </a:t>
            </a:r>
            <a:r>
              <a:rPr lang="en-US" sz="1000" b="1" err="1">
                <a:latin typeface="+mj-lt"/>
              </a:rPr>
              <a:t>hitre</a:t>
            </a:r>
            <a:r>
              <a:rPr lang="en-US" sz="1000" b="1">
                <a:latin typeface="+mj-lt"/>
              </a:rPr>
              <a:t> </a:t>
            </a:r>
            <a:r>
              <a:rPr lang="en-US" sz="1000" b="1" err="1">
                <a:latin typeface="+mj-lt"/>
              </a:rPr>
              <a:t>vintaxe</a:t>
            </a:r>
            <a:r>
              <a:rPr lang="en-US" sz="1000" b="1">
                <a:latin typeface="+mj-lt"/>
              </a:rPr>
              <a:t> </a:t>
            </a:r>
            <a:r>
              <a:rPr lang="en-US" sz="1000" b="1" err="1">
                <a:latin typeface="+mj-lt"/>
              </a:rPr>
              <a:t>ellert</a:t>
            </a:r>
            <a:r>
              <a:rPr lang="en-US" sz="1000" b="1">
                <a:latin typeface="+mj-lt"/>
              </a:rPr>
              <a:t>. Lorem ipsum e </a:t>
            </a:r>
            <a:r>
              <a:rPr lang="en-US" sz="1000" b="1" err="1">
                <a:latin typeface="+mj-lt"/>
              </a:rPr>
              <a:t>dolore</a:t>
            </a:r>
            <a:r>
              <a:rPr lang="en-US" sz="1000" b="1">
                <a:latin typeface="+mj-lt"/>
              </a:rPr>
              <a:t> sit </a:t>
            </a:r>
            <a:r>
              <a:rPr lang="en-US" sz="1000" b="1" err="1">
                <a:latin typeface="+mj-lt"/>
              </a:rPr>
              <a:t>amet</a:t>
            </a:r>
            <a:r>
              <a:rPr lang="en-US" sz="1000" b="1">
                <a:latin typeface="+mj-lt"/>
              </a:rPr>
              <a:t> con </a:t>
            </a:r>
            <a:r>
              <a:rPr lang="en-US" sz="1000" b="1" err="1">
                <a:latin typeface="+mj-lt"/>
              </a:rPr>
              <a:t>secuatur</a:t>
            </a:r>
            <a:r>
              <a:rPr lang="en-US" sz="1000" b="1">
                <a:latin typeface="+mj-lt"/>
              </a:rPr>
              <a:t> </a:t>
            </a:r>
            <a:r>
              <a:rPr lang="en-US" sz="1000" b="1" err="1">
                <a:latin typeface="+mj-lt"/>
              </a:rPr>
              <a:t>voltare</a:t>
            </a:r>
            <a:r>
              <a:rPr lang="en-US" sz="1000" b="1">
                <a:latin typeface="+mj-lt"/>
              </a:rPr>
              <a:t> sans </a:t>
            </a:r>
            <a:r>
              <a:rPr lang="en-US" sz="1000" b="1" err="1">
                <a:latin typeface="+mj-lt"/>
              </a:rPr>
              <a:t>hitre</a:t>
            </a:r>
            <a:r>
              <a:rPr lang="en-US" sz="1000" b="1">
                <a:latin typeface="+mj-lt"/>
              </a:rPr>
              <a:t> </a:t>
            </a:r>
            <a:r>
              <a:rPr lang="en-US" sz="1000" b="1" err="1">
                <a:latin typeface="+mj-lt"/>
              </a:rPr>
              <a:t>vintaxe</a:t>
            </a:r>
            <a:r>
              <a:rPr lang="en-US" sz="1000" b="1">
                <a:latin typeface="+mj-lt"/>
              </a:rPr>
              <a:t> </a:t>
            </a:r>
            <a:r>
              <a:rPr lang="en-US" sz="1000" b="1" err="1">
                <a:latin typeface="+mj-lt"/>
              </a:rPr>
              <a:t>ellert</a:t>
            </a:r>
            <a:r>
              <a:rPr lang="en-US" sz="1000" b="1">
                <a:latin typeface="+mj-lt"/>
              </a:rPr>
              <a:t>. Lorem ipsum e </a:t>
            </a:r>
            <a:r>
              <a:rPr lang="en-US" sz="1000" b="1" err="1">
                <a:latin typeface="+mj-lt"/>
              </a:rPr>
              <a:t>dolore</a:t>
            </a:r>
            <a:r>
              <a:rPr lang="en-US" sz="1000" b="1">
                <a:latin typeface="+mj-lt"/>
              </a:rPr>
              <a:t> sit </a:t>
            </a:r>
            <a:r>
              <a:rPr lang="en-US" sz="1000" b="1" err="1">
                <a:latin typeface="+mj-lt"/>
              </a:rPr>
              <a:t>amet</a:t>
            </a:r>
            <a:r>
              <a:rPr lang="en-US" sz="1000" b="1">
                <a:latin typeface="+mj-lt"/>
              </a:rPr>
              <a:t> con </a:t>
            </a:r>
            <a:r>
              <a:rPr lang="en-US" sz="1000" b="1" err="1">
                <a:latin typeface="+mj-lt"/>
              </a:rPr>
              <a:t>secuatur</a:t>
            </a:r>
            <a:r>
              <a:rPr lang="en-US" sz="1000" b="1">
                <a:latin typeface="+mj-lt"/>
              </a:rPr>
              <a:t> </a:t>
            </a:r>
            <a:r>
              <a:rPr lang="en-US" sz="1000" b="1" err="1">
                <a:latin typeface="+mj-lt"/>
              </a:rPr>
              <a:t>voltare</a:t>
            </a:r>
            <a:r>
              <a:rPr lang="en-US" sz="1000" b="1">
                <a:latin typeface="+mj-lt"/>
              </a:rPr>
              <a:t> sans </a:t>
            </a:r>
            <a:r>
              <a:rPr lang="en-US" sz="1000" b="1" err="1">
                <a:latin typeface="+mj-lt"/>
              </a:rPr>
              <a:t>hitre</a:t>
            </a:r>
            <a:r>
              <a:rPr lang="en-US" sz="1000" b="1">
                <a:latin typeface="+mj-lt"/>
              </a:rPr>
              <a:t> </a:t>
            </a:r>
            <a:r>
              <a:rPr lang="en-US" sz="1000" b="1" err="1">
                <a:latin typeface="+mj-lt"/>
              </a:rPr>
              <a:t>vintaxe</a:t>
            </a:r>
            <a:r>
              <a:rPr lang="en-US" sz="1000" b="1">
                <a:latin typeface="+mj-lt"/>
              </a:rPr>
              <a:t> </a:t>
            </a:r>
            <a:r>
              <a:rPr lang="en-US" sz="1000" b="1" err="1">
                <a:latin typeface="+mj-lt"/>
              </a:rPr>
              <a:t>ellert</a:t>
            </a:r>
            <a:r>
              <a:rPr lang="en-US" sz="1000" b="1">
                <a:latin typeface="+mj-lt"/>
              </a:rPr>
              <a:t>. Lorem ipsum e </a:t>
            </a:r>
            <a:r>
              <a:rPr lang="en-US" sz="1000" b="1" err="1">
                <a:latin typeface="+mj-lt"/>
              </a:rPr>
              <a:t>dolore</a:t>
            </a:r>
            <a:r>
              <a:rPr lang="en-US" sz="1000" b="1">
                <a:latin typeface="+mj-lt"/>
              </a:rPr>
              <a:t> sit </a:t>
            </a:r>
            <a:r>
              <a:rPr lang="en-US" sz="1000" b="1" err="1">
                <a:latin typeface="+mj-lt"/>
              </a:rPr>
              <a:t>amet</a:t>
            </a:r>
            <a:r>
              <a:rPr lang="en-US" sz="1000" b="1">
                <a:latin typeface="+mj-lt"/>
              </a:rPr>
              <a:t> con </a:t>
            </a:r>
            <a:r>
              <a:rPr lang="en-US" sz="1000" b="1" err="1">
                <a:latin typeface="+mj-lt"/>
              </a:rPr>
              <a:t>secuatur</a:t>
            </a:r>
            <a:r>
              <a:rPr lang="en-US" sz="1000" b="1">
                <a:latin typeface="+mj-lt"/>
              </a:rPr>
              <a:t> </a:t>
            </a:r>
            <a:r>
              <a:rPr lang="en-US" sz="1000" b="1" err="1">
                <a:latin typeface="+mj-lt"/>
              </a:rPr>
              <a:t>voltare</a:t>
            </a:r>
            <a:r>
              <a:rPr lang="en-US" sz="1000" b="1">
                <a:latin typeface="+mj-lt"/>
              </a:rPr>
              <a:t> sans </a:t>
            </a:r>
            <a:r>
              <a:rPr lang="en-US" sz="1000" b="1" err="1">
                <a:latin typeface="+mj-lt"/>
              </a:rPr>
              <a:t>hitre</a:t>
            </a:r>
            <a:r>
              <a:rPr lang="en-US" sz="1000" b="1">
                <a:latin typeface="+mj-lt"/>
              </a:rPr>
              <a:t> </a:t>
            </a:r>
            <a:r>
              <a:rPr lang="en-US" sz="1000" b="1" err="1">
                <a:latin typeface="+mj-lt"/>
              </a:rPr>
              <a:t>vintaxe</a:t>
            </a:r>
            <a:r>
              <a:rPr lang="en-US" sz="1000" b="1">
                <a:latin typeface="+mj-lt"/>
              </a:rPr>
              <a:t> </a:t>
            </a:r>
            <a:r>
              <a:rPr lang="en-US" sz="1000" b="1" err="1">
                <a:latin typeface="+mj-lt"/>
              </a:rPr>
              <a:t>ellert</a:t>
            </a:r>
            <a:r>
              <a:rPr lang="en-US" sz="1000" b="1">
                <a:latin typeface="+mj-lt"/>
              </a:rPr>
              <a:t>. Lorem ipsum e </a:t>
            </a:r>
            <a:r>
              <a:rPr lang="en-US" sz="1000" b="1" err="1">
                <a:latin typeface="+mj-lt"/>
              </a:rPr>
              <a:t>dolore</a:t>
            </a:r>
            <a:r>
              <a:rPr lang="en-US" sz="1000" b="1">
                <a:latin typeface="+mj-lt"/>
              </a:rPr>
              <a:t> sit </a:t>
            </a:r>
            <a:r>
              <a:rPr lang="en-US" sz="1000" b="1" err="1">
                <a:latin typeface="+mj-lt"/>
              </a:rPr>
              <a:t>amet</a:t>
            </a:r>
            <a:r>
              <a:rPr lang="en-US" sz="1000" b="1">
                <a:latin typeface="+mj-lt"/>
              </a:rPr>
              <a:t> con </a:t>
            </a:r>
            <a:r>
              <a:rPr lang="en-US" sz="1000" b="1" err="1">
                <a:latin typeface="+mj-lt"/>
              </a:rPr>
              <a:t>secuatur</a:t>
            </a:r>
            <a:r>
              <a:rPr lang="en-US" sz="1000" b="1">
                <a:latin typeface="+mj-lt"/>
              </a:rPr>
              <a:t> </a:t>
            </a:r>
            <a:r>
              <a:rPr lang="en-US" sz="1000" b="1" err="1">
                <a:latin typeface="+mj-lt"/>
              </a:rPr>
              <a:t>voltare</a:t>
            </a:r>
            <a:r>
              <a:rPr lang="en-US" sz="1000" b="1">
                <a:latin typeface="+mj-lt"/>
              </a:rPr>
              <a:t> sans </a:t>
            </a:r>
            <a:r>
              <a:rPr lang="en-US" sz="1000" b="1" err="1">
                <a:latin typeface="+mj-lt"/>
              </a:rPr>
              <a:t>hitre</a:t>
            </a:r>
            <a:r>
              <a:rPr lang="en-US" sz="1000" b="1">
                <a:latin typeface="+mj-lt"/>
              </a:rPr>
              <a:t> </a:t>
            </a:r>
            <a:r>
              <a:rPr lang="en-US" sz="1000" b="1" err="1">
                <a:latin typeface="+mj-lt"/>
              </a:rPr>
              <a:t>vintaxe</a:t>
            </a:r>
            <a:r>
              <a:rPr lang="en-US" sz="1000" b="1">
                <a:latin typeface="+mj-lt"/>
              </a:rPr>
              <a:t> </a:t>
            </a:r>
            <a:r>
              <a:rPr lang="en-US" sz="1000" b="1" err="1">
                <a:latin typeface="+mj-lt"/>
              </a:rPr>
              <a:t>ellert</a:t>
            </a:r>
            <a:r>
              <a:rPr lang="en-US" sz="1000" b="1">
                <a:latin typeface="+mj-lt"/>
              </a:rPr>
              <a:t>. Lorem ipsum e </a:t>
            </a:r>
            <a:r>
              <a:rPr lang="en-US" sz="1000" b="1" err="1">
                <a:latin typeface="+mj-lt"/>
              </a:rPr>
              <a:t>dolore</a:t>
            </a:r>
            <a:r>
              <a:rPr lang="en-US" sz="1000" b="1">
                <a:latin typeface="+mj-lt"/>
              </a:rPr>
              <a:t> sit </a:t>
            </a:r>
            <a:r>
              <a:rPr lang="en-US" sz="1000" b="1" err="1">
                <a:latin typeface="+mj-lt"/>
              </a:rPr>
              <a:t>amet</a:t>
            </a:r>
            <a:r>
              <a:rPr lang="en-US" sz="1000" b="1">
                <a:latin typeface="+mj-lt"/>
              </a:rPr>
              <a:t> con </a:t>
            </a:r>
            <a:r>
              <a:rPr lang="en-US" sz="1000" b="1" err="1">
                <a:latin typeface="+mj-lt"/>
              </a:rPr>
              <a:t>secuatur</a:t>
            </a:r>
            <a:r>
              <a:rPr lang="en-US" sz="1000" b="1">
                <a:latin typeface="+mj-lt"/>
              </a:rPr>
              <a:t> </a:t>
            </a:r>
            <a:r>
              <a:rPr lang="en-US" sz="1000" b="1" err="1">
                <a:latin typeface="+mj-lt"/>
              </a:rPr>
              <a:t>voltare</a:t>
            </a:r>
            <a:r>
              <a:rPr lang="en-US" sz="1000" b="1">
                <a:latin typeface="+mj-lt"/>
              </a:rPr>
              <a:t> sans </a:t>
            </a:r>
            <a:r>
              <a:rPr lang="en-US" sz="1000" b="1" err="1">
                <a:latin typeface="+mj-lt"/>
              </a:rPr>
              <a:t>hitre</a:t>
            </a:r>
            <a:r>
              <a:rPr lang="en-US" sz="1000" b="1">
                <a:latin typeface="+mj-lt"/>
              </a:rPr>
              <a:t> </a:t>
            </a:r>
            <a:r>
              <a:rPr lang="en-US" sz="1000" b="1" err="1">
                <a:latin typeface="+mj-lt"/>
              </a:rPr>
              <a:t>vintaxe</a:t>
            </a:r>
            <a:r>
              <a:rPr lang="en-US" sz="1000" b="1">
                <a:latin typeface="+mj-lt"/>
              </a:rPr>
              <a:t> </a:t>
            </a:r>
            <a:r>
              <a:rPr lang="en-US" sz="1000" b="1" err="1">
                <a:latin typeface="+mj-lt"/>
              </a:rPr>
              <a:t>ellert</a:t>
            </a:r>
            <a:r>
              <a:rPr lang="en-US" sz="1000" b="1">
                <a:latin typeface="+mj-lt"/>
              </a:rPr>
              <a:t>. Lorem ipsum e </a:t>
            </a:r>
            <a:r>
              <a:rPr lang="en-US" sz="1000" b="1" err="1">
                <a:latin typeface="+mj-lt"/>
              </a:rPr>
              <a:t>dolore</a:t>
            </a:r>
            <a:r>
              <a:rPr lang="en-US" sz="1000" b="1">
                <a:latin typeface="+mj-lt"/>
              </a:rPr>
              <a:t> sit </a:t>
            </a:r>
            <a:r>
              <a:rPr lang="en-US" sz="1000" b="1" err="1">
                <a:latin typeface="+mj-lt"/>
              </a:rPr>
              <a:t>amet</a:t>
            </a:r>
            <a:r>
              <a:rPr lang="en-US" sz="1000" b="1">
                <a:latin typeface="+mj-lt"/>
              </a:rPr>
              <a:t> con </a:t>
            </a:r>
            <a:r>
              <a:rPr lang="en-US" sz="1000" b="1" err="1">
                <a:latin typeface="+mj-lt"/>
              </a:rPr>
              <a:t>secuatur</a:t>
            </a:r>
            <a:r>
              <a:rPr lang="en-US" sz="1000" b="1">
                <a:latin typeface="+mj-lt"/>
              </a:rPr>
              <a:t> </a:t>
            </a:r>
            <a:r>
              <a:rPr lang="en-US" sz="1000" b="1" err="1">
                <a:latin typeface="+mj-lt"/>
              </a:rPr>
              <a:t>voltare</a:t>
            </a:r>
            <a:r>
              <a:rPr lang="en-US" sz="1000" b="1">
                <a:latin typeface="+mj-lt"/>
              </a:rPr>
              <a:t> sans </a:t>
            </a:r>
            <a:r>
              <a:rPr lang="en-US" sz="1000" b="1" err="1">
                <a:latin typeface="+mj-lt"/>
              </a:rPr>
              <a:t>hitre</a:t>
            </a:r>
            <a:r>
              <a:rPr lang="en-US" sz="1000" b="1">
                <a:latin typeface="+mj-lt"/>
              </a:rPr>
              <a:t> </a:t>
            </a:r>
            <a:r>
              <a:rPr lang="en-US" sz="1000" b="1" err="1">
                <a:latin typeface="+mj-lt"/>
              </a:rPr>
              <a:t>vintaxe</a:t>
            </a:r>
            <a:r>
              <a:rPr lang="en-US" sz="1000" b="1">
                <a:latin typeface="+mj-lt"/>
              </a:rPr>
              <a:t> </a:t>
            </a:r>
            <a:r>
              <a:rPr lang="en-US" sz="1000" b="1" err="1">
                <a:latin typeface="+mj-lt"/>
              </a:rPr>
              <a:t>ellert</a:t>
            </a:r>
            <a:r>
              <a:rPr lang="en-US" sz="1000" b="1">
                <a:latin typeface="+mj-lt"/>
              </a:rPr>
              <a:t>.</a:t>
            </a:r>
          </a:p>
        </p:txBody>
      </p:sp>
      <p:sp>
        <p:nvSpPr>
          <p:cNvPr id="13" name="Content Placeholder 12"/>
          <p:cNvSpPr>
            <a:spLocks noGrp="1"/>
          </p:cNvSpPr>
          <p:nvPr>
            <p:ph sz="quarter" idx="16" hasCustomPrompt="1"/>
          </p:nvPr>
        </p:nvSpPr>
        <p:spPr>
          <a:xfrm>
            <a:off x="7991475" y="6456525"/>
            <a:ext cx="908050" cy="377825"/>
          </a:xfrm>
        </p:spPr>
        <p:txBody>
          <a:bodyPr anchor="b"/>
          <a:lstStyle>
            <a:lvl1pPr algn="r">
              <a:spcBef>
                <a:spcPts val="0"/>
              </a:spcBef>
              <a:defRPr sz="700" b="0">
                <a:solidFill>
                  <a:schemeClr val="tx1"/>
                </a:solidFill>
              </a:defRPr>
            </a:lvl1pPr>
            <a:lvl2pPr algn="r">
              <a:defRPr sz="700" b="0">
                <a:solidFill>
                  <a:schemeClr val="tx1"/>
                </a:solidFill>
              </a:defRPr>
            </a:lvl2pPr>
            <a:lvl3pPr algn="r">
              <a:defRPr sz="700" b="0">
                <a:solidFill>
                  <a:schemeClr val="tx1"/>
                </a:solidFill>
              </a:defRPr>
            </a:lvl3pPr>
            <a:lvl4pPr algn="r">
              <a:defRPr sz="700" b="0">
                <a:solidFill>
                  <a:schemeClr val="tx1"/>
                </a:solidFill>
              </a:defRPr>
            </a:lvl4pPr>
            <a:lvl5pPr algn="r">
              <a:defRPr sz="700" b="0">
                <a:solidFill>
                  <a:schemeClr val="tx1"/>
                </a:solidFill>
              </a:defRPr>
            </a:lvl5pPr>
          </a:lstStyle>
          <a:p>
            <a:pPr lvl="0"/>
            <a:r>
              <a:rPr lang="en-US"/>
              <a:t>1.000000.100</a:t>
            </a:r>
          </a:p>
          <a:p>
            <a:pPr lvl="0"/>
            <a:r>
              <a:rPr lang="en-US"/>
              <a:t>MMYY</a:t>
            </a:r>
          </a:p>
        </p:txBody>
      </p:sp>
    </p:spTree>
    <p:extLst>
      <p:ext uri="{BB962C8B-B14F-4D97-AF65-F5344CB8AC3E}">
        <p14:creationId xmlns:p14="http://schemas.microsoft.com/office/powerpoint/2010/main" val="239427144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orient="horz" pos="4200">
          <p15:clr>
            <a:srgbClr val="FBAE40"/>
          </p15:clr>
        </p15:guide>
        <p15:guide id="2" pos="26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portant Information">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lvl1pPr>
              <a:defRPr>
                <a:solidFill>
                  <a:srgbClr val="333F48"/>
                </a:solidFill>
              </a:defRPr>
            </a:lvl1pPr>
          </a:lstStyle>
          <a:p>
            <a:r>
              <a:rPr lang="en-US"/>
              <a:t>Click to edit Master title style</a:t>
            </a:r>
            <a:endParaRPr lang="en-US" dirty="0"/>
          </a:p>
        </p:txBody>
      </p:sp>
      <p:sp>
        <p:nvSpPr>
          <p:cNvPr id="3" name="Content Placeholder 2"/>
          <p:cNvSpPr>
            <a:spLocks noGrp="1"/>
          </p:cNvSpPr>
          <p:nvPr>
            <p:ph idx="1"/>
          </p:nvPr>
        </p:nvSpPr>
        <p:spPr>
          <a:xfrm>
            <a:off x="325661" y="1076325"/>
            <a:ext cx="8188710" cy="4808538"/>
          </a:xfrm>
          <a:noFill/>
          <a:ln w="9525">
            <a:noFill/>
            <a:miter lim="800000"/>
            <a:headEnd/>
            <a:tailEnd/>
          </a:ln>
          <a:effectLst/>
        </p:spPr>
        <p:txBody>
          <a:bodyPr lIns="91440"/>
          <a:lstStyle>
            <a:lvl1pPr marL="0" indent="0" algn="l" rtl="0" eaLnBrk="1" fontAlgn="base" hangingPunct="1">
              <a:spcAft>
                <a:spcPct val="0"/>
              </a:spcAft>
              <a:buSzPct val="40000"/>
              <a:defRPr lang="en-US" sz="1000" b="0" dirty="0" smtClean="0">
                <a:solidFill>
                  <a:srgbClr val="000000"/>
                </a:solidFill>
                <a:latin typeface="+mn-lt"/>
                <a:ea typeface="+mn-ea"/>
                <a:cs typeface="+mn-cs"/>
              </a:defRPr>
            </a:lvl1pPr>
            <a:lvl2pPr marL="0" indent="0" algn="l" rtl="0" eaLnBrk="1" fontAlgn="base" hangingPunct="1">
              <a:spcBef>
                <a:spcPts val="600"/>
              </a:spcBef>
              <a:spcAft>
                <a:spcPct val="0"/>
              </a:spcAft>
              <a:buSzPct val="40000"/>
              <a:buNone/>
              <a:defRPr lang="en-US" sz="1000" b="1" dirty="0">
                <a:solidFill>
                  <a:srgbClr val="000000"/>
                </a:solidFill>
                <a:latin typeface="+mn-lt"/>
                <a:ea typeface="+mn-ea"/>
                <a:cs typeface="+mn-cs"/>
              </a:defRPr>
            </a:lvl2pPr>
          </a:lstStyle>
          <a:p>
            <a:pPr lvl="0"/>
            <a:r>
              <a:rPr lang="en-US"/>
              <a:t>Click to edit Master text styles</a:t>
            </a:r>
          </a:p>
          <a:p>
            <a:pPr lvl="1"/>
            <a:r>
              <a:rPr lang="en-US"/>
              <a:t>Second level</a:t>
            </a:r>
          </a:p>
        </p:txBody>
      </p:sp>
      <p:grpSp>
        <p:nvGrpSpPr>
          <p:cNvPr id="34" name="Group 33">
            <a:extLst>
              <a:ext uri="{FF2B5EF4-FFF2-40B4-BE49-F238E27FC236}">
                <a16:creationId xmlns:a16="http://schemas.microsoft.com/office/drawing/2014/main" id="{840E14F0-3EE3-4127-BC16-D3F3953FFE3F}"/>
              </a:ext>
            </a:extLst>
          </p:cNvPr>
          <p:cNvGrpSpPr/>
          <p:nvPr userDrawn="1"/>
        </p:nvGrpSpPr>
        <p:grpSpPr>
          <a:xfrm>
            <a:off x="7358173" y="6361974"/>
            <a:ext cx="1382376" cy="297562"/>
            <a:chOff x="6923088" y="4475163"/>
            <a:chExt cx="1873251" cy="403225"/>
          </a:xfrm>
        </p:grpSpPr>
        <p:sp>
          <p:nvSpPr>
            <p:cNvPr id="35" name="AutoShape 4">
              <a:extLst>
                <a:ext uri="{FF2B5EF4-FFF2-40B4-BE49-F238E27FC236}">
                  <a16:creationId xmlns:a16="http://schemas.microsoft.com/office/drawing/2014/main" id="{6CD5F173-C5BB-4F2E-848B-68E571D2511E}"/>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6">
              <a:extLst>
                <a:ext uri="{FF2B5EF4-FFF2-40B4-BE49-F238E27FC236}">
                  <a16:creationId xmlns:a16="http://schemas.microsoft.com/office/drawing/2014/main" id="{F35D1E52-C58A-4226-814B-B889E5D392A2}"/>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7">
              <a:extLst>
                <a:ext uri="{FF2B5EF4-FFF2-40B4-BE49-F238E27FC236}">
                  <a16:creationId xmlns:a16="http://schemas.microsoft.com/office/drawing/2014/main" id="{3931309B-69B1-4504-BC9E-723A4E648811}"/>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83">
              <a:extLst>
                <a:ext uri="{FF2B5EF4-FFF2-40B4-BE49-F238E27FC236}">
                  <a16:creationId xmlns:a16="http://schemas.microsoft.com/office/drawing/2014/main" id="{E71D54FB-4ABD-4C44-B32E-1CE4D98AD4B3}"/>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84">
              <a:extLst>
                <a:ext uri="{FF2B5EF4-FFF2-40B4-BE49-F238E27FC236}">
                  <a16:creationId xmlns:a16="http://schemas.microsoft.com/office/drawing/2014/main" id="{6FC76818-6D97-40AA-97B0-54614807A538}"/>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85">
              <a:extLst>
                <a:ext uri="{FF2B5EF4-FFF2-40B4-BE49-F238E27FC236}">
                  <a16:creationId xmlns:a16="http://schemas.microsoft.com/office/drawing/2014/main" id="{7DFFF7DB-1434-4536-8069-7E21C8D1B9E3}"/>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86">
              <a:extLst>
                <a:ext uri="{FF2B5EF4-FFF2-40B4-BE49-F238E27FC236}">
                  <a16:creationId xmlns:a16="http://schemas.microsoft.com/office/drawing/2014/main" id="{23BA871E-A0EA-41BA-8724-5CABEF76296C}"/>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87">
              <a:extLst>
                <a:ext uri="{FF2B5EF4-FFF2-40B4-BE49-F238E27FC236}">
                  <a16:creationId xmlns:a16="http://schemas.microsoft.com/office/drawing/2014/main" id="{5F7C586C-3E26-4206-A96B-DA86E954214E}"/>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88">
              <a:extLst>
                <a:ext uri="{FF2B5EF4-FFF2-40B4-BE49-F238E27FC236}">
                  <a16:creationId xmlns:a16="http://schemas.microsoft.com/office/drawing/2014/main" id="{CFE70E27-46F5-465B-9F57-F55E3CEF8736}"/>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89">
              <a:extLst>
                <a:ext uri="{FF2B5EF4-FFF2-40B4-BE49-F238E27FC236}">
                  <a16:creationId xmlns:a16="http://schemas.microsoft.com/office/drawing/2014/main" id="{7FAE27B7-D81B-4001-834F-776859495AA1}"/>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90">
              <a:extLst>
                <a:ext uri="{FF2B5EF4-FFF2-40B4-BE49-F238E27FC236}">
                  <a16:creationId xmlns:a16="http://schemas.microsoft.com/office/drawing/2014/main" id="{4AE5BF09-27E6-4688-B9C4-19E2671CA566}"/>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91">
              <a:extLst>
                <a:ext uri="{FF2B5EF4-FFF2-40B4-BE49-F238E27FC236}">
                  <a16:creationId xmlns:a16="http://schemas.microsoft.com/office/drawing/2014/main" id="{8810B2AB-A2BA-46AC-86CE-C8DB6C050979}"/>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92">
              <a:extLst>
                <a:ext uri="{FF2B5EF4-FFF2-40B4-BE49-F238E27FC236}">
                  <a16:creationId xmlns:a16="http://schemas.microsoft.com/office/drawing/2014/main" id="{F0E21CE3-1B3A-48A2-8777-3ACB130A176F}"/>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93">
              <a:extLst>
                <a:ext uri="{FF2B5EF4-FFF2-40B4-BE49-F238E27FC236}">
                  <a16:creationId xmlns:a16="http://schemas.microsoft.com/office/drawing/2014/main" id="{0E106C86-6E92-414C-8C1F-193ABA3372F2}"/>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94">
              <a:extLst>
                <a:ext uri="{FF2B5EF4-FFF2-40B4-BE49-F238E27FC236}">
                  <a16:creationId xmlns:a16="http://schemas.microsoft.com/office/drawing/2014/main" id="{7FFBAE3E-1E34-4024-8E12-C6A804E61E90}"/>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5">
              <a:extLst>
                <a:ext uri="{FF2B5EF4-FFF2-40B4-BE49-F238E27FC236}">
                  <a16:creationId xmlns:a16="http://schemas.microsoft.com/office/drawing/2014/main" id="{34A75038-5822-4211-8429-EEE73276E055}"/>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6">
              <a:extLst>
                <a:ext uri="{FF2B5EF4-FFF2-40B4-BE49-F238E27FC236}">
                  <a16:creationId xmlns:a16="http://schemas.microsoft.com/office/drawing/2014/main" id="{693F0C95-0D69-4520-8F8E-82883B076B30}"/>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7">
              <a:extLst>
                <a:ext uri="{FF2B5EF4-FFF2-40B4-BE49-F238E27FC236}">
                  <a16:creationId xmlns:a16="http://schemas.microsoft.com/office/drawing/2014/main" id="{2DCC514B-8D65-4A2F-B9D3-A26B2C512584}"/>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98">
              <a:extLst>
                <a:ext uri="{FF2B5EF4-FFF2-40B4-BE49-F238E27FC236}">
                  <a16:creationId xmlns:a16="http://schemas.microsoft.com/office/drawing/2014/main" id="{86B9EC89-49BC-4B67-9837-B486AC5DA24B}"/>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99">
              <a:extLst>
                <a:ext uri="{FF2B5EF4-FFF2-40B4-BE49-F238E27FC236}">
                  <a16:creationId xmlns:a16="http://schemas.microsoft.com/office/drawing/2014/main" id="{07013593-EDCD-49A4-8483-37A94E197F46}"/>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100">
              <a:extLst>
                <a:ext uri="{FF2B5EF4-FFF2-40B4-BE49-F238E27FC236}">
                  <a16:creationId xmlns:a16="http://schemas.microsoft.com/office/drawing/2014/main" id="{E4C82CFE-24C2-4335-91A1-786AA56B78AE}"/>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101">
              <a:extLst>
                <a:ext uri="{FF2B5EF4-FFF2-40B4-BE49-F238E27FC236}">
                  <a16:creationId xmlns:a16="http://schemas.microsoft.com/office/drawing/2014/main" id="{269AE1D0-2ED3-45BA-8B41-5958312CC5FE}"/>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02">
              <a:extLst>
                <a:ext uri="{FF2B5EF4-FFF2-40B4-BE49-F238E27FC236}">
                  <a16:creationId xmlns:a16="http://schemas.microsoft.com/office/drawing/2014/main" id="{293258D7-F5FB-43FE-946C-050D5A534B0B}"/>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103">
              <a:extLst>
                <a:ext uri="{FF2B5EF4-FFF2-40B4-BE49-F238E27FC236}">
                  <a16:creationId xmlns:a16="http://schemas.microsoft.com/office/drawing/2014/main" id="{ED28C0B7-779D-48AC-B3D7-2EE77B274C6C}"/>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104">
              <a:extLst>
                <a:ext uri="{FF2B5EF4-FFF2-40B4-BE49-F238E27FC236}">
                  <a16:creationId xmlns:a16="http://schemas.microsoft.com/office/drawing/2014/main" id="{F91BA0B7-9AA1-4A35-A3B5-1DF23E7E6BC0}"/>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105">
              <a:extLst>
                <a:ext uri="{FF2B5EF4-FFF2-40B4-BE49-F238E27FC236}">
                  <a16:creationId xmlns:a16="http://schemas.microsoft.com/office/drawing/2014/main" id="{0CD9D2F1-AB4D-41BA-BB3A-ABD0BB2DB8FD}"/>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2" name="Slide Number Placeholder 3">
            <a:extLst>
              <a:ext uri="{FF2B5EF4-FFF2-40B4-BE49-F238E27FC236}">
                <a16:creationId xmlns:a16="http://schemas.microsoft.com/office/drawing/2014/main" id="{9A263509-98AC-4546-B2C5-DF2F4C4F986A}"/>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3" name="Rectangle 155">
            <a:extLst>
              <a:ext uri="{FF2B5EF4-FFF2-40B4-BE49-F238E27FC236}">
                <a16:creationId xmlns:a16="http://schemas.microsoft.com/office/drawing/2014/main" id="{5EDCB748-D9FF-41F0-9AE5-3D6778696294}"/>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dirty="0"/>
              <a:t>Production code #</a:t>
            </a:r>
          </a:p>
        </p:txBody>
      </p:sp>
      <p:sp>
        <p:nvSpPr>
          <p:cNvPr id="64" name="Rectangle 176">
            <a:extLst>
              <a:ext uri="{FF2B5EF4-FFF2-40B4-BE49-F238E27FC236}">
                <a16:creationId xmlns:a16="http://schemas.microsoft.com/office/drawing/2014/main" id="{B1F08EC2-0348-4B46-8C6D-BF6EDFBBBD44}"/>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60509509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64" userDrawn="1">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DC138087-D35E-43A1-BEFE-8F2D0B0F0C3F}"/>
              </a:ext>
            </a:extLst>
          </p:cNvPr>
          <p:cNvGrpSpPr/>
          <p:nvPr userDrawn="1"/>
        </p:nvGrpSpPr>
        <p:grpSpPr>
          <a:xfrm>
            <a:off x="7358173" y="6361974"/>
            <a:ext cx="1382376" cy="297562"/>
            <a:chOff x="6923088" y="4475163"/>
            <a:chExt cx="1873251" cy="403225"/>
          </a:xfrm>
        </p:grpSpPr>
        <p:sp>
          <p:nvSpPr>
            <p:cNvPr id="33" name="AutoShape 4">
              <a:extLst>
                <a:ext uri="{FF2B5EF4-FFF2-40B4-BE49-F238E27FC236}">
                  <a16:creationId xmlns:a16="http://schemas.microsoft.com/office/drawing/2014/main" id="{3D8EF03B-5B23-4ABD-9440-15D1EBC84329}"/>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6">
              <a:extLst>
                <a:ext uri="{FF2B5EF4-FFF2-40B4-BE49-F238E27FC236}">
                  <a16:creationId xmlns:a16="http://schemas.microsoft.com/office/drawing/2014/main" id="{93A04742-FB2D-4533-BDD2-3A08D6F3691A}"/>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7">
              <a:extLst>
                <a:ext uri="{FF2B5EF4-FFF2-40B4-BE49-F238E27FC236}">
                  <a16:creationId xmlns:a16="http://schemas.microsoft.com/office/drawing/2014/main" id="{51BE678F-4430-4FD9-A2A5-1B79173B4E23}"/>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83">
              <a:extLst>
                <a:ext uri="{FF2B5EF4-FFF2-40B4-BE49-F238E27FC236}">
                  <a16:creationId xmlns:a16="http://schemas.microsoft.com/office/drawing/2014/main" id="{F56B0136-29A5-4CC6-94AF-73C81592E4AE}"/>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84">
              <a:extLst>
                <a:ext uri="{FF2B5EF4-FFF2-40B4-BE49-F238E27FC236}">
                  <a16:creationId xmlns:a16="http://schemas.microsoft.com/office/drawing/2014/main" id="{AF2A7FC2-49BE-44A6-8DDE-0C224CC3044D}"/>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85">
              <a:extLst>
                <a:ext uri="{FF2B5EF4-FFF2-40B4-BE49-F238E27FC236}">
                  <a16:creationId xmlns:a16="http://schemas.microsoft.com/office/drawing/2014/main" id="{B87EDB37-3805-4129-9E3F-FF8887C37A2E}"/>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86">
              <a:extLst>
                <a:ext uri="{FF2B5EF4-FFF2-40B4-BE49-F238E27FC236}">
                  <a16:creationId xmlns:a16="http://schemas.microsoft.com/office/drawing/2014/main" id="{8D73AABB-D943-4FB8-A7F3-E99412CF91A9}"/>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87">
              <a:extLst>
                <a:ext uri="{FF2B5EF4-FFF2-40B4-BE49-F238E27FC236}">
                  <a16:creationId xmlns:a16="http://schemas.microsoft.com/office/drawing/2014/main" id="{F6CF7947-801F-4146-8FB6-018CC0071CAB}"/>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88">
              <a:extLst>
                <a:ext uri="{FF2B5EF4-FFF2-40B4-BE49-F238E27FC236}">
                  <a16:creationId xmlns:a16="http://schemas.microsoft.com/office/drawing/2014/main" id="{BCCA673D-6EF3-45F9-910D-F8C059CFCFD9}"/>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89">
              <a:extLst>
                <a:ext uri="{FF2B5EF4-FFF2-40B4-BE49-F238E27FC236}">
                  <a16:creationId xmlns:a16="http://schemas.microsoft.com/office/drawing/2014/main" id="{BB4975A3-6C1B-4B0C-9EEA-5CF277D78CD8}"/>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90">
              <a:extLst>
                <a:ext uri="{FF2B5EF4-FFF2-40B4-BE49-F238E27FC236}">
                  <a16:creationId xmlns:a16="http://schemas.microsoft.com/office/drawing/2014/main" id="{A979E4D1-C6EA-4112-885F-CD66D7AACA2F}"/>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91">
              <a:extLst>
                <a:ext uri="{FF2B5EF4-FFF2-40B4-BE49-F238E27FC236}">
                  <a16:creationId xmlns:a16="http://schemas.microsoft.com/office/drawing/2014/main" id="{CC9144C6-DE8D-4256-9506-58DFA67FE04E}"/>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92">
              <a:extLst>
                <a:ext uri="{FF2B5EF4-FFF2-40B4-BE49-F238E27FC236}">
                  <a16:creationId xmlns:a16="http://schemas.microsoft.com/office/drawing/2014/main" id="{4B2F15AA-5913-4A17-8AC2-36E90932947B}"/>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93">
              <a:extLst>
                <a:ext uri="{FF2B5EF4-FFF2-40B4-BE49-F238E27FC236}">
                  <a16:creationId xmlns:a16="http://schemas.microsoft.com/office/drawing/2014/main" id="{60532004-056D-445B-8AC2-3BFEC07FECA9}"/>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94">
              <a:extLst>
                <a:ext uri="{FF2B5EF4-FFF2-40B4-BE49-F238E27FC236}">
                  <a16:creationId xmlns:a16="http://schemas.microsoft.com/office/drawing/2014/main" id="{56E9A1F1-BC11-4BE9-88EA-2F69BFC0D954}"/>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95">
              <a:extLst>
                <a:ext uri="{FF2B5EF4-FFF2-40B4-BE49-F238E27FC236}">
                  <a16:creationId xmlns:a16="http://schemas.microsoft.com/office/drawing/2014/main" id="{F28E3F43-8922-459B-93CA-713E3528553D}"/>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96">
              <a:extLst>
                <a:ext uri="{FF2B5EF4-FFF2-40B4-BE49-F238E27FC236}">
                  <a16:creationId xmlns:a16="http://schemas.microsoft.com/office/drawing/2014/main" id="{F9690BB1-B165-4E3D-A7DB-B37A268C9D16}"/>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7">
              <a:extLst>
                <a:ext uri="{FF2B5EF4-FFF2-40B4-BE49-F238E27FC236}">
                  <a16:creationId xmlns:a16="http://schemas.microsoft.com/office/drawing/2014/main" id="{ADA2FD01-76B9-404E-82AA-BD0E94C7009D}"/>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8">
              <a:extLst>
                <a:ext uri="{FF2B5EF4-FFF2-40B4-BE49-F238E27FC236}">
                  <a16:creationId xmlns:a16="http://schemas.microsoft.com/office/drawing/2014/main" id="{EBF74C1F-C59C-4BE2-BE43-DC2A7A82C8DC}"/>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9">
              <a:extLst>
                <a:ext uri="{FF2B5EF4-FFF2-40B4-BE49-F238E27FC236}">
                  <a16:creationId xmlns:a16="http://schemas.microsoft.com/office/drawing/2014/main" id="{E245FD61-F79C-4994-B97E-380722096E41}"/>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100">
              <a:extLst>
                <a:ext uri="{FF2B5EF4-FFF2-40B4-BE49-F238E27FC236}">
                  <a16:creationId xmlns:a16="http://schemas.microsoft.com/office/drawing/2014/main" id="{D08EA29F-593F-4FC8-97F0-4629053CC405}"/>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101">
              <a:extLst>
                <a:ext uri="{FF2B5EF4-FFF2-40B4-BE49-F238E27FC236}">
                  <a16:creationId xmlns:a16="http://schemas.microsoft.com/office/drawing/2014/main" id="{E358CBFB-5516-47AF-86F1-97AAE362C09C}"/>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102">
              <a:extLst>
                <a:ext uri="{FF2B5EF4-FFF2-40B4-BE49-F238E27FC236}">
                  <a16:creationId xmlns:a16="http://schemas.microsoft.com/office/drawing/2014/main" id="{98CAD3F8-02DB-4B47-827D-45514D991228}"/>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103">
              <a:extLst>
                <a:ext uri="{FF2B5EF4-FFF2-40B4-BE49-F238E27FC236}">
                  <a16:creationId xmlns:a16="http://schemas.microsoft.com/office/drawing/2014/main" id="{EAE77410-81C0-4B97-B88F-750EF0E3365D}"/>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04">
              <a:extLst>
                <a:ext uri="{FF2B5EF4-FFF2-40B4-BE49-F238E27FC236}">
                  <a16:creationId xmlns:a16="http://schemas.microsoft.com/office/drawing/2014/main" id="{D564E5C2-E42A-4C31-BBCD-B6D3A88B1F88}"/>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105">
              <a:extLst>
                <a:ext uri="{FF2B5EF4-FFF2-40B4-BE49-F238E27FC236}">
                  <a16:creationId xmlns:a16="http://schemas.microsoft.com/office/drawing/2014/main" id="{C3E9A073-6E22-497A-8494-047622B5A67B}"/>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0" name="Slide Number Placeholder 3">
            <a:extLst>
              <a:ext uri="{FF2B5EF4-FFF2-40B4-BE49-F238E27FC236}">
                <a16:creationId xmlns:a16="http://schemas.microsoft.com/office/drawing/2014/main" id="{BCE193F0-C685-4085-9D8A-B79EF54508E4}"/>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a:p>
        </p:txBody>
      </p:sp>
      <p:sp>
        <p:nvSpPr>
          <p:cNvPr id="61" name="Rectangle 155">
            <a:extLst>
              <a:ext uri="{FF2B5EF4-FFF2-40B4-BE49-F238E27FC236}">
                <a16:creationId xmlns:a16="http://schemas.microsoft.com/office/drawing/2014/main" id="{84E06131-FBAA-43EF-B330-B5D9B5D74861}"/>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a:t>Production code #</a:t>
            </a:r>
          </a:p>
        </p:txBody>
      </p:sp>
      <p:sp>
        <p:nvSpPr>
          <p:cNvPr id="62" name="Rectangle 176">
            <a:extLst>
              <a:ext uri="{FF2B5EF4-FFF2-40B4-BE49-F238E27FC236}">
                <a16:creationId xmlns:a16="http://schemas.microsoft.com/office/drawing/2014/main" id="{F5AA948F-B277-4FEC-B9BB-772B7C340B16}"/>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a:t>Page footer, i.e., For institutional use only.</a:t>
            </a:r>
          </a:p>
        </p:txBody>
      </p:sp>
    </p:spTree>
    <p:extLst>
      <p:ext uri="{BB962C8B-B14F-4D97-AF65-F5344CB8AC3E}">
        <p14:creationId xmlns:p14="http://schemas.microsoft.com/office/powerpoint/2010/main" val="115082934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OC">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DC138087-D35E-43A1-BEFE-8F2D0B0F0C3F}"/>
              </a:ext>
            </a:extLst>
          </p:cNvPr>
          <p:cNvGrpSpPr/>
          <p:nvPr userDrawn="1"/>
        </p:nvGrpSpPr>
        <p:grpSpPr>
          <a:xfrm>
            <a:off x="7358173" y="6361974"/>
            <a:ext cx="1382376" cy="297562"/>
            <a:chOff x="6923088" y="4475163"/>
            <a:chExt cx="1873251" cy="403225"/>
          </a:xfrm>
        </p:grpSpPr>
        <p:sp>
          <p:nvSpPr>
            <p:cNvPr id="33" name="AutoShape 4">
              <a:extLst>
                <a:ext uri="{FF2B5EF4-FFF2-40B4-BE49-F238E27FC236}">
                  <a16:creationId xmlns:a16="http://schemas.microsoft.com/office/drawing/2014/main" id="{3D8EF03B-5B23-4ABD-9440-15D1EBC84329}"/>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6">
              <a:extLst>
                <a:ext uri="{FF2B5EF4-FFF2-40B4-BE49-F238E27FC236}">
                  <a16:creationId xmlns:a16="http://schemas.microsoft.com/office/drawing/2014/main" id="{93A04742-FB2D-4533-BDD2-3A08D6F3691A}"/>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7">
              <a:extLst>
                <a:ext uri="{FF2B5EF4-FFF2-40B4-BE49-F238E27FC236}">
                  <a16:creationId xmlns:a16="http://schemas.microsoft.com/office/drawing/2014/main" id="{51BE678F-4430-4FD9-A2A5-1B79173B4E23}"/>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83">
              <a:extLst>
                <a:ext uri="{FF2B5EF4-FFF2-40B4-BE49-F238E27FC236}">
                  <a16:creationId xmlns:a16="http://schemas.microsoft.com/office/drawing/2014/main" id="{F56B0136-29A5-4CC6-94AF-73C81592E4AE}"/>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84">
              <a:extLst>
                <a:ext uri="{FF2B5EF4-FFF2-40B4-BE49-F238E27FC236}">
                  <a16:creationId xmlns:a16="http://schemas.microsoft.com/office/drawing/2014/main" id="{AF2A7FC2-49BE-44A6-8DDE-0C224CC3044D}"/>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85">
              <a:extLst>
                <a:ext uri="{FF2B5EF4-FFF2-40B4-BE49-F238E27FC236}">
                  <a16:creationId xmlns:a16="http://schemas.microsoft.com/office/drawing/2014/main" id="{B87EDB37-3805-4129-9E3F-FF8887C37A2E}"/>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86">
              <a:extLst>
                <a:ext uri="{FF2B5EF4-FFF2-40B4-BE49-F238E27FC236}">
                  <a16:creationId xmlns:a16="http://schemas.microsoft.com/office/drawing/2014/main" id="{8D73AABB-D943-4FB8-A7F3-E99412CF91A9}"/>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87">
              <a:extLst>
                <a:ext uri="{FF2B5EF4-FFF2-40B4-BE49-F238E27FC236}">
                  <a16:creationId xmlns:a16="http://schemas.microsoft.com/office/drawing/2014/main" id="{F6CF7947-801F-4146-8FB6-018CC0071CAB}"/>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88">
              <a:extLst>
                <a:ext uri="{FF2B5EF4-FFF2-40B4-BE49-F238E27FC236}">
                  <a16:creationId xmlns:a16="http://schemas.microsoft.com/office/drawing/2014/main" id="{BCCA673D-6EF3-45F9-910D-F8C059CFCFD9}"/>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89">
              <a:extLst>
                <a:ext uri="{FF2B5EF4-FFF2-40B4-BE49-F238E27FC236}">
                  <a16:creationId xmlns:a16="http://schemas.microsoft.com/office/drawing/2014/main" id="{BB4975A3-6C1B-4B0C-9EEA-5CF277D78CD8}"/>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90">
              <a:extLst>
                <a:ext uri="{FF2B5EF4-FFF2-40B4-BE49-F238E27FC236}">
                  <a16:creationId xmlns:a16="http://schemas.microsoft.com/office/drawing/2014/main" id="{A979E4D1-C6EA-4112-885F-CD66D7AACA2F}"/>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91">
              <a:extLst>
                <a:ext uri="{FF2B5EF4-FFF2-40B4-BE49-F238E27FC236}">
                  <a16:creationId xmlns:a16="http://schemas.microsoft.com/office/drawing/2014/main" id="{CC9144C6-DE8D-4256-9506-58DFA67FE04E}"/>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92">
              <a:extLst>
                <a:ext uri="{FF2B5EF4-FFF2-40B4-BE49-F238E27FC236}">
                  <a16:creationId xmlns:a16="http://schemas.microsoft.com/office/drawing/2014/main" id="{4B2F15AA-5913-4A17-8AC2-36E90932947B}"/>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93">
              <a:extLst>
                <a:ext uri="{FF2B5EF4-FFF2-40B4-BE49-F238E27FC236}">
                  <a16:creationId xmlns:a16="http://schemas.microsoft.com/office/drawing/2014/main" id="{60532004-056D-445B-8AC2-3BFEC07FECA9}"/>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94">
              <a:extLst>
                <a:ext uri="{FF2B5EF4-FFF2-40B4-BE49-F238E27FC236}">
                  <a16:creationId xmlns:a16="http://schemas.microsoft.com/office/drawing/2014/main" id="{56E9A1F1-BC11-4BE9-88EA-2F69BFC0D954}"/>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95">
              <a:extLst>
                <a:ext uri="{FF2B5EF4-FFF2-40B4-BE49-F238E27FC236}">
                  <a16:creationId xmlns:a16="http://schemas.microsoft.com/office/drawing/2014/main" id="{F28E3F43-8922-459B-93CA-713E3528553D}"/>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96">
              <a:extLst>
                <a:ext uri="{FF2B5EF4-FFF2-40B4-BE49-F238E27FC236}">
                  <a16:creationId xmlns:a16="http://schemas.microsoft.com/office/drawing/2014/main" id="{F9690BB1-B165-4E3D-A7DB-B37A268C9D16}"/>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7">
              <a:extLst>
                <a:ext uri="{FF2B5EF4-FFF2-40B4-BE49-F238E27FC236}">
                  <a16:creationId xmlns:a16="http://schemas.microsoft.com/office/drawing/2014/main" id="{ADA2FD01-76B9-404E-82AA-BD0E94C7009D}"/>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8">
              <a:extLst>
                <a:ext uri="{FF2B5EF4-FFF2-40B4-BE49-F238E27FC236}">
                  <a16:creationId xmlns:a16="http://schemas.microsoft.com/office/drawing/2014/main" id="{EBF74C1F-C59C-4BE2-BE43-DC2A7A82C8DC}"/>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9">
              <a:extLst>
                <a:ext uri="{FF2B5EF4-FFF2-40B4-BE49-F238E27FC236}">
                  <a16:creationId xmlns:a16="http://schemas.microsoft.com/office/drawing/2014/main" id="{E245FD61-F79C-4994-B97E-380722096E41}"/>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100">
              <a:extLst>
                <a:ext uri="{FF2B5EF4-FFF2-40B4-BE49-F238E27FC236}">
                  <a16:creationId xmlns:a16="http://schemas.microsoft.com/office/drawing/2014/main" id="{D08EA29F-593F-4FC8-97F0-4629053CC405}"/>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101">
              <a:extLst>
                <a:ext uri="{FF2B5EF4-FFF2-40B4-BE49-F238E27FC236}">
                  <a16:creationId xmlns:a16="http://schemas.microsoft.com/office/drawing/2014/main" id="{E358CBFB-5516-47AF-86F1-97AAE362C09C}"/>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102">
              <a:extLst>
                <a:ext uri="{FF2B5EF4-FFF2-40B4-BE49-F238E27FC236}">
                  <a16:creationId xmlns:a16="http://schemas.microsoft.com/office/drawing/2014/main" id="{98CAD3F8-02DB-4B47-827D-45514D991228}"/>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103">
              <a:extLst>
                <a:ext uri="{FF2B5EF4-FFF2-40B4-BE49-F238E27FC236}">
                  <a16:creationId xmlns:a16="http://schemas.microsoft.com/office/drawing/2014/main" id="{EAE77410-81C0-4B97-B88F-750EF0E3365D}"/>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04">
              <a:extLst>
                <a:ext uri="{FF2B5EF4-FFF2-40B4-BE49-F238E27FC236}">
                  <a16:creationId xmlns:a16="http://schemas.microsoft.com/office/drawing/2014/main" id="{D564E5C2-E42A-4C31-BBCD-B6D3A88B1F88}"/>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105">
              <a:extLst>
                <a:ext uri="{FF2B5EF4-FFF2-40B4-BE49-F238E27FC236}">
                  <a16:creationId xmlns:a16="http://schemas.microsoft.com/office/drawing/2014/main" id="{C3E9A073-6E22-497A-8494-047622B5A67B}"/>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0" name="Slide Number Placeholder 3">
            <a:extLst>
              <a:ext uri="{FF2B5EF4-FFF2-40B4-BE49-F238E27FC236}">
                <a16:creationId xmlns:a16="http://schemas.microsoft.com/office/drawing/2014/main" id="{BCE193F0-C685-4085-9D8A-B79EF54508E4}"/>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a:p>
        </p:txBody>
      </p:sp>
      <p:sp>
        <p:nvSpPr>
          <p:cNvPr id="61" name="Rectangle 155">
            <a:extLst>
              <a:ext uri="{FF2B5EF4-FFF2-40B4-BE49-F238E27FC236}">
                <a16:creationId xmlns:a16="http://schemas.microsoft.com/office/drawing/2014/main" id="{84E06131-FBAA-43EF-B330-B5D9B5D74861}"/>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a:t>Production code #</a:t>
            </a:r>
          </a:p>
        </p:txBody>
      </p:sp>
      <p:sp>
        <p:nvSpPr>
          <p:cNvPr id="62" name="Rectangle 176">
            <a:extLst>
              <a:ext uri="{FF2B5EF4-FFF2-40B4-BE49-F238E27FC236}">
                <a16:creationId xmlns:a16="http://schemas.microsoft.com/office/drawing/2014/main" id="{F5AA948F-B277-4FEC-B9BB-772B7C340B16}"/>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a:t>Page footer, i.e., For institutional use only.</a:t>
            </a:r>
          </a:p>
        </p:txBody>
      </p:sp>
      <p:sp>
        <p:nvSpPr>
          <p:cNvPr id="36" name="TextBox 2">
            <a:extLst>
              <a:ext uri="{FF2B5EF4-FFF2-40B4-BE49-F238E27FC236}">
                <a16:creationId xmlns:a16="http://schemas.microsoft.com/office/drawing/2014/main" id="{98C8E62E-DD4E-904E-AF18-ABC7F0D7EE27}"/>
              </a:ext>
            </a:extLst>
          </p:cNvPr>
          <p:cNvSpPr txBox="1">
            <a:spLocks noChangeArrowheads="1"/>
          </p:cNvSpPr>
          <p:nvPr userDrawn="1"/>
        </p:nvSpPr>
        <p:spPr bwMode="auto">
          <a:xfrm>
            <a:off x="1369105" y="1620138"/>
            <a:ext cx="4419600" cy="461962"/>
          </a:xfrm>
          <a:prstGeom prst="rect">
            <a:avLst/>
          </a:prstGeom>
          <a:noFill/>
          <a:ln w="9525">
            <a:noFill/>
            <a:miter lim="800000"/>
            <a:headEnd/>
            <a:tailEnd/>
          </a:ln>
        </p:spPr>
        <p:txBody>
          <a:bodyPr>
            <a:spAutoFit/>
          </a:bodyPr>
          <a:lstStyle/>
          <a:p>
            <a:pPr marL="342900" indent="-342900">
              <a:spcBef>
                <a:spcPts val="300"/>
              </a:spcBef>
            </a:pPr>
            <a:r>
              <a:rPr lang="en-US" sz="2400">
                <a:solidFill>
                  <a:srgbClr val="172934"/>
                </a:solidFill>
                <a:cs typeface="Arial" charset="0"/>
              </a:rPr>
              <a:t>Table of Contents</a:t>
            </a:r>
            <a:endParaRPr lang="en-US" sz="1400">
              <a:solidFill>
                <a:srgbClr val="172934"/>
              </a:solidFill>
              <a:cs typeface="Arial" charset="0"/>
            </a:endParaRPr>
          </a:p>
        </p:txBody>
      </p:sp>
      <p:sp>
        <p:nvSpPr>
          <p:cNvPr id="63" name="TextBox 69">
            <a:extLst>
              <a:ext uri="{FF2B5EF4-FFF2-40B4-BE49-F238E27FC236}">
                <a16:creationId xmlns:a16="http://schemas.microsoft.com/office/drawing/2014/main" id="{748208CD-BADE-E943-9EEA-6A8BE001B5EC}"/>
              </a:ext>
            </a:extLst>
          </p:cNvPr>
          <p:cNvSpPr txBox="1">
            <a:spLocks noChangeArrowheads="1"/>
          </p:cNvSpPr>
          <p:nvPr userDrawn="1"/>
        </p:nvSpPr>
        <p:spPr bwMode="auto">
          <a:xfrm>
            <a:off x="1655335" y="2123101"/>
            <a:ext cx="5712181" cy="365125"/>
          </a:xfrm>
          <a:prstGeom prst="rect">
            <a:avLst/>
          </a:prstGeom>
          <a:noFill/>
          <a:ln w="9525">
            <a:noFill/>
            <a:miter lim="800000"/>
            <a:headEnd/>
            <a:tailEnd/>
          </a:ln>
        </p:spPr>
        <p:txBody>
          <a:bodyPr lIns="91440" rIns="0" anchor="ctr"/>
          <a:lstStyle/>
          <a:p>
            <a:r>
              <a:rPr lang="en-US" sz="1200">
                <a:solidFill>
                  <a:srgbClr val="7A9A3D"/>
                </a:solidFill>
                <a:cs typeface="Arial" charset="0"/>
              </a:rPr>
              <a:t>Market Summary</a:t>
            </a:r>
          </a:p>
        </p:txBody>
      </p:sp>
      <p:sp>
        <p:nvSpPr>
          <p:cNvPr id="64" name="TextBox 69">
            <a:extLst>
              <a:ext uri="{FF2B5EF4-FFF2-40B4-BE49-F238E27FC236}">
                <a16:creationId xmlns:a16="http://schemas.microsoft.com/office/drawing/2014/main" id="{FFEF1F4C-E264-9341-BDF0-CD142BBC32EC}"/>
              </a:ext>
            </a:extLst>
          </p:cNvPr>
          <p:cNvSpPr txBox="1">
            <a:spLocks noChangeArrowheads="1"/>
          </p:cNvSpPr>
          <p:nvPr userDrawn="1"/>
        </p:nvSpPr>
        <p:spPr bwMode="auto">
          <a:xfrm>
            <a:off x="1655335" y="2754128"/>
            <a:ext cx="5712181" cy="365125"/>
          </a:xfrm>
          <a:prstGeom prst="rect">
            <a:avLst/>
          </a:prstGeom>
          <a:noFill/>
          <a:ln w="9525">
            <a:noFill/>
            <a:miter lim="800000"/>
            <a:headEnd/>
            <a:tailEnd/>
          </a:ln>
        </p:spPr>
        <p:txBody>
          <a:bodyPr lIns="91440" rIns="0" anchor="ctr"/>
          <a:lstStyle/>
          <a:p>
            <a:pPr>
              <a:defRPr/>
            </a:pPr>
            <a:r>
              <a:rPr lang="en-US">
                <a:solidFill>
                  <a:srgbClr val="768692"/>
                </a:solidFill>
              </a:rPr>
              <a:t>Economy/Macro Backdrop</a:t>
            </a:r>
          </a:p>
        </p:txBody>
      </p:sp>
      <p:sp>
        <p:nvSpPr>
          <p:cNvPr id="65" name="TextBox 69">
            <a:extLst>
              <a:ext uri="{FF2B5EF4-FFF2-40B4-BE49-F238E27FC236}">
                <a16:creationId xmlns:a16="http://schemas.microsoft.com/office/drawing/2014/main" id="{4279E1FD-665F-184C-9898-1C83B8B6BBBA}"/>
              </a:ext>
            </a:extLst>
          </p:cNvPr>
          <p:cNvSpPr txBox="1">
            <a:spLocks noChangeArrowheads="1"/>
          </p:cNvSpPr>
          <p:nvPr userDrawn="1"/>
        </p:nvSpPr>
        <p:spPr bwMode="auto">
          <a:xfrm>
            <a:off x="1655335" y="3385155"/>
            <a:ext cx="5712181" cy="365125"/>
          </a:xfrm>
          <a:prstGeom prst="rect">
            <a:avLst/>
          </a:prstGeom>
          <a:noFill/>
          <a:ln w="9525">
            <a:noFill/>
            <a:miter lim="800000"/>
            <a:headEnd/>
            <a:tailEnd/>
          </a:ln>
        </p:spPr>
        <p:txBody>
          <a:bodyPr lIns="91440" rIns="0" anchor="ctr"/>
          <a:lstStyle/>
          <a:p>
            <a:r>
              <a:rPr lang="en-US">
                <a:solidFill>
                  <a:srgbClr val="009681"/>
                </a:solidFill>
                <a:cs typeface="Arial" charset="0"/>
              </a:rPr>
              <a:t>Asset Markets</a:t>
            </a:r>
          </a:p>
        </p:txBody>
      </p:sp>
      <p:sp>
        <p:nvSpPr>
          <p:cNvPr id="66" name="TextBox 69">
            <a:extLst>
              <a:ext uri="{FF2B5EF4-FFF2-40B4-BE49-F238E27FC236}">
                <a16:creationId xmlns:a16="http://schemas.microsoft.com/office/drawing/2014/main" id="{089734BF-C301-024E-89A4-6ACD7B9CE2D8}"/>
              </a:ext>
            </a:extLst>
          </p:cNvPr>
          <p:cNvSpPr txBox="1">
            <a:spLocks noChangeArrowheads="1"/>
          </p:cNvSpPr>
          <p:nvPr userDrawn="1"/>
        </p:nvSpPr>
        <p:spPr bwMode="auto">
          <a:xfrm>
            <a:off x="1655335" y="4010606"/>
            <a:ext cx="5712181" cy="365125"/>
          </a:xfrm>
          <a:prstGeom prst="rect">
            <a:avLst/>
          </a:prstGeom>
          <a:noFill/>
          <a:ln w="9525">
            <a:noFill/>
            <a:miter lim="800000"/>
            <a:headEnd/>
            <a:tailEnd/>
          </a:ln>
        </p:spPr>
        <p:txBody>
          <a:bodyPr lIns="91440" rIns="0" anchor="ctr"/>
          <a:lstStyle/>
          <a:p>
            <a:r>
              <a:rPr lang="en-US">
                <a:solidFill>
                  <a:srgbClr val="00A3D4"/>
                </a:solidFill>
                <a:cs typeface="Arial" charset="0"/>
              </a:rPr>
              <a:t>Long-Term Themes</a:t>
            </a:r>
          </a:p>
        </p:txBody>
      </p:sp>
      <p:cxnSp>
        <p:nvCxnSpPr>
          <p:cNvPr id="67" name="Straight Connector 66">
            <a:extLst>
              <a:ext uri="{FF2B5EF4-FFF2-40B4-BE49-F238E27FC236}">
                <a16:creationId xmlns:a16="http://schemas.microsoft.com/office/drawing/2014/main" id="{97BCA24C-D9B1-F445-91F2-D6630DE9526A}"/>
              </a:ext>
            </a:extLst>
          </p:cNvPr>
          <p:cNvCxnSpPr>
            <a:cxnSpLocks/>
            <a:endCxn id="71" idx="4"/>
          </p:cNvCxnSpPr>
          <p:nvPr userDrawn="1"/>
        </p:nvCxnSpPr>
        <p:spPr bwMode="auto">
          <a:xfrm>
            <a:off x="1544021" y="2275572"/>
            <a:ext cx="1" cy="2000588"/>
          </a:xfrm>
          <a:prstGeom prst="line">
            <a:avLst/>
          </a:prstGeom>
          <a:solidFill>
            <a:schemeClr val="hlink"/>
          </a:solidFill>
          <a:ln w="12700" cap="flat" cmpd="sng" algn="ctr">
            <a:solidFill>
              <a:schemeClr val="bg1">
                <a:lumMod val="75000"/>
              </a:schemeClr>
            </a:solidFill>
            <a:prstDash val="solid"/>
            <a:round/>
            <a:headEnd type="none" w="med" len="med"/>
            <a:tailEnd type="none" w="med" len="med"/>
          </a:ln>
          <a:effectLst/>
        </p:spPr>
      </p:cxnSp>
      <p:sp>
        <p:nvSpPr>
          <p:cNvPr id="68" name="Oval 67">
            <a:extLst>
              <a:ext uri="{FF2B5EF4-FFF2-40B4-BE49-F238E27FC236}">
                <a16:creationId xmlns:a16="http://schemas.microsoft.com/office/drawing/2014/main" id="{C4CB8C8D-DD02-8E46-905D-52B6C32DD821}"/>
              </a:ext>
            </a:extLst>
          </p:cNvPr>
          <p:cNvSpPr/>
          <p:nvPr userDrawn="1"/>
        </p:nvSpPr>
        <p:spPr bwMode="auto">
          <a:xfrm>
            <a:off x="1477691" y="2235605"/>
            <a:ext cx="132661" cy="132661"/>
          </a:xfrm>
          <a:prstGeom prst="ellipse">
            <a:avLst/>
          </a:prstGeom>
          <a:solidFill>
            <a:schemeClr val="bg1"/>
          </a:solidFill>
          <a:ln w="12700"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sp>
        <p:nvSpPr>
          <p:cNvPr id="69" name="Oval 68">
            <a:extLst>
              <a:ext uri="{FF2B5EF4-FFF2-40B4-BE49-F238E27FC236}">
                <a16:creationId xmlns:a16="http://schemas.microsoft.com/office/drawing/2014/main" id="{239A6CA6-E3F4-C14B-B410-DD451C1361B9}"/>
              </a:ext>
            </a:extLst>
          </p:cNvPr>
          <p:cNvSpPr/>
          <p:nvPr userDrawn="1"/>
        </p:nvSpPr>
        <p:spPr bwMode="auto">
          <a:xfrm>
            <a:off x="1477691" y="2861567"/>
            <a:ext cx="132661" cy="132661"/>
          </a:xfrm>
          <a:prstGeom prst="ellipse">
            <a:avLst/>
          </a:prstGeom>
          <a:solidFill>
            <a:schemeClr val="bg1"/>
          </a:solidFill>
          <a:ln w="12700"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sp>
        <p:nvSpPr>
          <p:cNvPr id="70" name="Oval 69">
            <a:extLst>
              <a:ext uri="{FF2B5EF4-FFF2-40B4-BE49-F238E27FC236}">
                <a16:creationId xmlns:a16="http://schemas.microsoft.com/office/drawing/2014/main" id="{68FCD4E0-D465-4E42-A56F-DC85982FBEEC}"/>
              </a:ext>
            </a:extLst>
          </p:cNvPr>
          <p:cNvSpPr/>
          <p:nvPr userDrawn="1"/>
        </p:nvSpPr>
        <p:spPr bwMode="auto">
          <a:xfrm>
            <a:off x="1477691" y="3493120"/>
            <a:ext cx="132661" cy="132661"/>
          </a:xfrm>
          <a:prstGeom prst="ellipse">
            <a:avLst/>
          </a:prstGeom>
          <a:solidFill>
            <a:schemeClr val="bg1"/>
          </a:solidFill>
          <a:ln w="12700"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sp>
        <p:nvSpPr>
          <p:cNvPr id="71" name="Oval 70">
            <a:extLst>
              <a:ext uri="{FF2B5EF4-FFF2-40B4-BE49-F238E27FC236}">
                <a16:creationId xmlns:a16="http://schemas.microsoft.com/office/drawing/2014/main" id="{B378CE54-463D-3345-B9D9-9090E62C80F5}"/>
              </a:ext>
            </a:extLst>
          </p:cNvPr>
          <p:cNvSpPr/>
          <p:nvPr userDrawn="1"/>
        </p:nvSpPr>
        <p:spPr bwMode="auto">
          <a:xfrm>
            <a:off x="1477691" y="4143499"/>
            <a:ext cx="132661" cy="132661"/>
          </a:xfrm>
          <a:prstGeom prst="ellipse">
            <a:avLst/>
          </a:prstGeom>
          <a:solidFill>
            <a:schemeClr val="bg1"/>
          </a:solidFill>
          <a:ln w="12700"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sp>
        <p:nvSpPr>
          <p:cNvPr id="72" name="Oval 71">
            <a:extLst>
              <a:ext uri="{FF2B5EF4-FFF2-40B4-BE49-F238E27FC236}">
                <a16:creationId xmlns:a16="http://schemas.microsoft.com/office/drawing/2014/main" id="{848377BA-BA50-4143-90F4-430102A2845F}"/>
              </a:ext>
            </a:extLst>
          </p:cNvPr>
          <p:cNvSpPr/>
          <p:nvPr userDrawn="1"/>
        </p:nvSpPr>
        <p:spPr bwMode="auto">
          <a:xfrm>
            <a:off x="1512017" y="2269931"/>
            <a:ext cx="64008" cy="64008"/>
          </a:xfrm>
          <a:prstGeom prst="ellipse">
            <a:avLst/>
          </a:prstGeom>
          <a:solidFill>
            <a:srgbClr val="7A9A3D"/>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sp>
        <p:nvSpPr>
          <p:cNvPr id="73" name="Oval 72">
            <a:extLst>
              <a:ext uri="{FF2B5EF4-FFF2-40B4-BE49-F238E27FC236}">
                <a16:creationId xmlns:a16="http://schemas.microsoft.com/office/drawing/2014/main" id="{80401BD5-46A5-5A49-9F1E-C041A3C4856C}"/>
              </a:ext>
            </a:extLst>
          </p:cNvPr>
          <p:cNvSpPr/>
          <p:nvPr userDrawn="1"/>
        </p:nvSpPr>
        <p:spPr bwMode="auto">
          <a:xfrm>
            <a:off x="1512017" y="2895893"/>
            <a:ext cx="64008" cy="64008"/>
          </a:xfrm>
          <a:prstGeom prst="ellipse">
            <a:avLst/>
          </a:prstGeom>
          <a:solidFill>
            <a:srgbClr val="768692"/>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sp>
        <p:nvSpPr>
          <p:cNvPr id="74" name="Oval 73">
            <a:extLst>
              <a:ext uri="{FF2B5EF4-FFF2-40B4-BE49-F238E27FC236}">
                <a16:creationId xmlns:a16="http://schemas.microsoft.com/office/drawing/2014/main" id="{36724151-6DDA-C34B-B7C8-77CD6F7E0443}"/>
              </a:ext>
            </a:extLst>
          </p:cNvPr>
          <p:cNvSpPr/>
          <p:nvPr userDrawn="1"/>
        </p:nvSpPr>
        <p:spPr bwMode="auto">
          <a:xfrm>
            <a:off x="1512017" y="3527446"/>
            <a:ext cx="64008" cy="64008"/>
          </a:xfrm>
          <a:prstGeom prst="ellipse">
            <a:avLst/>
          </a:prstGeom>
          <a:solidFill>
            <a:srgbClr val="009681"/>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sp>
        <p:nvSpPr>
          <p:cNvPr id="75" name="Oval 74">
            <a:extLst>
              <a:ext uri="{FF2B5EF4-FFF2-40B4-BE49-F238E27FC236}">
                <a16:creationId xmlns:a16="http://schemas.microsoft.com/office/drawing/2014/main" id="{B2898E76-2461-CB48-8FB3-E36A2DE89E3D}"/>
              </a:ext>
            </a:extLst>
          </p:cNvPr>
          <p:cNvSpPr/>
          <p:nvPr userDrawn="1"/>
        </p:nvSpPr>
        <p:spPr bwMode="auto">
          <a:xfrm>
            <a:off x="1512017" y="4177825"/>
            <a:ext cx="64008" cy="64008"/>
          </a:xfrm>
          <a:prstGeom prst="ellipse">
            <a:avLst/>
          </a:prstGeom>
          <a:solidFill>
            <a:srgbClr val="00A3D4"/>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spTree>
    <p:extLst>
      <p:ext uri="{BB962C8B-B14F-4D97-AF65-F5344CB8AC3E}">
        <p14:creationId xmlns:p14="http://schemas.microsoft.com/office/powerpoint/2010/main" val="54480622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1_Important Information">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716FAD1-66C5-1A4E-B641-16F21D055D51}"/>
              </a:ext>
            </a:extLst>
          </p:cNvPr>
          <p:cNvGrpSpPr/>
          <p:nvPr userDrawn="1"/>
        </p:nvGrpSpPr>
        <p:grpSpPr>
          <a:xfrm>
            <a:off x="7358173" y="6361974"/>
            <a:ext cx="1382376" cy="297562"/>
            <a:chOff x="6923088" y="4475163"/>
            <a:chExt cx="1873251" cy="403225"/>
          </a:xfrm>
        </p:grpSpPr>
        <p:sp>
          <p:nvSpPr>
            <p:cNvPr id="3" name="AutoShape 4">
              <a:extLst>
                <a:ext uri="{FF2B5EF4-FFF2-40B4-BE49-F238E27FC236}">
                  <a16:creationId xmlns:a16="http://schemas.microsoft.com/office/drawing/2014/main" id="{A8239A28-BB60-334C-B0E7-1CA4FBB5D27D}"/>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 name="Freeform 6">
              <a:extLst>
                <a:ext uri="{FF2B5EF4-FFF2-40B4-BE49-F238E27FC236}">
                  <a16:creationId xmlns:a16="http://schemas.microsoft.com/office/drawing/2014/main" id="{E895883C-A24A-E543-9A67-D4EA3697C4E5}"/>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 name="Freeform 7">
              <a:extLst>
                <a:ext uri="{FF2B5EF4-FFF2-40B4-BE49-F238E27FC236}">
                  <a16:creationId xmlns:a16="http://schemas.microsoft.com/office/drawing/2014/main" id="{6E849423-710A-C84C-A3A7-68E11A41E1D2}"/>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 name="Freeform 83">
              <a:extLst>
                <a:ext uri="{FF2B5EF4-FFF2-40B4-BE49-F238E27FC236}">
                  <a16:creationId xmlns:a16="http://schemas.microsoft.com/office/drawing/2014/main" id="{3AAE7469-C18A-E641-9F78-832E0C57FA96}"/>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 name="Freeform 84">
              <a:extLst>
                <a:ext uri="{FF2B5EF4-FFF2-40B4-BE49-F238E27FC236}">
                  <a16:creationId xmlns:a16="http://schemas.microsoft.com/office/drawing/2014/main" id="{DF0A5F0E-337C-1C4B-874D-A72C9CDD32D4}"/>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 name="Freeform 85">
              <a:extLst>
                <a:ext uri="{FF2B5EF4-FFF2-40B4-BE49-F238E27FC236}">
                  <a16:creationId xmlns:a16="http://schemas.microsoft.com/office/drawing/2014/main" id="{9A870F48-415C-6245-A112-A2C97B5CEBAE}"/>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 name="Freeform 86">
              <a:extLst>
                <a:ext uri="{FF2B5EF4-FFF2-40B4-BE49-F238E27FC236}">
                  <a16:creationId xmlns:a16="http://schemas.microsoft.com/office/drawing/2014/main" id="{29B861AA-52DD-1946-9C7B-55504FB89C46}"/>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 name="Freeform 87">
              <a:extLst>
                <a:ext uri="{FF2B5EF4-FFF2-40B4-BE49-F238E27FC236}">
                  <a16:creationId xmlns:a16="http://schemas.microsoft.com/office/drawing/2014/main" id="{44B4393B-EA36-9248-9C61-BB4BECB1F706}"/>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Freeform 88">
              <a:extLst>
                <a:ext uri="{FF2B5EF4-FFF2-40B4-BE49-F238E27FC236}">
                  <a16:creationId xmlns:a16="http://schemas.microsoft.com/office/drawing/2014/main" id="{55ECE229-8094-354A-84A3-062F6608CD1F}"/>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89">
              <a:extLst>
                <a:ext uri="{FF2B5EF4-FFF2-40B4-BE49-F238E27FC236}">
                  <a16:creationId xmlns:a16="http://schemas.microsoft.com/office/drawing/2014/main" id="{6EF16079-7D96-5D45-BB7D-BDB34ADE9B29}"/>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Freeform 90">
              <a:extLst>
                <a:ext uri="{FF2B5EF4-FFF2-40B4-BE49-F238E27FC236}">
                  <a16:creationId xmlns:a16="http://schemas.microsoft.com/office/drawing/2014/main" id="{67D81369-EB0B-4345-AFCE-B73723821447}"/>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91">
              <a:extLst>
                <a:ext uri="{FF2B5EF4-FFF2-40B4-BE49-F238E27FC236}">
                  <a16:creationId xmlns:a16="http://schemas.microsoft.com/office/drawing/2014/main" id="{E1BC5725-4B52-2645-B2D4-15B2F7A6EAD2}"/>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92">
              <a:extLst>
                <a:ext uri="{FF2B5EF4-FFF2-40B4-BE49-F238E27FC236}">
                  <a16:creationId xmlns:a16="http://schemas.microsoft.com/office/drawing/2014/main" id="{A44ADC7C-E614-9447-99B3-F158D2F8C7FD}"/>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93">
              <a:extLst>
                <a:ext uri="{FF2B5EF4-FFF2-40B4-BE49-F238E27FC236}">
                  <a16:creationId xmlns:a16="http://schemas.microsoft.com/office/drawing/2014/main" id="{ACF7F332-3BCD-ED46-9091-301763042229}"/>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94">
              <a:extLst>
                <a:ext uri="{FF2B5EF4-FFF2-40B4-BE49-F238E27FC236}">
                  <a16:creationId xmlns:a16="http://schemas.microsoft.com/office/drawing/2014/main" id="{E3B96CE6-2F55-0E43-BB4E-B41FED509D87}"/>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Freeform 95">
              <a:extLst>
                <a:ext uri="{FF2B5EF4-FFF2-40B4-BE49-F238E27FC236}">
                  <a16:creationId xmlns:a16="http://schemas.microsoft.com/office/drawing/2014/main" id="{401B3734-6C55-C14E-8C66-AD987647A9AD}"/>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Freeform 96">
              <a:extLst>
                <a:ext uri="{FF2B5EF4-FFF2-40B4-BE49-F238E27FC236}">
                  <a16:creationId xmlns:a16="http://schemas.microsoft.com/office/drawing/2014/main" id="{BED9EAD9-4F50-1048-8D19-B93E8E399A87}"/>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97">
              <a:extLst>
                <a:ext uri="{FF2B5EF4-FFF2-40B4-BE49-F238E27FC236}">
                  <a16:creationId xmlns:a16="http://schemas.microsoft.com/office/drawing/2014/main" id="{CAF1B70D-EDF1-4048-84CA-B4D9AF3EBEBC}"/>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98">
              <a:extLst>
                <a:ext uri="{FF2B5EF4-FFF2-40B4-BE49-F238E27FC236}">
                  <a16:creationId xmlns:a16="http://schemas.microsoft.com/office/drawing/2014/main" id="{4EE36375-3332-8146-BF18-D1FFA222A87A}"/>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99">
              <a:extLst>
                <a:ext uri="{FF2B5EF4-FFF2-40B4-BE49-F238E27FC236}">
                  <a16:creationId xmlns:a16="http://schemas.microsoft.com/office/drawing/2014/main" id="{8DA90721-FE1A-7841-83ED-0F12E49DD88B}"/>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100">
              <a:extLst>
                <a:ext uri="{FF2B5EF4-FFF2-40B4-BE49-F238E27FC236}">
                  <a16:creationId xmlns:a16="http://schemas.microsoft.com/office/drawing/2014/main" id="{6E46C385-87E1-2F4A-8C1D-372EBFDB44C6}"/>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 name="Freeform 101">
              <a:extLst>
                <a:ext uri="{FF2B5EF4-FFF2-40B4-BE49-F238E27FC236}">
                  <a16:creationId xmlns:a16="http://schemas.microsoft.com/office/drawing/2014/main" id="{F3D79C5A-3DAF-F944-B3A1-2B8D1CB93642}"/>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102">
              <a:extLst>
                <a:ext uri="{FF2B5EF4-FFF2-40B4-BE49-F238E27FC236}">
                  <a16:creationId xmlns:a16="http://schemas.microsoft.com/office/drawing/2014/main" id="{6E81DBB6-2AE7-8642-98FF-53466657552A}"/>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 name="Freeform 103">
              <a:extLst>
                <a:ext uri="{FF2B5EF4-FFF2-40B4-BE49-F238E27FC236}">
                  <a16:creationId xmlns:a16="http://schemas.microsoft.com/office/drawing/2014/main" id="{EDE842BD-8BDE-ED4E-85AF-14034537A1E0}"/>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Freeform 104">
              <a:extLst>
                <a:ext uri="{FF2B5EF4-FFF2-40B4-BE49-F238E27FC236}">
                  <a16:creationId xmlns:a16="http://schemas.microsoft.com/office/drawing/2014/main" id="{3F8A338A-FF03-FC45-A4C2-D276F2D5228E}"/>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105">
              <a:extLst>
                <a:ext uri="{FF2B5EF4-FFF2-40B4-BE49-F238E27FC236}">
                  <a16:creationId xmlns:a16="http://schemas.microsoft.com/office/drawing/2014/main" id="{225E4732-0836-9749-86CB-60B42A998987}"/>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Tree>
    <p:extLst>
      <p:ext uri="{BB962C8B-B14F-4D97-AF65-F5344CB8AC3E}">
        <p14:creationId xmlns:p14="http://schemas.microsoft.com/office/powerpoint/2010/main" val="3252011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userDrawn="1">
  <p:cSld name="1. Market Summary Divider">
    <p:spTree>
      <p:nvGrpSpPr>
        <p:cNvPr id="1" name=""/>
        <p:cNvGrpSpPr/>
        <p:nvPr/>
      </p:nvGrpSpPr>
      <p:grpSpPr>
        <a:xfrm>
          <a:off x="0" y="0"/>
          <a:ext cx="0" cy="0"/>
          <a:chOff x="0" y="0"/>
          <a:chExt cx="0" cy="0"/>
        </a:xfrm>
      </p:grpSpPr>
      <p:grpSp>
        <p:nvGrpSpPr>
          <p:cNvPr id="44" name="Group 43">
            <a:extLst>
              <a:ext uri="{FF2B5EF4-FFF2-40B4-BE49-F238E27FC236}">
                <a16:creationId xmlns:a16="http://schemas.microsoft.com/office/drawing/2014/main" id="{7772C258-06F4-F944-87D0-9D3169059BE3}"/>
              </a:ext>
            </a:extLst>
          </p:cNvPr>
          <p:cNvGrpSpPr/>
          <p:nvPr userDrawn="1"/>
        </p:nvGrpSpPr>
        <p:grpSpPr>
          <a:xfrm>
            <a:off x="7358173" y="6361974"/>
            <a:ext cx="1382376" cy="297562"/>
            <a:chOff x="6923088" y="4475163"/>
            <a:chExt cx="1873251" cy="403225"/>
          </a:xfrm>
        </p:grpSpPr>
        <p:sp>
          <p:nvSpPr>
            <p:cNvPr id="45" name="AutoShape 4">
              <a:extLst>
                <a:ext uri="{FF2B5EF4-FFF2-40B4-BE49-F238E27FC236}">
                  <a16:creationId xmlns:a16="http://schemas.microsoft.com/office/drawing/2014/main" id="{6D0ACCF7-FDBA-1B4D-A82B-6652DD736ECD}"/>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6">
              <a:extLst>
                <a:ext uri="{FF2B5EF4-FFF2-40B4-BE49-F238E27FC236}">
                  <a16:creationId xmlns:a16="http://schemas.microsoft.com/office/drawing/2014/main" id="{5B0D1651-0630-CB41-8099-A65C58482F12}"/>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7">
              <a:extLst>
                <a:ext uri="{FF2B5EF4-FFF2-40B4-BE49-F238E27FC236}">
                  <a16:creationId xmlns:a16="http://schemas.microsoft.com/office/drawing/2014/main" id="{F1C1AD18-4112-4642-A787-E773AC33254E}"/>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83">
              <a:extLst>
                <a:ext uri="{FF2B5EF4-FFF2-40B4-BE49-F238E27FC236}">
                  <a16:creationId xmlns:a16="http://schemas.microsoft.com/office/drawing/2014/main" id="{7DFD665C-1313-7040-BE69-2DFEBFA229E2}"/>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84">
              <a:extLst>
                <a:ext uri="{FF2B5EF4-FFF2-40B4-BE49-F238E27FC236}">
                  <a16:creationId xmlns:a16="http://schemas.microsoft.com/office/drawing/2014/main" id="{655F30A6-F2A9-154B-84BF-5F2DEE8A0130}"/>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85">
              <a:extLst>
                <a:ext uri="{FF2B5EF4-FFF2-40B4-BE49-F238E27FC236}">
                  <a16:creationId xmlns:a16="http://schemas.microsoft.com/office/drawing/2014/main" id="{537DF061-61BD-BA4F-BA9C-CFFF22A2A3F4}"/>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86">
              <a:extLst>
                <a:ext uri="{FF2B5EF4-FFF2-40B4-BE49-F238E27FC236}">
                  <a16:creationId xmlns:a16="http://schemas.microsoft.com/office/drawing/2014/main" id="{A19F49A3-E0F8-9647-8D04-A20E35CC17B9}"/>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87">
              <a:extLst>
                <a:ext uri="{FF2B5EF4-FFF2-40B4-BE49-F238E27FC236}">
                  <a16:creationId xmlns:a16="http://schemas.microsoft.com/office/drawing/2014/main" id="{BA1E0055-F6AB-5A4D-99CA-82491CC251BC}"/>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88">
              <a:extLst>
                <a:ext uri="{FF2B5EF4-FFF2-40B4-BE49-F238E27FC236}">
                  <a16:creationId xmlns:a16="http://schemas.microsoft.com/office/drawing/2014/main" id="{535D13AD-CA87-B746-9B34-225524D5A924}"/>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89">
              <a:extLst>
                <a:ext uri="{FF2B5EF4-FFF2-40B4-BE49-F238E27FC236}">
                  <a16:creationId xmlns:a16="http://schemas.microsoft.com/office/drawing/2014/main" id="{D8D41026-7C1F-5843-AC81-5B1F281F747A}"/>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90">
              <a:extLst>
                <a:ext uri="{FF2B5EF4-FFF2-40B4-BE49-F238E27FC236}">
                  <a16:creationId xmlns:a16="http://schemas.microsoft.com/office/drawing/2014/main" id="{117884C9-CAD4-984B-ADB2-62EBBBC5FE88}"/>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91">
              <a:extLst>
                <a:ext uri="{FF2B5EF4-FFF2-40B4-BE49-F238E27FC236}">
                  <a16:creationId xmlns:a16="http://schemas.microsoft.com/office/drawing/2014/main" id="{9333BBF9-B83B-8947-B160-12968561287A}"/>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92">
              <a:extLst>
                <a:ext uri="{FF2B5EF4-FFF2-40B4-BE49-F238E27FC236}">
                  <a16:creationId xmlns:a16="http://schemas.microsoft.com/office/drawing/2014/main" id="{C165D893-4F2C-BF4C-ABD8-9D2D3BB8C8D3}"/>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93">
              <a:extLst>
                <a:ext uri="{FF2B5EF4-FFF2-40B4-BE49-F238E27FC236}">
                  <a16:creationId xmlns:a16="http://schemas.microsoft.com/office/drawing/2014/main" id="{91DD5CC7-6D39-D141-A202-D099BDB36B23}"/>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94">
              <a:extLst>
                <a:ext uri="{FF2B5EF4-FFF2-40B4-BE49-F238E27FC236}">
                  <a16:creationId xmlns:a16="http://schemas.microsoft.com/office/drawing/2014/main" id="{1BDC45A4-C092-B244-B0F5-09F082A258ED}"/>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95">
              <a:extLst>
                <a:ext uri="{FF2B5EF4-FFF2-40B4-BE49-F238E27FC236}">
                  <a16:creationId xmlns:a16="http://schemas.microsoft.com/office/drawing/2014/main" id="{EE87EB39-9A98-8749-8967-3CE3A4C8B5A1}"/>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 name="Freeform 96">
              <a:extLst>
                <a:ext uri="{FF2B5EF4-FFF2-40B4-BE49-F238E27FC236}">
                  <a16:creationId xmlns:a16="http://schemas.microsoft.com/office/drawing/2014/main" id="{396C0F2A-E612-5E47-A355-69C96C339442}"/>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 name="Freeform 97">
              <a:extLst>
                <a:ext uri="{FF2B5EF4-FFF2-40B4-BE49-F238E27FC236}">
                  <a16:creationId xmlns:a16="http://schemas.microsoft.com/office/drawing/2014/main" id="{864A7DE1-613F-D84D-A516-62953BDD4722}"/>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 name="Freeform 98">
              <a:extLst>
                <a:ext uri="{FF2B5EF4-FFF2-40B4-BE49-F238E27FC236}">
                  <a16:creationId xmlns:a16="http://schemas.microsoft.com/office/drawing/2014/main" id="{BBB4C417-4DEA-AC42-9DB0-5405DC30D68A}"/>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 name="Freeform 99">
              <a:extLst>
                <a:ext uri="{FF2B5EF4-FFF2-40B4-BE49-F238E27FC236}">
                  <a16:creationId xmlns:a16="http://schemas.microsoft.com/office/drawing/2014/main" id="{923F088E-1FC2-1E43-A126-F33655E10C4E}"/>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 name="Freeform 100">
              <a:extLst>
                <a:ext uri="{FF2B5EF4-FFF2-40B4-BE49-F238E27FC236}">
                  <a16:creationId xmlns:a16="http://schemas.microsoft.com/office/drawing/2014/main" id="{68F07D4F-CAF9-CB43-8050-38E929C5D2ED}"/>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 name="Freeform 101">
              <a:extLst>
                <a:ext uri="{FF2B5EF4-FFF2-40B4-BE49-F238E27FC236}">
                  <a16:creationId xmlns:a16="http://schemas.microsoft.com/office/drawing/2014/main" id="{8BB992EC-BF0C-5140-8F0F-971B5E75CC88}"/>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 name="Freeform 102">
              <a:extLst>
                <a:ext uri="{FF2B5EF4-FFF2-40B4-BE49-F238E27FC236}">
                  <a16:creationId xmlns:a16="http://schemas.microsoft.com/office/drawing/2014/main" id="{3DA7A8CF-E236-F64E-9770-C52504D36FF0}"/>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 name="Freeform 103">
              <a:extLst>
                <a:ext uri="{FF2B5EF4-FFF2-40B4-BE49-F238E27FC236}">
                  <a16:creationId xmlns:a16="http://schemas.microsoft.com/office/drawing/2014/main" id="{B8A841BE-F8FC-174C-BDD4-A2F9DD7A1E78}"/>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 name="Freeform 104">
              <a:extLst>
                <a:ext uri="{FF2B5EF4-FFF2-40B4-BE49-F238E27FC236}">
                  <a16:creationId xmlns:a16="http://schemas.microsoft.com/office/drawing/2014/main" id="{08564141-EBDB-B349-B90C-A079F8B1BB4E}"/>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 name="Freeform 105">
              <a:extLst>
                <a:ext uri="{FF2B5EF4-FFF2-40B4-BE49-F238E27FC236}">
                  <a16:creationId xmlns:a16="http://schemas.microsoft.com/office/drawing/2014/main" id="{BA7F1E66-A488-9142-87ED-B2BE54121A68}"/>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2" name="Title 1">
            <a:extLst>
              <a:ext uri="{FF2B5EF4-FFF2-40B4-BE49-F238E27FC236}">
                <a16:creationId xmlns:a16="http://schemas.microsoft.com/office/drawing/2014/main" id="{2E6009EC-ADCD-1540-AFF3-975F36871FEE}"/>
              </a:ext>
            </a:extLst>
          </p:cNvPr>
          <p:cNvSpPr>
            <a:spLocks noGrp="1"/>
          </p:cNvSpPr>
          <p:nvPr>
            <p:ph type="title"/>
          </p:nvPr>
        </p:nvSpPr>
        <p:spPr>
          <a:xfrm>
            <a:off x="687295" y="3046413"/>
            <a:ext cx="8229600" cy="1143000"/>
          </a:xfrm>
        </p:spPr>
        <p:txBody>
          <a:bodyPr>
            <a:normAutofit/>
          </a:bodyPr>
          <a:lstStyle>
            <a:lvl1pPr>
              <a:defRPr b="1"/>
            </a:lvl1pPr>
          </a:lstStyle>
          <a:p>
            <a:pPr algn="l"/>
            <a:r>
              <a:rPr lang="en-US">
                <a:solidFill>
                  <a:srgbClr val="7A9A3D"/>
                </a:solidFill>
              </a:rPr>
              <a:t>Market Summary</a:t>
            </a:r>
          </a:p>
        </p:txBody>
      </p:sp>
      <p:sp>
        <p:nvSpPr>
          <p:cNvPr id="33" name="Triangle 40">
            <a:extLst>
              <a:ext uri="{FF2B5EF4-FFF2-40B4-BE49-F238E27FC236}">
                <a16:creationId xmlns:a16="http://schemas.microsoft.com/office/drawing/2014/main" id="{BC08CF5D-7818-3348-B397-6B6C676E194C}"/>
              </a:ext>
            </a:extLst>
          </p:cNvPr>
          <p:cNvSpPr/>
          <p:nvPr userDrawn="1"/>
        </p:nvSpPr>
        <p:spPr bwMode="auto">
          <a:xfrm flipH="1" flipV="1">
            <a:off x="0" y="0"/>
            <a:ext cx="5392615" cy="1348452"/>
          </a:xfrm>
          <a:custGeom>
            <a:avLst/>
            <a:gdLst>
              <a:gd name="connsiteX0" fmla="*/ 0 w 12192000"/>
              <a:gd name="connsiteY0" fmla="*/ 2036323 h 2036323"/>
              <a:gd name="connsiteX1" fmla="*/ 12178955 w 12192000"/>
              <a:gd name="connsiteY1" fmla="*/ 0 h 2036323"/>
              <a:gd name="connsiteX2" fmla="*/ 12192000 w 12192000"/>
              <a:gd name="connsiteY2" fmla="*/ 2036323 h 2036323"/>
              <a:gd name="connsiteX3" fmla="*/ 0 w 12192000"/>
              <a:gd name="connsiteY3" fmla="*/ 2036323 h 2036323"/>
              <a:gd name="connsiteX0" fmla="*/ 0 w 12204970"/>
              <a:gd name="connsiteY0" fmla="*/ 1880680 h 2036323"/>
              <a:gd name="connsiteX1" fmla="*/ 12191925 w 12204970"/>
              <a:gd name="connsiteY1" fmla="*/ 0 h 2036323"/>
              <a:gd name="connsiteX2" fmla="*/ 12204970 w 12204970"/>
              <a:gd name="connsiteY2" fmla="*/ 2036323 h 2036323"/>
              <a:gd name="connsiteX3" fmla="*/ 0 w 12204970"/>
              <a:gd name="connsiteY3" fmla="*/ 1880680 h 2036323"/>
              <a:gd name="connsiteX0" fmla="*/ 0 w 12192096"/>
              <a:gd name="connsiteY0" fmla="*/ 1880680 h 1906621"/>
              <a:gd name="connsiteX1" fmla="*/ 12191925 w 12192096"/>
              <a:gd name="connsiteY1" fmla="*/ 0 h 1906621"/>
              <a:gd name="connsiteX2" fmla="*/ 12120664 w 12192096"/>
              <a:gd name="connsiteY2" fmla="*/ 1906621 h 1906621"/>
              <a:gd name="connsiteX3" fmla="*/ 0 w 12192096"/>
              <a:gd name="connsiteY3" fmla="*/ 1880680 h 1906621"/>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9673"/>
              <a:gd name="connsiteY0" fmla="*/ 1867710 h 2049294"/>
              <a:gd name="connsiteX1" fmla="*/ 12198410 w 12199673"/>
              <a:gd name="connsiteY1" fmla="*/ 0 h 2049294"/>
              <a:gd name="connsiteX2" fmla="*/ 12198485 w 12199673"/>
              <a:gd name="connsiteY2" fmla="*/ 2049294 h 2049294"/>
              <a:gd name="connsiteX3" fmla="*/ 0 w 12199673"/>
              <a:gd name="connsiteY3" fmla="*/ 1867710 h 2049294"/>
              <a:gd name="connsiteX0" fmla="*/ 0 w 12199673"/>
              <a:gd name="connsiteY0" fmla="*/ 1867710 h 2329173"/>
              <a:gd name="connsiteX1" fmla="*/ 12198410 w 12199673"/>
              <a:gd name="connsiteY1" fmla="*/ 0 h 2329173"/>
              <a:gd name="connsiteX2" fmla="*/ 12198485 w 12199673"/>
              <a:gd name="connsiteY2" fmla="*/ 2049294 h 2329173"/>
              <a:gd name="connsiteX3" fmla="*/ 0 w 12199673"/>
              <a:gd name="connsiteY3" fmla="*/ 1867710 h 2329173"/>
              <a:gd name="connsiteX0" fmla="*/ 0 w 12199673"/>
              <a:gd name="connsiteY0" fmla="*/ 1867710 h 2049294"/>
              <a:gd name="connsiteX1" fmla="*/ 12198410 w 12199673"/>
              <a:gd name="connsiteY1" fmla="*/ 0 h 2049294"/>
              <a:gd name="connsiteX2" fmla="*/ 12198485 w 12199673"/>
              <a:gd name="connsiteY2" fmla="*/ 2049294 h 2049294"/>
              <a:gd name="connsiteX3" fmla="*/ 0 w 12199673"/>
              <a:gd name="connsiteY3" fmla="*/ 1867710 h 2049294"/>
              <a:gd name="connsiteX0" fmla="*/ 1 w 12167248"/>
              <a:gd name="connsiteY0" fmla="*/ 1861225 h 2049294"/>
              <a:gd name="connsiteX1" fmla="*/ 12165985 w 12167248"/>
              <a:gd name="connsiteY1" fmla="*/ 0 h 2049294"/>
              <a:gd name="connsiteX2" fmla="*/ 12166060 w 12167248"/>
              <a:gd name="connsiteY2" fmla="*/ 2049294 h 2049294"/>
              <a:gd name="connsiteX3" fmla="*/ 1 w 12167248"/>
              <a:gd name="connsiteY3" fmla="*/ 1861225 h 2049294"/>
              <a:gd name="connsiteX0" fmla="*/ 1 w 12167248"/>
              <a:gd name="connsiteY0" fmla="*/ 1841769 h 2029838"/>
              <a:gd name="connsiteX1" fmla="*/ 12165985 w 12167248"/>
              <a:gd name="connsiteY1" fmla="*/ 0 h 2029838"/>
              <a:gd name="connsiteX2" fmla="*/ 12166060 w 12167248"/>
              <a:gd name="connsiteY2" fmla="*/ 2029838 h 2029838"/>
              <a:gd name="connsiteX3" fmla="*/ 1 w 12167248"/>
              <a:gd name="connsiteY3" fmla="*/ 1841769 h 2029838"/>
              <a:gd name="connsiteX0" fmla="*/ 1 w 12167248"/>
              <a:gd name="connsiteY0" fmla="*/ 1842242 h 2030311"/>
              <a:gd name="connsiteX1" fmla="*/ 12165985 w 12167248"/>
              <a:gd name="connsiteY1" fmla="*/ 473 h 2030311"/>
              <a:gd name="connsiteX2" fmla="*/ 12166060 w 12167248"/>
              <a:gd name="connsiteY2" fmla="*/ 2030311 h 2030311"/>
              <a:gd name="connsiteX3" fmla="*/ 1 w 12167248"/>
              <a:gd name="connsiteY3" fmla="*/ 1842242 h 2030311"/>
              <a:gd name="connsiteX0" fmla="*/ 1 w 12167248"/>
              <a:gd name="connsiteY0" fmla="*/ 1842242 h 2030710"/>
              <a:gd name="connsiteX1" fmla="*/ 12165985 w 12167248"/>
              <a:gd name="connsiteY1" fmla="*/ 473 h 2030710"/>
              <a:gd name="connsiteX2" fmla="*/ 12166060 w 12167248"/>
              <a:gd name="connsiteY2" fmla="*/ 2030311 h 2030710"/>
              <a:gd name="connsiteX3" fmla="*/ 1 w 12167248"/>
              <a:gd name="connsiteY3" fmla="*/ 1842242 h 2030710"/>
              <a:gd name="connsiteX0" fmla="*/ 1 w 12167248"/>
              <a:gd name="connsiteY0" fmla="*/ 1842242 h 2030710"/>
              <a:gd name="connsiteX1" fmla="*/ 12165985 w 12167248"/>
              <a:gd name="connsiteY1" fmla="*/ 473 h 2030710"/>
              <a:gd name="connsiteX2" fmla="*/ 12166060 w 12167248"/>
              <a:gd name="connsiteY2" fmla="*/ 2030311 h 2030710"/>
              <a:gd name="connsiteX3" fmla="*/ 1 w 12167248"/>
              <a:gd name="connsiteY3" fmla="*/ 1842242 h 2030710"/>
              <a:gd name="connsiteX0" fmla="*/ 1 w 12166780"/>
              <a:gd name="connsiteY0" fmla="*/ 1842242 h 2043646"/>
              <a:gd name="connsiteX1" fmla="*/ 12165985 w 12166780"/>
              <a:gd name="connsiteY1" fmla="*/ 473 h 2043646"/>
              <a:gd name="connsiteX2" fmla="*/ 12159575 w 12166780"/>
              <a:gd name="connsiteY2" fmla="*/ 2043281 h 2043646"/>
              <a:gd name="connsiteX3" fmla="*/ 1 w 12166780"/>
              <a:gd name="connsiteY3" fmla="*/ 1842242 h 2043646"/>
              <a:gd name="connsiteX0" fmla="*/ 1 w 12166780"/>
              <a:gd name="connsiteY0" fmla="*/ 1842242 h 2024244"/>
              <a:gd name="connsiteX1" fmla="*/ 12165985 w 12166780"/>
              <a:gd name="connsiteY1" fmla="*/ 473 h 2024244"/>
              <a:gd name="connsiteX2" fmla="*/ 12159575 w 12166780"/>
              <a:gd name="connsiteY2" fmla="*/ 2023826 h 2024244"/>
              <a:gd name="connsiteX3" fmla="*/ 1 w 12166780"/>
              <a:gd name="connsiteY3" fmla="*/ 1842242 h 2024244"/>
              <a:gd name="connsiteX0" fmla="*/ 1 w 12179031"/>
              <a:gd name="connsiteY0" fmla="*/ 1842242 h 2037177"/>
              <a:gd name="connsiteX1" fmla="*/ 12165985 w 12179031"/>
              <a:gd name="connsiteY1" fmla="*/ 473 h 2037177"/>
              <a:gd name="connsiteX2" fmla="*/ 12179030 w 12179031"/>
              <a:gd name="connsiteY2" fmla="*/ 2036796 h 2037177"/>
              <a:gd name="connsiteX3" fmla="*/ 1 w 12179031"/>
              <a:gd name="connsiteY3" fmla="*/ 1842242 h 2037177"/>
              <a:gd name="connsiteX0" fmla="*/ 1 w 12167248"/>
              <a:gd name="connsiteY0" fmla="*/ 1842242 h 2056588"/>
              <a:gd name="connsiteX1" fmla="*/ 12165985 w 12167248"/>
              <a:gd name="connsiteY1" fmla="*/ 473 h 2056588"/>
              <a:gd name="connsiteX2" fmla="*/ 12166060 w 12167248"/>
              <a:gd name="connsiteY2" fmla="*/ 2056251 h 2056588"/>
              <a:gd name="connsiteX3" fmla="*/ 1 w 12167248"/>
              <a:gd name="connsiteY3" fmla="*/ 1842242 h 2056588"/>
              <a:gd name="connsiteX0" fmla="*/ 1 w 12192002"/>
              <a:gd name="connsiteY0" fmla="*/ 1842242 h 2024244"/>
              <a:gd name="connsiteX1" fmla="*/ 12165985 w 12192002"/>
              <a:gd name="connsiteY1" fmla="*/ 473 h 2024244"/>
              <a:gd name="connsiteX2" fmla="*/ 12192001 w 12192002"/>
              <a:gd name="connsiteY2" fmla="*/ 2023826 h 2024244"/>
              <a:gd name="connsiteX3" fmla="*/ 1 w 12192002"/>
              <a:gd name="connsiteY3" fmla="*/ 1842242 h 2024244"/>
              <a:gd name="connsiteX0" fmla="*/ 1 w 12167248"/>
              <a:gd name="connsiteY0" fmla="*/ 1842242 h 2050117"/>
              <a:gd name="connsiteX1" fmla="*/ 12165985 w 12167248"/>
              <a:gd name="connsiteY1" fmla="*/ 473 h 2050117"/>
              <a:gd name="connsiteX2" fmla="*/ 12166061 w 12167248"/>
              <a:gd name="connsiteY2" fmla="*/ 2049767 h 2050117"/>
              <a:gd name="connsiteX3" fmla="*/ 1 w 12167248"/>
              <a:gd name="connsiteY3" fmla="*/ 1842242 h 2050117"/>
              <a:gd name="connsiteX0" fmla="*/ 1 w 12166780"/>
              <a:gd name="connsiteY0" fmla="*/ 1842242 h 2024245"/>
              <a:gd name="connsiteX1" fmla="*/ 12165985 w 12166780"/>
              <a:gd name="connsiteY1" fmla="*/ 473 h 2024245"/>
              <a:gd name="connsiteX2" fmla="*/ 12159576 w 12166780"/>
              <a:gd name="connsiteY2" fmla="*/ 2023827 h 2024245"/>
              <a:gd name="connsiteX3" fmla="*/ 1 w 12166780"/>
              <a:gd name="connsiteY3" fmla="*/ 1842242 h 2024245"/>
              <a:gd name="connsiteX0" fmla="*/ 1 w 12172548"/>
              <a:gd name="connsiteY0" fmla="*/ 1842242 h 2043647"/>
              <a:gd name="connsiteX1" fmla="*/ 12165985 w 12172548"/>
              <a:gd name="connsiteY1" fmla="*/ 473 h 2043647"/>
              <a:gd name="connsiteX2" fmla="*/ 12172547 w 12172548"/>
              <a:gd name="connsiteY2" fmla="*/ 2043282 h 2043647"/>
              <a:gd name="connsiteX3" fmla="*/ 1 w 12172548"/>
              <a:gd name="connsiteY3" fmla="*/ 1842242 h 2043647"/>
              <a:gd name="connsiteX0" fmla="*/ 1 w 12166566"/>
              <a:gd name="connsiteY0" fmla="*/ 1842242 h 2030711"/>
              <a:gd name="connsiteX1" fmla="*/ 12165985 w 12166566"/>
              <a:gd name="connsiteY1" fmla="*/ 473 h 2030711"/>
              <a:gd name="connsiteX2" fmla="*/ 12153091 w 12166566"/>
              <a:gd name="connsiteY2" fmla="*/ 2030312 h 2030711"/>
              <a:gd name="connsiteX3" fmla="*/ 1 w 12166566"/>
              <a:gd name="connsiteY3" fmla="*/ 1842242 h 2030711"/>
              <a:gd name="connsiteX0" fmla="*/ 1 w 12175317"/>
              <a:gd name="connsiteY0" fmla="*/ 1842242 h 2037043"/>
              <a:gd name="connsiteX1" fmla="*/ 12165985 w 12175317"/>
              <a:gd name="connsiteY1" fmla="*/ 473 h 2037043"/>
              <a:gd name="connsiteX2" fmla="*/ 12175316 w 12175317"/>
              <a:gd name="connsiteY2" fmla="*/ 2036662 h 2037043"/>
              <a:gd name="connsiteX3" fmla="*/ 1 w 12175317"/>
              <a:gd name="connsiteY3" fmla="*/ 1842242 h 2037043"/>
              <a:gd name="connsiteX0" fmla="*/ 1 w 12184842"/>
              <a:gd name="connsiteY0" fmla="*/ 1842242 h 2027545"/>
              <a:gd name="connsiteX1" fmla="*/ 12165985 w 12184842"/>
              <a:gd name="connsiteY1" fmla="*/ 473 h 2027545"/>
              <a:gd name="connsiteX2" fmla="*/ 12184841 w 12184842"/>
              <a:gd name="connsiteY2" fmla="*/ 2027137 h 2027545"/>
              <a:gd name="connsiteX3" fmla="*/ 1 w 12184842"/>
              <a:gd name="connsiteY3" fmla="*/ 1842242 h 2027545"/>
              <a:gd name="connsiteX0" fmla="*/ 1 w 12184842"/>
              <a:gd name="connsiteY0" fmla="*/ 1851765 h 2037068"/>
              <a:gd name="connsiteX1" fmla="*/ 12172335 w 12184842"/>
              <a:gd name="connsiteY1" fmla="*/ 471 h 2037068"/>
              <a:gd name="connsiteX2" fmla="*/ 12184841 w 12184842"/>
              <a:gd name="connsiteY2" fmla="*/ 2036660 h 2037068"/>
              <a:gd name="connsiteX3" fmla="*/ 1 w 12184842"/>
              <a:gd name="connsiteY3" fmla="*/ 1851765 h 2037068"/>
              <a:gd name="connsiteX0" fmla="*/ 1 w 12184842"/>
              <a:gd name="connsiteY0" fmla="*/ 1858113 h 2043416"/>
              <a:gd name="connsiteX1" fmla="*/ 12172335 w 12184842"/>
              <a:gd name="connsiteY1" fmla="*/ 469 h 2043416"/>
              <a:gd name="connsiteX2" fmla="*/ 12184841 w 12184842"/>
              <a:gd name="connsiteY2" fmla="*/ 2043008 h 2043416"/>
              <a:gd name="connsiteX3" fmla="*/ 1 w 12184842"/>
              <a:gd name="connsiteY3" fmla="*/ 1858113 h 2043416"/>
              <a:gd name="connsiteX0" fmla="*/ 1 w 12205863"/>
              <a:gd name="connsiteY0" fmla="*/ 1858113 h 1923107"/>
              <a:gd name="connsiteX1" fmla="*/ 12172335 w 12205863"/>
              <a:gd name="connsiteY1" fmla="*/ 469 h 1923107"/>
              <a:gd name="connsiteX2" fmla="*/ 12205862 w 12205863"/>
              <a:gd name="connsiteY2" fmla="*/ 1920222 h 1923107"/>
              <a:gd name="connsiteX3" fmla="*/ 1 w 12205863"/>
              <a:gd name="connsiteY3" fmla="*/ 1858113 h 1923107"/>
              <a:gd name="connsiteX0" fmla="*/ 1 w 12206057"/>
              <a:gd name="connsiteY0" fmla="*/ 1858113 h 1920221"/>
              <a:gd name="connsiteX1" fmla="*/ 12172335 w 12206057"/>
              <a:gd name="connsiteY1" fmla="*/ 469 h 1920221"/>
              <a:gd name="connsiteX2" fmla="*/ 12205862 w 12206057"/>
              <a:gd name="connsiteY2" fmla="*/ 1920222 h 1920221"/>
              <a:gd name="connsiteX3" fmla="*/ 1 w 12206057"/>
              <a:gd name="connsiteY3" fmla="*/ 1858113 h 1920221"/>
              <a:gd name="connsiteX0" fmla="*/ 1 w 12227078"/>
              <a:gd name="connsiteY0" fmla="*/ 1858113 h 1870508"/>
              <a:gd name="connsiteX1" fmla="*/ 12172335 w 12227078"/>
              <a:gd name="connsiteY1" fmla="*/ 469 h 1870508"/>
              <a:gd name="connsiteX2" fmla="*/ 12226883 w 12227078"/>
              <a:gd name="connsiteY2" fmla="*/ 1821993 h 1870508"/>
              <a:gd name="connsiteX3" fmla="*/ 1 w 12227078"/>
              <a:gd name="connsiteY3" fmla="*/ 1858113 h 1870508"/>
              <a:gd name="connsiteX0" fmla="*/ 1 w 12227078"/>
              <a:gd name="connsiteY0" fmla="*/ 1919492 h 1931888"/>
              <a:gd name="connsiteX1" fmla="*/ 12193355 w 12227078"/>
              <a:gd name="connsiteY1" fmla="*/ 454 h 1931888"/>
              <a:gd name="connsiteX2" fmla="*/ 12226883 w 12227078"/>
              <a:gd name="connsiteY2" fmla="*/ 1883372 h 1931888"/>
              <a:gd name="connsiteX3" fmla="*/ 1 w 12227078"/>
              <a:gd name="connsiteY3" fmla="*/ 1919492 h 1931888"/>
              <a:gd name="connsiteX0" fmla="*/ 1 w 12258608"/>
              <a:gd name="connsiteY0" fmla="*/ 1919492 h 1930198"/>
              <a:gd name="connsiteX1" fmla="*/ 12193355 w 12258608"/>
              <a:gd name="connsiteY1" fmla="*/ 454 h 1930198"/>
              <a:gd name="connsiteX2" fmla="*/ 12258414 w 12258608"/>
              <a:gd name="connsiteY2" fmla="*/ 1846536 h 1930198"/>
              <a:gd name="connsiteX3" fmla="*/ 1 w 12258608"/>
              <a:gd name="connsiteY3" fmla="*/ 1919492 h 1930198"/>
              <a:gd name="connsiteX0" fmla="*/ 1 w 12193819"/>
              <a:gd name="connsiteY0" fmla="*/ 1919492 h 1932582"/>
              <a:gd name="connsiteX1" fmla="*/ 12193355 w 12193819"/>
              <a:gd name="connsiteY1" fmla="*/ 454 h 1932582"/>
              <a:gd name="connsiteX2" fmla="*/ 12174331 w 12193819"/>
              <a:gd name="connsiteY2" fmla="*/ 1895651 h 1932582"/>
              <a:gd name="connsiteX3" fmla="*/ 1 w 12193819"/>
              <a:gd name="connsiteY3" fmla="*/ 1919492 h 1932582"/>
              <a:gd name="connsiteX0" fmla="*/ 1 w 12193526"/>
              <a:gd name="connsiteY0" fmla="*/ 1919492 h 1932582"/>
              <a:gd name="connsiteX1" fmla="*/ 12193355 w 12193526"/>
              <a:gd name="connsiteY1" fmla="*/ 454 h 1932582"/>
              <a:gd name="connsiteX2" fmla="*/ 12174331 w 12193526"/>
              <a:gd name="connsiteY2" fmla="*/ 1895651 h 1932582"/>
              <a:gd name="connsiteX3" fmla="*/ 1 w 12193526"/>
              <a:gd name="connsiteY3" fmla="*/ 1919492 h 1932582"/>
              <a:gd name="connsiteX0" fmla="*/ 1 w 12193526"/>
              <a:gd name="connsiteY0" fmla="*/ 1919492 h 1938518"/>
              <a:gd name="connsiteX1" fmla="*/ 12193355 w 12193526"/>
              <a:gd name="connsiteY1" fmla="*/ 454 h 1938518"/>
              <a:gd name="connsiteX2" fmla="*/ 12174331 w 12193526"/>
              <a:gd name="connsiteY2" fmla="*/ 1895651 h 1938518"/>
              <a:gd name="connsiteX3" fmla="*/ 1 w 12193526"/>
              <a:gd name="connsiteY3" fmla="*/ 1919492 h 1938518"/>
              <a:gd name="connsiteX0" fmla="*/ 1 w 12193584"/>
              <a:gd name="connsiteY0" fmla="*/ 1919492 h 1938518"/>
              <a:gd name="connsiteX1" fmla="*/ 12193355 w 12193584"/>
              <a:gd name="connsiteY1" fmla="*/ 454 h 1938518"/>
              <a:gd name="connsiteX2" fmla="*/ 12174331 w 12193584"/>
              <a:gd name="connsiteY2" fmla="*/ 1895651 h 1938518"/>
              <a:gd name="connsiteX3" fmla="*/ 1 w 12193584"/>
              <a:gd name="connsiteY3" fmla="*/ 1919492 h 1938518"/>
              <a:gd name="connsiteX0" fmla="*/ 1 w 12193468"/>
              <a:gd name="connsiteY0" fmla="*/ 1919492 h 1933905"/>
              <a:gd name="connsiteX1" fmla="*/ 12193355 w 12193468"/>
              <a:gd name="connsiteY1" fmla="*/ 454 h 1933905"/>
              <a:gd name="connsiteX2" fmla="*/ 12111269 w 12193468"/>
              <a:gd name="connsiteY2" fmla="*/ 1846537 h 1933905"/>
              <a:gd name="connsiteX3" fmla="*/ 1 w 12193468"/>
              <a:gd name="connsiteY3" fmla="*/ 1919492 h 1933905"/>
              <a:gd name="connsiteX0" fmla="*/ 1 w 12193632"/>
              <a:gd name="connsiteY0" fmla="*/ 1919492 h 1940184"/>
              <a:gd name="connsiteX1" fmla="*/ 12193355 w 12193632"/>
              <a:gd name="connsiteY1" fmla="*/ 454 h 1940184"/>
              <a:gd name="connsiteX2" fmla="*/ 12184841 w 12193632"/>
              <a:gd name="connsiteY2" fmla="*/ 1907931 h 1940184"/>
              <a:gd name="connsiteX3" fmla="*/ 1 w 12193632"/>
              <a:gd name="connsiteY3" fmla="*/ 1919492 h 1940184"/>
              <a:gd name="connsiteX0" fmla="*/ 1 w 12193376"/>
              <a:gd name="connsiteY0" fmla="*/ 1919492 h 1923285"/>
              <a:gd name="connsiteX1" fmla="*/ 12193355 w 12193376"/>
              <a:gd name="connsiteY1" fmla="*/ 454 h 1923285"/>
              <a:gd name="connsiteX2" fmla="*/ 11586288 w 12193376"/>
              <a:gd name="connsiteY2" fmla="*/ 1274881 h 1923285"/>
              <a:gd name="connsiteX3" fmla="*/ 1 w 12193376"/>
              <a:gd name="connsiteY3" fmla="*/ 1919492 h 1923285"/>
              <a:gd name="connsiteX0" fmla="*/ 1 w 12211564"/>
              <a:gd name="connsiteY0" fmla="*/ 1919492 h 1940184"/>
              <a:gd name="connsiteX1" fmla="*/ 12193355 w 12211564"/>
              <a:gd name="connsiteY1" fmla="*/ 454 h 1940184"/>
              <a:gd name="connsiteX2" fmla="*/ 12211564 w 12211564"/>
              <a:gd name="connsiteY2" fmla="*/ 1907932 h 1940184"/>
              <a:gd name="connsiteX3" fmla="*/ 1 w 12211564"/>
              <a:gd name="connsiteY3" fmla="*/ 1919492 h 1940184"/>
              <a:gd name="connsiteX0" fmla="*/ 1 w 12142089"/>
              <a:gd name="connsiteY0" fmla="*/ 1913227 h 1934891"/>
              <a:gd name="connsiteX1" fmla="*/ 12123880 w 12142089"/>
              <a:gd name="connsiteY1" fmla="*/ 456 h 1934891"/>
              <a:gd name="connsiteX2" fmla="*/ 12142089 w 12142089"/>
              <a:gd name="connsiteY2" fmla="*/ 1907934 h 1934891"/>
              <a:gd name="connsiteX3" fmla="*/ 1 w 12142089"/>
              <a:gd name="connsiteY3" fmla="*/ 1913227 h 1934891"/>
              <a:gd name="connsiteX0" fmla="*/ 2 w 12142090"/>
              <a:gd name="connsiteY0" fmla="*/ 1913227 h 1913226"/>
              <a:gd name="connsiteX1" fmla="*/ 12123881 w 12142090"/>
              <a:gd name="connsiteY1" fmla="*/ 456 h 1913226"/>
              <a:gd name="connsiteX2" fmla="*/ 12142090 w 12142090"/>
              <a:gd name="connsiteY2" fmla="*/ 1907934 h 1913226"/>
              <a:gd name="connsiteX3" fmla="*/ 2 w 12142090"/>
              <a:gd name="connsiteY3" fmla="*/ 1913227 h 1913226"/>
              <a:gd name="connsiteX0" fmla="*/ 3 w 12093993"/>
              <a:gd name="connsiteY0" fmla="*/ 1919495 h 1919495"/>
              <a:gd name="connsiteX1" fmla="*/ 12075784 w 12093993"/>
              <a:gd name="connsiteY1" fmla="*/ 455 h 1919495"/>
              <a:gd name="connsiteX2" fmla="*/ 12093993 w 12093993"/>
              <a:gd name="connsiteY2" fmla="*/ 1907933 h 1919495"/>
              <a:gd name="connsiteX3" fmla="*/ 3 w 12093993"/>
              <a:gd name="connsiteY3" fmla="*/ 1919495 h 1919495"/>
              <a:gd name="connsiteX0" fmla="*/ 3 w 12126172"/>
              <a:gd name="connsiteY0" fmla="*/ 1919495 h 1919495"/>
              <a:gd name="connsiteX1" fmla="*/ 12075784 w 12126172"/>
              <a:gd name="connsiteY1" fmla="*/ 455 h 1919495"/>
              <a:gd name="connsiteX2" fmla="*/ 12126172 w 12126172"/>
              <a:gd name="connsiteY2" fmla="*/ 1895062 h 1919495"/>
              <a:gd name="connsiteX3" fmla="*/ 3 w 12126172"/>
              <a:gd name="connsiteY3" fmla="*/ 1919495 h 1919495"/>
              <a:gd name="connsiteX0" fmla="*/ 3 w 12088629"/>
              <a:gd name="connsiteY0" fmla="*/ 1919495 h 1919495"/>
              <a:gd name="connsiteX1" fmla="*/ 12075784 w 12088629"/>
              <a:gd name="connsiteY1" fmla="*/ 455 h 1919495"/>
              <a:gd name="connsiteX2" fmla="*/ 12088629 w 12088629"/>
              <a:gd name="connsiteY2" fmla="*/ 1907935 h 1919495"/>
              <a:gd name="connsiteX3" fmla="*/ 3 w 12088629"/>
              <a:gd name="connsiteY3" fmla="*/ 1919495 h 1919495"/>
              <a:gd name="connsiteX0" fmla="*/ 3 w 12088645"/>
              <a:gd name="connsiteY0" fmla="*/ 1919495 h 1920291"/>
              <a:gd name="connsiteX1" fmla="*/ 12075784 w 12088645"/>
              <a:gd name="connsiteY1" fmla="*/ 455 h 1920291"/>
              <a:gd name="connsiteX2" fmla="*/ 12088629 w 12088645"/>
              <a:gd name="connsiteY2" fmla="*/ 1907935 h 1920291"/>
              <a:gd name="connsiteX3" fmla="*/ 3 w 12088645"/>
              <a:gd name="connsiteY3" fmla="*/ 1919495 h 1920291"/>
              <a:gd name="connsiteX0" fmla="*/ 3 w 12088645"/>
              <a:gd name="connsiteY0" fmla="*/ 1919495 h 1920290"/>
              <a:gd name="connsiteX1" fmla="*/ 12075784 w 12088645"/>
              <a:gd name="connsiteY1" fmla="*/ 455 h 1920290"/>
              <a:gd name="connsiteX2" fmla="*/ 12088629 w 12088645"/>
              <a:gd name="connsiteY2" fmla="*/ 1907935 h 1920290"/>
              <a:gd name="connsiteX3" fmla="*/ 3 w 12088645"/>
              <a:gd name="connsiteY3" fmla="*/ 1919495 h 1920290"/>
              <a:gd name="connsiteX0" fmla="*/ 3 w 12094009"/>
              <a:gd name="connsiteY0" fmla="*/ 1919495 h 1919494"/>
              <a:gd name="connsiteX1" fmla="*/ 12075784 w 12094009"/>
              <a:gd name="connsiteY1" fmla="*/ 455 h 1919494"/>
              <a:gd name="connsiteX2" fmla="*/ 12093993 w 12094009"/>
              <a:gd name="connsiteY2" fmla="*/ 1882192 h 1919494"/>
              <a:gd name="connsiteX3" fmla="*/ 3 w 12094009"/>
              <a:gd name="connsiteY3" fmla="*/ 1919495 h 1919494"/>
              <a:gd name="connsiteX0" fmla="*/ 3 w 12099372"/>
              <a:gd name="connsiteY0" fmla="*/ 1919495 h 1920290"/>
              <a:gd name="connsiteX1" fmla="*/ 12075784 w 12099372"/>
              <a:gd name="connsiteY1" fmla="*/ 455 h 1920290"/>
              <a:gd name="connsiteX2" fmla="*/ 12099356 w 12099372"/>
              <a:gd name="connsiteY2" fmla="*/ 1907935 h 1920290"/>
              <a:gd name="connsiteX3" fmla="*/ 3 w 12099372"/>
              <a:gd name="connsiteY3" fmla="*/ 1919495 h 1920290"/>
              <a:gd name="connsiteX0" fmla="*/ 3 w 12099372"/>
              <a:gd name="connsiteY0" fmla="*/ 1919495 h 1920290"/>
              <a:gd name="connsiteX1" fmla="*/ 12075784 w 12099372"/>
              <a:gd name="connsiteY1" fmla="*/ 455 h 1920290"/>
              <a:gd name="connsiteX2" fmla="*/ 12099356 w 12099372"/>
              <a:gd name="connsiteY2" fmla="*/ 1907935 h 1920290"/>
              <a:gd name="connsiteX3" fmla="*/ 3 w 12099372"/>
              <a:gd name="connsiteY3" fmla="*/ 1919495 h 1920290"/>
              <a:gd name="connsiteX0" fmla="*/ 3 w 12075784"/>
              <a:gd name="connsiteY0" fmla="*/ 1919495 h 1919494"/>
              <a:gd name="connsiteX1" fmla="*/ 12075784 w 12075784"/>
              <a:gd name="connsiteY1" fmla="*/ 455 h 1919494"/>
              <a:gd name="connsiteX2" fmla="*/ 11874101 w 12075784"/>
              <a:gd name="connsiteY2" fmla="*/ 1901500 h 1919494"/>
              <a:gd name="connsiteX3" fmla="*/ 3 w 12075784"/>
              <a:gd name="connsiteY3" fmla="*/ 1919495 h 1919494"/>
              <a:gd name="connsiteX0" fmla="*/ 3 w 12083281"/>
              <a:gd name="connsiteY0" fmla="*/ 1919495 h 1920290"/>
              <a:gd name="connsiteX1" fmla="*/ 12075784 w 12083281"/>
              <a:gd name="connsiteY1" fmla="*/ 455 h 1920290"/>
              <a:gd name="connsiteX2" fmla="*/ 12083265 w 12083281"/>
              <a:gd name="connsiteY2" fmla="*/ 1907937 h 1920290"/>
              <a:gd name="connsiteX3" fmla="*/ 3 w 12083281"/>
              <a:gd name="connsiteY3" fmla="*/ 1919495 h 1920290"/>
              <a:gd name="connsiteX0" fmla="*/ 3 w 12083281"/>
              <a:gd name="connsiteY0" fmla="*/ 1919495 h 1920290"/>
              <a:gd name="connsiteX1" fmla="*/ 12075784 w 12083281"/>
              <a:gd name="connsiteY1" fmla="*/ 455 h 1920290"/>
              <a:gd name="connsiteX2" fmla="*/ 12083265 w 12083281"/>
              <a:gd name="connsiteY2" fmla="*/ 1907937 h 1920290"/>
              <a:gd name="connsiteX3" fmla="*/ 3 w 12083281"/>
              <a:gd name="connsiteY3" fmla="*/ 1919495 h 1920290"/>
              <a:gd name="connsiteX0" fmla="*/ 3 w 12083281"/>
              <a:gd name="connsiteY0" fmla="*/ 1911291 h 1912086"/>
              <a:gd name="connsiteX1" fmla="*/ 12075784 w 12083281"/>
              <a:gd name="connsiteY1" fmla="*/ 457 h 1912086"/>
              <a:gd name="connsiteX2" fmla="*/ 12083265 w 12083281"/>
              <a:gd name="connsiteY2" fmla="*/ 1899733 h 1912086"/>
              <a:gd name="connsiteX3" fmla="*/ 3 w 12083281"/>
              <a:gd name="connsiteY3" fmla="*/ 1911291 h 1912086"/>
            </a:gdLst>
            <a:ahLst/>
            <a:cxnLst>
              <a:cxn ang="0">
                <a:pos x="connsiteX0" y="connsiteY0"/>
              </a:cxn>
              <a:cxn ang="0">
                <a:pos x="connsiteX1" y="connsiteY1"/>
              </a:cxn>
              <a:cxn ang="0">
                <a:pos x="connsiteX2" y="connsiteY2"/>
              </a:cxn>
              <a:cxn ang="0">
                <a:pos x="connsiteX3" y="connsiteY3"/>
              </a:cxn>
            </a:cxnLst>
            <a:rect l="l" t="t" r="r" b="b"/>
            <a:pathLst>
              <a:path w="12083281" h="1912086">
                <a:moveTo>
                  <a:pt x="3" y="1911291"/>
                </a:moveTo>
                <a:cubicBezTo>
                  <a:pt x="-21" y="1906968"/>
                  <a:pt x="12056353" y="-34130"/>
                  <a:pt x="12075784" y="457"/>
                </a:cubicBezTo>
                <a:cubicBezTo>
                  <a:pt x="12064042" y="35635"/>
                  <a:pt x="12074201" y="1918487"/>
                  <a:pt x="12083265" y="1899733"/>
                </a:cubicBezTo>
                <a:cubicBezTo>
                  <a:pt x="12099828" y="1916595"/>
                  <a:pt x="-6259" y="1911302"/>
                  <a:pt x="3" y="1911291"/>
                </a:cubicBezTo>
                <a:close/>
              </a:path>
            </a:pathLst>
          </a:custGeom>
          <a:solidFill>
            <a:srgbClr val="95AE3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cxnSp>
        <p:nvCxnSpPr>
          <p:cNvPr id="34" name="Straight Connector 33">
            <a:extLst>
              <a:ext uri="{FF2B5EF4-FFF2-40B4-BE49-F238E27FC236}">
                <a16:creationId xmlns:a16="http://schemas.microsoft.com/office/drawing/2014/main" id="{449A330A-41AA-7A4F-99F4-71D013D58A04}"/>
              </a:ext>
            </a:extLst>
          </p:cNvPr>
          <p:cNvCxnSpPr>
            <a:cxnSpLocks/>
          </p:cNvCxnSpPr>
          <p:nvPr userDrawn="1"/>
        </p:nvCxnSpPr>
        <p:spPr bwMode="auto">
          <a:xfrm flipV="1">
            <a:off x="4192367" y="5486401"/>
            <a:ext cx="4951633" cy="1371599"/>
          </a:xfrm>
          <a:prstGeom prst="line">
            <a:avLst/>
          </a:prstGeom>
          <a:solidFill>
            <a:schemeClr val="hlink"/>
          </a:solidFill>
          <a:ln w="12700" cap="flat" cmpd="sng" algn="ctr">
            <a:solidFill>
              <a:schemeClr val="bg1">
                <a:lumMod val="85000"/>
              </a:schemeClr>
            </a:solidFill>
            <a:prstDash val="solid"/>
            <a:round/>
            <a:headEnd type="none" w="med" len="med"/>
            <a:tailEnd type="none" w="med" len="med"/>
          </a:ln>
          <a:effectLst/>
        </p:spPr>
      </p:cxnSp>
      <p:sp>
        <p:nvSpPr>
          <p:cNvPr id="35" name="Triangle 40">
            <a:extLst>
              <a:ext uri="{FF2B5EF4-FFF2-40B4-BE49-F238E27FC236}">
                <a16:creationId xmlns:a16="http://schemas.microsoft.com/office/drawing/2014/main" id="{A33614E0-BB91-5F44-8FB2-4B2B37CB9EB6}"/>
              </a:ext>
            </a:extLst>
          </p:cNvPr>
          <p:cNvSpPr/>
          <p:nvPr userDrawn="1"/>
        </p:nvSpPr>
        <p:spPr bwMode="auto">
          <a:xfrm rot="8472601" flipH="1" flipV="1">
            <a:off x="6172249" y="4963974"/>
            <a:ext cx="3771331" cy="1230334"/>
          </a:xfrm>
          <a:custGeom>
            <a:avLst/>
            <a:gdLst>
              <a:gd name="connsiteX0" fmla="*/ 0 w 12192000"/>
              <a:gd name="connsiteY0" fmla="*/ 2036323 h 2036323"/>
              <a:gd name="connsiteX1" fmla="*/ 12178955 w 12192000"/>
              <a:gd name="connsiteY1" fmla="*/ 0 h 2036323"/>
              <a:gd name="connsiteX2" fmla="*/ 12192000 w 12192000"/>
              <a:gd name="connsiteY2" fmla="*/ 2036323 h 2036323"/>
              <a:gd name="connsiteX3" fmla="*/ 0 w 12192000"/>
              <a:gd name="connsiteY3" fmla="*/ 2036323 h 2036323"/>
              <a:gd name="connsiteX0" fmla="*/ 0 w 12204970"/>
              <a:gd name="connsiteY0" fmla="*/ 1880680 h 2036323"/>
              <a:gd name="connsiteX1" fmla="*/ 12191925 w 12204970"/>
              <a:gd name="connsiteY1" fmla="*/ 0 h 2036323"/>
              <a:gd name="connsiteX2" fmla="*/ 12204970 w 12204970"/>
              <a:gd name="connsiteY2" fmla="*/ 2036323 h 2036323"/>
              <a:gd name="connsiteX3" fmla="*/ 0 w 12204970"/>
              <a:gd name="connsiteY3" fmla="*/ 1880680 h 2036323"/>
              <a:gd name="connsiteX0" fmla="*/ 0 w 12192096"/>
              <a:gd name="connsiteY0" fmla="*/ 1880680 h 1906621"/>
              <a:gd name="connsiteX1" fmla="*/ 12191925 w 12192096"/>
              <a:gd name="connsiteY1" fmla="*/ 0 h 1906621"/>
              <a:gd name="connsiteX2" fmla="*/ 12120664 w 12192096"/>
              <a:gd name="connsiteY2" fmla="*/ 1906621 h 1906621"/>
              <a:gd name="connsiteX3" fmla="*/ 0 w 12192096"/>
              <a:gd name="connsiteY3" fmla="*/ 1880680 h 1906621"/>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9673"/>
              <a:gd name="connsiteY0" fmla="*/ 1867710 h 2049294"/>
              <a:gd name="connsiteX1" fmla="*/ 12198410 w 12199673"/>
              <a:gd name="connsiteY1" fmla="*/ 0 h 2049294"/>
              <a:gd name="connsiteX2" fmla="*/ 12198485 w 12199673"/>
              <a:gd name="connsiteY2" fmla="*/ 2049294 h 2049294"/>
              <a:gd name="connsiteX3" fmla="*/ 0 w 12199673"/>
              <a:gd name="connsiteY3" fmla="*/ 1867710 h 2049294"/>
              <a:gd name="connsiteX0" fmla="*/ 0 w 12199673"/>
              <a:gd name="connsiteY0" fmla="*/ 1867710 h 2329173"/>
              <a:gd name="connsiteX1" fmla="*/ 12198410 w 12199673"/>
              <a:gd name="connsiteY1" fmla="*/ 0 h 2329173"/>
              <a:gd name="connsiteX2" fmla="*/ 12198485 w 12199673"/>
              <a:gd name="connsiteY2" fmla="*/ 2049294 h 2329173"/>
              <a:gd name="connsiteX3" fmla="*/ 0 w 12199673"/>
              <a:gd name="connsiteY3" fmla="*/ 1867710 h 2329173"/>
              <a:gd name="connsiteX0" fmla="*/ 0 w 12199673"/>
              <a:gd name="connsiteY0" fmla="*/ 1867710 h 2049294"/>
              <a:gd name="connsiteX1" fmla="*/ 12198410 w 12199673"/>
              <a:gd name="connsiteY1" fmla="*/ 0 h 2049294"/>
              <a:gd name="connsiteX2" fmla="*/ 12198485 w 12199673"/>
              <a:gd name="connsiteY2" fmla="*/ 2049294 h 2049294"/>
              <a:gd name="connsiteX3" fmla="*/ 0 w 12199673"/>
              <a:gd name="connsiteY3" fmla="*/ 1867710 h 2049294"/>
              <a:gd name="connsiteX0" fmla="*/ 1 w 12167248"/>
              <a:gd name="connsiteY0" fmla="*/ 1861225 h 2049294"/>
              <a:gd name="connsiteX1" fmla="*/ 12165985 w 12167248"/>
              <a:gd name="connsiteY1" fmla="*/ 0 h 2049294"/>
              <a:gd name="connsiteX2" fmla="*/ 12166060 w 12167248"/>
              <a:gd name="connsiteY2" fmla="*/ 2049294 h 2049294"/>
              <a:gd name="connsiteX3" fmla="*/ 1 w 12167248"/>
              <a:gd name="connsiteY3" fmla="*/ 1861225 h 2049294"/>
              <a:gd name="connsiteX0" fmla="*/ 1 w 12167248"/>
              <a:gd name="connsiteY0" fmla="*/ 1841769 h 2029838"/>
              <a:gd name="connsiteX1" fmla="*/ 12165985 w 12167248"/>
              <a:gd name="connsiteY1" fmla="*/ 0 h 2029838"/>
              <a:gd name="connsiteX2" fmla="*/ 12166060 w 12167248"/>
              <a:gd name="connsiteY2" fmla="*/ 2029838 h 2029838"/>
              <a:gd name="connsiteX3" fmla="*/ 1 w 12167248"/>
              <a:gd name="connsiteY3" fmla="*/ 1841769 h 2029838"/>
              <a:gd name="connsiteX0" fmla="*/ 1 w 12167248"/>
              <a:gd name="connsiteY0" fmla="*/ 1842242 h 2030311"/>
              <a:gd name="connsiteX1" fmla="*/ 12165985 w 12167248"/>
              <a:gd name="connsiteY1" fmla="*/ 473 h 2030311"/>
              <a:gd name="connsiteX2" fmla="*/ 12166060 w 12167248"/>
              <a:gd name="connsiteY2" fmla="*/ 2030311 h 2030311"/>
              <a:gd name="connsiteX3" fmla="*/ 1 w 12167248"/>
              <a:gd name="connsiteY3" fmla="*/ 1842242 h 2030311"/>
              <a:gd name="connsiteX0" fmla="*/ 1 w 12167248"/>
              <a:gd name="connsiteY0" fmla="*/ 1842242 h 2030710"/>
              <a:gd name="connsiteX1" fmla="*/ 12165985 w 12167248"/>
              <a:gd name="connsiteY1" fmla="*/ 473 h 2030710"/>
              <a:gd name="connsiteX2" fmla="*/ 12166060 w 12167248"/>
              <a:gd name="connsiteY2" fmla="*/ 2030311 h 2030710"/>
              <a:gd name="connsiteX3" fmla="*/ 1 w 12167248"/>
              <a:gd name="connsiteY3" fmla="*/ 1842242 h 2030710"/>
              <a:gd name="connsiteX0" fmla="*/ 1 w 12167248"/>
              <a:gd name="connsiteY0" fmla="*/ 1842242 h 2030710"/>
              <a:gd name="connsiteX1" fmla="*/ 12165985 w 12167248"/>
              <a:gd name="connsiteY1" fmla="*/ 473 h 2030710"/>
              <a:gd name="connsiteX2" fmla="*/ 12166060 w 12167248"/>
              <a:gd name="connsiteY2" fmla="*/ 2030311 h 2030710"/>
              <a:gd name="connsiteX3" fmla="*/ 1 w 12167248"/>
              <a:gd name="connsiteY3" fmla="*/ 1842242 h 2030710"/>
              <a:gd name="connsiteX0" fmla="*/ 1 w 12166780"/>
              <a:gd name="connsiteY0" fmla="*/ 1842242 h 2043646"/>
              <a:gd name="connsiteX1" fmla="*/ 12165985 w 12166780"/>
              <a:gd name="connsiteY1" fmla="*/ 473 h 2043646"/>
              <a:gd name="connsiteX2" fmla="*/ 12159575 w 12166780"/>
              <a:gd name="connsiteY2" fmla="*/ 2043281 h 2043646"/>
              <a:gd name="connsiteX3" fmla="*/ 1 w 12166780"/>
              <a:gd name="connsiteY3" fmla="*/ 1842242 h 2043646"/>
              <a:gd name="connsiteX0" fmla="*/ 1 w 12166780"/>
              <a:gd name="connsiteY0" fmla="*/ 1842242 h 2024244"/>
              <a:gd name="connsiteX1" fmla="*/ 12165985 w 12166780"/>
              <a:gd name="connsiteY1" fmla="*/ 473 h 2024244"/>
              <a:gd name="connsiteX2" fmla="*/ 12159575 w 12166780"/>
              <a:gd name="connsiteY2" fmla="*/ 2023826 h 2024244"/>
              <a:gd name="connsiteX3" fmla="*/ 1 w 12166780"/>
              <a:gd name="connsiteY3" fmla="*/ 1842242 h 2024244"/>
              <a:gd name="connsiteX0" fmla="*/ 1 w 12179031"/>
              <a:gd name="connsiteY0" fmla="*/ 1842242 h 2037177"/>
              <a:gd name="connsiteX1" fmla="*/ 12165985 w 12179031"/>
              <a:gd name="connsiteY1" fmla="*/ 473 h 2037177"/>
              <a:gd name="connsiteX2" fmla="*/ 12179030 w 12179031"/>
              <a:gd name="connsiteY2" fmla="*/ 2036796 h 2037177"/>
              <a:gd name="connsiteX3" fmla="*/ 1 w 12179031"/>
              <a:gd name="connsiteY3" fmla="*/ 1842242 h 2037177"/>
              <a:gd name="connsiteX0" fmla="*/ 1 w 12167248"/>
              <a:gd name="connsiteY0" fmla="*/ 1842242 h 2056588"/>
              <a:gd name="connsiteX1" fmla="*/ 12165985 w 12167248"/>
              <a:gd name="connsiteY1" fmla="*/ 473 h 2056588"/>
              <a:gd name="connsiteX2" fmla="*/ 12166060 w 12167248"/>
              <a:gd name="connsiteY2" fmla="*/ 2056251 h 2056588"/>
              <a:gd name="connsiteX3" fmla="*/ 1 w 12167248"/>
              <a:gd name="connsiteY3" fmla="*/ 1842242 h 2056588"/>
              <a:gd name="connsiteX0" fmla="*/ 1 w 12192002"/>
              <a:gd name="connsiteY0" fmla="*/ 1842242 h 2024244"/>
              <a:gd name="connsiteX1" fmla="*/ 12165985 w 12192002"/>
              <a:gd name="connsiteY1" fmla="*/ 473 h 2024244"/>
              <a:gd name="connsiteX2" fmla="*/ 12192001 w 12192002"/>
              <a:gd name="connsiteY2" fmla="*/ 2023826 h 2024244"/>
              <a:gd name="connsiteX3" fmla="*/ 1 w 12192002"/>
              <a:gd name="connsiteY3" fmla="*/ 1842242 h 2024244"/>
              <a:gd name="connsiteX0" fmla="*/ 1 w 12167248"/>
              <a:gd name="connsiteY0" fmla="*/ 1842242 h 2050117"/>
              <a:gd name="connsiteX1" fmla="*/ 12165985 w 12167248"/>
              <a:gd name="connsiteY1" fmla="*/ 473 h 2050117"/>
              <a:gd name="connsiteX2" fmla="*/ 12166061 w 12167248"/>
              <a:gd name="connsiteY2" fmla="*/ 2049767 h 2050117"/>
              <a:gd name="connsiteX3" fmla="*/ 1 w 12167248"/>
              <a:gd name="connsiteY3" fmla="*/ 1842242 h 2050117"/>
              <a:gd name="connsiteX0" fmla="*/ 1 w 12166780"/>
              <a:gd name="connsiteY0" fmla="*/ 1842242 h 2024245"/>
              <a:gd name="connsiteX1" fmla="*/ 12165985 w 12166780"/>
              <a:gd name="connsiteY1" fmla="*/ 473 h 2024245"/>
              <a:gd name="connsiteX2" fmla="*/ 12159576 w 12166780"/>
              <a:gd name="connsiteY2" fmla="*/ 2023827 h 2024245"/>
              <a:gd name="connsiteX3" fmla="*/ 1 w 12166780"/>
              <a:gd name="connsiteY3" fmla="*/ 1842242 h 2024245"/>
              <a:gd name="connsiteX0" fmla="*/ 1 w 12172548"/>
              <a:gd name="connsiteY0" fmla="*/ 1842242 h 2043647"/>
              <a:gd name="connsiteX1" fmla="*/ 12165985 w 12172548"/>
              <a:gd name="connsiteY1" fmla="*/ 473 h 2043647"/>
              <a:gd name="connsiteX2" fmla="*/ 12172547 w 12172548"/>
              <a:gd name="connsiteY2" fmla="*/ 2043282 h 2043647"/>
              <a:gd name="connsiteX3" fmla="*/ 1 w 12172548"/>
              <a:gd name="connsiteY3" fmla="*/ 1842242 h 2043647"/>
              <a:gd name="connsiteX0" fmla="*/ 1 w 12166566"/>
              <a:gd name="connsiteY0" fmla="*/ 1842242 h 2030711"/>
              <a:gd name="connsiteX1" fmla="*/ 12165985 w 12166566"/>
              <a:gd name="connsiteY1" fmla="*/ 473 h 2030711"/>
              <a:gd name="connsiteX2" fmla="*/ 12153091 w 12166566"/>
              <a:gd name="connsiteY2" fmla="*/ 2030312 h 2030711"/>
              <a:gd name="connsiteX3" fmla="*/ 1 w 12166566"/>
              <a:gd name="connsiteY3" fmla="*/ 1842242 h 2030711"/>
              <a:gd name="connsiteX0" fmla="*/ 1 w 12175317"/>
              <a:gd name="connsiteY0" fmla="*/ 1842242 h 2037043"/>
              <a:gd name="connsiteX1" fmla="*/ 12165985 w 12175317"/>
              <a:gd name="connsiteY1" fmla="*/ 473 h 2037043"/>
              <a:gd name="connsiteX2" fmla="*/ 12175316 w 12175317"/>
              <a:gd name="connsiteY2" fmla="*/ 2036662 h 2037043"/>
              <a:gd name="connsiteX3" fmla="*/ 1 w 12175317"/>
              <a:gd name="connsiteY3" fmla="*/ 1842242 h 2037043"/>
              <a:gd name="connsiteX0" fmla="*/ 1 w 12184842"/>
              <a:gd name="connsiteY0" fmla="*/ 1842242 h 2027545"/>
              <a:gd name="connsiteX1" fmla="*/ 12165985 w 12184842"/>
              <a:gd name="connsiteY1" fmla="*/ 473 h 2027545"/>
              <a:gd name="connsiteX2" fmla="*/ 12184841 w 12184842"/>
              <a:gd name="connsiteY2" fmla="*/ 2027137 h 2027545"/>
              <a:gd name="connsiteX3" fmla="*/ 1 w 12184842"/>
              <a:gd name="connsiteY3" fmla="*/ 1842242 h 2027545"/>
              <a:gd name="connsiteX0" fmla="*/ 1 w 12184842"/>
              <a:gd name="connsiteY0" fmla="*/ 1851765 h 2037068"/>
              <a:gd name="connsiteX1" fmla="*/ 12172335 w 12184842"/>
              <a:gd name="connsiteY1" fmla="*/ 471 h 2037068"/>
              <a:gd name="connsiteX2" fmla="*/ 12184841 w 12184842"/>
              <a:gd name="connsiteY2" fmla="*/ 2036660 h 2037068"/>
              <a:gd name="connsiteX3" fmla="*/ 1 w 12184842"/>
              <a:gd name="connsiteY3" fmla="*/ 1851765 h 2037068"/>
              <a:gd name="connsiteX0" fmla="*/ 1 w 12184842"/>
              <a:gd name="connsiteY0" fmla="*/ 1858113 h 2043416"/>
              <a:gd name="connsiteX1" fmla="*/ 12172335 w 12184842"/>
              <a:gd name="connsiteY1" fmla="*/ 469 h 2043416"/>
              <a:gd name="connsiteX2" fmla="*/ 12184841 w 12184842"/>
              <a:gd name="connsiteY2" fmla="*/ 2043008 h 2043416"/>
              <a:gd name="connsiteX3" fmla="*/ 1 w 12184842"/>
              <a:gd name="connsiteY3" fmla="*/ 1858113 h 2043416"/>
              <a:gd name="connsiteX0" fmla="*/ 1 w 12205863"/>
              <a:gd name="connsiteY0" fmla="*/ 1858113 h 1923107"/>
              <a:gd name="connsiteX1" fmla="*/ 12172335 w 12205863"/>
              <a:gd name="connsiteY1" fmla="*/ 469 h 1923107"/>
              <a:gd name="connsiteX2" fmla="*/ 12205862 w 12205863"/>
              <a:gd name="connsiteY2" fmla="*/ 1920222 h 1923107"/>
              <a:gd name="connsiteX3" fmla="*/ 1 w 12205863"/>
              <a:gd name="connsiteY3" fmla="*/ 1858113 h 1923107"/>
              <a:gd name="connsiteX0" fmla="*/ 1 w 12206057"/>
              <a:gd name="connsiteY0" fmla="*/ 1858113 h 1920221"/>
              <a:gd name="connsiteX1" fmla="*/ 12172335 w 12206057"/>
              <a:gd name="connsiteY1" fmla="*/ 469 h 1920221"/>
              <a:gd name="connsiteX2" fmla="*/ 12205862 w 12206057"/>
              <a:gd name="connsiteY2" fmla="*/ 1920222 h 1920221"/>
              <a:gd name="connsiteX3" fmla="*/ 1 w 12206057"/>
              <a:gd name="connsiteY3" fmla="*/ 1858113 h 1920221"/>
              <a:gd name="connsiteX0" fmla="*/ 1 w 12227078"/>
              <a:gd name="connsiteY0" fmla="*/ 1858113 h 1870508"/>
              <a:gd name="connsiteX1" fmla="*/ 12172335 w 12227078"/>
              <a:gd name="connsiteY1" fmla="*/ 469 h 1870508"/>
              <a:gd name="connsiteX2" fmla="*/ 12226883 w 12227078"/>
              <a:gd name="connsiteY2" fmla="*/ 1821993 h 1870508"/>
              <a:gd name="connsiteX3" fmla="*/ 1 w 12227078"/>
              <a:gd name="connsiteY3" fmla="*/ 1858113 h 1870508"/>
              <a:gd name="connsiteX0" fmla="*/ 1 w 12227078"/>
              <a:gd name="connsiteY0" fmla="*/ 1919492 h 1931888"/>
              <a:gd name="connsiteX1" fmla="*/ 12193355 w 12227078"/>
              <a:gd name="connsiteY1" fmla="*/ 454 h 1931888"/>
              <a:gd name="connsiteX2" fmla="*/ 12226883 w 12227078"/>
              <a:gd name="connsiteY2" fmla="*/ 1883372 h 1931888"/>
              <a:gd name="connsiteX3" fmla="*/ 1 w 12227078"/>
              <a:gd name="connsiteY3" fmla="*/ 1919492 h 1931888"/>
              <a:gd name="connsiteX0" fmla="*/ 1 w 12258608"/>
              <a:gd name="connsiteY0" fmla="*/ 1919492 h 1930198"/>
              <a:gd name="connsiteX1" fmla="*/ 12193355 w 12258608"/>
              <a:gd name="connsiteY1" fmla="*/ 454 h 1930198"/>
              <a:gd name="connsiteX2" fmla="*/ 12258414 w 12258608"/>
              <a:gd name="connsiteY2" fmla="*/ 1846536 h 1930198"/>
              <a:gd name="connsiteX3" fmla="*/ 1 w 12258608"/>
              <a:gd name="connsiteY3" fmla="*/ 1919492 h 1930198"/>
              <a:gd name="connsiteX0" fmla="*/ 1 w 12193819"/>
              <a:gd name="connsiteY0" fmla="*/ 1919492 h 1932582"/>
              <a:gd name="connsiteX1" fmla="*/ 12193355 w 12193819"/>
              <a:gd name="connsiteY1" fmla="*/ 454 h 1932582"/>
              <a:gd name="connsiteX2" fmla="*/ 12174331 w 12193819"/>
              <a:gd name="connsiteY2" fmla="*/ 1895651 h 1932582"/>
              <a:gd name="connsiteX3" fmla="*/ 1 w 12193819"/>
              <a:gd name="connsiteY3" fmla="*/ 1919492 h 1932582"/>
              <a:gd name="connsiteX0" fmla="*/ 1 w 12193526"/>
              <a:gd name="connsiteY0" fmla="*/ 1919492 h 1932582"/>
              <a:gd name="connsiteX1" fmla="*/ 12193355 w 12193526"/>
              <a:gd name="connsiteY1" fmla="*/ 454 h 1932582"/>
              <a:gd name="connsiteX2" fmla="*/ 12174331 w 12193526"/>
              <a:gd name="connsiteY2" fmla="*/ 1895651 h 1932582"/>
              <a:gd name="connsiteX3" fmla="*/ 1 w 12193526"/>
              <a:gd name="connsiteY3" fmla="*/ 1919492 h 1932582"/>
              <a:gd name="connsiteX0" fmla="*/ 1 w 12193526"/>
              <a:gd name="connsiteY0" fmla="*/ 1919492 h 1938518"/>
              <a:gd name="connsiteX1" fmla="*/ 12193355 w 12193526"/>
              <a:gd name="connsiteY1" fmla="*/ 454 h 1938518"/>
              <a:gd name="connsiteX2" fmla="*/ 12174331 w 12193526"/>
              <a:gd name="connsiteY2" fmla="*/ 1895651 h 1938518"/>
              <a:gd name="connsiteX3" fmla="*/ 1 w 12193526"/>
              <a:gd name="connsiteY3" fmla="*/ 1919492 h 1938518"/>
              <a:gd name="connsiteX0" fmla="*/ 1 w 12193584"/>
              <a:gd name="connsiteY0" fmla="*/ 1919492 h 1938518"/>
              <a:gd name="connsiteX1" fmla="*/ 12193355 w 12193584"/>
              <a:gd name="connsiteY1" fmla="*/ 454 h 1938518"/>
              <a:gd name="connsiteX2" fmla="*/ 12174331 w 12193584"/>
              <a:gd name="connsiteY2" fmla="*/ 1895651 h 1938518"/>
              <a:gd name="connsiteX3" fmla="*/ 1 w 12193584"/>
              <a:gd name="connsiteY3" fmla="*/ 1919492 h 1938518"/>
              <a:gd name="connsiteX0" fmla="*/ 1 w 12193468"/>
              <a:gd name="connsiteY0" fmla="*/ 1919492 h 1933905"/>
              <a:gd name="connsiteX1" fmla="*/ 12193355 w 12193468"/>
              <a:gd name="connsiteY1" fmla="*/ 454 h 1933905"/>
              <a:gd name="connsiteX2" fmla="*/ 12111269 w 12193468"/>
              <a:gd name="connsiteY2" fmla="*/ 1846537 h 1933905"/>
              <a:gd name="connsiteX3" fmla="*/ 1 w 12193468"/>
              <a:gd name="connsiteY3" fmla="*/ 1919492 h 1933905"/>
              <a:gd name="connsiteX0" fmla="*/ 1 w 12193632"/>
              <a:gd name="connsiteY0" fmla="*/ 1919492 h 1940184"/>
              <a:gd name="connsiteX1" fmla="*/ 12193355 w 12193632"/>
              <a:gd name="connsiteY1" fmla="*/ 454 h 1940184"/>
              <a:gd name="connsiteX2" fmla="*/ 12184841 w 12193632"/>
              <a:gd name="connsiteY2" fmla="*/ 1907931 h 1940184"/>
              <a:gd name="connsiteX3" fmla="*/ 1 w 12193632"/>
              <a:gd name="connsiteY3" fmla="*/ 1919492 h 1940184"/>
              <a:gd name="connsiteX0" fmla="*/ 1 w 12193376"/>
              <a:gd name="connsiteY0" fmla="*/ 1919492 h 1923285"/>
              <a:gd name="connsiteX1" fmla="*/ 12193355 w 12193376"/>
              <a:gd name="connsiteY1" fmla="*/ 454 h 1923285"/>
              <a:gd name="connsiteX2" fmla="*/ 11586288 w 12193376"/>
              <a:gd name="connsiteY2" fmla="*/ 1274881 h 1923285"/>
              <a:gd name="connsiteX3" fmla="*/ 1 w 12193376"/>
              <a:gd name="connsiteY3" fmla="*/ 1919492 h 1923285"/>
              <a:gd name="connsiteX0" fmla="*/ 1 w 12211564"/>
              <a:gd name="connsiteY0" fmla="*/ 1919492 h 1940184"/>
              <a:gd name="connsiteX1" fmla="*/ 12193355 w 12211564"/>
              <a:gd name="connsiteY1" fmla="*/ 454 h 1940184"/>
              <a:gd name="connsiteX2" fmla="*/ 12211564 w 12211564"/>
              <a:gd name="connsiteY2" fmla="*/ 1907932 h 1940184"/>
              <a:gd name="connsiteX3" fmla="*/ 1 w 12211564"/>
              <a:gd name="connsiteY3" fmla="*/ 1919492 h 1940184"/>
              <a:gd name="connsiteX0" fmla="*/ 1 w 12142089"/>
              <a:gd name="connsiteY0" fmla="*/ 1913227 h 1934891"/>
              <a:gd name="connsiteX1" fmla="*/ 12123880 w 12142089"/>
              <a:gd name="connsiteY1" fmla="*/ 456 h 1934891"/>
              <a:gd name="connsiteX2" fmla="*/ 12142089 w 12142089"/>
              <a:gd name="connsiteY2" fmla="*/ 1907934 h 1934891"/>
              <a:gd name="connsiteX3" fmla="*/ 1 w 12142089"/>
              <a:gd name="connsiteY3" fmla="*/ 1913227 h 1934891"/>
              <a:gd name="connsiteX0" fmla="*/ 2 w 12142090"/>
              <a:gd name="connsiteY0" fmla="*/ 1913227 h 1913226"/>
              <a:gd name="connsiteX1" fmla="*/ 12123881 w 12142090"/>
              <a:gd name="connsiteY1" fmla="*/ 456 h 1913226"/>
              <a:gd name="connsiteX2" fmla="*/ 12142090 w 12142090"/>
              <a:gd name="connsiteY2" fmla="*/ 1907934 h 1913226"/>
              <a:gd name="connsiteX3" fmla="*/ 2 w 12142090"/>
              <a:gd name="connsiteY3" fmla="*/ 1913227 h 1913226"/>
              <a:gd name="connsiteX0" fmla="*/ 3 w 12093993"/>
              <a:gd name="connsiteY0" fmla="*/ 1919495 h 1919495"/>
              <a:gd name="connsiteX1" fmla="*/ 12075784 w 12093993"/>
              <a:gd name="connsiteY1" fmla="*/ 455 h 1919495"/>
              <a:gd name="connsiteX2" fmla="*/ 12093993 w 12093993"/>
              <a:gd name="connsiteY2" fmla="*/ 1907933 h 1919495"/>
              <a:gd name="connsiteX3" fmla="*/ 3 w 12093993"/>
              <a:gd name="connsiteY3" fmla="*/ 1919495 h 1919495"/>
              <a:gd name="connsiteX0" fmla="*/ 3 w 12126172"/>
              <a:gd name="connsiteY0" fmla="*/ 1919495 h 1919495"/>
              <a:gd name="connsiteX1" fmla="*/ 12075784 w 12126172"/>
              <a:gd name="connsiteY1" fmla="*/ 455 h 1919495"/>
              <a:gd name="connsiteX2" fmla="*/ 12126172 w 12126172"/>
              <a:gd name="connsiteY2" fmla="*/ 1895062 h 1919495"/>
              <a:gd name="connsiteX3" fmla="*/ 3 w 12126172"/>
              <a:gd name="connsiteY3" fmla="*/ 1919495 h 1919495"/>
              <a:gd name="connsiteX0" fmla="*/ 3 w 12088629"/>
              <a:gd name="connsiteY0" fmla="*/ 1919495 h 1919495"/>
              <a:gd name="connsiteX1" fmla="*/ 12075784 w 12088629"/>
              <a:gd name="connsiteY1" fmla="*/ 455 h 1919495"/>
              <a:gd name="connsiteX2" fmla="*/ 12088629 w 12088629"/>
              <a:gd name="connsiteY2" fmla="*/ 1907935 h 1919495"/>
              <a:gd name="connsiteX3" fmla="*/ 3 w 12088629"/>
              <a:gd name="connsiteY3" fmla="*/ 1919495 h 1919495"/>
              <a:gd name="connsiteX0" fmla="*/ 3 w 12088645"/>
              <a:gd name="connsiteY0" fmla="*/ 1919495 h 1920291"/>
              <a:gd name="connsiteX1" fmla="*/ 12075784 w 12088645"/>
              <a:gd name="connsiteY1" fmla="*/ 455 h 1920291"/>
              <a:gd name="connsiteX2" fmla="*/ 12088629 w 12088645"/>
              <a:gd name="connsiteY2" fmla="*/ 1907935 h 1920291"/>
              <a:gd name="connsiteX3" fmla="*/ 3 w 12088645"/>
              <a:gd name="connsiteY3" fmla="*/ 1919495 h 1920291"/>
              <a:gd name="connsiteX0" fmla="*/ 3 w 12088645"/>
              <a:gd name="connsiteY0" fmla="*/ 1919495 h 1920290"/>
              <a:gd name="connsiteX1" fmla="*/ 12075784 w 12088645"/>
              <a:gd name="connsiteY1" fmla="*/ 455 h 1920290"/>
              <a:gd name="connsiteX2" fmla="*/ 12088629 w 12088645"/>
              <a:gd name="connsiteY2" fmla="*/ 1907935 h 1920290"/>
              <a:gd name="connsiteX3" fmla="*/ 3 w 12088645"/>
              <a:gd name="connsiteY3" fmla="*/ 1919495 h 1920290"/>
              <a:gd name="connsiteX0" fmla="*/ 3 w 12094009"/>
              <a:gd name="connsiteY0" fmla="*/ 1919495 h 1919494"/>
              <a:gd name="connsiteX1" fmla="*/ 12075784 w 12094009"/>
              <a:gd name="connsiteY1" fmla="*/ 455 h 1919494"/>
              <a:gd name="connsiteX2" fmla="*/ 12093993 w 12094009"/>
              <a:gd name="connsiteY2" fmla="*/ 1882192 h 1919494"/>
              <a:gd name="connsiteX3" fmla="*/ 3 w 12094009"/>
              <a:gd name="connsiteY3" fmla="*/ 1919495 h 1919494"/>
              <a:gd name="connsiteX0" fmla="*/ 3 w 12099372"/>
              <a:gd name="connsiteY0" fmla="*/ 1919495 h 1920290"/>
              <a:gd name="connsiteX1" fmla="*/ 12075784 w 12099372"/>
              <a:gd name="connsiteY1" fmla="*/ 455 h 1920290"/>
              <a:gd name="connsiteX2" fmla="*/ 12099356 w 12099372"/>
              <a:gd name="connsiteY2" fmla="*/ 1907935 h 1920290"/>
              <a:gd name="connsiteX3" fmla="*/ 3 w 12099372"/>
              <a:gd name="connsiteY3" fmla="*/ 1919495 h 1920290"/>
              <a:gd name="connsiteX0" fmla="*/ 3 w 12099372"/>
              <a:gd name="connsiteY0" fmla="*/ 1919495 h 1920290"/>
              <a:gd name="connsiteX1" fmla="*/ 12075784 w 12099372"/>
              <a:gd name="connsiteY1" fmla="*/ 455 h 1920290"/>
              <a:gd name="connsiteX2" fmla="*/ 12099356 w 12099372"/>
              <a:gd name="connsiteY2" fmla="*/ 1907935 h 1920290"/>
              <a:gd name="connsiteX3" fmla="*/ 3 w 12099372"/>
              <a:gd name="connsiteY3" fmla="*/ 1919495 h 1920290"/>
              <a:gd name="connsiteX0" fmla="*/ 3 w 12075784"/>
              <a:gd name="connsiteY0" fmla="*/ 1919495 h 1919494"/>
              <a:gd name="connsiteX1" fmla="*/ 12075784 w 12075784"/>
              <a:gd name="connsiteY1" fmla="*/ 455 h 1919494"/>
              <a:gd name="connsiteX2" fmla="*/ 11874101 w 12075784"/>
              <a:gd name="connsiteY2" fmla="*/ 1901500 h 1919494"/>
              <a:gd name="connsiteX3" fmla="*/ 3 w 12075784"/>
              <a:gd name="connsiteY3" fmla="*/ 1919495 h 1919494"/>
              <a:gd name="connsiteX0" fmla="*/ 3 w 12083281"/>
              <a:gd name="connsiteY0" fmla="*/ 1919495 h 1920290"/>
              <a:gd name="connsiteX1" fmla="*/ 12075784 w 12083281"/>
              <a:gd name="connsiteY1" fmla="*/ 455 h 1920290"/>
              <a:gd name="connsiteX2" fmla="*/ 12083265 w 12083281"/>
              <a:gd name="connsiteY2" fmla="*/ 1907937 h 1920290"/>
              <a:gd name="connsiteX3" fmla="*/ 3 w 12083281"/>
              <a:gd name="connsiteY3" fmla="*/ 1919495 h 1920290"/>
              <a:gd name="connsiteX0" fmla="*/ 3 w 12083281"/>
              <a:gd name="connsiteY0" fmla="*/ 1919495 h 1920290"/>
              <a:gd name="connsiteX1" fmla="*/ 12075784 w 12083281"/>
              <a:gd name="connsiteY1" fmla="*/ 455 h 1920290"/>
              <a:gd name="connsiteX2" fmla="*/ 12083265 w 12083281"/>
              <a:gd name="connsiteY2" fmla="*/ 1907937 h 1920290"/>
              <a:gd name="connsiteX3" fmla="*/ 3 w 12083281"/>
              <a:gd name="connsiteY3" fmla="*/ 1919495 h 1920290"/>
              <a:gd name="connsiteX0" fmla="*/ 3 w 12083281"/>
              <a:gd name="connsiteY0" fmla="*/ 2019472 h 2020267"/>
              <a:gd name="connsiteX1" fmla="*/ 11464601 w 12083281"/>
              <a:gd name="connsiteY1" fmla="*/ 432 h 2020267"/>
              <a:gd name="connsiteX2" fmla="*/ 12083265 w 12083281"/>
              <a:gd name="connsiteY2" fmla="*/ 2007914 h 2020267"/>
              <a:gd name="connsiteX3" fmla="*/ 3 w 12083281"/>
              <a:gd name="connsiteY3" fmla="*/ 2019472 h 2020267"/>
              <a:gd name="connsiteX0" fmla="*/ 3 w 11464601"/>
              <a:gd name="connsiteY0" fmla="*/ 2019472 h 2083880"/>
              <a:gd name="connsiteX1" fmla="*/ 11464601 w 11464601"/>
              <a:gd name="connsiteY1" fmla="*/ 432 h 2083880"/>
              <a:gd name="connsiteX2" fmla="*/ 8243116 w 11464601"/>
              <a:gd name="connsiteY2" fmla="*/ 2081517 h 2083880"/>
              <a:gd name="connsiteX3" fmla="*/ 3 w 11464601"/>
              <a:gd name="connsiteY3" fmla="*/ 2019472 h 2083880"/>
              <a:gd name="connsiteX0" fmla="*/ 3 w 11464601"/>
              <a:gd name="connsiteY0" fmla="*/ 2019472 h 3424835"/>
              <a:gd name="connsiteX1" fmla="*/ 11464601 w 11464601"/>
              <a:gd name="connsiteY1" fmla="*/ 432 h 3424835"/>
              <a:gd name="connsiteX2" fmla="*/ 6272794 w 11464601"/>
              <a:gd name="connsiteY2" fmla="*/ 3424687 h 3424835"/>
              <a:gd name="connsiteX3" fmla="*/ 3 w 11464601"/>
              <a:gd name="connsiteY3" fmla="*/ 2019472 h 3424835"/>
              <a:gd name="connsiteX0" fmla="*/ 3 w 8450455"/>
              <a:gd name="connsiteY0" fmla="*/ 32240 h 1437641"/>
              <a:gd name="connsiteX1" fmla="*/ 8450455 w 8450455"/>
              <a:gd name="connsiteY1" fmla="*/ 12045 h 1437641"/>
              <a:gd name="connsiteX2" fmla="*/ 6272794 w 8450455"/>
              <a:gd name="connsiteY2" fmla="*/ 1437455 h 1437641"/>
              <a:gd name="connsiteX3" fmla="*/ 3 w 8450455"/>
              <a:gd name="connsiteY3" fmla="*/ 32240 h 1437641"/>
            </a:gdLst>
            <a:ahLst/>
            <a:cxnLst>
              <a:cxn ang="0">
                <a:pos x="connsiteX0" y="connsiteY0"/>
              </a:cxn>
              <a:cxn ang="0">
                <a:pos x="connsiteX1" y="connsiteY1"/>
              </a:cxn>
              <a:cxn ang="0">
                <a:pos x="connsiteX2" y="connsiteY2"/>
              </a:cxn>
              <a:cxn ang="0">
                <a:pos x="connsiteX3" y="connsiteY3"/>
              </a:cxn>
            </a:cxnLst>
            <a:rect l="l" t="t" r="r" b="b"/>
            <a:pathLst>
              <a:path w="8450455" h="1437641">
                <a:moveTo>
                  <a:pt x="3" y="32240"/>
                </a:moveTo>
                <a:cubicBezTo>
                  <a:pt x="-21" y="27917"/>
                  <a:pt x="8431024" y="-22542"/>
                  <a:pt x="8450455" y="12045"/>
                </a:cubicBezTo>
                <a:cubicBezTo>
                  <a:pt x="8438713" y="47223"/>
                  <a:pt x="6263730" y="1456209"/>
                  <a:pt x="6272794" y="1437455"/>
                </a:cubicBezTo>
                <a:cubicBezTo>
                  <a:pt x="6289357" y="1454317"/>
                  <a:pt x="-6259" y="32251"/>
                  <a:pt x="3" y="32240"/>
                </a:cubicBezTo>
                <a:close/>
              </a:path>
            </a:pathLst>
          </a:custGeom>
          <a:solidFill>
            <a:srgbClr val="CBD799">
              <a:alpha val="50196"/>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cxnSp>
        <p:nvCxnSpPr>
          <p:cNvPr id="36" name="Straight Connector 35">
            <a:extLst>
              <a:ext uri="{FF2B5EF4-FFF2-40B4-BE49-F238E27FC236}">
                <a16:creationId xmlns:a16="http://schemas.microsoft.com/office/drawing/2014/main" id="{A77CFD1A-B99D-F546-8297-4F2CB4D31F97}"/>
              </a:ext>
            </a:extLst>
          </p:cNvPr>
          <p:cNvCxnSpPr>
            <a:cxnSpLocks/>
          </p:cNvCxnSpPr>
          <p:nvPr userDrawn="1"/>
        </p:nvCxnSpPr>
        <p:spPr bwMode="auto">
          <a:xfrm flipV="1">
            <a:off x="0" y="1"/>
            <a:ext cx="2453833" cy="2338085"/>
          </a:xfrm>
          <a:prstGeom prst="line">
            <a:avLst/>
          </a:prstGeom>
          <a:solidFill>
            <a:schemeClr val="hlink"/>
          </a:solidFill>
          <a:ln w="12700" cap="flat" cmpd="sng" algn="ctr">
            <a:solidFill>
              <a:schemeClr val="bg1">
                <a:lumMod val="85000"/>
              </a:schemeClr>
            </a:solidFill>
            <a:prstDash val="solid"/>
            <a:round/>
            <a:headEnd type="none" w="med" len="med"/>
            <a:tailEnd type="none" w="med" len="med"/>
          </a:ln>
          <a:effectLst/>
        </p:spPr>
      </p:cxnSp>
    </p:spTree>
    <p:extLst>
      <p:ext uri="{BB962C8B-B14F-4D97-AF65-F5344CB8AC3E}">
        <p14:creationId xmlns:p14="http://schemas.microsoft.com/office/powerpoint/2010/main" val="296961501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1. Market Summary">
    <p:spTree>
      <p:nvGrpSpPr>
        <p:cNvPr id="1" name=""/>
        <p:cNvGrpSpPr/>
        <p:nvPr/>
      </p:nvGrpSpPr>
      <p:grpSpPr>
        <a:xfrm>
          <a:off x="0" y="0"/>
          <a:ext cx="0" cy="0"/>
          <a:chOff x="0" y="0"/>
          <a:chExt cx="0" cy="0"/>
        </a:xfrm>
      </p:grpSpPr>
      <p:sp>
        <p:nvSpPr>
          <p:cNvPr id="47" name="Footer Placeholder 2"/>
          <p:cNvSpPr>
            <a:spLocks noGrp="1"/>
          </p:cNvSpPr>
          <p:nvPr>
            <p:ph type="ftr" sz="quarter" idx="3"/>
          </p:nvPr>
        </p:nvSpPr>
        <p:spPr>
          <a:xfrm>
            <a:off x="319053" y="6414084"/>
            <a:ext cx="3781425" cy="365125"/>
          </a:xfrm>
          <a:prstGeom prst="rect">
            <a:avLst/>
          </a:prstGeom>
        </p:spPr>
        <p:txBody>
          <a:bodyPr vert="horz" lIns="91440" tIns="45720" rIns="91440" bIns="45720" rtlCol="0" anchor="ctr"/>
          <a:lstStyle>
            <a:lvl1pPr algn="l">
              <a:defRPr sz="800">
                <a:solidFill>
                  <a:srgbClr val="000000"/>
                </a:solidFill>
              </a:defRPr>
            </a:lvl1pPr>
          </a:lstStyle>
          <a:p>
            <a:pPr>
              <a:spcBef>
                <a:spcPts val="300"/>
              </a:spcBef>
            </a:pPr>
            <a:r>
              <a:rPr lang="en-US"/>
              <a:t>For Institutional Use Only.</a:t>
            </a:r>
          </a:p>
        </p:txBody>
      </p:sp>
      <p:sp>
        <p:nvSpPr>
          <p:cNvPr id="48" name="Slide Number Placeholder 3"/>
          <p:cNvSpPr>
            <a:spLocks noGrp="1"/>
          </p:cNvSpPr>
          <p:nvPr>
            <p:ph type="sldNum" sz="quarter" idx="4"/>
          </p:nvPr>
        </p:nvSpPr>
        <p:spPr>
          <a:xfrm>
            <a:off x="112394" y="6408909"/>
            <a:ext cx="382906" cy="365125"/>
          </a:xfrm>
          <a:prstGeom prst="rect">
            <a:avLst/>
          </a:prstGeom>
        </p:spPr>
        <p:txBody>
          <a:bodyPr vert="horz" lIns="91440" tIns="45720" rIns="91440" bIns="45720" rtlCol="0" anchor="ctr"/>
          <a:lstStyle>
            <a:lvl1pPr algn="l">
              <a:defRPr sz="800" b="1">
                <a:solidFill>
                  <a:srgbClr val="000000"/>
                </a:solidFill>
              </a:defRPr>
            </a:lvl1pPr>
          </a:lstStyle>
          <a:p>
            <a:fld id="{B42A7A4B-1474-47B8-8215-FC88D0AD55CE}" type="slidenum">
              <a:rPr lang="en-US" smtClean="0"/>
              <a:pPr/>
              <a:t>‹#›</a:t>
            </a:fld>
            <a:endParaRPr lang="en-US"/>
          </a:p>
        </p:txBody>
      </p:sp>
      <p:sp>
        <p:nvSpPr>
          <p:cNvPr id="12" name="Title Placeholder 1"/>
          <p:cNvSpPr>
            <a:spLocks noGrp="1"/>
          </p:cNvSpPr>
          <p:nvPr>
            <p:ph type="title"/>
          </p:nvPr>
        </p:nvSpPr>
        <p:spPr>
          <a:xfrm>
            <a:off x="315669" y="227013"/>
            <a:ext cx="8229600" cy="1143000"/>
          </a:xfrm>
          <a:prstGeom prst="rect">
            <a:avLst/>
          </a:prstGeom>
        </p:spPr>
        <p:txBody>
          <a:bodyPr vert="horz" lIns="91440" tIns="45720" rIns="91440" bIns="45720" rtlCol="0" anchor="t">
            <a:normAutofit/>
          </a:bodyPr>
          <a:lstStyle>
            <a:lvl1pPr algn="l">
              <a:defRPr sz="2400"/>
            </a:lvl1pPr>
          </a:lstStyle>
          <a:p>
            <a:r>
              <a:rPr lang="en-US"/>
              <a:t>Click to edit Master title style</a:t>
            </a:r>
          </a:p>
        </p:txBody>
      </p:sp>
      <p:grpSp>
        <p:nvGrpSpPr>
          <p:cNvPr id="7" name="Group 6">
            <a:extLst>
              <a:ext uri="{FF2B5EF4-FFF2-40B4-BE49-F238E27FC236}">
                <a16:creationId xmlns:a16="http://schemas.microsoft.com/office/drawing/2014/main" id="{E90A65D8-B146-A944-B72D-6C457FBD4779}"/>
              </a:ext>
            </a:extLst>
          </p:cNvPr>
          <p:cNvGrpSpPr/>
          <p:nvPr userDrawn="1"/>
        </p:nvGrpSpPr>
        <p:grpSpPr>
          <a:xfrm>
            <a:off x="7358173" y="6361974"/>
            <a:ext cx="1382376" cy="297562"/>
            <a:chOff x="6923088" y="4475163"/>
            <a:chExt cx="1873251" cy="403225"/>
          </a:xfrm>
        </p:grpSpPr>
        <p:sp>
          <p:nvSpPr>
            <p:cNvPr id="9" name="AutoShape 4">
              <a:extLst>
                <a:ext uri="{FF2B5EF4-FFF2-40B4-BE49-F238E27FC236}">
                  <a16:creationId xmlns:a16="http://schemas.microsoft.com/office/drawing/2014/main" id="{CB891575-19EC-8045-AE2F-FF0A8C397666}"/>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 name="Freeform 6">
              <a:extLst>
                <a:ext uri="{FF2B5EF4-FFF2-40B4-BE49-F238E27FC236}">
                  <a16:creationId xmlns:a16="http://schemas.microsoft.com/office/drawing/2014/main" id="{BE1EC3D0-47FC-CA4C-988E-5C5AF6D7BD87}"/>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Freeform 7">
              <a:extLst>
                <a:ext uri="{FF2B5EF4-FFF2-40B4-BE49-F238E27FC236}">
                  <a16:creationId xmlns:a16="http://schemas.microsoft.com/office/drawing/2014/main" id="{F2718B14-7585-0343-934E-3EFA526239F5}"/>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Freeform 83">
              <a:extLst>
                <a:ext uri="{FF2B5EF4-FFF2-40B4-BE49-F238E27FC236}">
                  <a16:creationId xmlns:a16="http://schemas.microsoft.com/office/drawing/2014/main" id="{CBD14EBC-B299-9142-9172-8456DD2B40E7}"/>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84">
              <a:extLst>
                <a:ext uri="{FF2B5EF4-FFF2-40B4-BE49-F238E27FC236}">
                  <a16:creationId xmlns:a16="http://schemas.microsoft.com/office/drawing/2014/main" id="{B490E619-92E1-8942-9F79-B17C6662A31C}"/>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85">
              <a:extLst>
                <a:ext uri="{FF2B5EF4-FFF2-40B4-BE49-F238E27FC236}">
                  <a16:creationId xmlns:a16="http://schemas.microsoft.com/office/drawing/2014/main" id="{DE2B2421-E180-944C-ADEE-81423098D24D}"/>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86">
              <a:extLst>
                <a:ext uri="{FF2B5EF4-FFF2-40B4-BE49-F238E27FC236}">
                  <a16:creationId xmlns:a16="http://schemas.microsoft.com/office/drawing/2014/main" id="{0EBFC715-4DF9-D741-A7D9-D5FAD06B3ABD}"/>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Freeform 87">
              <a:extLst>
                <a:ext uri="{FF2B5EF4-FFF2-40B4-BE49-F238E27FC236}">
                  <a16:creationId xmlns:a16="http://schemas.microsoft.com/office/drawing/2014/main" id="{18BEED0B-82B2-2B40-AABC-A757B767B765}"/>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Freeform 88">
              <a:extLst>
                <a:ext uri="{FF2B5EF4-FFF2-40B4-BE49-F238E27FC236}">
                  <a16:creationId xmlns:a16="http://schemas.microsoft.com/office/drawing/2014/main" id="{583CC96B-A51F-0744-BEF8-800B9B25F3AD}"/>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89">
              <a:extLst>
                <a:ext uri="{FF2B5EF4-FFF2-40B4-BE49-F238E27FC236}">
                  <a16:creationId xmlns:a16="http://schemas.microsoft.com/office/drawing/2014/main" id="{07BEF7B5-B4F7-5D48-9444-A89593092FBE}"/>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90">
              <a:extLst>
                <a:ext uri="{FF2B5EF4-FFF2-40B4-BE49-F238E27FC236}">
                  <a16:creationId xmlns:a16="http://schemas.microsoft.com/office/drawing/2014/main" id="{74A602D0-F0D4-7448-B1DB-7B742AAE1ACE}"/>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91">
              <a:extLst>
                <a:ext uri="{FF2B5EF4-FFF2-40B4-BE49-F238E27FC236}">
                  <a16:creationId xmlns:a16="http://schemas.microsoft.com/office/drawing/2014/main" id="{E158812D-2365-AF4B-9B26-8475E4D37B33}"/>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92">
              <a:extLst>
                <a:ext uri="{FF2B5EF4-FFF2-40B4-BE49-F238E27FC236}">
                  <a16:creationId xmlns:a16="http://schemas.microsoft.com/office/drawing/2014/main" id="{F848480E-7F33-B74F-8ADE-AE284B64EE4C}"/>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 name="Freeform 93">
              <a:extLst>
                <a:ext uri="{FF2B5EF4-FFF2-40B4-BE49-F238E27FC236}">
                  <a16:creationId xmlns:a16="http://schemas.microsoft.com/office/drawing/2014/main" id="{E5B50AF9-C987-FA49-A3F2-27829B931852}"/>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94">
              <a:extLst>
                <a:ext uri="{FF2B5EF4-FFF2-40B4-BE49-F238E27FC236}">
                  <a16:creationId xmlns:a16="http://schemas.microsoft.com/office/drawing/2014/main" id="{60F00664-02D3-D744-8F9D-5A3BBB735CED}"/>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 name="Freeform 95">
              <a:extLst>
                <a:ext uri="{FF2B5EF4-FFF2-40B4-BE49-F238E27FC236}">
                  <a16:creationId xmlns:a16="http://schemas.microsoft.com/office/drawing/2014/main" id="{07937D8B-D652-7140-8A82-EB2755DB000C}"/>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Freeform 96">
              <a:extLst>
                <a:ext uri="{FF2B5EF4-FFF2-40B4-BE49-F238E27FC236}">
                  <a16:creationId xmlns:a16="http://schemas.microsoft.com/office/drawing/2014/main" id="{BAAED08A-0670-B645-81EB-706D04A409FE}"/>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97">
              <a:extLst>
                <a:ext uri="{FF2B5EF4-FFF2-40B4-BE49-F238E27FC236}">
                  <a16:creationId xmlns:a16="http://schemas.microsoft.com/office/drawing/2014/main" id="{916D331C-6D4D-434A-8DD9-1E2D614AA316}"/>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98">
              <a:extLst>
                <a:ext uri="{FF2B5EF4-FFF2-40B4-BE49-F238E27FC236}">
                  <a16:creationId xmlns:a16="http://schemas.microsoft.com/office/drawing/2014/main" id="{A6129526-50A4-544C-85F5-6374CF46F2EF}"/>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99">
              <a:extLst>
                <a:ext uri="{FF2B5EF4-FFF2-40B4-BE49-F238E27FC236}">
                  <a16:creationId xmlns:a16="http://schemas.microsoft.com/office/drawing/2014/main" id="{31BA52F1-58D0-0C48-82E7-558311EBD7E6}"/>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100">
              <a:extLst>
                <a:ext uri="{FF2B5EF4-FFF2-40B4-BE49-F238E27FC236}">
                  <a16:creationId xmlns:a16="http://schemas.microsoft.com/office/drawing/2014/main" id="{7DD774B3-E888-A74C-A219-4F640273DFC6}"/>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101">
              <a:extLst>
                <a:ext uri="{FF2B5EF4-FFF2-40B4-BE49-F238E27FC236}">
                  <a16:creationId xmlns:a16="http://schemas.microsoft.com/office/drawing/2014/main" id="{2C3C013C-5649-ED42-B931-01CBB368DC94}"/>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102">
              <a:extLst>
                <a:ext uri="{FF2B5EF4-FFF2-40B4-BE49-F238E27FC236}">
                  <a16:creationId xmlns:a16="http://schemas.microsoft.com/office/drawing/2014/main" id="{3486B62D-070E-8346-BB3F-BEC1BAE04F85}"/>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103">
              <a:extLst>
                <a:ext uri="{FF2B5EF4-FFF2-40B4-BE49-F238E27FC236}">
                  <a16:creationId xmlns:a16="http://schemas.microsoft.com/office/drawing/2014/main" id="{40855D8E-F387-0D4D-8FCA-1B8951194F87}"/>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104">
              <a:extLst>
                <a:ext uri="{FF2B5EF4-FFF2-40B4-BE49-F238E27FC236}">
                  <a16:creationId xmlns:a16="http://schemas.microsoft.com/office/drawing/2014/main" id="{DD29EA6B-86A9-7447-8982-AD98E60D3147}"/>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105">
              <a:extLst>
                <a:ext uri="{FF2B5EF4-FFF2-40B4-BE49-F238E27FC236}">
                  <a16:creationId xmlns:a16="http://schemas.microsoft.com/office/drawing/2014/main" id="{05E93FA0-03E7-4640-A345-FDA6B749B668}"/>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7" name="TextBox 69">
            <a:extLst>
              <a:ext uri="{FF2B5EF4-FFF2-40B4-BE49-F238E27FC236}">
                <a16:creationId xmlns:a16="http://schemas.microsoft.com/office/drawing/2014/main" id="{97F9DF75-ACD6-EB4C-B604-4724ADF3449B}"/>
              </a:ext>
            </a:extLst>
          </p:cNvPr>
          <p:cNvSpPr txBox="1">
            <a:spLocks noChangeArrowheads="1"/>
          </p:cNvSpPr>
          <p:nvPr userDrawn="1"/>
        </p:nvSpPr>
        <p:spPr bwMode="auto">
          <a:xfrm rot="16200000">
            <a:off x="8221240" y="617250"/>
            <a:ext cx="1338265" cy="284693"/>
          </a:xfrm>
          <a:prstGeom prst="rect">
            <a:avLst/>
          </a:prstGeom>
          <a:noFill/>
          <a:ln w="9525">
            <a:noFill/>
            <a:miter lim="800000"/>
            <a:headEnd/>
            <a:tailEnd/>
          </a:ln>
        </p:spPr>
        <p:txBody>
          <a:bodyPr wrap="square" tIns="91440" rIns="0">
            <a:spAutoFit/>
          </a:bodyPr>
          <a:lstStyle/>
          <a:p>
            <a:pPr>
              <a:defRPr/>
            </a:pPr>
            <a:r>
              <a:rPr lang="en-US" sz="900">
                <a:solidFill>
                  <a:srgbClr val="7A9A3D"/>
                </a:solidFill>
                <a:cs typeface="Arial" charset="0"/>
              </a:rPr>
              <a:t>SUMMARY</a:t>
            </a:r>
          </a:p>
        </p:txBody>
      </p:sp>
      <p:grpSp>
        <p:nvGrpSpPr>
          <p:cNvPr id="38" name="Group 37">
            <a:extLst>
              <a:ext uri="{FF2B5EF4-FFF2-40B4-BE49-F238E27FC236}">
                <a16:creationId xmlns:a16="http://schemas.microsoft.com/office/drawing/2014/main" id="{0508FCF6-240B-8445-A5FE-16B3E3208173}"/>
              </a:ext>
            </a:extLst>
          </p:cNvPr>
          <p:cNvGrpSpPr/>
          <p:nvPr userDrawn="1"/>
        </p:nvGrpSpPr>
        <p:grpSpPr>
          <a:xfrm>
            <a:off x="8834955" y="-8348"/>
            <a:ext cx="132661" cy="609866"/>
            <a:chOff x="8876279" y="49059"/>
            <a:chExt cx="132661" cy="609866"/>
          </a:xfrm>
        </p:grpSpPr>
        <p:cxnSp>
          <p:nvCxnSpPr>
            <p:cNvPr id="39" name="Straight Connector 38">
              <a:extLst>
                <a:ext uri="{FF2B5EF4-FFF2-40B4-BE49-F238E27FC236}">
                  <a16:creationId xmlns:a16="http://schemas.microsoft.com/office/drawing/2014/main" id="{CF5E42DE-D351-D34B-9804-3DCAD12EFB79}"/>
                </a:ext>
              </a:extLst>
            </p:cNvPr>
            <p:cNvCxnSpPr>
              <a:cxnSpLocks/>
              <a:endCxn id="41" idx="4"/>
            </p:cNvCxnSpPr>
            <p:nvPr/>
          </p:nvCxnSpPr>
          <p:spPr bwMode="auto">
            <a:xfrm>
              <a:off x="8942609" y="49059"/>
              <a:ext cx="0" cy="575539"/>
            </a:xfrm>
            <a:prstGeom prst="line">
              <a:avLst/>
            </a:prstGeom>
            <a:solidFill>
              <a:schemeClr val="hlink"/>
            </a:solidFill>
            <a:ln w="12700" cap="flat" cmpd="sng" algn="ctr">
              <a:solidFill>
                <a:schemeClr val="bg1">
                  <a:lumMod val="75000"/>
                </a:schemeClr>
              </a:solidFill>
              <a:prstDash val="solid"/>
              <a:round/>
              <a:headEnd type="none" w="med" len="med"/>
              <a:tailEnd type="none" w="med" len="med"/>
            </a:ln>
            <a:effectLst/>
          </p:spPr>
        </p:cxnSp>
        <p:sp>
          <p:nvSpPr>
            <p:cNvPr id="40" name="Oval 39">
              <a:extLst>
                <a:ext uri="{FF2B5EF4-FFF2-40B4-BE49-F238E27FC236}">
                  <a16:creationId xmlns:a16="http://schemas.microsoft.com/office/drawing/2014/main" id="{F9146854-D326-514B-81C6-E802CFD6D577}"/>
                </a:ext>
              </a:extLst>
            </p:cNvPr>
            <p:cNvSpPr/>
            <p:nvPr/>
          </p:nvSpPr>
          <p:spPr bwMode="auto">
            <a:xfrm>
              <a:off x="8876279" y="526264"/>
              <a:ext cx="132661" cy="132661"/>
            </a:xfrm>
            <a:prstGeom prst="ellipse">
              <a:avLst/>
            </a:prstGeom>
            <a:solidFill>
              <a:schemeClr val="bg1"/>
            </a:solidFill>
            <a:ln w="12700"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sp>
          <p:nvSpPr>
            <p:cNvPr id="41" name="Oval 40">
              <a:extLst>
                <a:ext uri="{FF2B5EF4-FFF2-40B4-BE49-F238E27FC236}">
                  <a16:creationId xmlns:a16="http://schemas.microsoft.com/office/drawing/2014/main" id="{F306A6E0-07E4-1B42-B56A-599BA5F3F82C}"/>
                </a:ext>
              </a:extLst>
            </p:cNvPr>
            <p:cNvSpPr/>
            <p:nvPr/>
          </p:nvSpPr>
          <p:spPr bwMode="auto">
            <a:xfrm>
              <a:off x="8910605" y="560590"/>
              <a:ext cx="64008" cy="64008"/>
            </a:xfrm>
            <a:prstGeom prst="ellipse">
              <a:avLst/>
            </a:prstGeom>
            <a:solidFill>
              <a:srgbClr val="7A9A3D"/>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grpSp>
    </p:spTree>
    <p:extLst>
      <p:ext uri="{BB962C8B-B14F-4D97-AF65-F5344CB8AC3E}">
        <p14:creationId xmlns:p14="http://schemas.microsoft.com/office/powerpoint/2010/main" val="318043983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userDrawn="1">
  <p:cSld name="3. Theme Divider">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64A8CD47-94FB-5F4E-B7D5-06208189A8D3}"/>
              </a:ext>
            </a:extLst>
          </p:cNvPr>
          <p:cNvGrpSpPr/>
          <p:nvPr userDrawn="1"/>
        </p:nvGrpSpPr>
        <p:grpSpPr>
          <a:xfrm>
            <a:off x="7358173" y="6361974"/>
            <a:ext cx="1382376" cy="297562"/>
            <a:chOff x="6923088" y="4475163"/>
            <a:chExt cx="1873251" cy="403225"/>
          </a:xfrm>
        </p:grpSpPr>
        <p:sp>
          <p:nvSpPr>
            <p:cNvPr id="33" name="AutoShape 4">
              <a:extLst>
                <a:ext uri="{FF2B5EF4-FFF2-40B4-BE49-F238E27FC236}">
                  <a16:creationId xmlns:a16="http://schemas.microsoft.com/office/drawing/2014/main" id="{296AE685-BAFC-B54E-AC72-34EEA4D04BF2}"/>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6">
              <a:extLst>
                <a:ext uri="{FF2B5EF4-FFF2-40B4-BE49-F238E27FC236}">
                  <a16:creationId xmlns:a16="http://schemas.microsoft.com/office/drawing/2014/main" id="{A61049F1-AC19-1B4F-82B1-A3BE11E6FBE5}"/>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7">
              <a:extLst>
                <a:ext uri="{FF2B5EF4-FFF2-40B4-BE49-F238E27FC236}">
                  <a16:creationId xmlns:a16="http://schemas.microsoft.com/office/drawing/2014/main" id="{C71833E1-DBF3-BB42-898E-99BAE03713D5}"/>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83">
              <a:extLst>
                <a:ext uri="{FF2B5EF4-FFF2-40B4-BE49-F238E27FC236}">
                  <a16:creationId xmlns:a16="http://schemas.microsoft.com/office/drawing/2014/main" id="{2E4DF13C-02DE-A44A-AECC-4AED085156E8}"/>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84">
              <a:extLst>
                <a:ext uri="{FF2B5EF4-FFF2-40B4-BE49-F238E27FC236}">
                  <a16:creationId xmlns:a16="http://schemas.microsoft.com/office/drawing/2014/main" id="{CAD44C14-3CCE-FB44-A5A9-6621B9E3FD5B}"/>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85">
              <a:extLst>
                <a:ext uri="{FF2B5EF4-FFF2-40B4-BE49-F238E27FC236}">
                  <a16:creationId xmlns:a16="http://schemas.microsoft.com/office/drawing/2014/main" id="{9D5D6D50-9DA9-3543-AE32-3050A264B387}"/>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86">
              <a:extLst>
                <a:ext uri="{FF2B5EF4-FFF2-40B4-BE49-F238E27FC236}">
                  <a16:creationId xmlns:a16="http://schemas.microsoft.com/office/drawing/2014/main" id="{3F7C366F-F0AF-4A44-9BE4-07B371FD62C9}"/>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87">
              <a:extLst>
                <a:ext uri="{FF2B5EF4-FFF2-40B4-BE49-F238E27FC236}">
                  <a16:creationId xmlns:a16="http://schemas.microsoft.com/office/drawing/2014/main" id="{8092C44A-03F1-4B4F-BBDB-D4123DD9800F}"/>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 name="Freeform 88">
              <a:extLst>
                <a:ext uri="{FF2B5EF4-FFF2-40B4-BE49-F238E27FC236}">
                  <a16:creationId xmlns:a16="http://schemas.microsoft.com/office/drawing/2014/main" id="{466EF551-620E-1B41-81E8-D6A2AA77C0D2}"/>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 name="Freeform 89">
              <a:extLst>
                <a:ext uri="{FF2B5EF4-FFF2-40B4-BE49-F238E27FC236}">
                  <a16:creationId xmlns:a16="http://schemas.microsoft.com/office/drawing/2014/main" id="{31C108AE-CACC-D84D-AB21-B1EEA1616A2C}"/>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 name="Freeform 90">
              <a:extLst>
                <a:ext uri="{FF2B5EF4-FFF2-40B4-BE49-F238E27FC236}">
                  <a16:creationId xmlns:a16="http://schemas.microsoft.com/office/drawing/2014/main" id="{8643E4F4-F7D5-BE43-BE1F-20FCCD03F18E}"/>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 name="Freeform 91">
              <a:extLst>
                <a:ext uri="{FF2B5EF4-FFF2-40B4-BE49-F238E27FC236}">
                  <a16:creationId xmlns:a16="http://schemas.microsoft.com/office/drawing/2014/main" id="{52DBA438-42D9-0C4A-97EC-ADF956553B11}"/>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 name="Freeform 92">
              <a:extLst>
                <a:ext uri="{FF2B5EF4-FFF2-40B4-BE49-F238E27FC236}">
                  <a16:creationId xmlns:a16="http://schemas.microsoft.com/office/drawing/2014/main" id="{35E41E64-6687-F84F-939A-8DEF7FF114B0}"/>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 name="Freeform 93">
              <a:extLst>
                <a:ext uri="{FF2B5EF4-FFF2-40B4-BE49-F238E27FC236}">
                  <a16:creationId xmlns:a16="http://schemas.microsoft.com/office/drawing/2014/main" id="{437054FC-422C-C94B-8AA5-7A7E311C965A}"/>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 name="Freeform 94">
              <a:extLst>
                <a:ext uri="{FF2B5EF4-FFF2-40B4-BE49-F238E27FC236}">
                  <a16:creationId xmlns:a16="http://schemas.microsoft.com/office/drawing/2014/main" id="{C37BAE0A-6F2A-5240-B2C7-93B9A520602D}"/>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 name="Freeform 95">
              <a:extLst>
                <a:ext uri="{FF2B5EF4-FFF2-40B4-BE49-F238E27FC236}">
                  <a16:creationId xmlns:a16="http://schemas.microsoft.com/office/drawing/2014/main" id="{BC17080B-DD8F-0048-ACC9-C578FD1523C5}"/>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 name="Freeform 96">
              <a:extLst>
                <a:ext uri="{FF2B5EF4-FFF2-40B4-BE49-F238E27FC236}">
                  <a16:creationId xmlns:a16="http://schemas.microsoft.com/office/drawing/2014/main" id="{8FD3CC3D-3AE7-1741-8BFC-6182155C9DEC}"/>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 name="Freeform 97">
              <a:extLst>
                <a:ext uri="{FF2B5EF4-FFF2-40B4-BE49-F238E27FC236}">
                  <a16:creationId xmlns:a16="http://schemas.microsoft.com/office/drawing/2014/main" id="{21267EAA-2C1F-734B-A3A5-186CA5411B62}"/>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 name="Freeform 98">
              <a:extLst>
                <a:ext uri="{FF2B5EF4-FFF2-40B4-BE49-F238E27FC236}">
                  <a16:creationId xmlns:a16="http://schemas.microsoft.com/office/drawing/2014/main" id="{4DD7A084-329D-F544-8EE8-18B0A0951C79}"/>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 name="Freeform 99">
              <a:extLst>
                <a:ext uri="{FF2B5EF4-FFF2-40B4-BE49-F238E27FC236}">
                  <a16:creationId xmlns:a16="http://schemas.microsoft.com/office/drawing/2014/main" id="{F745AE99-9E55-DE4C-9977-273624DF18E0}"/>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 name="Freeform 100">
              <a:extLst>
                <a:ext uri="{FF2B5EF4-FFF2-40B4-BE49-F238E27FC236}">
                  <a16:creationId xmlns:a16="http://schemas.microsoft.com/office/drawing/2014/main" id="{872652CD-FFB2-EA42-97B1-3D500E4F8F2E}"/>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 name="Freeform 101">
              <a:extLst>
                <a:ext uri="{FF2B5EF4-FFF2-40B4-BE49-F238E27FC236}">
                  <a16:creationId xmlns:a16="http://schemas.microsoft.com/office/drawing/2014/main" id="{304FCB44-4171-A247-9113-EB4E3EB704B3}"/>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 name="Freeform 102">
              <a:extLst>
                <a:ext uri="{FF2B5EF4-FFF2-40B4-BE49-F238E27FC236}">
                  <a16:creationId xmlns:a16="http://schemas.microsoft.com/office/drawing/2014/main" id="{DFB8E857-AD95-0C49-8249-62D3A463A357}"/>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 name="Freeform 103">
              <a:extLst>
                <a:ext uri="{FF2B5EF4-FFF2-40B4-BE49-F238E27FC236}">
                  <a16:creationId xmlns:a16="http://schemas.microsoft.com/office/drawing/2014/main" id="{052DB0C6-8685-D04E-852A-B4E37B671C31}"/>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 name="Freeform 104">
              <a:extLst>
                <a:ext uri="{FF2B5EF4-FFF2-40B4-BE49-F238E27FC236}">
                  <a16:creationId xmlns:a16="http://schemas.microsoft.com/office/drawing/2014/main" id="{E1EC3870-4A06-6C41-B1DE-6E42C8CCCAB0}"/>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 name="Freeform 105">
              <a:extLst>
                <a:ext uri="{FF2B5EF4-FFF2-40B4-BE49-F238E27FC236}">
                  <a16:creationId xmlns:a16="http://schemas.microsoft.com/office/drawing/2014/main" id="{B2FC9EE0-7EAE-6C4D-A241-D2633EEE13AB}"/>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40" name="Triangle 40">
            <a:extLst>
              <a:ext uri="{FF2B5EF4-FFF2-40B4-BE49-F238E27FC236}">
                <a16:creationId xmlns:a16="http://schemas.microsoft.com/office/drawing/2014/main" id="{166D518E-5243-2E4E-8C32-29E3532C6E9A}"/>
              </a:ext>
            </a:extLst>
          </p:cNvPr>
          <p:cNvSpPr/>
          <p:nvPr userDrawn="1"/>
        </p:nvSpPr>
        <p:spPr bwMode="auto">
          <a:xfrm flipH="1" flipV="1">
            <a:off x="0" y="0"/>
            <a:ext cx="5392615" cy="1348452"/>
          </a:xfrm>
          <a:custGeom>
            <a:avLst/>
            <a:gdLst>
              <a:gd name="connsiteX0" fmla="*/ 0 w 12192000"/>
              <a:gd name="connsiteY0" fmla="*/ 2036323 h 2036323"/>
              <a:gd name="connsiteX1" fmla="*/ 12178955 w 12192000"/>
              <a:gd name="connsiteY1" fmla="*/ 0 h 2036323"/>
              <a:gd name="connsiteX2" fmla="*/ 12192000 w 12192000"/>
              <a:gd name="connsiteY2" fmla="*/ 2036323 h 2036323"/>
              <a:gd name="connsiteX3" fmla="*/ 0 w 12192000"/>
              <a:gd name="connsiteY3" fmla="*/ 2036323 h 2036323"/>
              <a:gd name="connsiteX0" fmla="*/ 0 w 12204970"/>
              <a:gd name="connsiteY0" fmla="*/ 1880680 h 2036323"/>
              <a:gd name="connsiteX1" fmla="*/ 12191925 w 12204970"/>
              <a:gd name="connsiteY1" fmla="*/ 0 h 2036323"/>
              <a:gd name="connsiteX2" fmla="*/ 12204970 w 12204970"/>
              <a:gd name="connsiteY2" fmla="*/ 2036323 h 2036323"/>
              <a:gd name="connsiteX3" fmla="*/ 0 w 12204970"/>
              <a:gd name="connsiteY3" fmla="*/ 1880680 h 2036323"/>
              <a:gd name="connsiteX0" fmla="*/ 0 w 12192096"/>
              <a:gd name="connsiteY0" fmla="*/ 1880680 h 1906621"/>
              <a:gd name="connsiteX1" fmla="*/ 12191925 w 12192096"/>
              <a:gd name="connsiteY1" fmla="*/ 0 h 1906621"/>
              <a:gd name="connsiteX2" fmla="*/ 12120664 w 12192096"/>
              <a:gd name="connsiteY2" fmla="*/ 1906621 h 1906621"/>
              <a:gd name="connsiteX3" fmla="*/ 0 w 12192096"/>
              <a:gd name="connsiteY3" fmla="*/ 1880680 h 1906621"/>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9673"/>
              <a:gd name="connsiteY0" fmla="*/ 1867710 h 2049294"/>
              <a:gd name="connsiteX1" fmla="*/ 12198410 w 12199673"/>
              <a:gd name="connsiteY1" fmla="*/ 0 h 2049294"/>
              <a:gd name="connsiteX2" fmla="*/ 12198485 w 12199673"/>
              <a:gd name="connsiteY2" fmla="*/ 2049294 h 2049294"/>
              <a:gd name="connsiteX3" fmla="*/ 0 w 12199673"/>
              <a:gd name="connsiteY3" fmla="*/ 1867710 h 2049294"/>
              <a:gd name="connsiteX0" fmla="*/ 0 w 12199673"/>
              <a:gd name="connsiteY0" fmla="*/ 1867710 h 2329173"/>
              <a:gd name="connsiteX1" fmla="*/ 12198410 w 12199673"/>
              <a:gd name="connsiteY1" fmla="*/ 0 h 2329173"/>
              <a:gd name="connsiteX2" fmla="*/ 12198485 w 12199673"/>
              <a:gd name="connsiteY2" fmla="*/ 2049294 h 2329173"/>
              <a:gd name="connsiteX3" fmla="*/ 0 w 12199673"/>
              <a:gd name="connsiteY3" fmla="*/ 1867710 h 2329173"/>
              <a:gd name="connsiteX0" fmla="*/ 0 w 12199673"/>
              <a:gd name="connsiteY0" fmla="*/ 1867710 h 2049294"/>
              <a:gd name="connsiteX1" fmla="*/ 12198410 w 12199673"/>
              <a:gd name="connsiteY1" fmla="*/ 0 h 2049294"/>
              <a:gd name="connsiteX2" fmla="*/ 12198485 w 12199673"/>
              <a:gd name="connsiteY2" fmla="*/ 2049294 h 2049294"/>
              <a:gd name="connsiteX3" fmla="*/ 0 w 12199673"/>
              <a:gd name="connsiteY3" fmla="*/ 1867710 h 2049294"/>
              <a:gd name="connsiteX0" fmla="*/ 1 w 12167248"/>
              <a:gd name="connsiteY0" fmla="*/ 1861225 h 2049294"/>
              <a:gd name="connsiteX1" fmla="*/ 12165985 w 12167248"/>
              <a:gd name="connsiteY1" fmla="*/ 0 h 2049294"/>
              <a:gd name="connsiteX2" fmla="*/ 12166060 w 12167248"/>
              <a:gd name="connsiteY2" fmla="*/ 2049294 h 2049294"/>
              <a:gd name="connsiteX3" fmla="*/ 1 w 12167248"/>
              <a:gd name="connsiteY3" fmla="*/ 1861225 h 2049294"/>
              <a:gd name="connsiteX0" fmla="*/ 1 w 12167248"/>
              <a:gd name="connsiteY0" fmla="*/ 1841769 h 2029838"/>
              <a:gd name="connsiteX1" fmla="*/ 12165985 w 12167248"/>
              <a:gd name="connsiteY1" fmla="*/ 0 h 2029838"/>
              <a:gd name="connsiteX2" fmla="*/ 12166060 w 12167248"/>
              <a:gd name="connsiteY2" fmla="*/ 2029838 h 2029838"/>
              <a:gd name="connsiteX3" fmla="*/ 1 w 12167248"/>
              <a:gd name="connsiteY3" fmla="*/ 1841769 h 2029838"/>
              <a:gd name="connsiteX0" fmla="*/ 1 w 12167248"/>
              <a:gd name="connsiteY0" fmla="*/ 1842242 h 2030311"/>
              <a:gd name="connsiteX1" fmla="*/ 12165985 w 12167248"/>
              <a:gd name="connsiteY1" fmla="*/ 473 h 2030311"/>
              <a:gd name="connsiteX2" fmla="*/ 12166060 w 12167248"/>
              <a:gd name="connsiteY2" fmla="*/ 2030311 h 2030311"/>
              <a:gd name="connsiteX3" fmla="*/ 1 w 12167248"/>
              <a:gd name="connsiteY3" fmla="*/ 1842242 h 2030311"/>
              <a:gd name="connsiteX0" fmla="*/ 1 w 12167248"/>
              <a:gd name="connsiteY0" fmla="*/ 1842242 h 2030710"/>
              <a:gd name="connsiteX1" fmla="*/ 12165985 w 12167248"/>
              <a:gd name="connsiteY1" fmla="*/ 473 h 2030710"/>
              <a:gd name="connsiteX2" fmla="*/ 12166060 w 12167248"/>
              <a:gd name="connsiteY2" fmla="*/ 2030311 h 2030710"/>
              <a:gd name="connsiteX3" fmla="*/ 1 w 12167248"/>
              <a:gd name="connsiteY3" fmla="*/ 1842242 h 2030710"/>
              <a:gd name="connsiteX0" fmla="*/ 1 w 12167248"/>
              <a:gd name="connsiteY0" fmla="*/ 1842242 h 2030710"/>
              <a:gd name="connsiteX1" fmla="*/ 12165985 w 12167248"/>
              <a:gd name="connsiteY1" fmla="*/ 473 h 2030710"/>
              <a:gd name="connsiteX2" fmla="*/ 12166060 w 12167248"/>
              <a:gd name="connsiteY2" fmla="*/ 2030311 h 2030710"/>
              <a:gd name="connsiteX3" fmla="*/ 1 w 12167248"/>
              <a:gd name="connsiteY3" fmla="*/ 1842242 h 2030710"/>
              <a:gd name="connsiteX0" fmla="*/ 1 w 12166780"/>
              <a:gd name="connsiteY0" fmla="*/ 1842242 h 2043646"/>
              <a:gd name="connsiteX1" fmla="*/ 12165985 w 12166780"/>
              <a:gd name="connsiteY1" fmla="*/ 473 h 2043646"/>
              <a:gd name="connsiteX2" fmla="*/ 12159575 w 12166780"/>
              <a:gd name="connsiteY2" fmla="*/ 2043281 h 2043646"/>
              <a:gd name="connsiteX3" fmla="*/ 1 w 12166780"/>
              <a:gd name="connsiteY3" fmla="*/ 1842242 h 2043646"/>
              <a:gd name="connsiteX0" fmla="*/ 1 w 12166780"/>
              <a:gd name="connsiteY0" fmla="*/ 1842242 h 2024244"/>
              <a:gd name="connsiteX1" fmla="*/ 12165985 w 12166780"/>
              <a:gd name="connsiteY1" fmla="*/ 473 h 2024244"/>
              <a:gd name="connsiteX2" fmla="*/ 12159575 w 12166780"/>
              <a:gd name="connsiteY2" fmla="*/ 2023826 h 2024244"/>
              <a:gd name="connsiteX3" fmla="*/ 1 w 12166780"/>
              <a:gd name="connsiteY3" fmla="*/ 1842242 h 2024244"/>
              <a:gd name="connsiteX0" fmla="*/ 1 w 12179031"/>
              <a:gd name="connsiteY0" fmla="*/ 1842242 h 2037177"/>
              <a:gd name="connsiteX1" fmla="*/ 12165985 w 12179031"/>
              <a:gd name="connsiteY1" fmla="*/ 473 h 2037177"/>
              <a:gd name="connsiteX2" fmla="*/ 12179030 w 12179031"/>
              <a:gd name="connsiteY2" fmla="*/ 2036796 h 2037177"/>
              <a:gd name="connsiteX3" fmla="*/ 1 w 12179031"/>
              <a:gd name="connsiteY3" fmla="*/ 1842242 h 2037177"/>
              <a:gd name="connsiteX0" fmla="*/ 1 w 12167248"/>
              <a:gd name="connsiteY0" fmla="*/ 1842242 h 2056588"/>
              <a:gd name="connsiteX1" fmla="*/ 12165985 w 12167248"/>
              <a:gd name="connsiteY1" fmla="*/ 473 h 2056588"/>
              <a:gd name="connsiteX2" fmla="*/ 12166060 w 12167248"/>
              <a:gd name="connsiteY2" fmla="*/ 2056251 h 2056588"/>
              <a:gd name="connsiteX3" fmla="*/ 1 w 12167248"/>
              <a:gd name="connsiteY3" fmla="*/ 1842242 h 2056588"/>
              <a:gd name="connsiteX0" fmla="*/ 1 w 12192002"/>
              <a:gd name="connsiteY0" fmla="*/ 1842242 h 2024244"/>
              <a:gd name="connsiteX1" fmla="*/ 12165985 w 12192002"/>
              <a:gd name="connsiteY1" fmla="*/ 473 h 2024244"/>
              <a:gd name="connsiteX2" fmla="*/ 12192001 w 12192002"/>
              <a:gd name="connsiteY2" fmla="*/ 2023826 h 2024244"/>
              <a:gd name="connsiteX3" fmla="*/ 1 w 12192002"/>
              <a:gd name="connsiteY3" fmla="*/ 1842242 h 2024244"/>
              <a:gd name="connsiteX0" fmla="*/ 1 w 12167248"/>
              <a:gd name="connsiteY0" fmla="*/ 1842242 h 2050117"/>
              <a:gd name="connsiteX1" fmla="*/ 12165985 w 12167248"/>
              <a:gd name="connsiteY1" fmla="*/ 473 h 2050117"/>
              <a:gd name="connsiteX2" fmla="*/ 12166061 w 12167248"/>
              <a:gd name="connsiteY2" fmla="*/ 2049767 h 2050117"/>
              <a:gd name="connsiteX3" fmla="*/ 1 w 12167248"/>
              <a:gd name="connsiteY3" fmla="*/ 1842242 h 2050117"/>
              <a:gd name="connsiteX0" fmla="*/ 1 w 12166780"/>
              <a:gd name="connsiteY0" fmla="*/ 1842242 h 2024245"/>
              <a:gd name="connsiteX1" fmla="*/ 12165985 w 12166780"/>
              <a:gd name="connsiteY1" fmla="*/ 473 h 2024245"/>
              <a:gd name="connsiteX2" fmla="*/ 12159576 w 12166780"/>
              <a:gd name="connsiteY2" fmla="*/ 2023827 h 2024245"/>
              <a:gd name="connsiteX3" fmla="*/ 1 w 12166780"/>
              <a:gd name="connsiteY3" fmla="*/ 1842242 h 2024245"/>
              <a:gd name="connsiteX0" fmla="*/ 1 w 12172548"/>
              <a:gd name="connsiteY0" fmla="*/ 1842242 h 2043647"/>
              <a:gd name="connsiteX1" fmla="*/ 12165985 w 12172548"/>
              <a:gd name="connsiteY1" fmla="*/ 473 h 2043647"/>
              <a:gd name="connsiteX2" fmla="*/ 12172547 w 12172548"/>
              <a:gd name="connsiteY2" fmla="*/ 2043282 h 2043647"/>
              <a:gd name="connsiteX3" fmla="*/ 1 w 12172548"/>
              <a:gd name="connsiteY3" fmla="*/ 1842242 h 2043647"/>
              <a:gd name="connsiteX0" fmla="*/ 1 w 12166566"/>
              <a:gd name="connsiteY0" fmla="*/ 1842242 h 2030711"/>
              <a:gd name="connsiteX1" fmla="*/ 12165985 w 12166566"/>
              <a:gd name="connsiteY1" fmla="*/ 473 h 2030711"/>
              <a:gd name="connsiteX2" fmla="*/ 12153091 w 12166566"/>
              <a:gd name="connsiteY2" fmla="*/ 2030312 h 2030711"/>
              <a:gd name="connsiteX3" fmla="*/ 1 w 12166566"/>
              <a:gd name="connsiteY3" fmla="*/ 1842242 h 2030711"/>
              <a:gd name="connsiteX0" fmla="*/ 1 w 12175317"/>
              <a:gd name="connsiteY0" fmla="*/ 1842242 h 2037043"/>
              <a:gd name="connsiteX1" fmla="*/ 12165985 w 12175317"/>
              <a:gd name="connsiteY1" fmla="*/ 473 h 2037043"/>
              <a:gd name="connsiteX2" fmla="*/ 12175316 w 12175317"/>
              <a:gd name="connsiteY2" fmla="*/ 2036662 h 2037043"/>
              <a:gd name="connsiteX3" fmla="*/ 1 w 12175317"/>
              <a:gd name="connsiteY3" fmla="*/ 1842242 h 2037043"/>
              <a:gd name="connsiteX0" fmla="*/ 1 w 12184842"/>
              <a:gd name="connsiteY0" fmla="*/ 1842242 h 2027545"/>
              <a:gd name="connsiteX1" fmla="*/ 12165985 w 12184842"/>
              <a:gd name="connsiteY1" fmla="*/ 473 h 2027545"/>
              <a:gd name="connsiteX2" fmla="*/ 12184841 w 12184842"/>
              <a:gd name="connsiteY2" fmla="*/ 2027137 h 2027545"/>
              <a:gd name="connsiteX3" fmla="*/ 1 w 12184842"/>
              <a:gd name="connsiteY3" fmla="*/ 1842242 h 2027545"/>
              <a:gd name="connsiteX0" fmla="*/ 1 w 12184842"/>
              <a:gd name="connsiteY0" fmla="*/ 1851765 h 2037068"/>
              <a:gd name="connsiteX1" fmla="*/ 12172335 w 12184842"/>
              <a:gd name="connsiteY1" fmla="*/ 471 h 2037068"/>
              <a:gd name="connsiteX2" fmla="*/ 12184841 w 12184842"/>
              <a:gd name="connsiteY2" fmla="*/ 2036660 h 2037068"/>
              <a:gd name="connsiteX3" fmla="*/ 1 w 12184842"/>
              <a:gd name="connsiteY3" fmla="*/ 1851765 h 2037068"/>
              <a:gd name="connsiteX0" fmla="*/ 1 w 12184842"/>
              <a:gd name="connsiteY0" fmla="*/ 1858113 h 2043416"/>
              <a:gd name="connsiteX1" fmla="*/ 12172335 w 12184842"/>
              <a:gd name="connsiteY1" fmla="*/ 469 h 2043416"/>
              <a:gd name="connsiteX2" fmla="*/ 12184841 w 12184842"/>
              <a:gd name="connsiteY2" fmla="*/ 2043008 h 2043416"/>
              <a:gd name="connsiteX3" fmla="*/ 1 w 12184842"/>
              <a:gd name="connsiteY3" fmla="*/ 1858113 h 2043416"/>
              <a:gd name="connsiteX0" fmla="*/ 1 w 12205863"/>
              <a:gd name="connsiteY0" fmla="*/ 1858113 h 1923107"/>
              <a:gd name="connsiteX1" fmla="*/ 12172335 w 12205863"/>
              <a:gd name="connsiteY1" fmla="*/ 469 h 1923107"/>
              <a:gd name="connsiteX2" fmla="*/ 12205862 w 12205863"/>
              <a:gd name="connsiteY2" fmla="*/ 1920222 h 1923107"/>
              <a:gd name="connsiteX3" fmla="*/ 1 w 12205863"/>
              <a:gd name="connsiteY3" fmla="*/ 1858113 h 1923107"/>
              <a:gd name="connsiteX0" fmla="*/ 1 w 12206057"/>
              <a:gd name="connsiteY0" fmla="*/ 1858113 h 1920221"/>
              <a:gd name="connsiteX1" fmla="*/ 12172335 w 12206057"/>
              <a:gd name="connsiteY1" fmla="*/ 469 h 1920221"/>
              <a:gd name="connsiteX2" fmla="*/ 12205862 w 12206057"/>
              <a:gd name="connsiteY2" fmla="*/ 1920222 h 1920221"/>
              <a:gd name="connsiteX3" fmla="*/ 1 w 12206057"/>
              <a:gd name="connsiteY3" fmla="*/ 1858113 h 1920221"/>
              <a:gd name="connsiteX0" fmla="*/ 1 w 12227078"/>
              <a:gd name="connsiteY0" fmla="*/ 1858113 h 1870508"/>
              <a:gd name="connsiteX1" fmla="*/ 12172335 w 12227078"/>
              <a:gd name="connsiteY1" fmla="*/ 469 h 1870508"/>
              <a:gd name="connsiteX2" fmla="*/ 12226883 w 12227078"/>
              <a:gd name="connsiteY2" fmla="*/ 1821993 h 1870508"/>
              <a:gd name="connsiteX3" fmla="*/ 1 w 12227078"/>
              <a:gd name="connsiteY3" fmla="*/ 1858113 h 1870508"/>
              <a:gd name="connsiteX0" fmla="*/ 1 w 12227078"/>
              <a:gd name="connsiteY0" fmla="*/ 1919492 h 1931888"/>
              <a:gd name="connsiteX1" fmla="*/ 12193355 w 12227078"/>
              <a:gd name="connsiteY1" fmla="*/ 454 h 1931888"/>
              <a:gd name="connsiteX2" fmla="*/ 12226883 w 12227078"/>
              <a:gd name="connsiteY2" fmla="*/ 1883372 h 1931888"/>
              <a:gd name="connsiteX3" fmla="*/ 1 w 12227078"/>
              <a:gd name="connsiteY3" fmla="*/ 1919492 h 1931888"/>
              <a:gd name="connsiteX0" fmla="*/ 1 w 12258608"/>
              <a:gd name="connsiteY0" fmla="*/ 1919492 h 1930198"/>
              <a:gd name="connsiteX1" fmla="*/ 12193355 w 12258608"/>
              <a:gd name="connsiteY1" fmla="*/ 454 h 1930198"/>
              <a:gd name="connsiteX2" fmla="*/ 12258414 w 12258608"/>
              <a:gd name="connsiteY2" fmla="*/ 1846536 h 1930198"/>
              <a:gd name="connsiteX3" fmla="*/ 1 w 12258608"/>
              <a:gd name="connsiteY3" fmla="*/ 1919492 h 1930198"/>
              <a:gd name="connsiteX0" fmla="*/ 1 w 12193819"/>
              <a:gd name="connsiteY0" fmla="*/ 1919492 h 1932582"/>
              <a:gd name="connsiteX1" fmla="*/ 12193355 w 12193819"/>
              <a:gd name="connsiteY1" fmla="*/ 454 h 1932582"/>
              <a:gd name="connsiteX2" fmla="*/ 12174331 w 12193819"/>
              <a:gd name="connsiteY2" fmla="*/ 1895651 h 1932582"/>
              <a:gd name="connsiteX3" fmla="*/ 1 w 12193819"/>
              <a:gd name="connsiteY3" fmla="*/ 1919492 h 1932582"/>
              <a:gd name="connsiteX0" fmla="*/ 1 w 12193526"/>
              <a:gd name="connsiteY0" fmla="*/ 1919492 h 1932582"/>
              <a:gd name="connsiteX1" fmla="*/ 12193355 w 12193526"/>
              <a:gd name="connsiteY1" fmla="*/ 454 h 1932582"/>
              <a:gd name="connsiteX2" fmla="*/ 12174331 w 12193526"/>
              <a:gd name="connsiteY2" fmla="*/ 1895651 h 1932582"/>
              <a:gd name="connsiteX3" fmla="*/ 1 w 12193526"/>
              <a:gd name="connsiteY3" fmla="*/ 1919492 h 1932582"/>
              <a:gd name="connsiteX0" fmla="*/ 1 w 12193526"/>
              <a:gd name="connsiteY0" fmla="*/ 1919492 h 1938518"/>
              <a:gd name="connsiteX1" fmla="*/ 12193355 w 12193526"/>
              <a:gd name="connsiteY1" fmla="*/ 454 h 1938518"/>
              <a:gd name="connsiteX2" fmla="*/ 12174331 w 12193526"/>
              <a:gd name="connsiteY2" fmla="*/ 1895651 h 1938518"/>
              <a:gd name="connsiteX3" fmla="*/ 1 w 12193526"/>
              <a:gd name="connsiteY3" fmla="*/ 1919492 h 1938518"/>
              <a:gd name="connsiteX0" fmla="*/ 1 w 12193584"/>
              <a:gd name="connsiteY0" fmla="*/ 1919492 h 1938518"/>
              <a:gd name="connsiteX1" fmla="*/ 12193355 w 12193584"/>
              <a:gd name="connsiteY1" fmla="*/ 454 h 1938518"/>
              <a:gd name="connsiteX2" fmla="*/ 12174331 w 12193584"/>
              <a:gd name="connsiteY2" fmla="*/ 1895651 h 1938518"/>
              <a:gd name="connsiteX3" fmla="*/ 1 w 12193584"/>
              <a:gd name="connsiteY3" fmla="*/ 1919492 h 1938518"/>
              <a:gd name="connsiteX0" fmla="*/ 1 w 12193468"/>
              <a:gd name="connsiteY0" fmla="*/ 1919492 h 1933905"/>
              <a:gd name="connsiteX1" fmla="*/ 12193355 w 12193468"/>
              <a:gd name="connsiteY1" fmla="*/ 454 h 1933905"/>
              <a:gd name="connsiteX2" fmla="*/ 12111269 w 12193468"/>
              <a:gd name="connsiteY2" fmla="*/ 1846537 h 1933905"/>
              <a:gd name="connsiteX3" fmla="*/ 1 w 12193468"/>
              <a:gd name="connsiteY3" fmla="*/ 1919492 h 1933905"/>
              <a:gd name="connsiteX0" fmla="*/ 1 w 12193632"/>
              <a:gd name="connsiteY0" fmla="*/ 1919492 h 1940184"/>
              <a:gd name="connsiteX1" fmla="*/ 12193355 w 12193632"/>
              <a:gd name="connsiteY1" fmla="*/ 454 h 1940184"/>
              <a:gd name="connsiteX2" fmla="*/ 12184841 w 12193632"/>
              <a:gd name="connsiteY2" fmla="*/ 1907931 h 1940184"/>
              <a:gd name="connsiteX3" fmla="*/ 1 w 12193632"/>
              <a:gd name="connsiteY3" fmla="*/ 1919492 h 1940184"/>
              <a:gd name="connsiteX0" fmla="*/ 1 w 12193376"/>
              <a:gd name="connsiteY0" fmla="*/ 1919492 h 1923285"/>
              <a:gd name="connsiteX1" fmla="*/ 12193355 w 12193376"/>
              <a:gd name="connsiteY1" fmla="*/ 454 h 1923285"/>
              <a:gd name="connsiteX2" fmla="*/ 11586288 w 12193376"/>
              <a:gd name="connsiteY2" fmla="*/ 1274881 h 1923285"/>
              <a:gd name="connsiteX3" fmla="*/ 1 w 12193376"/>
              <a:gd name="connsiteY3" fmla="*/ 1919492 h 1923285"/>
              <a:gd name="connsiteX0" fmla="*/ 1 w 12211564"/>
              <a:gd name="connsiteY0" fmla="*/ 1919492 h 1940184"/>
              <a:gd name="connsiteX1" fmla="*/ 12193355 w 12211564"/>
              <a:gd name="connsiteY1" fmla="*/ 454 h 1940184"/>
              <a:gd name="connsiteX2" fmla="*/ 12211564 w 12211564"/>
              <a:gd name="connsiteY2" fmla="*/ 1907932 h 1940184"/>
              <a:gd name="connsiteX3" fmla="*/ 1 w 12211564"/>
              <a:gd name="connsiteY3" fmla="*/ 1919492 h 1940184"/>
              <a:gd name="connsiteX0" fmla="*/ 1 w 12142089"/>
              <a:gd name="connsiteY0" fmla="*/ 1913227 h 1934891"/>
              <a:gd name="connsiteX1" fmla="*/ 12123880 w 12142089"/>
              <a:gd name="connsiteY1" fmla="*/ 456 h 1934891"/>
              <a:gd name="connsiteX2" fmla="*/ 12142089 w 12142089"/>
              <a:gd name="connsiteY2" fmla="*/ 1907934 h 1934891"/>
              <a:gd name="connsiteX3" fmla="*/ 1 w 12142089"/>
              <a:gd name="connsiteY3" fmla="*/ 1913227 h 1934891"/>
              <a:gd name="connsiteX0" fmla="*/ 2 w 12142090"/>
              <a:gd name="connsiteY0" fmla="*/ 1913227 h 1913226"/>
              <a:gd name="connsiteX1" fmla="*/ 12123881 w 12142090"/>
              <a:gd name="connsiteY1" fmla="*/ 456 h 1913226"/>
              <a:gd name="connsiteX2" fmla="*/ 12142090 w 12142090"/>
              <a:gd name="connsiteY2" fmla="*/ 1907934 h 1913226"/>
              <a:gd name="connsiteX3" fmla="*/ 2 w 12142090"/>
              <a:gd name="connsiteY3" fmla="*/ 1913227 h 1913226"/>
              <a:gd name="connsiteX0" fmla="*/ 3 w 12093993"/>
              <a:gd name="connsiteY0" fmla="*/ 1919495 h 1919495"/>
              <a:gd name="connsiteX1" fmla="*/ 12075784 w 12093993"/>
              <a:gd name="connsiteY1" fmla="*/ 455 h 1919495"/>
              <a:gd name="connsiteX2" fmla="*/ 12093993 w 12093993"/>
              <a:gd name="connsiteY2" fmla="*/ 1907933 h 1919495"/>
              <a:gd name="connsiteX3" fmla="*/ 3 w 12093993"/>
              <a:gd name="connsiteY3" fmla="*/ 1919495 h 1919495"/>
              <a:gd name="connsiteX0" fmla="*/ 3 w 12126172"/>
              <a:gd name="connsiteY0" fmla="*/ 1919495 h 1919495"/>
              <a:gd name="connsiteX1" fmla="*/ 12075784 w 12126172"/>
              <a:gd name="connsiteY1" fmla="*/ 455 h 1919495"/>
              <a:gd name="connsiteX2" fmla="*/ 12126172 w 12126172"/>
              <a:gd name="connsiteY2" fmla="*/ 1895062 h 1919495"/>
              <a:gd name="connsiteX3" fmla="*/ 3 w 12126172"/>
              <a:gd name="connsiteY3" fmla="*/ 1919495 h 1919495"/>
              <a:gd name="connsiteX0" fmla="*/ 3 w 12088629"/>
              <a:gd name="connsiteY0" fmla="*/ 1919495 h 1919495"/>
              <a:gd name="connsiteX1" fmla="*/ 12075784 w 12088629"/>
              <a:gd name="connsiteY1" fmla="*/ 455 h 1919495"/>
              <a:gd name="connsiteX2" fmla="*/ 12088629 w 12088629"/>
              <a:gd name="connsiteY2" fmla="*/ 1907935 h 1919495"/>
              <a:gd name="connsiteX3" fmla="*/ 3 w 12088629"/>
              <a:gd name="connsiteY3" fmla="*/ 1919495 h 1919495"/>
              <a:gd name="connsiteX0" fmla="*/ 3 w 12088645"/>
              <a:gd name="connsiteY0" fmla="*/ 1919495 h 1920291"/>
              <a:gd name="connsiteX1" fmla="*/ 12075784 w 12088645"/>
              <a:gd name="connsiteY1" fmla="*/ 455 h 1920291"/>
              <a:gd name="connsiteX2" fmla="*/ 12088629 w 12088645"/>
              <a:gd name="connsiteY2" fmla="*/ 1907935 h 1920291"/>
              <a:gd name="connsiteX3" fmla="*/ 3 w 12088645"/>
              <a:gd name="connsiteY3" fmla="*/ 1919495 h 1920291"/>
              <a:gd name="connsiteX0" fmla="*/ 3 w 12088645"/>
              <a:gd name="connsiteY0" fmla="*/ 1919495 h 1920290"/>
              <a:gd name="connsiteX1" fmla="*/ 12075784 w 12088645"/>
              <a:gd name="connsiteY1" fmla="*/ 455 h 1920290"/>
              <a:gd name="connsiteX2" fmla="*/ 12088629 w 12088645"/>
              <a:gd name="connsiteY2" fmla="*/ 1907935 h 1920290"/>
              <a:gd name="connsiteX3" fmla="*/ 3 w 12088645"/>
              <a:gd name="connsiteY3" fmla="*/ 1919495 h 1920290"/>
              <a:gd name="connsiteX0" fmla="*/ 3 w 12094009"/>
              <a:gd name="connsiteY0" fmla="*/ 1919495 h 1919494"/>
              <a:gd name="connsiteX1" fmla="*/ 12075784 w 12094009"/>
              <a:gd name="connsiteY1" fmla="*/ 455 h 1919494"/>
              <a:gd name="connsiteX2" fmla="*/ 12093993 w 12094009"/>
              <a:gd name="connsiteY2" fmla="*/ 1882192 h 1919494"/>
              <a:gd name="connsiteX3" fmla="*/ 3 w 12094009"/>
              <a:gd name="connsiteY3" fmla="*/ 1919495 h 1919494"/>
              <a:gd name="connsiteX0" fmla="*/ 3 w 12099372"/>
              <a:gd name="connsiteY0" fmla="*/ 1919495 h 1920290"/>
              <a:gd name="connsiteX1" fmla="*/ 12075784 w 12099372"/>
              <a:gd name="connsiteY1" fmla="*/ 455 h 1920290"/>
              <a:gd name="connsiteX2" fmla="*/ 12099356 w 12099372"/>
              <a:gd name="connsiteY2" fmla="*/ 1907935 h 1920290"/>
              <a:gd name="connsiteX3" fmla="*/ 3 w 12099372"/>
              <a:gd name="connsiteY3" fmla="*/ 1919495 h 1920290"/>
              <a:gd name="connsiteX0" fmla="*/ 3 w 12099372"/>
              <a:gd name="connsiteY0" fmla="*/ 1919495 h 1920290"/>
              <a:gd name="connsiteX1" fmla="*/ 12075784 w 12099372"/>
              <a:gd name="connsiteY1" fmla="*/ 455 h 1920290"/>
              <a:gd name="connsiteX2" fmla="*/ 12099356 w 12099372"/>
              <a:gd name="connsiteY2" fmla="*/ 1907935 h 1920290"/>
              <a:gd name="connsiteX3" fmla="*/ 3 w 12099372"/>
              <a:gd name="connsiteY3" fmla="*/ 1919495 h 1920290"/>
              <a:gd name="connsiteX0" fmla="*/ 3 w 12075784"/>
              <a:gd name="connsiteY0" fmla="*/ 1919495 h 1919494"/>
              <a:gd name="connsiteX1" fmla="*/ 12075784 w 12075784"/>
              <a:gd name="connsiteY1" fmla="*/ 455 h 1919494"/>
              <a:gd name="connsiteX2" fmla="*/ 11874101 w 12075784"/>
              <a:gd name="connsiteY2" fmla="*/ 1901500 h 1919494"/>
              <a:gd name="connsiteX3" fmla="*/ 3 w 12075784"/>
              <a:gd name="connsiteY3" fmla="*/ 1919495 h 1919494"/>
              <a:gd name="connsiteX0" fmla="*/ 3 w 12083281"/>
              <a:gd name="connsiteY0" fmla="*/ 1919495 h 1920290"/>
              <a:gd name="connsiteX1" fmla="*/ 12075784 w 12083281"/>
              <a:gd name="connsiteY1" fmla="*/ 455 h 1920290"/>
              <a:gd name="connsiteX2" fmla="*/ 12083265 w 12083281"/>
              <a:gd name="connsiteY2" fmla="*/ 1907937 h 1920290"/>
              <a:gd name="connsiteX3" fmla="*/ 3 w 12083281"/>
              <a:gd name="connsiteY3" fmla="*/ 1919495 h 1920290"/>
              <a:gd name="connsiteX0" fmla="*/ 3 w 12083281"/>
              <a:gd name="connsiteY0" fmla="*/ 1919495 h 1920290"/>
              <a:gd name="connsiteX1" fmla="*/ 12075784 w 12083281"/>
              <a:gd name="connsiteY1" fmla="*/ 455 h 1920290"/>
              <a:gd name="connsiteX2" fmla="*/ 12083265 w 12083281"/>
              <a:gd name="connsiteY2" fmla="*/ 1907937 h 1920290"/>
              <a:gd name="connsiteX3" fmla="*/ 3 w 12083281"/>
              <a:gd name="connsiteY3" fmla="*/ 1919495 h 1920290"/>
              <a:gd name="connsiteX0" fmla="*/ 3 w 12083281"/>
              <a:gd name="connsiteY0" fmla="*/ 1911291 h 1912086"/>
              <a:gd name="connsiteX1" fmla="*/ 12075784 w 12083281"/>
              <a:gd name="connsiteY1" fmla="*/ 457 h 1912086"/>
              <a:gd name="connsiteX2" fmla="*/ 12083265 w 12083281"/>
              <a:gd name="connsiteY2" fmla="*/ 1899733 h 1912086"/>
              <a:gd name="connsiteX3" fmla="*/ 3 w 12083281"/>
              <a:gd name="connsiteY3" fmla="*/ 1911291 h 1912086"/>
            </a:gdLst>
            <a:ahLst/>
            <a:cxnLst>
              <a:cxn ang="0">
                <a:pos x="connsiteX0" y="connsiteY0"/>
              </a:cxn>
              <a:cxn ang="0">
                <a:pos x="connsiteX1" y="connsiteY1"/>
              </a:cxn>
              <a:cxn ang="0">
                <a:pos x="connsiteX2" y="connsiteY2"/>
              </a:cxn>
              <a:cxn ang="0">
                <a:pos x="connsiteX3" y="connsiteY3"/>
              </a:cxn>
            </a:cxnLst>
            <a:rect l="l" t="t" r="r" b="b"/>
            <a:pathLst>
              <a:path w="12083281" h="1912086">
                <a:moveTo>
                  <a:pt x="3" y="1911291"/>
                </a:moveTo>
                <a:cubicBezTo>
                  <a:pt x="-21" y="1906968"/>
                  <a:pt x="12056353" y="-34130"/>
                  <a:pt x="12075784" y="457"/>
                </a:cubicBezTo>
                <a:cubicBezTo>
                  <a:pt x="12064042" y="35635"/>
                  <a:pt x="12074201" y="1918487"/>
                  <a:pt x="12083265" y="1899733"/>
                </a:cubicBezTo>
                <a:cubicBezTo>
                  <a:pt x="12099828" y="1916595"/>
                  <a:pt x="-6259" y="1911302"/>
                  <a:pt x="3" y="1911291"/>
                </a:cubicBezTo>
                <a:close/>
              </a:path>
            </a:pathLst>
          </a:custGeom>
          <a:solidFill>
            <a:srgbClr val="919EA8"/>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sp>
        <p:nvSpPr>
          <p:cNvPr id="41" name="Title 1">
            <a:extLst>
              <a:ext uri="{FF2B5EF4-FFF2-40B4-BE49-F238E27FC236}">
                <a16:creationId xmlns:a16="http://schemas.microsoft.com/office/drawing/2014/main" id="{60466C34-DD70-7342-899B-03985C4FB462}"/>
              </a:ext>
            </a:extLst>
          </p:cNvPr>
          <p:cNvSpPr>
            <a:spLocks noGrp="1"/>
          </p:cNvSpPr>
          <p:nvPr>
            <p:ph type="title"/>
          </p:nvPr>
        </p:nvSpPr>
        <p:spPr>
          <a:xfrm>
            <a:off x="687295" y="3046413"/>
            <a:ext cx="8229600" cy="1143000"/>
          </a:xfrm>
        </p:spPr>
        <p:txBody>
          <a:bodyPr>
            <a:normAutofit/>
          </a:bodyPr>
          <a:lstStyle>
            <a:lvl1pPr>
              <a:defRPr b="1"/>
            </a:lvl1pPr>
          </a:lstStyle>
          <a:p>
            <a:r>
              <a:rPr lang="en-US">
                <a:solidFill>
                  <a:srgbClr val="768692"/>
                </a:solidFill>
              </a:rPr>
              <a:t>Economy/Macro Backdrop</a:t>
            </a:r>
          </a:p>
        </p:txBody>
      </p:sp>
      <p:cxnSp>
        <p:nvCxnSpPr>
          <p:cNvPr id="42" name="Straight Connector 41">
            <a:extLst>
              <a:ext uri="{FF2B5EF4-FFF2-40B4-BE49-F238E27FC236}">
                <a16:creationId xmlns:a16="http://schemas.microsoft.com/office/drawing/2014/main" id="{E033CB19-BC28-F347-B528-C302BDFD551F}"/>
              </a:ext>
            </a:extLst>
          </p:cNvPr>
          <p:cNvCxnSpPr>
            <a:cxnSpLocks/>
          </p:cNvCxnSpPr>
          <p:nvPr userDrawn="1"/>
        </p:nvCxnSpPr>
        <p:spPr bwMode="auto">
          <a:xfrm flipV="1">
            <a:off x="4192367" y="5486401"/>
            <a:ext cx="4951633" cy="1371599"/>
          </a:xfrm>
          <a:prstGeom prst="line">
            <a:avLst/>
          </a:prstGeom>
          <a:solidFill>
            <a:schemeClr val="hlink"/>
          </a:solidFill>
          <a:ln w="12700" cap="flat" cmpd="sng" algn="ctr">
            <a:solidFill>
              <a:schemeClr val="bg1">
                <a:lumMod val="85000"/>
              </a:schemeClr>
            </a:solidFill>
            <a:prstDash val="solid"/>
            <a:round/>
            <a:headEnd type="none" w="med" len="med"/>
            <a:tailEnd type="none" w="med" len="med"/>
          </a:ln>
          <a:effectLst/>
        </p:spPr>
      </p:cxnSp>
      <p:sp>
        <p:nvSpPr>
          <p:cNvPr id="43" name="Triangle 40">
            <a:extLst>
              <a:ext uri="{FF2B5EF4-FFF2-40B4-BE49-F238E27FC236}">
                <a16:creationId xmlns:a16="http://schemas.microsoft.com/office/drawing/2014/main" id="{09211CB5-1C87-0848-B20C-FBE2C017C9B6}"/>
              </a:ext>
            </a:extLst>
          </p:cNvPr>
          <p:cNvSpPr/>
          <p:nvPr userDrawn="1"/>
        </p:nvSpPr>
        <p:spPr bwMode="auto">
          <a:xfrm rot="8472601" flipH="1" flipV="1">
            <a:off x="6172249" y="4956023"/>
            <a:ext cx="3771331" cy="1230334"/>
          </a:xfrm>
          <a:custGeom>
            <a:avLst/>
            <a:gdLst>
              <a:gd name="connsiteX0" fmla="*/ 0 w 12192000"/>
              <a:gd name="connsiteY0" fmla="*/ 2036323 h 2036323"/>
              <a:gd name="connsiteX1" fmla="*/ 12178955 w 12192000"/>
              <a:gd name="connsiteY1" fmla="*/ 0 h 2036323"/>
              <a:gd name="connsiteX2" fmla="*/ 12192000 w 12192000"/>
              <a:gd name="connsiteY2" fmla="*/ 2036323 h 2036323"/>
              <a:gd name="connsiteX3" fmla="*/ 0 w 12192000"/>
              <a:gd name="connsiteY3" fmla="*/ 2036323 h 2036323"/>
              <a:gd name="connsiteX0" fmla="*/ 0 w 12204970"/>
              <a:gd name="connsiteY0" fmla="*/ 1880680 h 2036323"/>
              <a:gd name="connsiteX1" fmla="*/ 12191925 w 12204970"/>
              <a:gd name="connsiteY1" fmla="*/ 0 h 2036323"/>
              <a:gd name="connsiteX2" fmla="*/ 12204970 w 12204970"/>
              <a:gd name="connsiteY2" fmla="*/ 2036323 h 2036323"/>
              <a:gd name="connsiteX3" fmla="*/ 0 w 12204970"/>
              <a:gd name="connsiteY3" fmla="*/ 1880680 h 2036323"/>
              <a:gd name="connsiteX0" fmla="*/ 0 w 12192096"/>
              <a:gd name="connsiteY0" fmla="*/ 1880680 h 1906621"/>
              <a:gd name="connsiteX1" fmla="*/ 12191925 w 12192096"/>
              <a:gd name="connsiteY1" fmla="*/ 0 h 1906621"/>
              <a:gd name="connsiteX2" fmla="*/ 12120664 w 12192096"/>
              <a:gd name="connsiteY2" fmla="*/ 1906621 h 1906621"/>
              <a:gd name="connsiteX3" fmla="*/ 0 w 12192096"/>
              <a:gd name="connsiteY3" fmla="*/ 1880680 h 1906621"/>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9673"/>
              <a:gd name="connsiteY0" fmla="*/ 1867710 h 2049294"/>
              <a:gd name="connsiteX1" fmla="*/ 12198410 w 12199673"/>
              <a:gd name="connsiteY1" fmla="*/ 0 h 2049294"/>
              <a:gd name="connsiteX2" fmla="*/ 12198485 w 12199673"/>
              <a:gd name="connsiteY2" fmla="*/ 2049294 h 2049294"/>
              <a:gd name="connsiteX3" fmla="*/ 0 w 12199673"/>
              <a:gd name="connsiteY3" fmla="*/ 1867710 h 2049294"/>
              <a:gd name="connsiteX0" fmla="*/ 0 w 12199673"/>
              <a:gd name="connsiteY0" fmla="*/ 1867710 h 2329173"/>
              <a:gd name="connsiteX1" fmla="*/ 12198410 w 12199673"/>
              <a:gd name="connsiteY1" fmla="*/ 0 h 2329173"/>
              <a:gd name="connsiteX2" fmla="*/ 12198485 w 12199673"/>
              <a:gd name="connsiteY2" fmla="*/ 2049294 h 2329173"/>
              <a:gd name="connsiteX3" fmla="*/ 0 w 12199673"/>
              <a:gd name="connsiteY3" fmla="*/ 1867710 h 2329173"/>
              <a:gd name="connsiteX0" fmla="*/ 0 w 12199673"/>
              <a:gd name="connsiteY0" fmla="*/ 1867710 h 2049294"/>
              <a:gd name="connsiteX1" fmla="*/ 12198410 w 12199673"/>
              <a:gd name="connsiteY1" fmla="*/ 0 h 2049294"/>
              <a:gd name="connsiteX2" fmla="*/ 12198485 w 12199673"/>
              <a:gd name="connsiteY2" fmla="*/ 2049294 h 2049294"/>
              <a:gd name="connsiteX3" fmla="*/ 0 w 12199673"/>
              <a:gd name="connsiteY3" fmla="*/ 1867710 h 2049294"/>
              <a:gd name="connsiteX0" fmla="*/ 1 w 12167248"/>
              <a:gd name="connsiteY0" fmla="*/ 1861225 h 2049294"/>
              <a:gd name="connsiteX1" fmla="*/ 12165985 w 12167248"/>
              <a:gd name="connsiteY1" fmla="*/ 0 h 2049294"/>
              <a:gd name="connsiteX2" fmla="*/ 12166060 w 12167248"/>
              <a:gd name="connsiteY2" fmla="*/ 2049294 h 2049294"/>
              <a:gd name="connsiteX3" fmla="*/ 1 w 12167248"/>
              <a:gd name="connsiteY3" fmla="*/ 1861225 h 2049294"/>
              <a:gd name="connsiteX0" fmla="*/ 1 w 12167248"/>
              <a:gd name="connsiteY0" fmla="*/ 1841769 h 2029838"/>
              <a:gd name="connsiteX1" fmla="*/ 12165985 w 12167248"/>
              <a:gd name="connsiteY1" fmla="*/ 0 h 2029838"/>
              <a:gd name="connsiteX2" fmla="*/ 12166060 w 12167248"/>
              <a:gd name="connsiteY2" fmla="*/ 2029838 h 2029838"/>
              <a:gd name="connsiteX3" fmla="*/ 1 w 12167248"/>
              <a:gd name="connsiteY3" fmla="*/ 1841769 h 2029838"/>
              <a:gd name="connsiteX0" fmla="*/ 1 w 12167248"/>
              <a:gd name="connsiteY0" fmla="*/ 1842242 h 2030311"/>
              <a:gd name="connsiteX1" fmla="*/ 12165985 w 12167248"/>
              <a:gd name="connsiteY1" fmla="*/ 473 h 2030311"/>
              <a:gd name="connsiteX2" fmla="*/ 12166060 w 12167248"/>
              <a:gd name="connsiteY2" fmla="*/ 2030311 h 2030311"/>
              <a:gd name="connsiteX3" fmla="*/ 1 w 12167248"/>
              <a:gd name="connsiteY3" fmla="*/ 1842242 h 2030311"/>
              <a:gd name="connsiteX0" fmla="*/ 1 w 12167248"/>
              <a:gd name="connsiteY0" fmla="*/ 1842242 h 2030710"/>
              <a:gd name="connsiteX1" fmla="*/ 12165985 w 12167248"/>
              <a:gd name="connsiteY1" fmla="*/ 473 h 2030710"/>
              <a:gd name="connsiteX2" fmla="*/ 12166060 w 12167248"/>
              <a:gd name="connsiteY2" fmla="*/ 2030311 h 2030710"/>
              <a:gd name="connsiteX3" fmla="*/ 1 w 12167248"/>
              <a:gd name="connsiteY3" fmla="*/ 1842242 h 2030710"/>
              <a:gd name="connsiteX0" fmla="*/ 1 w 12167248"/>
              <a:gd name="connsiteY0" fmla="*/ 1842242 h 2030710"/>
              <a:gd name="connsiteX1" fmla="*/ 12165985 w 12167248"/>
              <a:gd name="connsiteY1" fmla="*/ 473 h 2030710"/>
              <a:gd name="connsiteX2" fmla="*/ 12166060 w 12167248"/>
              <a:gd name="connsiteY2" fmla="*/ 2030311 h 2030710"/>
              <a:gd name="connsiteX3" fmla="*/ 1 w 12167248"/>
              <a:gd name="connsiteY3" fmla="*/ 1842242 h 2030710"/>
              <a:gd name="connsiteX0" fmla="*/ 1 w 12166780"/>
              <a:gd name="connsiteY0" fmla="*/ 1842242 h 2043646"/>
              <a:gd name="connsiteX1" fmla="*/ 12165985 w 12166780"/>
              <a:gd name="connsiteY1" fmla="*/ 473 h 2043646"/>
              <a:gd name="connsiteX2" fmla="*/ 12159575 w 12166780"/>
              <a:gd name="connsiteY2" fmla="*/ 2043281 h 2043646"/>
              <a:gd name="connsiteX3" fmla="*/ 1 w 12166780"/>
              <a:gd name="connsiteY3" fmla="*/ 1842242 h 2043646"/>
              <a:gd name="connsiteX0" fmla="*/ 1 w 12166780"/>
              <a:gd name="connsiteY0" fmla="*/ 1842242 h 2024244"/>
              <a:gd name="connsiteX1" fmla="*/ 12165985 w 12166780"/>
              <a:gd name="connsiteY1" fmla="*/ 473 h 2024244"/>
              <a:gd name="connsiteX2" fmla="*/ 12159575 w 12166780"/>
              <a:gd name="connsiteY2" fmla="*/ 2023826 h 2024244"/>
              <a:gd name="connsiteX3" fmla="*/ 1 w 12166780"/>
              <a:gd name="connsiteY3" fmla="*/ 1842242 h 2024244"/>
              <a:gd name="connsiteX0" fmla="*/ 1 w 12179031"/>
              <a:gd name="connsiteY0" fmla="*/ 1842242 h 2037177"/>
              <a:gd name="connsiteX1" fmla="*/ 12165985 w 12179031"/>
              <a:gd name="connsiteY1" fmla="*/ 473 h 2037177"/>
              <a:gd name="connsiteX2" fmla="*/ 12179030 w 12179031"/>
              <a:gd name="connsiteY2" fmla="*/ 2036796 h 2037177"/>
              <a:gd name="connsiteX3" fmla="*/ 1 w 12179031"/>
              <a:gd name="connsiteY3" fmla="*/ 1842242 h 2037177"/>
              <a:gd name="connsiteX0" fmla="*/ 1 w 12167248"/>
              <a:gd name="connsiteY0" fmla="*/ 1842242 h 2056588"/>
              <a:gd name="connsiteX1" fmla="*/ 12165985 w 12167248"/>
              <a:gd name="connsiteY1" fmla="*/ 473 h 2056588"/>
              <a:gd name="connsiteX2" fmla="*/ 12166060 w 12167248"/>
              <a:gd name="connsiteY2" fmla="*/ 2056251 h 2056588"/>
              <a:gd name="connsiteX3" fmla="*/ 1 w 12167248"/>
              <a:gd name="connsiteY3" fmla="*/ 1842242 h 2056588"/>
              <a:gd name="connsiteX0" fmla="*/ 1 w 12192002"/>
              <a:gd name="connsiteY0" fmla="*/ 1842242 h 2024244"/>
              <a:gd name="connsiteX1" fmla="*/ 12165985 w 12192002"/>
              <a:gd name="connsiteY1" fmla="*/ 473 h 2024244"/>
              <a:gd name="connsiteX2" fmla="*/ 12192001 w 12192002"/>
              <a:gd name="connsiteY2" fmla="*/ 2023826 h 2024244"/>
              <a:gd name="connsiteX3" fmla="*/ 1 w 12192002"/>
              <a:gd name="connsiteY3" fmla="*/ 1842242 h 2024244"/>
              <a:gd name="connsiteX0" fmla="*/ 1 w 12167248"/>
              <a:gd name="connsiteY0" fmla="*/ 1842242 h 2050117"/>
              <a:gd name="connsiteX1" fmla="*/ 12165985 w 12167248"/>
              <a:gd name="connsiteY1" fmla="*/ 473 h 2050117"/>
              <a:gd name="connsiteX2" fmla="*/ 12166061 w 12167248"/>
              <a:gd name="connsiteY2" fmla="*/ 2049767 h 2050117"/>
              <a:gd name="connsiteX3" fmla="*/ 1 w 12167248"/>
              <a:gd name="connsiteY3" fmla="*/ 1842242 h 2050117"/>
              <a:gd name="connsiteX0" fmla="*/ 1 w 12166780"/>
              <a:gd name="connsiteY0" fmla="*/ 1842242 h 2024245"/>
              <a:gd name="connsiteX1" fmla="*/ 12165985 w 12166780"/>
              <a:gd name="connsiteY1" fmla="*/ 473 h 2024245"/>
              <a:gd name="connsiteX2" fmla="*/ 12159576 w 12166780"/>
              <a:gd name="connsiteY2" fmla="*/ 2023827 h 2024245"/>
              <a:gd name="connsiteX3" fmla="*/ 1 w 12166780"/>
              <a:gd name="connsiteY3" fmla="*/ 1842242 h 2024245"/>
              <a:gd name="connsiteX0" fmla="*/ 1 w 12172548"/>
              <a:gd name="connsiteY0" fmla="*/ 1842242 h 2043647"/>
              <a:gd name="connsiteX1" fmla="*/ 12165985 w 12172548"/>
              <a:gd name="connsiteY1" fmla="*/ 473 h 2043647"/>
              <a:gd name="connsiteX2" fmla="*/ 12172547 w 12172548"/>
              <a:gd name="connsiteY2" fmla="*/ 2043282 h 2043647"/>
              <a:gd name="connsiteX3" fmla="*/ 1 w 12172548"/>
              <a:gd name="connsiteY3" fmla="*/ 1842242 h 2043647"/>
              <a:gd name="connsiteX0" fmla="*/ 1 w 12166566"/>
              <a:gd name="connsiteY0" fmla="*/ 1842242 h 2030711"/>
              <a:gd name="connsiteX1" fmla="*/ 12165985 w 12166566"/>
              <a:gd name="connsiteY1" fmla="*/ 473 h 2030711"/>
              <a:gd name="connsiteX2" fmla="*/ 12153091 w 12166566"/>
              <a:gd name="connsiteY2" fmla="*/ 2030312 h 2030711"/>
              <a:gd name="connsiteX3" fmla="*/ 1 w 12166566"/>
              <a:gd name="connsiteY3" fmla="*/ 1842242 h 2030711"/>
              <a:gd name="connsiteX0" fmla="*/ 1 w 12175317"/>
              <a:gd name="connsiteY0" fmla="*/ 1842242 h 2037043"/>
              <a:gd name="connsiteX1" fmla="*/ 12165985 w 12175317"/>
              <a:gd name="connsiteY1" fmla="*/ 473 h 2037043"/>
              <a:gd name="connsiteX2" fmla="*/ 12175316 w 12175317"/>
              <a:gd name="connsiteY2" fmla="*/ 2036662 h 2037043"/>
              <a:gd name="connsiteX3" fmla="*/ 1 w 12175317"/>
              <a:gd name="connsiteY3" fmla="*/ 1842242 h 2037043"/>
              <a:gd name="connsiteX0" fmla="*/ 1 w 12184842"/>
              <a:gd name="connsiteY0" fmla="*/ 1842242 h 2027545"/>
              <a:gd name="connsiteX1" fmla="*/ 12165985 w 12184842"/>
              <a:gd name="connsiteY1" fmla="*/ 473 h 2027545"/>
              <a:gd name="connsiteX2" fmla="*/ 12184841 w 12184842"/>
              <a:gd name="connsiteY2" fmla="*/ 2027137 h 2027545"/>
              <a:gd name="connsiteX3" fmla="*/ 1 w 12184842"/>
              <a:gd name="connsiteY3" fmla="*/ 1842242 h 2027545"/>
              <a:gd name="connsiteX0" fmla="*/ 1 w 12184842"/>
              <a:gd name="connsiteY0" fmla="*/ 1851765 h 2037068"/>
              <a:gd name="connsiteX1" fmla="*/ 12172335 w 12184842"/>
              <a:gd name="connsiteY1" fmla="*/ 471 h 2037068"/>
              <a:gd name="connsiteX2" fmla="*/ 12184841 w 12184842"/>
              <a:gd name="connsiteY2" fmla="*/ 2036660 h 2037068"/>
              <a:gd name="connsiteX3" fmla="*/ 1 w 12184842"/>
              <a:gd name="connsiteY3" fmla="*/ 1851765 h 2037068"/>
              <a:gd name="connsiteX0" fmla="*/ 1 w 12184842"/>
              <a:gd name="connsiteY0" fmla="*/ 1858113 h 2043416"/>
              <a:gd name="connsiteX1" fmla="*/ 12172335 w 12184842"/>
              <a:gd name="connsiteY1" fmla="*/ 469 h 2043416"/>
              <a:gd name="connsiteX2" fmla="*/ 12184841 w 12184842"/>
              <a:gd name="connsiteY2" fmla="*/ 2043008 h 2043416"/>
              <a:gd name="connsiteX3" fmla="*/ 1 w 12184842"/>
              <a:gd name="connsiteY3" fmla="*/ 1858113 h 2043416"/>
              <a:gd name="connsiteX0" fmla="*/ 1 w 12205863"/>
              <a:gd name="connsiteY0" fmla="*/ 1858113 h 1923107"/>
              <a:gd name="connsiteX1" fmla="*/ 12172335 w 12205863"/>
              <a:gd name="connsiteY1" fmla="*/ 469 h 1923107"/>
              <a:gd name="connsiteX2" fmla="*/ 12205862 w 12205863"/>
              <a:gd name="connsiteY2" fmla="*/ 1920222 h 1923107"/>
              <a:gd name="connsiteX3" fmla="*/ 1 w 12205863"/>
              <a:gd name="connsiteY3" fmla="*/ 1858113 h 1923107"/>
              <a:gd name="connsiteX0" fmla="*/ 1 w 12206057"/>
              <a:gd name="connsiteY0" fmla="*/ 1858113 h 1920221"/>
              <a:gd name="connsiteX1" fmla="*/ 12172335 w 12206057"/>
              <a:gd name="connsiteY1" fmla="*/ 469 h 1920221"/>
              <a:gd name="connsiteX2" fmla="*/ 12205862 w 12206057"/>
              <a:gd name="connsiteY2" fmla="*/ 1920222 h 1920221"/>
              <a:gd name="connsiteX3" fmla="*/ 1 w 12206057"/>
              <a:gd name="connsiteY3" fmla="*/ 1858113 h 1920221"/>
              <a:gd name="connsiteX0" fmla="*/ 1 w 12227078"/>
              <a:gd name="connsiteY0" fmla="*/ 1858113 h 1870508"/>
              <a:gd name="connsiteX1" fmla="*/ 12172335 w 12227078"/>
              <a:gd name="connsiteY1" fmla="*/ 469 h 1870508"/>
              <a:gd name="connsiteX2" fmla="*/ 12226883 w 12227078"/>
              <a:gd name="connsiteY2" fmla="*/ 1821993 h 1870508"/>
              <a:gd name="connsiteX3" fmla="*/ 1 w 12227078"/>
              <a:gd name="connsiteY3" fmla="*/ 1858113 h 1870508"/>
              <a:gd name="connsiteX0" fmla="*/ 1 w 12227078"/>
              <a:gd name="connsiteY0" fmla="*/ 1919492 h 1931888"/>
              <a:gd name="connsiteX1" fmla="*/ 12193355 w 12227078"/>
              <a:gd name="connsiteY1" fmla="*/ 454 h 1931888"/>
              <a:gd name="connsiteX2" fmla="*/ 12226883 w 12227078"/>
              <a:gd name="connsiteY2" fmla="*/ 1883372 h 1931888"/>
              <a:gd name="connsiteX3" fmla="*/ 1 w 12227078"/>
              <a:gd name="connsiteY3" fmla="*/ 1919492 h 1931888"/>
              <a:gd name="connsiteX0" fmla="*/ 1 w 12258608"/>
              <a:gd name="connsiteY0" fmla="*/ 1919492 h 1930198"/>
              <a:gd name="connsiteX1" fmla="*/ 12193355 w 12258608"/>
              <a:gd name="connsiteY1" fmla="*/ 454 h 1930198"/>
              <a:gd name="connsiteX2" fmla="*/ 12258414 w 12258608"/>
              <a:gd name="connsiteY2" fmla="*/ 1846536 h 1930198"/>
              <a:gd name="connsiteX3" fmla="*/ 1 w 12258608"/>
              <a:gd name="connsiteY3" fmla="*/ 1919492 h 1930198"/>
              <a:gd name="connsiteX0" fmla="*/ 1 w 12193819"/>
              <a:gd name="connsiteY0" fmla="*/ 1919492 h 1932582"/>
              <a:gd name="connsiteX1" fmla="*/ 12193355 w 12193819"/>
              <a:gd name="connsiteY1" fmla="*/ 454 h 1932582"/>
              <a:gd name="connsiteX2" fmla="*/ 12174331 w 12193819"/>
              <a:gd name="connsiteY2" fmla="*/ 1895651 h 1932582"/>
              <a:gd name="connsiteX3" fmla="*/ 1 w 12193819"/>
              <a:gd name="connsiteY3" fmla="*/ 1919492 h 1932582"/>
              <a:gd name="connsiteX0" fmla="*/ 1 w 12193526"/>
              <a:gd name="connsiteY0" fmla="*/ 1919492 h 1932582"/>
              <a:gd name="connsiteX1" fmla="*/ 12193355 w 12193526"/>
              <a:gd name="connsiteY1" fmla="*/ 454 h 1932582"/>
              <a:gd name="connsiteX2" fmla="*/ 12174331 w 12193526"/>
              <a:gd name="connsiteY2" fmla="*/ 1895651 h 1932582"/>
              <a:gd name="connsiteX3" fmla="*/ 1 w 12193526"/>
              <a:gd name="connsiteY3" fmla="*/ 1919492 h 1932582"/>
              <a:gd name="connsiteX0" fmla="*/ 1 w 12193526"/>
              <a:gd name="connsiteY0" fmla="*/ 1919492 h 1938518"/>
              <a:gd name="connsiteX1" fmla="*/ 12193355 w 12193526"/>
              <a:gd name="connsiteY1" fmla="*/ 454 h 1938518"/>
              <a:gd name="connsiteX2" fmla="*/ 12174331 w 12193526"/>
              <a:gd name="connsiteY2" fmla="*/ 1895651 h 1938518"/>
              <a:gd name="connsiteX3" fmla="*/ 1 w 12193526"/>
              <a:gd name="connsiteY3" fmla="*/ 1919492 h 1938518"/>
              <a:gd name="connsiteX0" fmla="*/ 1 w 12193584"/>
              <a:gd name="connsiteY0" fmla="*/ 1919492 h 1938518"/>
              <a:gd name="connsiteX1" fmla="*/ 12193355 w 12193584"/>
              <a:gd name="connsiteY1" fmla="*/ 454 h 1938518"/>
              <a:gd name="connsiteX2" fmla="*/ 12174331 w 12193584"/>
              <a:gd name="connsiteY2" fmla="*/ 1895651 h 1938518"/>
              <a:gd name="connsiteX3" fmla="*/ 1 w 12193584"/>
              <a:gd name="connsiteY3" fmla="*/ 1919492 h 1938518"/>
              <a:gd name="connsiteX0" fmla="*/ 1 w 12193468"/>
              <a:gd name="connsiteY0" fmla="*/ 1919492 h 1933905"/>
              <a:gd name="connsiteX1" fmla="*/ 12193355 w 12193468"/>
              <a:gd name="connsiteY1" fmla="*/ 454 h 1933905"/>
              <a:gd name="connsiteX2" fmla="*/ 12111269 w 12193468"/>
              <a:gd name="connsiteY2" fmla="*/ 1846537 h 1933905"/>
              <a:gd name="connsiteX3" fmla="*/ 1 w 12193468"/>
              <a:gd name="connsiteY3" fmla="*/ 1919492 h 1933905"/>
              <a:gd name="connsiteX0" fmla="*/ 1 w 12193632"/>
              <a:gd name="connsiteY0" fmla="*/ 1919492 h 1940184"/>
              <a:gd name="connsiteX1" fmla="*/ 12193355 w 12193632"/>
              <a:gd name="connsiteY1" fmla="*/ 454 h 1940184"/>
              <a:gd name="connsiteX2" fmla="*/ 12184841 w 12193632"/>
              <a:gd name="connsiteY2" fmla="*/ 1907931 h 1940184"/>
              <a:gd name="connsiteX3" fmla="*/ 1 w 12193632"/>
              <a:gd name="connsiteY3" fmla="*/ 1919492 h 1940184"/>
              <a:gd name="connsiteX0" fmla="*/ 1 w 12193376"/>
              <a:gd name="connsiteY0" fmla="*/ 1919492 h 1923285"/>
              <a:gd name="connsiteX1" fmla="*/ 12193355 w 12193376"/>
              <a:gd name="connsiteY1" fmla="*/ 454 h 1923285"/>
              <a:gd name="connsiteX2" fmla="*/ 11586288 w 12193376"/>
              <a:gd name="connsiteY2" fmla="*/ 1274881 h 1923285"/>
              <a:gd name="connsiteX3" fmla="*/ 1 w 12193376"/>
              <a:gd name="connsiteY3" fmla="*/ 1919492 h 1923285"/>
              <a:gd name="connsiteX0" fmla="*/ 1 w 12211564"/>
              <a:gd name="connsiteY0" fmla="*/ 1919492 h 1940184"/>
              <a:gd name="connsiteX1" fmla="*/ 12193355 w 12211564"/>
              <a:gd name="connsiteY1" fmla="*/ 454 h 1940184"/>
              <a:gd name="connsiteX2" fmla="*/ 12211564 w 12211564"/>
              <a:gd name="connsiteY2" fmla="*/ 1907932 h 1940184"/>
              <a:gd name="connsiteX3" fmla="*/ 1 w 12211564"/>
              <a:gd name="connsiteY3" fmla="*/ 1919492 h 1940184"/>
              <a:gd name="connsiteX0" fmla="*/ 1 w 12142089"/>
              <a:gd name="connsiteY0" fmla="*/ 1913227 h 1934891"/>
              <a:gd name="connsiteX1" fmla="*/ 12123880 w 12142089"/>
              <a:gd name="connsiteY1" fmla="*/ 456 h 1934891"/>
              <a:gd name="connsiteX2" fmla="*/ 12142089 w 12142089"/>
              <a:gd name="connsiteY2" fmla="*/ 1907934 h 1934891"/>
              <a:gd name="connsiteX3" fmla="*/ 1 w 12142089"/>
              <a:gd name="connsiteY3" fmla="*/ 1913227 h 1934891"/>
              <a:gd name="connsiteX0" fmla="*/ 2 w 12142090"/>
              <a:gd name="connsiteY0" fmla="*/ 1913227 h 1913226"/>
              <a:gd name="connsiteX1" fmla="*/ 12123881 w 12142090"/>
              <a:gd name="connsiteY1" fmla="*/ 456 h 1913226"/>
              <a:gd name="connsiteX2" fmla="*/ 12142090 w 12142090"/>
              <a:gd name="connsiteY2" fmla="*/ 1907934 h 1913226"/>
              <a:gd name="connsiteX3" fmla="*/ 2 w 12142090"/>
              <a:gd name="connsiteY3" fmla="*/ 1913227 h 1913226"/>
              <a:gd name="connsiteX0" fmla="*/ 3 w 12093993"/>
              <a:gd name="connsiteY0" fmla="*/ 1919495 h 1919495"/>
              <a:gd name="connsiteX1" fmla="*/ 12075784 w 12093993"/>
              <a:gd name="connsiteY1" fmla="*/ 455 h 1919495"/>
              <a:gd name="connsiteX2" fmla="*/ 12093993 w 12093993"/>
              <a:gd name="connsiteY2" fmla="*/ 1907933 h 1919495"/>
              <a:gd name="connsiteX3" fmla="*/ 3 w 12093993"/>
              <a:gd name="connsiteY3" fmla="*/ 1919495 h 1919495"/>
              <a:gd name="connsiteX0" fmla="*/ 3 w 12126172"/>
              <a:gd name="connsiteY0" fmla="*/ 1919495 h 1919495"/>
              <a:gd name="connsiteX1" fmla="*/ 12075784 w 12126172"/>
              <a:gd name="connsiteY1" fmla="*/ 455 h 1919495"/>
              <a:gd name="connsiteX2" fmla="*/ 12126172 w 12126172"/>
              <a:gd name="connsiteY2" fmla="*/ 1895062 h 1919495"/>
              <a:gd name="connsiteX3" fmla="*/ 3 w 12126172"/>
              <a:gd name="connsiteY3" fmla="*/ 1919495 h 1919495"/>
              <a:gd name="connsiteX0" fmla="*/ 3 w 12088629"/>
              <a:gd name="connsiteY0" fmla="*/ 1919495 h 1919495"/>
              <a:gd name="connsiteX1" fmla="*/ 12075784 w 12088629"/>
              <a:gd name="connsiteY1" fmla="*/ 455 h 1919495"/>
              <a:gd name="connsiteX2" fmla="*/ 12088629 w 12088629"/>
              <a:gd name="connsiteY2" fmla="*/ 1907935 h 1919495"/>
              <a:gd name="connsiteX3" fmla="*/ 3 w 12088629"/>
              <a:gd name="connsiteY3" fmla="*/ 1919495 h 1919495"/>
              <a:gd name="connsiteX0" fmla="*/ 3 w 12088645"/>
              <a:gd name="connsiteY0" fmla="*/ 1919495 h 1920291"/>
              <a:gd name="connsiteX1" fmla="*/ 12075784 w 12088645"/>
              <a:gd name="connsiteY1" fmla="*/ 455 h 1920291"/>
              <a:gd name="connsiteX2" fmla="*/ 12088629 w 12088645"/>
              <a:gd name="connsiteY2" fmla="*/ 1907935 h 1920291"/>
              <a:gd name="connsiteX3" fmla="*/ 3 w 12088645"/>
              <a:gd name="connsiteY3" fmla="*/ 1919495 h 1920291"/>
              <a:gd name="connsiteX0" fmla="*/ 3 w 12088645"/>
              <a:gd name="connsiteY0" fmla="*/ 1919495 h 1920290"/>
              <a:gd name="connsiteX1" fmla="*/ 12075784 w 12088645"/>
              <a:gd name="connsiteY1" fmla="*/ 455 h 1920290"/>
              <a:gd name="connsiteX2" fmla="*/ 12088629 w 12088645"/>
              <a:gd name="connsiteY2" fmla="*/ 1907935 h 1920290"/>
              <a:gd name="connsiteX3" fmla="*/ 3 w 12088645"/>
              <a:gd name="connsiteY3" fmla="*/ 1919495 h 1920290"/>
              <a:gd name="connsiteX0" fmla="*/ 3 w 12094009"/>
              <a:gd name="connsiteY0" fmla="*/ 1919495 h 1919494"/>
              <a:gd name="connsiteX1" fmla="*/ 12075784 w 12094009"/>
              <a:gd name="connsiteY1" fmla="*/ 455 h 1919494"/>
              <a:gd name="connsiteX2" fmla="*/ 12093993 w 12094009"/>
              <a:gd name="connsiteY2" fmla="*/ 1882192 h 1919494"/>
              <a:gd name="connsiteX3" fmla="*/ 3 w 12094009"/>
              <a:gd name="connsiteY3" fmla="*/ 1919495 h 1919494"/>
              <a:gd name="connsiteX0" fmla="*/ 3 w 12099372"/>
              <a:gd name="connsiteY0" fmla="*/ 1919495 h 1920290"/>
              <a:gd name="connsiteX1" fmla="*/ 12075784 w 12099372"/>
              <a:gd name="connsiteY1" fmla="*/ 455 h 1920290"/>
              <a:gd name="connsiteX2" fmla="*/ 12099356 w 12099372"/>
              <a:gd name="connsiteY2" fmla="*/ 1907935 h 1920290"/>
              <a:gd name="connsiteX3" fmla="*/ 3 w 12099372"/>
              <a:gd name="connsiteY3" fmla="*/ 1919495 h 1920290"/>
              <a:gd name="connsiteX0" fmla="*/ 3 w 12099372"/>
              <a:gd name="connsiteY0" fmla="*/ 1919495 h 1920290"/>
              <a:gd name="connsiteX1" fmla="*/ 12075784 w 12099372"/>
              <a:gd name="connsiteY1" fmla="*/ 455 h 1920290"/>
              <a:gd name="connsiteX2" fmla="*/ 12099356 w 12099372"/>
              <a:gd name="connsiteY2" fmla="*/ 1907935 h 1920290"/>
              <a:gd name="connsiteX3" fmla="*/ 3 w 12099372"/>
              <a:gd name="connsiteY3" fmla="*/ 1919495 h 1920290"/>
              <a:gd name="connsiteX0" fmla="*/ 3 w 12075784"/>
              <a:gd name="connsiteY0" fmla="*/ 1919495 h 1919494"/>
              <a:gd name="connsiteX1" fmla="*/ 12075784 w 12075784"/>
              <a:gd name="connsiteY1" fmla="*/ 455 h 1919494"/>
              <a:gd name="connsiteX2" fmla="*/ 11874101 w 12075784"/>
              <a:gd name="connsiteY2" fmla="*/ 1901500 h 1919494"/>
              <a:gd name="connsiteX3" fmla="*/ 3 w 12075784"/>
              <a:gd name="connsiteY3" fmla="*/ 1919495 h 1919494"/>
              <a:gd name="connsiteX0" fmla="*/ 3 w 12083281"/>
              <a:gd name="connsiteY0" fmla="*/ 1919495 h 1920290"/>
              <a:gd name="connsiteX1" fmla="*/ 12075784 w 12083281"/>
              <a:gd name="connsiteY1" fmla="*/ 455 h 1920290"/>
              <a:gd name="connsiteX2" fmla="*/ 12083265 w 12083281"/>
              <a:gd name="connsiteY2" fmla="*/ 1907937 h 1920290"/>
              <a:gd name="connsiteX3" fmla="*/ 3 w 12083281"/>
              <a:gd name="connsiteY3" fmla="*/ 1919495 h 1920290"/>
              <a:gd name="connsiteX0" fmla="*/ 3 w 12083281"/>
              <a:gd name="connsiteY0" fmla="*/ 1919495 h 1920290"/>
              <a:gd name="connsiteX1" fmla="*/ 12075784 w 12083281"/>
              <a:gd name="connsiteY1" fmla="*/ 455 h 1920290"/>
              <a:gd name="connsiteX2" fmla="*/ 12083265 w 12083281"/>
              <a:gd name="connsiteY2" fmla="*/ 1907937 h 1920290"/>
              <a:gd name="connsiteX3" fmla="*/ 3 w 12083281"/>
              <a:gd name="connsiteY3" fmla="*/ 1919495 h 1920290"/>
              <a:gd name="connsiteX0" fmla="*/ 3 w 12083281"/>
              <a:gd name="connsiteY0" fmla="*/ 2019472 h 2020267"/>
              <a:gd name="connsiteX1" fmla="*/ 11464601 w 12083281"/>
              <a:gd name="connsiteY1" fmla="*/ 432 h 2020267"/>
              <a:gd name="connsiteX2" fmla="*/ 12083265 w 12083281"/>
              <a:gd name="connsiteY2" fmla="*/ 2007914 h 2020267"/>
              <a:gd name="connsiteX3" fmla="*/ 3 w 12083281"/>
              <a:gd name="connsiteY3" fmla="*/ 2019472 h 2020267"/>
              <a:gd name="connsiteX0" fmla="*/ 3 w 11464601"/>
              <a:gd name="connsiteY0" fmla="*/ 2019472 h 2083880"/>
              <a:gd name="connsiteX1" fmla="*/ 11464601 w 11464601"/>
              <a:gd name="connsiteY1" fmla="*/ 432 h 2083880"/>
              <a:gd name="connsiteX2" fmla="*/ 8243116 w 11464601"/>
              <a:gd name="connsiteY2" fmla="*/ 2081517 h 2083880"/>
              <a:gd name="connsiteX3" fmla="*/ 3 w 11464601"/>
              <a:gd name="connsiteY3" fmla="*/ 2019472 h 2083880"/>
              <a:gd name="connsiteX0" fmla="*/ 3 w 11464601"/>
              <a:gd name="connsiteY0" fmla="*/ 2019472 h 3424835"/>
              <a:gd name="connsiteX1" fmla="*/ 11464601 w 11464601"/>
              <a:gd name="connsiteY1" fmla="*/ 432 h 3424835"/>
              <a:gd name="connsiteX2" fmla="*/ 6272794 w 11464601"/>
              <a:gd name="connsiteY2" fmla="*/ 3424687 h 3424835"/>
              <a:gd name="connsiteX3" fmla="*/ 3 w 11464601"/>
              <a:gd name="connsiteY3" fmla="*/ 2019472 h 3424835"/>
              <a:gd name="connsiteX0" fmla="*/ 3 w 8450455"/>
              <a:gd name="connsiteY0" fmla="*/ 32240 h 1437641"/>
              <a:gd name="connsiteX1" fmla="*/ 8450455 w 8450455"/>
              <a:gd name="connsiteY1" fmla="*/ 12045 h 1437641"/>
              <a:gd name="connsiteX2" fmla="*/ 6272794 w 8450455"/>
              <a:gd name="connsiteY2" fmla="*/ 1437455 h 1437641"/>
              <a:gd name="connsiteX3" fmla="*/ 3 w 8450455"/>
              <a:gd name="connsiteY3" fmla="*/ 32240 h 1437641"/>
            </a:gdLst>
            <a:ahLst/>
            <a:cxnLst>
              <a:cxn ang="0">
                <a:pos x="connsiteX0" y="connsiteY0"/>
              </a:cxn>
              <a:cxn ang="0">
                <a:pos x="connsiteX1" y="connsiteY1"/>
              </a:cxn>
              <a:cxn ang="0">
                <a:pos x="connsiteX2" y="connsiteY2"/>
              </a:cxn>
              <a:cxn ang="0">
                <a:pos x="connsiteX3" y="connsiteY3"/>
              </a:cxn>
            </a:cxnLst>
            <a:rect l="l" t="t" r="r" b="b"/>
            <a:pathLst>
              <a:path w="8450455" h="1437641">
                <a:moveTo>
                  <a:pt x="3" y="32240"/>
                </a:moveTo>
                <a:cubicBezTo>
                  <a:pt x="-21" y="27917"/>
                  <a:pt x="8431024" y="-22542"/>
                  <a:pt x="8450455" y="12045"/>
                </a:cubicBezTo>
                <a:cubicBezTo>
                  <a:pt x="8438713" y="47223"/>
                  <a:pt x="6263730" y="1456209"/>
                  <a:pt x="6272794" y="1437455"/>
                </a:cubicBezTo>
                <a:cubicBezTo>
                  <a:pt x="6289357" y="1454317"/>
                  <a:pt x="-6259" y="32251"/>
                  <a:pt x="3" y="32240"/>
                </a:cubicBezTo>
                <a:close/>
              </a:path>
            </a:pathLst>
          </a:custGeom>
          <a:solidFill>
            <a:srgbClr val="C8CFD3">
              <a:alpha val="50196"/>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cxnSp>
        <p:nvCxnSpPr>
          <p:cNvPr id="44" name="Straight Connector 43">
            <a:extLst>
              <a:ext uri="{FF2B5EF4-FFF2-40B4-BE49-F238E27FC236}">
                <a16:creationId xmlns:a16="http://schemas.microsoft.com/office/drawing/2014/main" id="{B0EB9379-49A0-924B-A01A-4D9A5E4809F6}"/>
              </a:ext>
            </a:extLst>
          </p:cNvPr>
          <p:cNvCxnSpPr>
            <a:cxnSpLocks/>
          </p:cNvCxnSpPr>
          <p:nvPr userDrawn="1"/>
        </p:nvCxnSpPr>
        <p:spPr bwMode="auto">
          <a:xfrm flipV="1">
            <a:off x="0" y="1"/>
            <a:ext cx="2453833" cy="2338085"/>
          </a:xfrm>
          <a:prstGeom prst="line">
            <a:avLst/>
          </a:prstGeom>
          <a:solidFill>
            <a:schemeClr val="hlink"/>
          </a:solidFill>
          <a:ln w="12700" cap="flat" cmpd="sng" algn="ctr">
            <a:solidFill>
              <a:schemeClr val="bg1">
                <a:lumMod val="85000"/>
              </a:schemeClr>
            </a:solidFill>
            <a:prstDash val="solid"/>
            <a:round/>
            <a:headEnd type="none" w="med" len="med"/>
            <a:tailEnd type="none" w="med" len="med"/>
          </a:ln>
          <a:effectLst/>
        </p:spPr>
      </p:cxnSp>
    </p:spTree>
    <p:extLst>
      <p:ext uri="{BB962C8B-B14F-4D97-AF65-F5344CB8AC3E}">
        <p14:creationId xmlns:p14="http://schemas.microsoft.com/office/powerpoint/2010/main" val="216795669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3. Economy">
    <p:spTree>
      <p:nvGrpSpPr>
        <p:cNvPr id="1" name=""/>
        <p:cNvGrpSpPr/>
        <p:nvPr/>
      </p:nvGrpSpPr>
      <p:grpSpPr>
        <a:xfrm>
          <a:off x="0" y="0"/>
          <a:ext cx="0" cy="0"/>
          <a:chOff x="0" y="0"/>
          <a:chExt cx="0" cy="0"/>
        </a:xfrm>
      </p:grpSpPr>
      <p:sp>
        <p:nvSpPr>
          <p:cNvPr id="48" name="Footer Placeholder 2"/>
          <p:cNvSpPr>
            <a:spLocks noGrp="1"/>
          </p:cNvSpPr>
          <p:nvPr>
            <p:ph type="ftr" sz="quarter" idx="3"/>
          </p:nvPr>
        </p:nvSpPr>
        <p:spPr>
          <a:xfrm>
            <a:off x="319053" y="6414084"/>
            <a:ext cx="3781425" cy="365125"/>
          </a:xfrm>
          <a:prstGeom prst="rect">
            <a:avLst/>
          </a:prstGeom>
        </p:spPr>
        <p:txBody>
          <a:bodyPr vert="horz" lIns="91440" tIns="45720" rIns="91440" bIns="45720" rtlCol="0" anchor="ctr"/>
          <a:lstStyle>
            <a:lvl1pPr algn="l">
              <a:defRPr sz="800">
                <a:solidFill>
                  <a:srgbClr val="000000"/>
                </a:solidFill>
              </a:defRPr>
            </a:lvl1pPr>
          </a:lstStyle>
          <a:p>
            <a:pPr>
              <a:spcBef>
                <a:spcPts val="300"/>
              </a:spcBef>
            </a:pPr>
            <a:r>
              <a:rPr lang="en-US"/>
              <a:t>Footnotes/disclosures. </a:t>
            </a:r>
          </a:p>
        </p:txBody>
      </p:sp>
      <p:sp>
        <p:nvSpPr>
          <p:cNvPr id="49" name="Slide Number Placeholder 3"/>
          <p:cNvSpPr>
            <a:spLocks noGrp="1"/>
          </p:cNvSpPr>
          <p:nvPr>
            <p:ph type="sldNum" sz="quarter" idx="4"/>
          </p:nvPr>
        </p:nvSpPr>
        <p:spPr>
          <a:xfrm>
            <a:off x="112394" y="6408909"/>
            <a:ext cx="382906" cy="365125"/>
          </a:xfrm>
          <a:prstGeom prst="rect">
            <a:avLst/>
          </a:prstGeom>
        </p:spPr>
        <p:txBody>
          <a:bodyPr vert="horz" lIns="91440" tIns="45720" rIns="91440" bIns="45720" rtlCol="0" anchor="ctr"/>
          <a:lstStyle>
            <a:lvl1pPr algn="l">
              <a:defRPr sz="800" b="1">
                <a:solidFill>
                  <a:srgbClr val="000000"/>
                </a:solidFill>
              </a:defRPr>
            </a:lvl1pPr>
          </a:lstStyle>
          <a:p>
            <a:fld id="{B42A7A4B-1474-47B8-8215-FC88D0AD55CE}" type="slidenum">
              <a:rPr lang="en-US" smtClean="0"/>
              <a:pPr/>
              <a:t>‹#›</a:t>
            </a:fld>
            <a:endParaRPr lang="en-US"/>
          </a:p>
        </p:txBody>
      </p:sp>
      <p:sp>
        <p:nvSpPr>
          <p:cNvPr id="50" name="Title Placeholder 1"/>
          <p:cNvSpPr>
            <a:spLocks noGrp="1"/>
          </p:cNvSpPr>
          <p:nvPr>
            <p:ph type="title"/>
          </p:nvPr>
        </p:nvSpPr>
        <p:spPr>
          <a:xfrm>
            <a:off x="315669" y="227013"/>
            <a:ext cx="8229600" cy="1143000"/>
          </a:xfrm>
          <a:prstGeom prst="rect">
            <a:avLst/>
          </a:prstGeom>
        </p:spPr>
        <p:txBody>
          <a:bodyPr vert="horz" lIns="91440" tIns="45720" rIns="91440" bIns="45720" rtlCol="0" anchor="t">
            <a:normAutofit/>
          </a:bodyPr>
          <a:lstStyle>
            <a:lvl1pPr algn="l">
              <a:defRPr sz="2400"/>
            </a:lvl1pPr>
          </a:lstStyle>
          <a:p>
            <a:r>
              <a:rPr lang="en-US"/>
              <a:t>Click to edit Master title style</a:t>
            </a:r>
          </a:p>
        </p:txBody>
      </p:sp>
      <p:grpSp>
        <p:nvGrpSpPr>
          <p:cNvPr id="46" name="Group 45">
            <a:extLst>
              <a:ext uri="{FF2B5EF4-FFF2-40B4-BE49-F238E27FC236}">
                <a16:creationId xmlns:a16="http://schemas.microsoft.com/office/drawing/2014/main" id="{4F575CC3-393C-0647-BE9E-83DCD65CF4FF}"/>
              </a:ext>
            </a:extLst>
          </p:cNvPr>
          <p:cNvGrpSpPr/>
          <p:nvPr userDrawn="1"/>
        </p:nvGrpSpPr>
        <p:grpSpPr>
          <a:xfrm>
            <a:off x="7358173" y="6361974"/>
            <a:ext cx="1382376" cy="297562"/>
            <a:chOff x="6923088" y="4475163"/>
            <a:chExt cx="1873251" cy="403225"/>
          </a:xfrm>
        </p:grpSpPr>
        <p:sp>
          <p:nvSpPr>
            <p:cNvPr id="47" name="AutoShape 4">
              <a:extLst>
                <a:ext uri="{FF2B5EF4-FFF2-40B4-BE49-F238E27FC236}">
                  <a16:creationId xmlns:a16="http://schemas.microsoft.com/office/drawing/2014/main" id="{6C369995-96AD-A641-925E-E69A3BA9707A}"/>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6">
              <a:extLst>
                <a:ext uri="{FF2B5EF4-FFF2-40B4-BE49-F238E27FC236}">
                  <a16:creationId xmlns:a16="http://schemas.microsoft.com/office/drawing/2014/main" id="{5C874250-EEAB-2F47-8CDC-DED5EEC8E001}"/>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7">
              <a:extLst>
                <a:ext uri="{FF2B5EF4-FFF2-40B4-BE49-F238E27FC236}">
                  <a16:creationId xmlns:a16="http://schemas.microsoft.com/office/drawing/2014/main" id="{D73E3670-6639-BE4C-9917-7195E6568841}"/>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83">
              <a:extLst>
                <a:ext uri="{FF2B5EF4-FFF2-40B4-BE49-F238E27FC236}">
                  <a16:creationId xmlns:a16="http://schemas.microsoft.com/office/drawing/2014/main" id="{71466D60-B25E-C740-B898-CD011E2969A1}"/>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84">
              <a:extLst>
                <a:ext uri="{FF2B5EF4-FFF2-40B4-BE49-F238E27FC236}">
                  <a16:creationId xmlns:a16="http://schemas.microsoft.com/office/drawing/2014/main" id="{5E4325CD-E2D3-394B-98D5-41155C352276}"/>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85">
              <a:extLst>
                <a:ext uri="{FF2B5EF4-FFF2-40B4-BE49-F238E27FC236}">
                  <a16:creationId xmlns:a16="http://schemas.microsoft.com/office/drawing/2014/main" id="{785844EE-0CF7-6143-8825-4501A204DE95}"/>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86">
              <a:extLst>
                <a:ext uri="{FF2B5EF4-FFF2-40B4-BE49-F238E27FC236}">
                  <a16:creationId xmlns:a16="http://schemas.microsoft.com/office/drawing/2014/main" id="{C4390793-4DDB-4740-8D60-285F8B4B0C34}"/>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87">
              <a:extLst>
                <a:ext uri="{FF2B5EF4-FFF2-40B4-BE49-F238E27FC236}">
                  <a16:creationId xmlns:a16="http://schemas.microsoft.com/office/drawing/2014/main" id="{5F80EA26-A299-3644-8457-A5653F1DCD1C}"/>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88">
              <a:extLst>
                <a:ext uri="{FF2B5EF4-FFF2-40B4-BE49-F238E27FC236}">
                  <a16:creationId xmlns:a16="http://schemas.microsoft.com/office/drawing/2014/main" id="{EA7A7B0D-C322-164A-9280-F3916BAFBB34}"/>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89">
              <a:extLst>
                <a:ext uri="{FF2B5EF4-FFF2-40B4-BE49-F238E27FC236}">
                  <a16:creationId xmlns:a16="http://schemas.microsoft.com/office/drawing/2014/main" id="{115A605F-282C-EA47-8447-7D30B8A8A5A5}"/>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90">
              <a:extLst>
                <a:ext uri="{FF2B5EF4-FFF2-40B4-BE49-F238E27FC236}">
                  <a16:creationId xmlns:a16="http://schemas.microsoft.com/office/drawing/2014/main" id="{FC0AAA5D-A017-1E47-996E-AD1B7FA53BC3}"/>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91">
              <a:extLst>
                <a:ext uri="{FF2B5EF4-FFF2-40B4-BE49-F238E27FC236}">
                  <a16:creationId xmlns:a16="http://schemas.microsoft.com/office/drawing/2014/main" id="{49170DEE-077A-EF4A-B9DC-B8972034232B}"/>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 name="Freeform 92">
              <a:extLst>
                <a:ext uri="{FF2B5EF4-FFF2-40B4-BE49-F238E27FC236}">
                  <a16:creationId xmlns:a16="http://schemas.microsoft.com/office/drawing/2014/main" id="{77BC3356-1A82-3B4E-A9A7-653BAF0FEAB6}"/>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 name="Freeform 93">
              <a:extLst>
                <a:ext uri="{FF2B5EF4-FFF2-40B4-BE49-F238E27FC236}">
                  <a16:creationId xmlns:a16="http://schemas.microsoft.com/office/drawing/2014/main" id="{C3D2FF1C-024E-CD4F-B7AD-DFEFAC4C0036}"/>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 name="Freeform 94">
              <a:extLst>
                <a:ext uri="{FF2B5EF4-FFF2-40B4-BE49-F238E27FC236}">
                  <a16:creationId xmlns:a16="http://schemas.microsoft.com/office/drawing/2014/main" id="{D4E8B162-C2EB-5E4E-B69D-17714EC7A73A}"/>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 name="Freeform 95">
              <a:extLst>
                <a:ext uri="{FF2B5EF4-FFF2-40B4-BE49-F238E27FC236}">
                  <a16:creationId xmlns:a16="http://schemas.microsoft.com/office/drawing/2014/main" id="{93AB935F-8B90-BC42-8F91-0C602388FA1E}"/>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 name="Freeform 96">
              <a:extLst>
                <a:ext uri="{FF2B5EF4-FFF2-40B4-BE49-F238E27FC236}">
                  <a16:creationId xmlns:a16="http://schemas.microsoft.com/office/drawing/2014/main" id="{7386FE2B-7175-8647-8AB3-0E4429CBA2BE}"/>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 name="Freeform 97">
              <a:extLst>
                <a:ext uri="{FF2B5EF4-FFF2-40B4-BE49-F238E27FC236}">
                  <a16:creationId xmlns:a16="http://schemas.microsoft.com/office/drawing/2014/main" id="{A51B1BE7-1A86-AD4E-B0A8-BB09A9A20B57}"/>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 name="Freeform 98">
              <a:extLst>
                <a:ext uri="{FF2B5EF4-FFF2-40B4-BE49-F238E27FC236}">
                  <a16:creationId xmlns:a16="http://schemas.microsoft.com/office/drawing/2014/main" id="{2ABB0A66-4262-3040-A162-51C0D3545F34}"/>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 name="Freeform 99">
              <a:extLst>
                <a:ext uri="{FF2B5EF4-FFF2-40B4-BE49-F238E27FC236}">
                  <a16:creationId xmlns:a16="http://schemas.microsoft.com/office/drawing/2014/main" id="{7C6C53A4-64A8-7B47-967C-1C1DA1F0CCA2}"/>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 name="Freeform 100">
              <a:extLst>
                <a:ext uri="{FF2B5EF4-FFF2-40B4-BE49-F238E27FC236}">
                  <a16:creationId xmlns:a16="http://schemas.microsoft.com/office/drawing/2014/main" id="{065B854D-13FA-374C-8A09-52E4648397E1}"/>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 name="Freeform 101">
              <a:extLst>
                <a:ext uri="{FF2B5EF4-FFF2-40B4-BE49-F238E27FC236}">
                  <a16:creationId xmlns:a16="http://schemas.microsoft.com/office/drawing/2014/main" id="{A1C1A119-080D-7549-AD8D-2563AB9740CD}"/>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 name="Freeform 102">
              <a:extLst>
                <a:ext uri="{FF2B5EF4-FFF2-40B4-BE49-F238E27FC236}">
                  <a16:creationId xmlns:a16="http://schemas.microsoft.com/office/drawing/2014/main" id="{D675A767-8E05-1A4A-A9C5-25F51895359D}"/>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 name="Freeform 103">
              <a:extLst>
                <a:ext uri="{FF2B5EF4-FFF2-40B4-BE49-F238E27FC236}">
                  <a16:creationId xmlns:a16="http://schemas.microsoft.com/office/drawing/2014/main" id="{F8775C11-8806-2249-B50B-F0E49E89CBCD}"/>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 name="Freeform 104">
              <a:extLst>
                <a:ext uri="{FF2B5EF4-FFF2-40B4-BE49-F238E27FC236}">
                  <a16:creationId xmlns:a16="http://schemas.microsoft.com/office/drawing/2014/main" id="{BD457856-65BB-6240-A799-E360206643B3}"/>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 name="Freeform 105">
              <a:extLst>
                <a:ext uri="{FF2B5EF4-FFF2-40B4-BE49-F238E27FC236}">
                  <a16:creationId xmlns:a16="http://schemas.microsoft.com/office/drawing/2014/main" id="{D172A0B6-8E86-A446-BBB8-366BEDD908B5}"/>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4" name="TextBox 69">
            <a:extLst>
              <a:ext uri="{FF2B5EF4-FFF2-40B4-BE49-F238E27FC236}">
                <a16:creationId xmlns:a16="http://schemas.microsoft.com/office/drawing/2014/main" id="{6C28D605-0560-4446-A86C-C6205692ADD4}"/>
              </a:ext>
            </a:extLst>
          </p:cNvPr>
          <p:cNvSpPr txBox="1">
            <a:spLocks noChangeArrowheads="1"/>
          </p:cNvSpPr>
          <p:nvPr userDrawn="1"/>
        </p:nvSpPr>
        <p:spPr bwMode="auto">
          <a:xfrm rot="16200000">
            <a:off x="8221240" y="617250"/>
            <a:ext cx="1338265" cy="284693"/>
          </a:xfrm>
          <a:prstGeom prst="rect">
            <a:avLst/>
          </a:prstGeom>
          <a:noFill/>
          <a:ln w="9525">
            <a:noFill/>
            <a:miter lim="800000"/>
            <a:headEnd/>
            <a:tailEnd/>
          </a:ln>
        </p:spPr>
        <p:txBody>
          <a:bodyPr wrap="square" tIns="91440" rIns="0">
            <a:spAutoFit/>
          </a:bodyPr>
          <a:lstStyle/>
          <a:p>
            <a:pPr>
              <a:defRPr/>
            </a:pPr>
            <a:r>
              <a:rPr lang="en-US" sz="900">
                <a:solidFill>
                  <a:srgbClr val="768692"/>
                </a:solidFill>
                <a:cs typeface="Arial" charset="0"/>
              </a:rPr>
              <a:t>ECONOMY</a:t>
            </a:r>
          </a:p>
        </p:txBody>
      </p:sp>
      <p:grpSp>
        <p:nvGrpSpPr>
          <p:cNvPr id="35" name="Group 34">
            <a:extLst>
              <a:ext uri="{FF2B5EF4-FFF2-40B4-BE49-F238E27FC236}">
                <a16:creationId xmlns:a16="http://schemas.microsoft.com/office/drawing/2014/main" id="{E36B5ECB-1887-7E49-8220-1D4B66F784E9}"/>
              </a:ext>
            </a:extLst>
          </p:cNvPr>
          <p:cNvGrpSpPr/>
          <p:nvPr userDrawn="1"/>
        </p:nvGrpSpPr>
        <p:grpSpPr>
          <a:xfrm>
            <a:off x="8834955" y="-8348"/>
            <a:ext cx="132661" cy="609866"/>
            <a:chOff x="8876279" y="49059"/>
            <a:chExt cx="132661" cy="609866"/>
          </a:xfrm>
        </p:grpSpPr>
        <p:cxnSp>
          <p:nvCxnSpPr>
            <p:cNvPr id="36" name="Straight Connector 35">
              <a:extLst>
                <a:ext uri="{FF2B5EF4-FFF2-40B4-BE49-F238E27FC236}">
                  <a16:creationId xmlns:a16="http://schemas.microsoft.com/office/drawing/2014/main" id="{90D613A7-5AF7-0947-901D-4A860F073A80}"/>
                </a:ext>
              </a:extLst>
            </p:cNvPr>
            <p:cNvCxnSpPr>
              <a:cxnSpLocks/>
              <a:endCxn id="38" idx="4"/>
            </p:cNvCxnSpPr>
            <p:nvPr/>
          </p:nvCxnSpPr>
          <p:spPr bwMode="auto">
            <a:xfrm>
              <a:off x="8942609" y="49059"/>
              <a:ext cx="0" cy="575539"/>
            </a:xfrm>
            <a:prstGeom prst="line">
              <a:avLst/>
            </a:prstGeom>
            <a:solidFill>
              <a:schemeClr val="hlink"/>
            </a:solidFill>
            <a:ln w="12700" cap="flat" cmpd="sng" algn="ctr">
              <a:solidFill>
                <a:schemeClr val="bg1">
                  <a:lumMod val="75000"/>
                </a:schemeClr>
              </a:solidFill>
              <a:prstDash val="solid"/>
              <a:round/>
              <a:headEnd type="none" w="med" len="med"/>
              <a:tailEnd type="none" w="med" len="med"/>
            </a:ln>
            <a:effectLst/>
          </p:spPr>
        </p:cxnSp>
        <p:sp>
          <p:nvSpPr>
            <p:cNvPr id="37" name="Oval 36">
              <a:extLst>
                <a:ext uri="{FF2B5EF4-FFF2-40B4-BE49-F238E27FC236}">
                  <a16:creationId xmlns:a16="http://schemas.microsoft.com/office/drawing/2014/main" id="{258C9009-54C1-0A49-9DB2-B39159430AC6}"/>
                </a:ext>
              </a:extLst>
            </p:cNvPr>
            <p:cNvSpPr/>
            <p:nvPr/>
          </p:nvSpPr>
          <p:spPr bwMode="auto">
            <a:xfrm>
              <a:off x="8876279" y="526264"/>
              <a:ext cx="132661" cy="132661"/>
            </a:xfrm>
            <a:prstGeom prst="ellipse">
              <a:avLst/>
            </a:prstGeom>
            <a:solidFill>
              <a:schemeClr val="bg1"/>
            </a:solidFill>
            <a:ln w="12700"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sp>
          <p:nvSpPr>
            <p:cNvPr id="38" name="Oval 37">
              <a:extLst>
                <a:ext uri="{FF2B5EF4-FFF2-40B4-BE49-F238E27FC236}">
                  <a16:creationId xmlns:a16="http://schemas.microsoft.com/office/drawing/2014/main" id="{EC6EE8F6-CB08-7349-9443-AD7FA1CD74CA}"/>
                </a:ext>
              </a:extLst>
            </p:cNvPr>
            <p:cNvSpPr/>
            <p:nvPr/>
          </p:nvSpPr>
          <p:spPr bwMode="auto">
            <a:xfrm>
              <a:off x="8910605" y="560590"/>
              <a:ext cx="64008" cy="64008"/>
            </a:xfrm>
            <a:prstGeom prst="ellipse">
              <a:avLst/>
            </a:prstGeom>
            <a:solidFill>
              <a:srgbClr val="768692"/>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grpSp>
    </p:spTree>
    <p:extLst>
      <p:ext uri="{BB962C8B-B14F-4D97-AF65-F5344CB8AC3E}">
        <p14:creationId xmlns:p14="http://schemas.microsoft.com/office/powerpoint/2010/main" val="189714968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userDrawn="1">
  <p:cSld name="7. Asset Allocation Divider">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76A6BEAB-44D3-A048-A879-7CA09F71C705}"/>
              </a:ext>
            </a:extLst>
          </p:cNvPr>
          <p:cNvGrpSpPr/>
          <p:nvPr userDrawn="1"/>
        </p:nvGrpSpPr>
        <p:grpSpPr>
          <a:xfrm>
            <a:off x="7358173" y="6361974"/>
            <a:ext cx="1382376" cy="297562"/>
            <a:chOff x="6923088" y="4475163"/>
            <a:chExt cx="1873251" cy="403225"/>
          </a:xfrm>
        </p:grpSpPr>
        <p:sp>
          <p:nvSpPr>
            <p:cNvPr id="59" name="AutoShape 4">
              <a:extLst>
                <a:ext uri="{FF2B5EF4-FFF2-40B4-BE49-F238E27FC236}">
                  <a16:creationId xmlns:a16="http://schemas.microsoft.com/office/drawing/2014/main" id="{A44E9BA6-EB41-B145-9F0F-66E217CEFFCD}"/>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6">
              <a:extLst>
                <a:ext uri="{FF2B5EF4-FFF2-40B4-BE49-F238E27FC236}">
                  <a16:creationId xmlns:a16="http://schemas.microsoft.com/office/drawing/2014/main" id="{790B3060-F2BB-A14C-9529-390F94C2D6F3}"/>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7">
              <a:extLst>
                <a:ext uri="{FF2B5EF4-FFF2-40B4-BE49-F238E27FC236}">
                  <a16:creationId xmlns:a16="http://schemas.microsoft.com/office/drawing/2014/main" id="{6ABE23DF-D129-E548-B5EE-F5CCB56CA631}"/>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 name="Freeform 83">
              <a:extLst>
                <a:ext uri="{FF2B5EF4-FFF2-40B4-BE49-F238E27FC236}">
                  <a16:creationId xmlns:a16="http://schemas.microsoft.com/office/drawing/2014/main" id="{067EC436-4618-0046-AA36-F51FDBC749AD}"/>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 name="Freeform 84">
              <a:extLst>
                <a:ext uri="{FF2B5EF4-FFF2-40B4-BE49-F238E27FC236}">
                  <a16:creationId xmlns:a16="http://schemas.microsoft.com/office/drawing/2014/main" id="{FF7362E9-C576-6343-AE0E-C71200BD8472}"/>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 name="Freeform 85">
              <a:extLst>
                <a:ext uri="{FF2B5EF4-FFF2-40B4-BE49-F238E27FC236}">
                  <a16:creationId xmlns:a16="http://schemas.microsoft.com/office/drawing/2014/main" id="{621BEB4B-CF5D-D441-ABAF-2C4EC65FC627}"/>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 name="Freeform 86">
              <a:extLst>
                <a:ext uri="{FF2B5EF4-FFF2-40B4-BE49-F238E27FC236}">
                  <a16:creationId xmlns:a16="http://schemas.microsoft.com/office/drawing/2014/main" id="{AAAB862B-A936-0347-AA0E-E65C1DAFCBE2}"/>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 name="Freeform 87">
              <a:extLst>
                <a:ext uri="{FF2B5EF4-FFF2-40B4-BE49-F238E27FC236}">
                  <a16:creationId xmlns:a16="http://schemas.microsoft.com/office/drawing/2014/main" id="{2B2DFCCB-4B53-BF43-A71A-879E02ACA1E3}"/>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 name="Freeform 88">
              <a:extLst>
                <a:ext uri="{FF2B5EF4-FFF2-40B4-BE49-F238E27FC236}">
                  <a16:creationId xmlns:a16="http://schemas.microsoft.com/office/drawing/2014/main" id="{C3FEC15A-47AE-FB44-BF56-15515C23395C}"/>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 name="Freeform 89">
              <a:extLst>
                <a:ext uri="{FF2B5EF4-FFF2-40B4-BE49-F238E27FC236}">
                  <a16:creationId xmlns:a16="http://schemas.microsoft.com/office/drawing/2014/main" id="{9317EEFD-84C9-6844-AFBB-4B9D60F975FE}"/>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 name="Freeform 90">
              <a:extLst>
                <a:ext uri="{FF2B5EF4-FFF2-40B4-BE49-F238E27FC236}">
                  <a16:creationId xmlns:a16="http://schemas.microsoft.com/office/drawing/2014/main" id="{DDC5DE7D-4437-AF41-94EC-3FC35B6769AF}"/>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 name="Freeform 91">
              <a:extLst>
                <a:ext uri="{FF2B5EF4-FFF2-40B4-BE49-F238E27FC236}">
                  <a16:creationId xmlns:a16="http://schemas.microsoft.com/office/drawing/2014/main" id="{0EC075AA-DAF5-7C4E-8063-4B41B4704AAE}"/>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 name="Freeform 92">
              <a:extLst>
                <a:ext uri="{FF2B5EF4-FFF2-40B4-BE49-F238E27FC236}">
                  <a16:creationId xmlns:a16="http://schemas.microsoft.com/office/drawing/2014/main" id="{8DA51A1F-066B-3D4E-8D1E-16BEACF7F02C}"/>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 name="Freeform 93">
              <a:extLst>
                <a:ext uri="{FF2B5EF4-FFF2-40B4-BE49-F238E27FC236}">
                  <a16:creationId xmlns:a16="http://schemas.microsoft.com/office/drawing/2014/main" id="{A75D15DA-BD32-9A4B-8DF7-EBC8EDCF4112}"/>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 name="Freeform 94">
              <a:extLst>
                <a:ext uri="{FF2B5EF4-FFF2-40B4-BE49-F238E27FC236}">
                  <a16:creationId xmlns:a16="http://schemas.microsoft.com/office/drawing/2014/main" id="{13882C4F-27A4-2D40-A6A4-E3FC45864867}"/>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 name="Freeform 95">
              <a:extLst>
                <a:ext uri="{FF2B5EF4-FFF2-40B4-BE49-F238E27FC236}">
                  <a16:creationId xmlns:a16="http://schemas.microsoft.com/office/drawing/2014/main" id="{DE023627-F5E9-3047-8258-25AECA52319A}"/>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 name="Freeform 96">
              <a:extLst>
                <a:ext uri="{FF2B5EF4-FFF2-40B4-BE49-F238E27FC236}">
                  <a16:creationId xmlns:a16="http://schemas.microsoft.com/office/drawing/2014/main" id="{BE57EA71-EFF3-164C-8120-645261578CFE}"/>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 name="Freeform 97">
              <a:extLst>
                <a:ext uri="{FF2B5EF4-FFF2-40B4-BE49-F238E27FC236}">
                  <a16:creationId xmlns:a16="http://schemas.microsoft.com/office/drawing/2014/main" id="{25050EE9-2BFB-EA44-B796-23BFE7F4837A}"/>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 name="Freeform 98">
              <a:extLst>
                <a:ext uri="{FF2B5EF4-FFF2-40B4-BE49-F238E27FC236}">
                  <a16:creationId xmlns:a16="http://schemas.microsoft.com/office/drawing/2014/main" id="{E903CDB3-E4F6-F94A-BC75-A28B09493323}"/>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 name="Freeform 99">
              <a:extLst>
                <a:ext uri="{FF2B5EF4-FFF2-40B4-BE49-F238E27FC236}">
                  <a16:creationId xmlns:a16="http://schemas.microsoft.com/office/drawing/2014/main" id="{8D7BD037-1D2F-B341-A114-B73E3DB7AD7D}"/>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 name="Freeform 100">
              <a:extLst>
                <a:ext uri="{FF2B5EF4-FFF2-40B4-BE49-F238E27FC236}">
                  <a16:creationId xmlns:a16="http://schemas.microsoft.com/office/drawing/2014/main" id="{3E91F9A1-6224-314A-B907-76EBB11430F1}"/>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 name="Freeform 101">
              <a:extLst>
                <a:ext uri="{FF2B5EF4-FFF2-40B4-BE49-F238E27FC236}">
                  <a16:creationId xmlns:a16="http://schemas.microsoft.com/office/drawing/2014/main" id="{F89262C7-C863-0944-B70D-B610CAE5E351}"/>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 name="Freeform 102">
              <a:extLst>
                <a:ext uri="{FF2B5EF4-FFF2-40B4-BE49-F238E27FC236}">
                  <a16:creationId xmlns:a16="http://schemas.microsoft.com/office/drawing/2014/main" id="{BC1892E5-78EA-404F-9849-247E331C6BDE}"/>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 name="Freeform 103">
              <a:extLst>
                <a:ext uri="{FF2B5EF4-FFF2-40B4-BE49-F238E27FC236}">
                  <a16:creationId xmlns:a16="http://schemas.microsoft.com/office/drawing/2014/main" id="{61B9AB6E-1A59-F241-A79A-727DEF62957A}"/>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 name="Freeform 104">
              <a:extLst>
                <a:ext uri="{FF2B5EF4-FFF2-40B4-BE49-F238E27FC236}">
                  <a16:creationId xmlns:a16="http://schemas.microsoft.com/office/drawing/2014/main" id="{7FBC6B33-341B-A243-9711-C3166D9604D0}"/>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 name="Freeform 105">
              <a:extLst>
                <a:ext uri="{FF2B5EF4-FFF2-40B4-BE49-F238E27FC236}">
                  <a16:creationId xmlns:a16="http://schemas.microsoft.com/office/drawing/2014/main" id="{70E31DE5-3FEE-3D4F-BEBF-DDDDE070DB5B}"/>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3" name="Title 1">
            <a:extLst>
              <a:ext uri="{FF2B5EF4-FFF2-40B4-BE49-F238E27FC236}">
                <a16:creationId xmlns:a16="http://schemas.microsoft.com/office/drawing/2014/main" id="{3951CBEA-00B0-2B44-BC3D-FC6428B9DB61}"/>
              </a:ext>
            </a:extLst>
          </p:cNvPr>
          <p:cNvSpPr>
            <a:spLocks noGrp="1"/>
          </p:cNvSpPr>
          <p:nvPr>
            <p:ph type="title"/>
          </p:nvPr>
        </p:nvSpPr>
        <p:spPr>
          <a:xfrm>
            <a:off x="687295" y="3046413"/>
            <a:ext cx="8229600" cy="1143000"/>
          </a:xfrm>
        </p:spPr>
        <p:txBody>
          <a:bodyPr>
            <a:normAutofit/>
          </a:bodyPr>
          <a:lstStyle>
            <a:lvl1pPr>
              <a:defRPr b="1">
                <a:solidFill>
                  <a:srgbClr val="009681"/>
                </a:solidFill>
              </a:defRPr>
            </a:lvl1pPr>
          </a:lstStyle>
          <a:p>
            <a:r>
              <a:rPr lang="en-US">
                <a:solidFill>
                  <a:srgbClr val="C8982C"/>
                </a:solidFill>
              </a:rPr>
              <a:t>Asset Markets</a:t>
            </a:r>
          </a:p>
        </p:txBody>
      </p:sp>
      <p:sp>
        <p:nvSpPr>
          <p:cNvPr id="34" name="Triangle 40">
            <a:extLst>
              <a:ext uri="{FF2B5EF4-FFF2-40B4-BE49-F238E27FC236}">
                <a16:creationId xmlns:a16="http://schemas.microsoft.com/office/drawing/2014/main" id="{85F8C2D6-08F1-2D4D-B6B1-0FEF2770F256}"/>
              </a:ext>
            </a:extLst>
          </p:cNvPr>
          <p:cNvSpPr/>
          <p:nvPr userDrawn="1"/>
        </p:nvSpPr>
        <p:spPr bwMode="auto">
          <a:xfrm flipH="1" flipV="1">
            <a:off x="-1" y="0"/>
            <a:ext cx="5392615" cy="1354238"/>
          </a:xfrm>
          <a:custGeom>
            <a:avLst/>
            <a:gdLst>
              <a:gd name="connsiteX0" fmla="*/ 0 w 12192000"/>
              <a:gd name="connsiteY0" fmla="*/ 2036323 h 2036323"/>
              <a:gd name="connsiteX1" fmla="*/ 12178955 w 12192000"/>
              <a:gd name="connsiteY1" fmla="*/ 0 h 2036323"/>
              <a:gd name="connsiteX2" fmla="*/ 12192000 w 12192000"/>
              <a:gd name="connsiteY2" fmla="*/ 2036323 h 2036323"/>
              <a:gd name="connsiteX3" fmla="*/ 0 w 12192000"/>
              <a:gd name="connsiteY3" fmla="*/ 2036323 h 2036323"/>
              <a:gd name="connsiteX0" fmla="*/ 0 w 12204970"/>
              <a:gd name="connsiteY0" fmla="*/ 1880680 h 2036323"/>
              <a:gd name="connsiteX1" fmla="*/ 12191925 w 12204970"/>
              <a:gd name="connsiteY1" fmla="*/ 0 h 2036323"/>
              <a:gd name="connsiteX2" fmla="*/ 12204970 w 12204970"/>
              <a:gd name="connsiteY2" fmla="*/ 2036323 h 2036323"/>
              <a:gd name="connsiteX3" fmla="*/ 0 w 12204970"/>
              <a:gd name="connsiteY3" fmla="*/ 1880680 h 2036323"/>
              <a:gd name="connsiteX0" fmla="*/ 0 w 12192096"/>
              <a:gd name="connsiteY0" fmla="*/ 1880680 h 1906621"/>
              <a:gd name="connsiteX1" fmla="*/ 12191925 w 12192096"/>
              <a:gd name="connsiteY1" fmla="*/ 0 h 1906621"/>
              <a:gd name="connsiteX2" fmla="*/ 12120664 w 12192096"/>
              <a:gd name="connsiteY2" fmla="*/ 1906621 h 1906621"/>
              <a:gd name="connsiteX3" fmla="*/ 0 w 12192096"/>
              <a:gd name="connsiteY3" fmla="*/ 1880680 h 1906621"/>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9673"/>
              <a:gd name="connsiteY0" fmla="*/ 1867710 h 2049294"/>
              <a:gd name="connsiteX1" fmla="*/ 12198410 w 12199673"/>
              <a:gd name="connsiteY1" fmla="*/ 0 h 2049294"/>
              <a:gd name="connsiteX2" fmla="*/ 12198485 w 12199673"/>
              <a:gd name="connsiteY2" fmla="*/ 2049294 h 2049294"/>
              <a:gd name="connsiteX3" fmla="*/ 0 w 12199673"/>
              <a:gd name="connsiteY3" fmla="*/ 1867710 h 2049294"/>
              <a:gd name="connsiteX0" fmla="*/ 0 w 12199673"/>
              <a:gd name="connsiteY0" fmla="*/ 1867710 h 2329173"/>
              <a:gd name="connsiteX1" fmla="*/ 12198410 w 12199673"/>
              <a:gd name="connsiteY1" fmla="*/ 0 h 2329173"/>
              <a:gd name="connsiteX2" fmla="*/ 12198485 w 12199673"/>
              <a:gd name="connsiteY2" fmla="*/ 2049294 h 2329173"/>
              <a:gd name="connsiteX3" fmla="*/ 0 w 12199673"/>
              <a:gd name="connsiteY3" fmla="*/ 1867710 h 2329173"/>
              <a:gd name="connsiteX0" fmla="*/ 0 w 12199673"/>
              <a:gd name="connsiteY0" fmla="*/ 1867710 h 2049294"/>
              <a:gd name="connsiteX1" fmla="*/ 12198410 w 12199673"/>
              <a:gd name="connsiteY1" fmla="*/ 0 h 2049294"/>
              <a:gd name="connsiteX2" fmla="*/ 12198485 w 12199673"/>
              <a:gd name="connsiteY2" fmla="*/ 2049294 h 2049294"/>
              <a:gd name="connsiteX3" fmla="*/ 0 w 12199673"/>
              <a:gd name="connsiteY3" fmla="*/ 1867710 h 2049294"/>
              <a:gd name="connsiteX0" fmla="*/ 1 w 12167248"/>
              <a:gd name="connsiteY0" fmla="*/ 1861225 h 2049294"/>
              <a:gd name="connsiteX1" fmla="*/ 12165985 w 12167248"/>
              <a:gd name="connsiteY1" fmla="*/ 0 h 2049294"/>
              <a:gd name="connsiteX2" fmla="*/ 12166060 w 12167248"/>
              <a:gd name="connsiteY2" fmla="*/ 2049294 h 2049294"/>
              <a:gd name="connsiteX3" fmla="*/ 1 w 12167248"/>
              <a:gd name="connsiteY3" fmla="*/ 1861225 h 2049294"/>
              <a:gd name="connsiteX0" fmla="*/ 1 w 12167248"/>
              <a:gd name="connsiteY0" fmla="*/ 1841769 h 2029838"/>
              <a:gd name="connsiteX1" fmla="*/ 12165985 w 12167248"/>
              <a:gd name="connsiteY1" fmla="*/ 0 h 2029838"/>
              <a:gd name="connsiteX2" fmla="*/ 12166060 w 12167248"/>
              <a:gd name="connsiteY2" fmla="*/ 2029838 h 2029838"/>
              <a:gd name="connsiteX3" fmla="*/ 1 w 12167248"/>
              <a:gd name="connsiteY3" fmla="*/ 1841769 h 2029838"/>
              <a:gd name="connsiteX0" fmla="*/ 1 w 12167248"/>
              <a:gd name="connsiteY0" fmla="*/ 1842242 h 2030311"/>
              <a:gd name="connsiteX1" fmla="*/ 12165985 w 12167248"/>
              <a:gd name="connsiteY1" fmla="*/ 473 h 2030311"/>
              <a:gd name="connsiteX2" fmla="*/ 12166060 w 12167248"/>
              <a:gd name="connsiteY2" fmla="*/ 2030311 h 2030311"/>
              <a:gd name="connsiteX3" fmla="*/ 1 w 12167248"/>
              <a:gd name="connsiteY3" fmla="*/ 1842242 h 2030311"/>
              <a:gd name="connsiteX0" fmla="*/ 1 w 12167248"/>
              <a:gd name="connsiteY0" fmla="*/ 1842242 h 2030710"/>
              <a:gd name="connsiteX1" fmla="*/ 12165985 w 12167248"/>
              <a:gd name="connsiteY1" fmla="*/ 473 h 2030710"/>
              <a:gd name="connsiteX2" fmla="*/ 12166060 w 12167248"/>
              <a:gd name="connsiteY2" fmla="*/ 2030311 h 2030710"/>
              <a:gd name="connsiteX3" fmla="*/ 1 w 12167248"/>
              <a:gd name="connsiteY3" fmla="*/ 1842242 h 2030710"/>
              <a:gd name="connsiteX0" fmla="*/ 1 w 12167248"/>
              <a:gd name="connsiteY0" fmla="*/ 1842242 h 2030710"/>
              <a:gd name="connsiteX1" fmla="*/ 12165985 w 12167248"/>
              <a:gd name="connsiteY1" fmla="*/ 473 h 2030710"/>
              <a:gd name="connsiteX2" fmla="*/ 12166060 w 12167248"/>
              <a:gd name="connsiteY2" fmla="*/ 2030311 h 2030710"/>
              <a:gd name="connsiteX3" fmla="*/ 1 w 12167248"/>
              <a:gd name="connsiteY3" fmla="*/ 1842242 h 2030710"/>
              <a:gd name="connsiteX0" fmla="*/ 1 w 12166780"/>
              <a:gd name="connsiteY0" fmla="*/ 1842242 h 2043646"/>
              <a:gd name="connsiteX1" fmla="*/ 12165985 w 12166780"/>
              <a:gd name="connsiteY1" fmla="*/ 473 h 2043646"/>
              <a:gd name="connsiteX2" fmla="*/ 12159575 w 12166780"/>
              <a:gd name="connsiteY2" fmla="*/ 2043281 h 2043646"/>
              <a:gd name="connsiteX3" fmla="*/ 1 w 12166780"/>
              <a:gd name="connsiteY3" fmla="*/ 1842242 h 2043646"/>
              <a:gd name="connsiteX0" fmla="*/ 1 w 12166780"/>
              <a:gd name="connsiteY0" fmla="*/ 1842242 h 2024244"/>
              <a:gd name="connsiteX1" fmla="*/ 12165985 w 12166780"/>
              <a:gd name="connsiteY1" fmla="*/ 473 h 2024244"/>
              <a:gd name="connsiteX2" fmla="*/ 12159575 w 12166780"/>
              <a:gd name="connsiteY2" fmla="*/ 2023826 h 2024244"/>
              <a:gd name="connsiteX3" fmla="*/ 1 w 12166780"/>
              <a:gd name="connsiteY3" fmla="*/ 1842242 h 2024244"/>
              <a:gd name="connsiteX0" fmla="*/ 1 w 12179031"/>
              <a:gd name="connsiteY0" fmla="*/ 1842242 h 2037177"/>
              <a:gd name="connsiteX1" fmla="*/ 12165985 w 12179031"/>
              <a:gd name="connsiteY1" fmla="*/ 473 h 2037177"/>
              <a:gd name="connsiteX2" fmla="*/ 12179030 w 12179031"/>
              <a:gd name="connsiteY2" fmla="*/ 2036796 h 2037177"/>
              <a:gd name="connsiteX3" fmla="*/ 1 w 12179031"/>
              <a:gd name="connsiteY3" fmla="*/ 1842242 h 2037177"/>
              <a:gd name="connsiteX0" fmla="*/ 1 w 12167248"/>
              <a:gd name="connsiteY0" fmla="*/ 1842242 h 2056588"/>
              <a:gd name="connsiteX1" fmla="*/ 12165985 w 12167248"/>
              <a:gd name="connsiteY1" fmla="*/ 473 h 2056588"/>
              <a:gd name="connsiteX2" fmla="*/ 12166060 w 12167248"/>
              <a:gd name="connsiteY2" fmla="*/ 2056251 h 2056588"/>
              <a:gd name="connsiteX3" fmla="*/ 1 w 12167248"/>
              <a:gd name="connsiteY3" fmla="*/ 1842242 h 2056588"/>
              <a:gd name="connsiteX0" fmla="*/ 1 w 12192002"/>
              <a:gd name="connsiteY0" fmla="*/ 1842242 h 2024244"/>
              <a:gd name="connsiteX1" fmla="*/ 12165985 w 12192002"/>
              <a:gd name="connsiteY1" fmla="*/ 473 h 2024244"/>
              <a:gd name="connsiteX2" fmla="*/ 12192001 w 12192002"/>
              <a:gd name="connsiteY2" fmla="*/ 2023826 h 2024244"/>
              <a:gd name="connsiteX3" fmla="*/ 1 w 12192002"/>
              <a:gd name="connsiteY3" fmla="*/ 1842242 h 2024244"/>
              <a:gd name="connsiteX0" fmla="*/ 1 w 12167248"/>
              <a:gd name="connsiteY0" fmla="*/ 1842242 h 2050117"/>
              <a:gd name="connsiteX1" fmla="*/ 12165985 w 12167248"/>
              <a:gd name="connsiteY1" fmla="*/ 473 h 2050117"/>
              <a:gd name="connsiteX2" fmla="*/ 12166061 w 12167248"/>
              <a:gd name="connsiteY2" fmla="*/ 2049767 h 2050117"/>
              <a:gd name="connsiteX3" fmla="*/ 1 w 12167248"/>
              <a:gd name="connsiteY3" fmla="*/ 1842242 h 2050117"/>
              <a:gd name="connsiteX0" fmla="*/ 1 w 12166780"/>
              <a:gd name="connsiteY0" fmla="*/ 1842242 h 2024245"/>
              <a:gd name="connsiteX1" fmla="*/ 12165985 w 12166780"/>
              <a:gd name="connsiteY1" fmla="*/ 473 h 2024245"/>
              <a:gd name="connsiteX2" fmla="*/ 12159576 w 12166780"/>
              <a:gd name="connsiteY2" fmla="*/ 2023827 h 2024245"/>
              <a:gd name="connsiteX3" fmla="*/ 1 w 12166780"/>
              <a:gd name="connsiteY3" fmla="*/ 1842242 h 2024245"/>
              <a:gd name="connsiteX0" fmla="*/ 1 w 12172548"/>
              <a:gd name="connsiteY0" fmla="*/ 1842242 h 2043647"/>
              <a:gd name="connsiteX1" fmla="*/ 12165985 w 12172548"/>
              <a:gd name="connsiteY1" fmla="*/ 473 h 2043647"/>
              <a:gd name="connsiteX2" fmla="*/ 12172547 w 12172548"/>
              <a:gd name="connsiteY2" fmla="*/ 2043282 h 2043647"/>
              <a:gd name="connsiteX3" fmla="*/ 1 w 12172548"/>
              <a:gd name="connsiteY3" fmla="*/ 1842242 h 2043647"/>
              <a:gd name="connsiteX0" fmla="*/ 1 w 12166566"/>
              <a:gd name="connsiteY0" fmla="*/ 1842242 h 2030711"/>
              <a:gd name="connsiteX1" fmla="*/ 12165985 w 12166566"/>
              <a:gd name="connsiteY1" fmla="*/ 473 h 2030711"/>
              <a:gd name="connsiteX2" fmla="*/ 12153091 w 12166566"/>
              <a:gd name="connsiteY2" fmla="*/ 2030312 h 2030711"/>
              <a:gd name="connsiteX3" fmla="*/ 1 w 12166566"/>
              <a:gd name="connsiteY3" fmla="*/ 1842242 h 2030711"/>
              <a:gd name="connsiteX0" fmla="*/ 1 w 12175317"/>
              <a:gd name="connsiteY0" fmla="*/ 1842242 h 2037043"/>
              <a:gd name="connsiteX1" fmla="*/ 12165985 w 12175317"/>
              <a:gd name="connsiteY1" fmla="*/ 473 h 2037043"/>
              <a:gd name="connsiteX2" fmla="*/ 12175316 w 12175317"/>
              <a:gd name="connsiteY2" fmla="*/ 2036662 h 2037043"/>
              <a:gd name="connsiteX3" fmla="*/ 1 w 12175317"/>
              <a:gd name="connsiteY3" fmla="*/ 1842242 h 2037043"/>
              <a:gd name="connsiteX0" fmla="*/ 1 w 12184842"/>
              <a:gd name="connsiteY0" fmla="*/ 1842242 h 2027545"/>
              <a:gd name="connsiteX1" fmla="*/ 12165985 w 12184842"/>
              <a:gd name="connsiteY1" fmla="*/ 473 h 2027545"/>
              <a:gd name="connsiteX2" fmla="*/ 12184841 w 12184842"/>
              <a:gd name="connsiteY2" fmla="*/ 2027137 h 2027545"/>
              <a:gd name="connsiteX3" fmla="*/ 1 w 12184842"/>
              <a:gd name="connsiteY3" fmla="*/ 1842242 h 2027545"/>
              <a:gd name="connsiteX0" fmla="*/ 1 w 12184842"/>
              <a:gd name="connsiteY0" fmla="*/ 1851765 h 2037068"/>
              <a:gd name="connsiteX1" fmla="*/ 12172335 w 12184842"/>
              <a:gd name="connsiteY1" fmla="*/ 471 h 2037068"/>
              <a:gd name="connsiteX2" fmla="*/ 12184841 w 12184842"/>
              <a:gd name="connsiteY2" fmla="*/ 2036660 h 2037068"/>
              <a:gd name="connsiteX3" fmla="*/ 1 w 12184842"/>
              <a:gd name="connsiteY3" fmla="*/ 1851765 h 2037068"/>
              <a:gd name="connsiteX0" fmla="*/ 1 w 12184842"/>
              <a:gd name="connsiteY0" fmla="*/ 1858113 h 2043416"/>
              <a:gd name="connsiteX1" fmla="*/ 12172335 w 12184842"/>
              <a:gd name="connsiteY1" fmla="*/ 469 h 2043416"/>
              <a:gd name="connsiteX2" fmla="*/ 12184841 w 12184842"/>
              <a:gd name="connsiteY2" fmla="*/ 2043008 h 2043416"/>
              <a:gd name="connsiteX3" fmla="*/ 1 w 12184842"/>
              <a:gd name="connsiteY3" fmla="*/ 1858113 h 2043416"/>
              <a:gd name="connsiteX0" fmla="*/ 1 w 12205863"/>
              <a:gd name="connsiteY0" fmla="*/ 1858113 h 1923107"/>
              <a:gd name="connsiteX1" fmla="*/ 12172335 w 12205863"/>
              <a:gd name="connsiteY1" fmla="*/ 469 h 1923107"/>
              <a:gd name="connsiteX2" fmla="*/ 12205862 w 12205863"/>
              <a:gd name="connsiteY2" fmla="*/ 1920222 h 1923107"/>
              <a:gd name="connsiteX3" fmla="*/ 1 w 12205863"/>
              <a:gd name="connsiteY3" fmla="*/ 1858113 h 1923107"/>
              <a:gd name="connsiteX0" fmla="*/ 1 w 12206057"/>
              <a:gd name="connsiteY0" fmla="*/ 1858113 h 1920221"/>
              <a:gd name="connsiteX1" fmla="*/ 12172335 w 12206057"/>
              <a:gd name="connsiteY1" fmla="*/ 469 h 1920221"/>
              <a:gd name="connsiteX2" fmla="*/ 12205862 w 12206057"/>
              <a:gd name="connsiteY2" fmla="*/ 1920222 h 1920221"/>
              <a:gd name="connsiteX3" fmla="*/ 1 w 12206057"/>
              <a:gd name="connsiteY3" fmla="*/ 1858113 h 1920221"/>
              <a:gd name="connsiteX0" fmla="*/ 1 w 12227078"/>
              <a:gd name="connsiteY0" fmla="*/ 1858113 h 1870508"/>
              <a:gd name="connsiteX1" fmla="*/ 12172335 w 12227078"/>
              <a:gd name="connsiteY1" fmla="*/ 469 h 1870508"/>
              <a:gd name="connsiteX2" fmla="*/ 12226883 w 12227078"/>
              <a:gd name="connsiteY2" fmla="*/ 1821993 h 1870508"/>
              <a:gd name="connsiteX3" fmla="*/ 1 w 12227078"/>
              <a:gd name="connsiteY3" fmla="*/ 1858113 h 1870508"/>
              <a:gd name="connsiteX0" fmla="*/ 1 w 12227078"/>
              <a:gd name="connsiteY0" fmla="*/ 1919492 h 1931888"/>
              <a:gd name="connsiteX1" fmla="*/ 12193355 w 12227078"/>
              <a:gd name="connsiteY1" fmla="*/ 454 h 1931888"/>
              <a:gd name="connsiteX2" fmla="*/ 12226883 w 12227078"/>
              <a:gd name="connsiteY2" fmla="*/ 1883372 h 1931888"/>
              <a:gd name="connsiteX3" fmla="*/ 1 w 12227078"/>
              <a:gd name="connsiteY3" fmla="*/ 1919492 h 1931888"/>
              <a:gd name="connsiteX0" fmla="*/ 1 w 12258608"/>
              <a:gd name="connsiteY0" fmla="*/ 1919492 h 1930198"/>
              <a:gd name="connsiteX1" fmla="*/ 12193355 w 12258608"/>
              <a:gd name="connsiteY1" fmla="*/ 454 h 1930198"/>
              <a:gd name="connsiteX2" fmla="*/ 12258414 w 12258608"/>
              <a:gd name="connsiteY2" fmla="*/ 1846536 h 1930198"/>
              <a:gd name="connsiteX3" fmla="*/ 1 w 12258608"/>
              <a:gd name="connsiteY3" fmla="*/ 1919492 h 1930198"/>
              <a:gd name="connsiteX0" fmla="*/ 1 w 12193819"/>
              <a:gd name="connsiteY0" fmla="*/ 1919492 h 1932582"/>
              <a:gd name="connsiteX1" fmla="*/ 12193355 w 12193819"/>
              <a:gd name="connsiteY1" fmla="*/ 454 h 1932582"/>
              <a:gd name="connsiteX2" fmla="*/ 12174331 w 12193819"/>
              <a:gd name="connsiteY2" fmla="*/ 1895651 h 1932582"/>
              <a:gd name="connsiteX3" fmla="*/ 1 w 12193819"/>
              <a:gd name="connsiteY3" fmla="*/ 1919492 h 1932582"/>
              <a:gd name="connsiteX0" fmla="*/ 1 w 12193526"/>
              <a:gd name="connsiteY0" fmla="*/ 1919492 h 1932582"/>
              <a:gd name="connsiteX1" fmla="*/ 12193355 w 12193526"/>
              <a:gd name="connsiteY1" fmla="*/ 454 h 1932582"/>
              <a:gd name="connsiteX2" fmla="*/ 12174331 w 12193526"/>
              <a:gd name="connsiteY2" fmla="*/ 1895651 h 1932582"/>
              <a:gd name="connsiteX3" fmla="*/ 1 w 12193526"/>
              <a:gd name="connsiteY3" fmla="*/ 1919492 h 1932582"/>
              <a:gd name="connsiteX0" fmla="*/ 1 w 12193526"/>
              <a:gd name="connsiteY0" fmla="*/ 1919492 h 1938518"/>
              <a:gd name="connsiteX1" fmla="*/ 12193355 w 12193526"/>
              <a:gd name="connsiteY1" fmla="*/ 454 h 1938518"/>
              <a:gd name="connsiteX2" fmla="*/ 12174331 w 12193526"/>
              <a:gd name="connsiteY2" fmla="*/ 1895651 h 1938518"/>
              <a:gd name="connsiteX3" fmla="*/ 1 w 12193526"/>
              <a:gd name="connsiteY3" fmla="*/ 1919492 h 1938518"/>
              <a:gd name="connsiteX0" fmla="*/ 1 w 12193584"/>
              <a:gd name="connsiteY0" fmla="*/ 1919492 h 1938518"/>
              <a:gd name="connsiteX1" fmla="*/ 12193355 w 12193584"/>
              <a:gd name="connsiteY1" fmla="*/ 454 h 1938518"/>
              <a:gd name="connsiteX2" fmla="*/ 12174331 w 12193584"/>
              <a:gd name="connsiteY2" fmla="*/ 1895651 h 1938518"/>
              <a:gd name="connsiteX3" fmla="*/ 1 w 12193584"/>
              <a:gd name="connsiteY3" fmla="*/ 1919492 h 1938518"/>
              <a:gd name="connsiteX0" fmla="*/ 1 w 12193468"/>
              <a:gd name="connsiteY0" fmla="*/ 1919492 h 1933905"/>
              <a:gd name="connsiteX1" fmla="*/ 12193355 w 12193468"/>
              <a:gd name="connsiteY1" fmla="*/ 454 h 1933905"/>
              <a:gd name="connsiteX2" fmla="*/ 12111269 w 12193468"/>
              <a:gd name="connsiteY2" fmla="*/ 1846537 h 1933905"/>
              <a:gd name="connsiteX3" fmla="*/ 1 w 12193468"/>
              <a:gd name="connsiteY3" fmla="*/ 1919492 h 1933905"/>
              <a:gd name="connsiteX0" fmla="*/ 1 w 12193632"/>
              <a:gd name="connsiteY0" fmla="*/ 1919492 h 1940184"/>
              <a:gd name="connsiteX1" fmla="*/ 12193355 w 12193632"/>
              <a:gd name="connsiteY1" fmla="*/ 454 h 1940184"/>
              <a:gd name="connsiteX2" fmla="*/ 12184841 w 12193632"/>
              <a:gd name="connsiteY2" fmla="*/ 1907931 h 1940184"/>
              <a:gd name="connsiteX3" fmla="*/ 1 w 12193632"/>
              <a:gd name="connsiteY3" fmla="*/ 1919492 h 1940184"/>
              <a:gd name="connsiteX0" fmla="*/ 1 w 12193376"/>
              <a:gd name="connsiteY0" fmla="*/ 1919492 h 1923285"/>
              <a:gd name="connsiteX1" fmla="*/ 12193355 w 12193376"/>
              <a:gd name="connsiteY1" fmla="*/ 454 h 1923285"/>
              <a:gd name="connsiteX2" fmla="*/ 11586288 w 12193376"/>
              <a:gd name="connsiteY2" fmla="*/ 1274881 h 1923285"/>
              <a:gd name="connsiteX3" fmla="*/ 1 w 12193376"/>
              <a:gd name="connsiteY3" fmla="*/ 1919492 h 1923285"/>
              <a:gd name="connsiteX0" fmla="*/ 1 w 12211564"/>
              <a:gd name="connsiteY0" fmla="*/ 1919492 h 1940184"/>
              <a:gd name="connsiteX1" fmla="*/ 12193355 w 12211564"/>
              <a:gd name="connsiteY1" fmla="*/ 454 h 1940184"/>
              <a:gd name="connsiteX2" fmla="*/ 12211564 w 12211564"/>
              <a:gd name="connsiteY2" fmla="*/ 1907932 h 1940184"/>
              <a:gd name="connsiteX3" fmla="*/ 1 w 12211564"/>
              <a:gd name="connsiteY3" fmla="*/ 1919492 h 1940184"/>
              <a:gd name="connsiteX0" fmla="*/ 1 w 12142089"/>
              <a:gd name="connsiteY0" fmla="*/ 1913227 h 1934891"/>
              <a:gd name="connsiteX1" fmla="*/ 12123880 w 12142089"/>
              <a:gd name="connsiteY1" fmla="*/ 456 h 1934891"/>
              <a:gd name="connsiteX2" fmla="*/ 12142089 w 12142089"/>
              <a:gd name="connsiteY2" fmla="*/ 1907934 h 1934891"/>
              <a:gd name="connsiteX3" fmla="*/ 1 w 12142089"/>
              <a:gd name="connsiteY3" fmla="*/ 1913227 h 1934891"/>
              <a:gd name="connsiteX0" fmla="*/ 2 w 12142090"/>
              <a:gd name="connsiteY0" fmla="*/ 1913227 h 1913226"/>
              <a:gd name="connsiteX1" fmla="*/ 12123881 w 12142090"/>
              <a:gd name="connsiteY1" fmla="*/ 456 h 1913226"/>
              <a:gd name="connsiteX2" fmla="*/ 12142090 w 12142090"/>
              <a:gd name="connsiteY2" fmla="*/ 1907934 h 1913226"/>
              <a:gd name="connsiteX3" fmla="*/ 2 w 12142090"/>
              <a:gd name="connsiteY3" fmla="*/ 1913227 h 1913226"/>
              <a:gd name="connsiteX0" fmla="*/ 3 w 12093993"/>
              <a:gd name="connsiteY0" fmla="*/ 1919495 h 1919495"/>
              <a:gd name="connsiteX1" fmla="*/ 12075784 w 12093993"/>
              <a:gd name="connsiteY1" fmla="*/ 455 h 1919495"/>
              <a:gd name="connsiteX2" fmla="*/ 12093993 w 12093993"/>
              <a:gd name="connsiteY2" fmla="*/ 1907933 h 1919495"/>
              <a:gd name="connsiteX3" fmla="*/ 3 w 12093993"/>
              <a:gd name="connsiteY3" fmla="*/ 1919495 h 1919495"/>
              <a:gd name="connsiteX0" fmla="*/ 3 w 12126172"/>
              <a:gd name="connsiteY0" fmla="*/ 1919495 h 1919495"/>
              <a:gd name="connsiteX1" fmla="*/ 12075784 w 12126172"/>
              <a:gd name="connsiteY1" fmla="*/ 455 h 1919495"/>
              <a:gd name="connsiteX2" fmla="*/ 12126172 w 12126172"/>
              <a:gd name="connsiteY2" fmla="*/ 1895062 h 1919495"/>
              <a:gd name="connsiteX3" fmla="*/ 3 w 12126172"/>
              <a:gd name="connsiteY3" fmla="*/ 1919495 h 1919495"/>
              <a:gd name="connsiteX0" fmla="*/ 3 w 12088629"/>
              <a:gd name="connsiteY0" fmla="*/ 1919495 h 1919495"/>
              <a:gd name="connsiteX1" fmla="*/ 12075784 w 12088629"/>
              <a:gd name="connsiteY1" fmla="*/ 455 h 1919495"/>
              <a:gd name="connsiteX2" fmla="*/ 12088629 w 12088629"/>
              <a:gd name="connsiteY2" fmla="*/ 1907935 h 1919495"/>
              <a:gd name="connsiteX3" fmla="*/ 3 w 12088629"/>
              <a:gd name="connsiteY3" fmla="*/ 1919495 h 1919495"/>
              <a:gd name="connsiteX0" fmla="*/ 3 w 12088645"/>
              <a:gd name="connsiteY0" fmla="*/ 1919495 h 1920291"/>
              <a:gd name="connsiteX1" fmla="*/ 12075784 w 12088645"/>
              <a:gd name="connsiteY1" fmla="*/ 455 h 1920291"/>
              <a:gd name="connsiteX2" fmla="*/ 12088629 w 12088645"/>
              <a:gd name="connsiteY2" fmla="*/ 1907935 h 1920291"/>
              <a:gd name="connsiteX3" fmla="*/ 3 w 12088645"/>
              <a:gd name="connsiteY3" fmla="*/ 1919495 h 1920291"/>
              <a:gd name="connsiteX0" fmla="*/ 3 w 12088645"/>
              <a:gd name="connsiteY0" fmla="*/ 1919495 h 1920290"/>
              <a:gd name="connsiteX1" fmla="*/ 12075784 w 12088645"/>
              <a:gd name="connsiteY1" fmla="*/ 455 h 1920290"/>
              <a:gd name="connsiteX2" fmla="*/ 12088629 w 12088645"/>
              <a:gd name="connsiteY2" fmla="*/ 1907935 h 1920290"/>
              <a:gd name="connsiteX3" fmla="*/ 3 w 12088645"/>
              <a:gd name="connsiteY3" fmla="*/ 1919495 h 1920290"/>
              <a:gd name="connsiteX0" fmla="*/ 3 w 12094009"/>
              <a:gd name="connsiteY0" fmla="*/ 1919495 h 1919494"/>
              <a:gd name="connsiteX1" fmla="*/ 12075784 w 12094009"/>
              <a:gd name="connsiteY1" fmla="*/ 455 h 1919494"/>
              <a:gd name="connsiteX2" fmla="*/ 12093993 w 12094009"/>
              <a:gd name="connsiteY2" fmla="*/ 1882192 h 1919494"/>
              <a:gd name="connsiteX3" fmla="*/ 3 w 12094009"/>
              <a:gd name="connsiteY3" fmla="*/ 1919495 h 1919494"/>
              <a:gd name="connsiteX0" fmla="*/ 3 w 12099372"/>
              <a:gd name="connsiteY0" fmla="*/ 1919495 h 1920290"/>
              <a:gd name="connsiteX1" fmla="*/ 12075784 w 12099372"/>
              <a:gd name="connsiteY1" fmla="*/ 455 h 1920290"/>
              <a:gd name="connsiteX2" fmla="*/ 12099356 w 12099372"/>
              <a:gd name="connsiteY2" fmla="*/ 1907935 h 1920290"/>
              <a:gd name="connsiteX3" fmla="*/ 3 w 12099372"/>
              <a:gd name="connsiteY3" fmla="*/ 1919495 h 1920290"/>
              <a:gd name="connsiteX0" fmla="*/ 3 w 12099372"/>
              <a:gd name="connsiteY0" fmla="*/ 1919495 h 1920290"/>
              <a:gd name="connsiteX1" fmla="*/ 12075784 w 12099372"/>
              <a:gd name="connsiteY1" fmla="*/ 455 h 1920290"/>
              <a:gd name="connsiteX2" fmla="*/ 12099356 w 12099372"/>
              <a:gd name="connsiteY2" fmla="*/ 1907935 h 1920290"/>
              <a:gd name="connsiteX3" fmla="*/ 3 w 12099372"/>
              <a:gd name="connsiteY3" fmla="*/ 1919495 h 1920290"/>
              <a:gd name="connsiteX0" fmla="*/ 3 w 12075784"/>
              <a:gd name="connsiteY0" fmla="*/ 1919495 h 1919494"/>
              <a:gd name="connsiteX1" fmla="*/ 12075784 w 12075784"/>
              <a:gd name="connsiteY1" fmla="*/ 455 h 1919494"/>
              <a:gd name="connsiteX2" fmla="*/ 11874101 w 12075784"/>
              <a:gd name="connsiteY2" fmla="*/ 1901500 h 1919494"/>
              <a:gd name="connsiteX3" fmla="*/ 3 w 12075784"/>
              <a:gd name="connsiteY3" fmla="*/ 1919495 h 1919494"/>
              <a:gd name="connsiteX0" fmla="*/ 3 w 12083281"/>
              <a:gd name="connsiteY0" fmla="*/ 1919495 h 1920290"/>
              <a:gd name="connsiteX1" fmla="*/ 12075784 w 12083281"/>
              <a:gd name="connsiteY1" fmla="*/ 455 h 1920290"/>
              <a:gd name="connsiteX2" fmla="*/ 12083265 w 12083281"/>
              <a:gd name="connsiteY2" fmla="*/ 1907937 h 1920290"/>
              <a:gd name="connsiteX3" fmla="*/ 3 w 12083281"/>
              <a:gd name="connsiteY3" fmla="*/ 1919495 h 1920290"/>
              <a:gd name="connsiteX0" fmla="*/ 3 w 12083281"/>
              <a:gd name="connsiteY0" fmla="*/ 1919495 h 1920290"/>
              <a:gd name="connsiteX1" fmla="*/ 12075784 w 12083281"/>
              <a:gd name="connsiteY1" fmla="*/ 455 h 1920290"/>
              <a:gd name="connsiteX2" fmla="*/ 12083265 w 12083281"/>
              <a:gd name="connsiteY2" fmla="*/ 1907937 h 1920290"/>
              <a:gd name="connsiteX3" fmla="*/ 3 w 12083281"/>
              <a:gd name="connsiteY3" fmla="*/ 1919495 h 1920290"/>
            </a:gdLst>
            <a:ahLst/>
            <a:cxnLst>
              <a:cxn ang="0">
                <a:pos x="connsiteX0" y="connsiteY0"/>
              </a:cxn>
              <a:cxn ang="0">
                <a:pos x="connsiteX1" y="connsiteY1"/>
              </a:cxn>
              <a:cxn ang="0">
                <a:pos x="connsiteX2" y="connsiteY2"/>
              </a:cxn>
              <a:cxn ang="0">
                <a:pos x="connsiteX3" y="connsiteY3"/>
              </a:cxn>
            </a:cxnLst>
            <a:rect l="l" t="t" r="r" b="b"/>
            <a:pathLst>
              <a:path w="12083281" h="1920290">
                <a:moveTo>
                  <a:pt x="3" y="1919495"/>
                </a:moveTo>
                <a:cubicBezTo>
                  <a:pt x="-21" y="1915172"/>
                  <a:pt x="12056353" y="-34132"/>
                  <a:pt x="12075784" y="455"/>
                </a:cubicBezTo>
                <a:cubicBezTo>
                  <a:pt x="12064042" y="35633"/>
                  <a:pt x="12074201" y="1926691"/>
                  <a:pt x="12083265" y="1907937"/>
                </a:cubicBezTo>
                <a:cubicBezTo>
                  <a:pt x="12099828" y="1924799"/>
                  <a:pt x="-6259" y="1919506"/>
                  <a:pt x="3" y="1919495"/>
                </a:cubicBezTo>
                <a:close/>
              </a:path>
            </a:pathLst>
          </a:custGeom>
          <a:solidFill>
            <a:srgbClr val="00968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cxnSp>
        <p:nvCxnSpPr>
          <p:cNvPr id="35" name="Straight Connector 34">
            <a:extLst>
              <a:ext uri="{FF2B5EF4-FFF2-40B4-BE49-F238E27FC236}">
                <a16:creationId xmlns:a16="http://schemas.microsoft.com/office/drawing/2014/main" id="{31A2A7CD-F928-B346-9944-3D1E3B257157}"/>
              </a:ext>
            </a:extLst>
          </p:cNvPr>
          <p:cNvCxnSpPr>
            <a:cxnSpLocks/>
          </p:cNvCxnSpPr>
          <p:nvPr userDrawn="1"/>
        </p:nvCxnSpPr>
        <p:spPr bwMode="auto">
          <a:xfrm flipV="1">
            <a:off x="4192367" y="5486401"/>
            <a:ext cx="4951633" cy="1371599"/>
          </a:xfrm>
          <a:prstGeom prst="line">
            <a:avLst/>
          </a:prstGeom>
          <a:solidFill>
            <a:schemeClr val="hlink"/>
          </a:solidFill>
          <a:ln w="12700" cap="flat" cmpd="sng" algn="ctr">
            <a:solidFill>
              <a:schemeClr val="bg1">
                <a:lumMod val="85000"/>
              </a:schemeClr>
            </a:solidFill>
            <a:prstDash val="solid"/>
            <a:round/>
            <a:headEnd type="none" w="med" len="med"/>
            <a:tailEnd type="none" w="med" len="med"/>
          </a:ln>
          <a:effectLst/>
        </p:spPr>
      </p:cxnSp>
      <p:sp>
        <p:nvSpPr>
          <p:cNvPr id="36" name="Triangle 40">
            <a:extLst>
              <a:ext uri="{FF2B5EF4-FFF2-40B4-BE49-F238E27FC236}">
                <a16:creationId xmlns:a16="http://schemas.microsoft.com/office/drawing/2014/main" id="{E534579F-EAD0-B342-AD52-071BF6F40DEA}"/>
              </a:ext>
            </a:extLst>
          </p:cNvPr>
          <p:cNvSpPr/>
          <p:nvPr userDrawn="1"/>
        </p:nvSpPr>
        <p:spPr bwMode="auto">
          <a:xfrm rot="8472601" flipH="1" flipV="1">
            <a:off x="6172249" y="4956023"/>
            <a:ext cx="3771331" cy="1230334"/>
          </a:xfrm>
          <a:custGeom>
            <a:avLst/>
            <a:gdLst>
              <a:gd name="connsiteX0" fmla="*/ 0 w 12192000"/>
              <a:gd name="connsiteY0" fmla="*/ 2036323 h 2036323"/>
              <a:gd name="connsiteX1" fmla="*/ 12178955 w 12192000"/>
              <a:gd name="connsiteY1" fmla="*/ 0 h 2036323"/>
              <a:gd name="connsiteX2" fmla="*/ 12192000 w 12192000"/>
              <a:gd name="connsiteY2" fmla="*/ 2036323 h 2036323"/>
              <a:gd name="connsiteX3" fmla="*/ 0 w 12192000"/>
              <a:gd name="connsiteY3" fmla="*/ 2036323 h 2036323"/>
              <a:gd name="connsiteX0" fmla="*/ 0 w 12204970"/>
              <a:gd name="connsiteY0" fmla="*/ 1880680 h 2036323"/>
              <a:gd name="connsiteX1" fmla="*/ 12191925 w 12204970"/>
              <a:gd name="connsiteY1" fmla="*/ 0 h 2036323"/>
              <a:gd name="connsiteX2" fmla="*/ 12204970 w 12204970"/>
              <a:gd name="connsiteY2" fmla="*/ 2036323 h 2036323"/>
              <a:gd name="connsiteX3" fmla="*/ 0 w 12204970"/>
              <a:gd name="connsiteY3" fmla="*/ 1880680 h 2036323"/>
              <a:gd name="connsiteX0" fmla="*/ 0 w 12192096"/>
              <a:gd name="connsiteY0" fmla="*/ 1880680 h 1906621"/>
              <a:gd name="connsiteX1" fmla="*/ 12191925 w 12192096"/>
              <a:gd name="connsiteY1" fmla="*/ 0 h 1906621"/>
              <a:gd name="connsiteX2" fmla="*/ 12120664 w 12192096"/>
              <a:gd name="connsiteY2" fmla="*/ 1906621 h 1906621"/>
              <a:gd name="connsiteX3" fmla="*/ 0 w 12192096"/>
              <a:gd name="connsiteY3" fmla="*/ 1880680 h 1906621"/>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9673"/>
              <a:gd name="connsiteY0" fmla="*/ 1867710 h 2049294"/>
              <a:gd name="connsiteX1" fmla="*/ 12198410 w 12199673"/>
              <a:gd name="connsiteY1" fmla="*/ 0 h 2049294"/>
              <a:gd name="connsiteX2" fmla="*/ 12198485 w 12199673"/>
              <a:gd name="connsiteY2" fmla="*/ 2049294 h 2049294"/>
              <a:gd name="connsiteX3" fmla="*/ 0 w 12199673"/>
              <a:gd name="connsiteY3" fmla="*/ 1867710 h 2049294"/>
              <a:gd name="connsiteX0" fmla="*/ 0 w 12199673"/>
              <a:gd name="connsiteY0" fmla="*/ 1867710 h 2329173"/>
              <a:gd name="connsiteX1" fmla="*/ 12198410 w 12199673"/>
              <a:gd name="connsiteY1" fmla="*/ 0 h 2329173"/>
              <a:gd name="connsiteX2" fmla="*/ 12198485 w 12199673"/>
              <a:gd name="connsiteY2" fmla="*/ 2049294 h 2329173"/>
              <a:gd name="connsiteX3" fmla="*/ 0 w 12199673"/>
              <a:gd name="connsiteY3" fmla="*/ 1867710 h 2329173"/>
              <a:gd name="connsiteX0" fmla="*/ 0 w 12199673"/>
              <a:gd name="connsiteY0" fmla="*/ 1867710 h 2049294"/>
              <a:gd name="connsiteX1" fmla="*/ 12198410 w 12199673"/>
              <a:gd name="connsiteY1" fmla="*/ 0 h 2049294"/>
              <a:gd name="connsiteX2" fmla="*/ 12198485 w 12199673"/>
              <a:gd name="connsiteY2" fmla="*/ 2049294 h 2049294"/>
              <a:gd name="connsiteX3" fmla="*/ 0 w 12199673"/>
              <a:gd name="connsiteY3" fmla="*/ 1867710 h 2049294"/>
              <a:gd name="connsiteX0" fmla="*/ 1 w 12167248"/>
              <a:gd name="connsiteY0" fmla="*/ 1861225 h 2049294"/>
              <a:gd name="connsiteX1" fmla="*/ 12165985 w 12167248"/>
              <a:gd name="connsiteY1" fmla="*/ 0 h 2049294"/>
              <a:gd name="connsiteX2" fmla="*/ 12166060 w 12167248"/>
              <a:gd name="connsiteY2" fmla="*/ 2049294 h 2049294"/>
              <a:gd name="connsiteX3" fmla="*/ 1 w 12167248"/>
              <a:gd name="connsiteY3" fmla="*/ 1861225 h 2049294"/>
              <a:gd name="connsiteX0" fmla="*/ 1 w 12167248"/>
              <a:gd name="connsiteY0" fmla="*/ 1841769 h 2029838"/>
              <a:gd name="connsiteX1" fmla="*/ 12165985 w 12167248"/>
              <a:gd name="connsiteY1" fmla="*/ 0 h 2029838"/>
              <a:gd name="connsiteX2" fmla="*/ 12166060 w 12167248"/>
              <a:gd name="connsiteY2" fmla="*/ 2029838 h 2029838"/>
              <a:gd name="connsiteX3" fmla="*/ 1 w 12167248"/>
              <a:gd name="connsiteY3" fmla="*/ 1841769 h 2029838"/>
              <a:gd name="connsiteX0" fmla="*/ 1 w 12167248"/>
              <a:gd name="connsiteY0" fmla="*/ 1842242 h 2030311"/>
              <a:gd name="connsiteX1" fmla="*/ 12165985 w 12167248"/>
              <a:gd name="connsiteY1" fmla="*/ 473 h 2030311"/>
              <a:gd name="connsiteX2" fmla="*/ 12166060 w 12167248"/>
              <a:gd name="connsiteY2" fmla="*/ 2030311 h 2030311"/>
              <a:gd name="connsiteX3" fmla="*/ 1 w 12167248"/>
              <a:gd name="connsiteY3" fmla="*/ 1842242 h 2030311"/>
              <a:gd name="connsiteX0" fmla="*/ 1 w 12167248"/>
              <a:gd name="connsiteY0" fmla="*/ 1842242 h 2030710"/>
              <a:gd name="connsiteX1" fmla="*/ 12165985 w 12167248"/>
              <a:gd name="connsiteY1" fmla="*/ 473 h 2030710"/>
              <a:gd name="connsiteX2" fmla="*/ 12166060 w 12167248"/>
              <a:gd name="connsiteY2" fmla="*/ 2030311 h 2030710"/>
              <a:gd name="connsiteX3" fmla="*/ 1 w 12167248"/>
              <a:gd name="connsiteY3" fmla="*/ 1842242 h 2030710"/>
              <a:gd name="connsiteX0" fmla="*/ 1 w 12167248"/>
              <a:gd name="connsiteY0" fmla="*/ 1842242 h 2030710"/>
              <a:gd name="connsiteX1" fmla="*/ 12165985 w 12167248"/>
              <a:gd name="connsiteY1" fmla="*/ 473 h 2030710"/>
              <a:gd name="connsiteX2" fmla="*/ 12166060 w 12167248"/>
              <a:gd name="connsiteY2" fmla="*/ 2030311 h 2030710"/>
              <a:gd name="connsiteX3" fmla="*/ 1 w 12167248"/>
              <a:gd name="connsiteY3" fmla="*/ 1842242 h 2030710"/>
              <a:gd name="connsiteX0" fmla="*/ 1 w 12166780"/>
              <a:gd name="connsiteY0" fmla="*/ 1842242 h 2043646"/>
              <a:gd name="connsiteX1" fmla="*/ 12165985 w 12166780"/>
              <a:gd name="connsiteY1" fmla="*/ 473 h 2043646"/>
              <a:gd name="connsiteX2" fmla="*/ 12159575 w 12166780"/>
              <a:gd name="connsiteY2" fmla="*/ 2043281 h 2043646"/>
              <a:gd name="connsiteX3" fmla="*/ 1 w 12166780"/>
              <a:gd name="connsiteY3" fmla="*/ 1842242 h 2043646"/>
              <a:gd name="connsiteX0" fmla="*/ 1 w 12166780"/>
              <a:gd name="connsiteY0" fmla="*/ 1842242 h 2024244"/>
              <a:gd name="connsiteX1" fmla="*/ 12165985 w 12166780"/>
              <a:gd name="connsiteY1" fmla="*/ 473 h 2024244"/>
              <a:gd name="connsiteX2" fmla="*/ 12159575 w 12166780"/>
              <a:gd name="connsiteY2" fmla="*/ 2023826 h 2024244"/>
              <a:gd name="connsiteX3" fmla="*/ 1 w 12166780"/>
              <a:gd name="connsiteY3" fmla="*/ 1842242 h 2024244"/>
              <a:gd name="connsiteX0" fmla="*/ 1 w 12179031"/>
              <a:gd name="connsiteY0" fmla="*/ 1842242 h 2037177"/>
              <a:gd name="connsiteX1" fmla="*/ 12165985 w 12179031"/>
              <a:gd name="connsiteY1" fmla="*/ 473 h 2037177"/>
              <a:gd name="connsiteX2" fmla="*/ 12179030 w 12179031"/>
              <a:gd name="connsiteY2" fmla="*/ 2036796 h 2037177"/>
              <a:gd name="connsiteX3" fmla="*/ 1 w 12179031"/>
              <a:gd name="connsiteY3" fmla="*/ 1842242 h 2037177"/>
              <a:gd name="connsiteX0" fmla="*/ 1 w 12167248"/>
              <a:gd name="connsiteY0" fmla="*/ 1842242 h 2056588"/>
              <a:gd name="connsiteX1" fmla="*/ 12165985 w 12167248"/>
              <a:gd name="connsiteY1" fmla="*/ 473 h 2056588"/>
              <a:gd name="connsiteX2" fmla="*/ 12166060 w 12167248"/>
              <a:gd name="connsiteY2" fmla="*/ 2056251 h 2056588"/>
              <a:gd name="connsiteX3" fmla="*/ 1 w 12167248"/>
              <a:gd name="connsiteY3" fmla="*/ 1842242 h 2056588"/>
              <a:gd name="connsiteX0" fmla="*/ 1 w 12192002"/>
              <a:gd name="connsiteY0" fmla="*/ 1842242 h 2024244"/>
              <a:gd name="connsiteX1" fmla="*/ 12165985 w 12192002"/>
              <a:gd name="connsiteY1" fmla="*/ 473 h 2024244"/>
              <a:gd name="connsiteX2" fmla="*/ 12192001 w 12192002"/>
              <a:gd name="connsiteY2" fmla="*/ 2023826 h 2024244"/>
              <a:gd name="connsiteX3" fmla="*/ 1 w 12192002"/>
              <a:gd name="connsiteY3" fmla="*/ 1842242 h 2024244"/>
              <a:gd name="connsiteX0" fmla="*/ 1 w 12167248"/>
              <a:gd name="connsiteY0" fmla="*/ 1842242 h 2050117"/>
              <a:gd name="connsiteX1" fmla="*/ 12165985 w 12167248"/>
              <a:gd name="connsiteY1" fmla="*/ 473 h 2050117"/>
              <a:gd name="connsiteX2" fmla="*/ 12166061 w 12167248"/>
              <a:gd name="connsiteY2" fmla="*/ 2049767 h 2050117"/>
              <a:gd name="connsiteX3" fmla="*/ 1 w 12167248"/>
              <a:gd name="connsiteY3" fmla="*/ 1842242 h 2050117"/>
              <a:gd name="connsiteX0" fmla="*/ 1 w 12166780"/>
              <a:gd name="connsiteY0" fmla="*/ 1842242 h 2024245"/>
              <a:gd name="connsiteX1" fmla="*/ 12165985 w 12166780"/>
              <a:gd name="connsiteY1" fmla="*/ 473 h 2024245"/>
              <a:gd name="connsiteX2" fmla="*/ 12159576 w 12166780"/>
              <a:gd name="connsiteY2" fmla="*/ 2023827 h 2024245"/>
              <a:gd name="connsiteX3" fmla="*/ 1 w 12166780"/>
              <a:gd name="connsiteY3" fmla="*/ 1842242 h 2024245"/>
              <a:gd name="connsiteX0" fmla="*/ 1 w 12172548"/>
              <a:gd name="connsiteY0" fmla="*/ 1842242 h 2043647"/>
              <a:gd name="connsiteX1" fmla="*/ 12165985 w 12172548"/>
              <a:gd name="connsiteY1" fmla="*/ 473 h 2043647"/>
              <a:gd name="connsiteX2" fmla="*/ 12172547 w 12172548"/>
              <a:gd name="connsiteY2" fmla="*/ 2043282 h 2043647"/>
              <a:gd name="connsiteX3" fmla="*/ 1 w 12172548"/>
              <a:gd name="connsiteY3" fmla="*/ 1842242 h 2043647"/>
              <a:gd name="connsiteX0" fmla="*/ 1 w 12166566"/>
              <a:gd name="connsiteY0" fmla="*/ 1842242 h 2030711"/>
              <a:gd name="connsiteX1" fmla="*/ 12165985 w 12166566"/>
              <a:gd name="connsiteY1" fmla="*/ 473 h 2030711"/>
              <a:gd name="connsiteX2" fmla="*/ 12153091 w 12166566"/>
              <a:gd name="connsiteY2" fmla="*/ 2030312 h 2030711"/>
              <a:gd name="connsiteX3" fmla="*/ 1 w 12166566"/>
              <a:gd name="connsiteY3" fmla="*/ 1842242 h 2030711"/>
              <a:gd name="connsiteX0" fmla="*/ 1 w 12175317"/>
              <a:gd name="connsiteY0" fmla="*/ 1842242 h 2037043"/>
              <a:gd name="connsiteX1" fmla="*/ 12165985 w 12175317"/>
              <a:gd name="connsiteY1" fmla="*/ 473 h 2037043"/>
              <a:gd name="connsiteX2" fmla="*/ 12175316 w 12175317"/>
              <a:gd name="connsiteY2" fmla="*/ 2036662 h 2037043"/>
              <a:gd name="connsiteX3" fmla="*/ 1 w 12175317"/>
              <a:gd name="connsiteY3" fmla="*/ 1842242 h 2037043"/>
              <a:gd name="connsiteX0" fmla="*/ 1 w 12184842"/>
              <a:gd name="connsiteY0" fmla="*/ 1842242 h 2027545"/>
              <a:gd name="connsiteX1" fmla="*/ 12165985 w 12184842"/>
              <a:gd name="connsiteY1" fmla="*/ 473 h 2027545"/>
              <a:gd name="connsiteX2" fmla="*/ 12184841 w 12184842"/>
              <a:gd name="connsiteY2" fmla="*/ 2027137 h 2027545"/>
              <a:gd name="connsiteX3" fmla="*/ 1 w 12184842"/>
              <a:gd name="connsiteY3" fmla="*/ 1842242 h 2027545"/>
              <a:gd name="connsiteX0" fmla="*/ 1 w 12184842"/>
              <a:gd name="connsiteY0" fmla="*/ 1851765 h 2037068"/>
              <a:gd name="connsiteX1" fmla="*/ 12172335 w 12184842"/>
              <a:gd name="connsiteY1" fmla="*/ 471 h 2037068"/>
              <a:gd name="connsiteX2" fmla="*/ 12184841 w 12184842"/>
              <a:gd name="connsiteY2" fmla="*/ 2036660 h 2037068"/>
              <a:gd name="connsiteX3" fmla="*/ 1 w 12184842"/>
              <a:gd name="connsiteY3" fmla="*/ 1851765 h 2037068"/>
              <a:gd name="connsiteX0" fmla="*/ 1 w 12184842"/>
              <a:gd name="connsiteY0" fmla="*/ 1858113 h 2043416"/>
              <a:gd name="connsiteX1" fmla="*/ 12172335 w 12184842"/>
              <a:gd name="connsiteY1" fmla="*/ 469 h 2043416"/>
              <a:gd name="connsiteX2" fmla="*/ 12184841 w 12184842"/>
              <a:gd name="connsiteY2" fmla="*/ 2043008 h 2043416"/>
              <a:gd name="connsiteX3" fmla="*/ 1 w 12184842"/>
              <a:gd name="connsiteY3" fmla="*/ 1858113 h 2043416"/>
              <a:gd name="connsiteX0" fmla="*/ 1 w 12205863"/>
              <a:gd name="connsiteY0" fmla="*/ 1858113 h 1923107"/>
              <a:gd name="connsiteX1" fmla="*/ 12172335 w 12205863"/>
              <a:gd name="connsiteY1" fmla="*/ 469 h 1923107"/>
              <a:gd name="connsiteX2" fmla="*/ 12205862 w 12205863"/>
              <a:gd name="connsiteY2" fmla="*/ 1920222 h 1923107"/>
              <a:gd name="connsiteX3" fmla="*/ 1 w 12205863"/>
              <a:gd name="connsiteY3" fmla="*/ 1858113 h 1923107"/>
              <a:gd name="connsiteX0" fmla="*/ 1 w 12206057"/>
              <a:gd name="connsiteY0" fmla="*/ 1858113 h 1920221"/>
              <a:gd name="connsiteX1" fmla="*/ 12172335 w 12206057"/>
              <a:gd name="connsiteY1" fmla="*/ 469 h 1920221"/>
              <a:gd name="connsiteX2" fmla="*/ 12205862 w 12206057"/>
              <a:gd name="connsiteY2" fmla="*/ 1920222 h 1920221"/>
              <a:gd name="connsiteX3" fmla="*/ 1 w 12206057"/>
              <a:gd name="connsiteY3" fmla="*/ 1858113 h 1920221"/>
              <a:gd name="connsiteX0" fmla="*/ 1 w 12227078"/>
              <a:gd name="connsiteY0" fmla="*/ 1858113 h 1870508"/>
              <a:gd name="connsiteX1" fmla="*/ 12172335 w 12227078"/>
              <a:gd name="connsiteY1" fmla="*/ 469 h 1870508"/>
              <a:gd name="connsiteX2" fmla="*/ 12226883 w 12227078"/>
              <a:gd name="connsiteY2" fmla="*/ 1821993 h 1870508"/>
              <a:gd name="connsiteX3" fmla="*/ 1 w 12227078"/>
              <a:gd name="connsiteY3" fmla="*/ 1858113 h 1870508"/>
              <a:gd name="connsiteX0" fmla="*/ 1 w 12227078"/>
              <a:gd name="connsiteY0" fmla="*/ 1919492 h 1931888"/>
              <a:gd name="connsiteX1" fmla="*/ 12193355 w 12227078"/>
              <a:gd name="connsiteY1" fmla="*/ 454 h 1931888"/>
              <a:gd name="connsiteX2" fmla="*/ 12226883 w 12227078"/>
              <a:gd name="connsiteY2" fmla="*/ 1883372 h 1931888"/>
              <a:gd name="connsiteX3" fmla="*/ 1 w 12227078"/>
              <a:gd name="connsiteY3" fmla="*/ 1919492 h 1931888"/>
              <a:gd name="connsiteX0" fmla="*/ 1 w 12258608"/>
              <a:gd name="connsiteY0" fmla="*/ 1919492 h 1930198"/>
              <a:gd name="connsiteX1" fmla="*/ 12193355 w 12258608"/>
              <a:gd name="connsiteY1" fmla="*/ 454 h 1930198"/>
              <a:gd name="connsiteX2" fmla="*/ 12258414 w 12258608"/>
              <a:gd name="connsiteY2" fmla="*/ 1846536 h 1930198"/>
              <a:gd name="connsiteX3" fmla="*/ 1 w 12258608"/>
              <a:gd name="connsiteY3" fmla="*/ 1919492 h 1930198"/>
              <a:gd name="connsiteX0" fmla="*/ 1 w 12193819"/>
              <a:gd name="connsiteY0" fmla="*/ 1919492 h 1932582"/>
              <a:gd name="connsiteX1" fmla="*/ 12193355 w 12193819"/>
              <a:gd name="connsiteY1" fmla="*/ 454 h 1932582"/>
              <a:gd name="connsiteX2" fmla="*/ 12174331 w 12193819"/>
              <a:gd name="connsiteY2" fmla="*/ 1895651 h 1932582"/>
              <a:gd name="connsiteX3" fmla="*/ 1 w 12193819"/>
              <a:gd name="connsiteY3" fmla="*/ 1919492 h 1932582"/>
              <a:gd name="connsiteX0" fmla="*/ 1 w 12193526"/>
              <a:gd name="connsiteY0" fmla="*/ 1919492 h 1932582"/>
              <a:gd name="connsiteX1" fmla="*/ 12193355 w 12193526"/>
              <a:gd name="connsiteY1" fmla="*/ 454 h 1932582"/>
              <a:gd name="connsiteX2" fmla="*/ 12174331 w 12193526"/>
              <a:gd name="connsiteY2" fmla="*/ 1895651 h 1932582"/>
              <a:gd name="connsiteX3" fmla="*/ 1 w 12193526"/>
              <a:gd name="connsiteY3" fmla="*/ 1919492 h 1932582"/>
              <a:gd name="connsiteX0" fmla="*/ 1 w 12193526"/>
              <a:gd name="connsiteY0" fmla="*/ 1919492 h 1938518"/>
              <a:gd name="connsiteX1" fmla="*/ 12193355 w 12193526"/>
              <a:gd name="connsiteY1" fmla="*/ 454 h 1938518"/>
              <a:gd name="connsiteX2" fmla="*/ 12174331 w 12193526"/>
              <a:gd name="connsiteY2" fmla="*/ 1895651 h 1938518"/>
              <a:gd name="connsiteX3" fmla="*/ 1 w 12193526"/>
              <a:gd name="connsiteY3" fmla="*/ 1919492 h 1938518"/>
              <a:gd name="connsiteX0" fmla="*/ 1 w 12193584"/>
              <a:gd name="connsiteY0" fmla="*/ 1919492 h 1938518"/>
              <a:gd name="connsiteX1" fmla="*/ 12193355 w 12193584"/>
              <a:gd name="connsiteY1" fmla="*/ 454 h 1938518"/>
              <a:gd name="connsiteX2" fmla="*/ 12174331 w 12193584"/>
              <a:gd name="connsiteY2" fmla="*/ 1895651 h 1938518"/>
              <a:gd name="connsiteX3" fmla="*/ 1 w 12193584"/>
              <a:gd name="connsiteY3" fmla="*/ 1919492 h 1938518"/>
              <a:gd name="connsiteX0" fmla="*/ 1 w 12193468"/>
              <a:gd name="connsiteY0" fmla="*/ 1919492 h 1933905"/>
              <a:gd name="connsiteX1" fmla="*/ 12193355 w 12193468"/>
              <a:gd name="connsiteY1" fmla="*/ 454 h 1933905"/>
              <a:gd name="connsiteX2" fmla="*/ 12111269 w 12193468"/>
              <a:gd name="connsiteY2" fmla="*/ 1846537 h 1933905"/>
              <a:gd name="connsiteX3" fmla="*/ 1 w 12193468"/>
              <a:gd name="connsiteY3" fmla="*/ 1919492 h 1933905"/>
              <a:gd name="connsiteX0" fmla="*/ 1 w 12193632"/>
              <a:gd name="connsiteY0" fmla="*/ 1919492 h 1940184"/>
              <a:gd name="connsiteX1" fmla="*/ 12193355 w 12193632"/>
              <a:gd name="connsiteY1" fmla="*/ 454 h 1940184"/>
              <a:gd name="connsiteX2" fmla="*/ 12184841 w 12193632"/>
              <a:gd name="connsiteY2" fmla="*/ 1907931 h 1940184"/>
              <a:gd name="connsiteX3" fmla="*/ 1 w 12193632"/>
              <a:gd name="connsiteY3" fmla="*/ 1919492 h 1940184"/>
              <a:gd name="connsiteX0" fmla="*/ 1 w 12193376"/>
              <a:gd name="connsiteY0" fmla="*/ 1919492 h 1923285"/>
              <a:gd name="connsiteX1" fmla="*/ 12193355 w 12193376"/>
              <a:gd name="connsiteY1" fmla="*/ 454 h 1923285"/>
              <a:gd name="connsiteX2" fmla="*/ 11586288 w 12193376"/>
              <a:gd name="connsiteY2" fmla="*/ 1274881 h 1923285"/>
              <a:gd name="connsiteX3" fmla="*/ 1 w 12193376"/>
              <a:gd name="connsiteY3" fmla="*/ 1919492 h 1923285"/>
              <a:gd name="connsiteX0" fmla="*/ 1 w 12211564"/>
              <a:gd name="connsiteY0" fmla="*/ 1919492 h 1940184"/>
              <a:gd name="connsiteX1" fmla="*/ 12193355 w 12211564"/>
              <a:gd name="connsiteY1" fmla="*/ 454 h 1940184"/>
              <a:gd name="connsiteX2" fmla="*/ 12211564 w 12211564"/>
              <a:gd name="connsiteY2" fmla="*/ 1907932 h 1940184"/>
              <a:gd name="connsiteX3" fmla="*/ 1 w 12211564"/>
              <a:gd name="connsiteY3" fmla="*/ 1919492 h 1940184"/>
              <a:gd name="connsiteX0" fmla="*/ 1 w 12142089"/>
              <a:gd name="connsiteY0" fmla="*/ 1913227 h 1934891"/>
              <a:gd name="connsiteX1" fmla="*/ 12123880 w 12142089"/>
              <a:gd name="connsiteY1" fmla="*/ 456 h 1934891"/>
              <a:gd name="connsiteX2" fmla="*/ 12142089 w 12142089"/>
              <a:gd name="connsiteY2" fmla="*/ 1907934 h 1934891"/>
              <a:gd name="connsiteX3" fmla="*/ 1 w 12142089"/>
              <a:gd name="connsiteY3" fmla="*/ 1913227 h 1934891"/>
              <a:gd name="connsiteX0" fmla="*/ 2 w 12142090"/>
              <a:gd name="connsiteY0" fmla="*/ 1913227 h 1913226"/>
              <a:gd name="connsiteX1" fmla="*/ 12123881 w 12142090"/>
              <a:gd name="connsiteY1" fmla="*/ 456 h 1913226"/>
              <a:gd name="connsiteX2" fmla="*/ 12142090 w 12142090"/>
              <a:gd name="connsiteY2" fmla="*/ 1907934 h 1913226"/>
              <a:gd name="connsiteX3" fmla="*/ 2 w 12142090"/>
              <a:gd name="connsiteY3" fmla="*/ 1913227 h 1913226"/>
              <a:gd name="connsiteX0" fmla="*/ 3 w 12093993"/>
              <a:gd name="connsiteY0" fmla="*/ 1919495 h 1919495"/>
              <a:gd name="connsiteX1" fmla="*/ 12075784 w 12093993"/>
              <a:gd name="connsiteY1" fmla="*/ 455 h 1919495"/>
              <a:gd name="connsiteX2" fmla="*/ 12093993 w 12093993"/>
              <a:gd name="connsiteY2" fmla="*/ 1907933 h 1919495"/>
              <a:gd name="connsiteX3" fmla="*/ 3 w 12093993"/>
              <a:gd name="connsiteY3" fmla="*/ 1919495 h 1919495"/>
              <a:gd name="connsiteX0" fmla="*/ 3 w 12126172"/>
              <a:gd name="connsiteY0" fmla="*/ 1919495 h 1919495"/>
              <a:gd name="connsiteX1" fmla="*/ 12075784 w 12126172"/>
              <a:gd name="connsiteY1" fmla="*/ 455 h 1919495"/>
              <a:gd name="connsiteX2" fmla="*/ 12126172 w 12126172"/>
              <a:gd name="connsiteY2" fmla="*/ 1895062 h 1919495"/>
              <a:gd name="connsiteX3" fmla="*/ 3 w 12126172"/>
              <a:gd name="connsiteY3" fmla="*/ 1919495 h 1919495"/>
              <a:gd name="connsiteX0" fmla="*/ 3 w 12088629"/>
              <a:gd name="connsiteY0" fmla="*/ 1919495 h 1919495"/>
              <a:gd name="connsiteX1" fmla="*/ 12075784 w 12088629"/>
              <a:gd name="connsiteY1" fmla="*/ 455 h 1919495"/>
              <a:gd name="connsiteX2" fmla="*/ 12088629 w 12088629"/>
              <a:gd name="connsiteY2" fmla="*/ 1907935 h 1919495"/>
              <a:gd name="connsiteX3" fmla="*/ 3 w 12088629"/>
              <a:gd name="connsiteY3" fmla="*/ 1919495 h 1919495"/>
              <a:gd name="connsiteX0" fmla="*/ 3 w 12088645"/>
              <a:gd name="connsiteY0" fmla="*/ 1919495 h 1920291"/>
              <a:gd name="connsiteX1" fmla="*/ 12075784 w 12088645"/>
              <a:gd name="connsiteY1" fmla="*/ 455 h 1920291"/>
              <a:gd name="connsiteX2" fmla="*/ 12088629 w 12088645"/>
              <a:gd name="connsiteY2" fmla="*/ 1907935 h 1920291"/>
              <a:gd name="connsiteX3" fmla="*/ 3 w 12088645"/>
              <a:gd name="connsiteY3" fmla="*/ 1919495 h 1920291"/>
              <a:gd name="connsiteX0" fmla="*/ 3 w 12088645"/>
              <a:gd name="connsiteY0" fmla="*/ 1919495 h 1920290"/>
              <a:gd name="connsiteX1" fmla="*/ 12075784 w 12088645"/>
              <a:gd name="connsiteY1" fmla="*/ 455 h 1920290"/>
              <a:gd name="connsiteX2" fmla="*/ 12088629 w 12088645"/>
              <a:gd name="connsiteY2" fmla="*/ 1907935 h 1920290"/>
              <a:gd name="connsiteX3" fmla="*/ 3 w 12088645"/>
              <a:gd name="connsiteY3" fmla="*/ 1919495 h 1920290"/>
              <a:gd name="connsiteX0" fmla="*/ 3 w 12094009"/>
              <a:gd name="connsiteY0" fmla="*/ 1919495 h 1919494"/>
              <a:gd name="connsiteX1" fmla="*/ 12075784 w 12094009"/>
              <a:gd name="connsiteY1" fmla="*/ 455 h 1919494"/>
              <a:gd name="connsiteX2" fmla="*/ 12093993 w 12094009"/>
              <a:gd name="connsiteY2" fmla="*/ 1882192 h 1919494"/>
              <a:gd name="connsiteX3" fmla="*/ 3 w 12094009"/>
              <a:gd name="connsiteY3" fmla="*/ 1919495 h 1919494"/>
              <a:gd name="connsiteX0" fmla="*/ 3 w 12099372"/>
              <a:gd name="connsiteY0" fmla="*/ 1919495 h 1920290"/>
              <a:gd name="connsiteX1" fmla="*/ 12075784 w 12099372"/>
              <a:gd name="connsiteY1" fmla="*/ 455 h 1920290"/>
              <a:gd name="connsiteX2" fmla="*/ 12099356 w 12099372"/>
              <a:gd name="connsiteY2" fmla="*/ 1907935 h 1920290"/>
              <a:gd name="connsiteX3" fmla="*/ 3 w 12099372"/>
              <a:gd name="connsiteY3" fmla="*/ 1919495 h 1920290"/>
              <a:gd name="connsiteX0" fmla="*/ 3 w 12099372"/>
              <a:gd name="connsiteY0" fmla="*/ 1919495 h 1920290"/>
              <a:gd name="connsiteX1" fmla="*/ 12075784 w 12099372"/>
              <a:gd name="connsiteY1" fmla="*/ 455 h 1920290"/>
              <a:gd name="connsiteX2" fmla="*/ 12099356 w 12099372"/>
              <a:gd name="connsiteY2" fmla="*/ 1907935 h 1920290"/>
              <a:gd name="connsiteX3" fmla="*/ 3 w 12099372"/>
              <a:gd name="connsiteY3" fmla="*/ 1919495 h 1920290"/>
              <a:gd name="connsiteX0" fmla="*/ 3 w 12075784"/>
              <a:gd name="connsiteY0" fmla="*/ 1919495 h 1919494"/>
              <a:gd name="connsiteX1" fmla="*/ 12075784 w 12075784"/>
              <a:gd name="connsiteY1" fmla="*/ 455 h 1919494"/>
              <a:gd name="connsiteX2" fmla="*/ 11874101 w 12075784"/>
              <a:gd name="connsiteY2" fmla="*/ 1901500 h 1919494"/>
              <a:gd name="connsiteX3" fmla="*/ 3 w 12075784"/>
              <a:gd name="connsiteY3" fmla="*/ 1919495 h 1919494"/>
              <a:gd name="connsiteX0" fmla="*/ 3 w 12083281"/>
              <a:gd name="connsiteY0" fmla="*/ 1919495 h 1920290"/>
              <a:gd name="connsiteX1" fmla="*/ 12075784 w 12083281"/>
              <a:gd name="connsiteY1" fmla="*/ 455 h 1920290"/>
              <a:gd name="connsiteX2" fmla="*/ 12083265 w 12083281"/>
              <a:gd name="connsiteY2" fmla="*/ 1907937 h 1920290"/>
              <a:gd name="connsiteX3" fmla="*/ 3 w 12083281"/>
              <a:gd name="connsiteY3" fmla="*/ 1919495 h 1920290"/>
              <a:gd name="connsiteX0" fmla="*/ 3 w 12083281"/>
              <a:gd name="connsiteY0" fmla="*/ 1919495 h 1920290"/>
              <a:gd name="connsiteX1" fmla="*/ 12075784 w 12083281"/>
              <a:gd name="connsiteY1" fmla="*/ 455 h 1920290"/>
              <a:gd name="connsiteX2" fmla="*/ 12083265 w 12083281"/>
              <a:gd name="connsiteY2" fmla="*/ 1907937 h 1920290"/>
              <a:gd name="connsiteX3" fmla="*/ 3 w 12083281"/>
              <a:gd name="connsiteY3" fmla="*/ 1919495 h 1920290"/>
              <a:gd name="connsiteX0" fmla="*/ 3 w 12083281"/>
              <a:gd name="connsiteY0" fmla="*/ 2019472 h 2020267"/>
              <a:gd name="connsiteX1" fmla="*/ 11464601 w 12083281"/>
              <a:gd name="connsiteY1" fmla="*/ 432 h 2020267"/>
              <a:gd name="connsiteX2" fmla="*/ 12083265 w 12083281"/>
              <a:gd name="connsiteY2" fmla="*/ 2007914 h 2020267"/>
              <a:gd name="connsiteX3" fmla="*/ 3 w 12083281"/>
              <a:gd name="connsiteY3" fmla="*/ 2019472 h 2020267"/>
              <a:gd name="connsiteX0" fmla="*/ 3 w 11464601"/>
              <a:gd name="connsiteY0" fmla="*/ 2019472 h 2083880"/>
              <a:gd name="connsiteX1" fmla="*/ 11464601 w 11464601"/>
              <a:gd name="connsiteY1" fmla="*/ 432 h 2083880"/>
              <a:gd name="connsiteX2" fmla="*/ 8243116 w 11464601"/>
              <a:gd name="connsiteY2" fmla="*/ 2081517 h 2083880"/>
              <a:gd name="connsiteX3" fmla="*/ 3 w 11464601"/>
              <a:gd name="connsiteY3" fmla="*/ 2019472 h 2083880"/>
              <a:gd name="connsiteX0" fmla="*/ 3 w 11464601"/>
              <a:gd name="connsiteY0" fmla="*/ 2019472 h 3424835"/>
              <a:gd name="connsiteX1" fmla="*/ 11464601 w 11464601"/>
              <a:gd name="connsiteY1" fmla="*/ 432 h 3424835"/>
              <a:gd name="connsiteX2" fmla="*/ 6272794 w 11464601"/>
              <a:gd name="connsiteY2" fmla="*/ 3424687 h 3424835"/>
              <a:gd name="connsiteX3" fmla="*/ 3 w 11464601"/>
              <a:gd name="connsiteY3" fmla="*/ 2019472 h 3424835"/>
              <a:gd name="connsiteX0" fmla="*/ 3 w 8450455"/>
              <a:gd name="connsiteY0" fmla="*/ 32240 h 1437641"/>
              <a:gd name="connsiteX1" fmla="*/ 8450455 w 8450455"/>
              <a:gd name="connsiteY1" fmla="*/ 12045 h 1437641"/>
              <a:gd name="connsiteX2" fmla="*/ 6272794 w 8450455"/>
              <a:gd name="connsiteY2" fmla="*/ 1437455 h 1437641"/>
              <a:gd name="connsiteX3" fmla="*/ 3 w 8450455"/>
              <a:gd name="connsiteY3" fmla="*/ 32240 h 1437641"/>
            </a:gdLst>
            <a:ahLst/>
            <a:cxnLst>
              <a:cxn ang="0">
                <a:pos x="connsiteX0" y="connsiteY0"/>
              </a:cxn>
              <a:cxn ang="0">
                <a:pos x="connsiteX1" y="connsiteY1"/>
              </a:cxn>
              <a:cxn ang="0">
                <a:pos x="connsiteX2" y="connsiteY2"/>
              </a:cxn>
              <a:cxn ang="0">
                <a:pos x="connsiteX3" y="connsiteY3"/>
              </a:cxn>
            </a:cxnLst>
            <a:rect l="l" t="t" r="r" b="b"/>
            <a:pathLst>
              <a:path w="8450455" h="1437641">
                <a:moveTo>
                  <a:pt x="3" y="32240"/>
                </a:moveTo>
                <a:cubicBezTo>
                  <a:pt x="-21" y="27917"/>
                  <a:pt x="8431024" y="-22542"/>
                  <a:pt x="8450455" y="12045"/>
                </a:cubicBezTo>
                <a:cubicBezTo>
                  <a:pt x="8438713" y="47223"/>
                  <a:pt x="6263730" y="1456209"/>
                  <a:pt x="6272794" y="1437455"/>
                </a:cubicBezTo>
                <a:cubicBezTo>
                  <a:pt x="6289357" y="1454317"/>
                  <a:pt x="-6259" y="32251"/>
                  <a:pt x="3" y="32240"/>
                </a:cubicBezTo>
                <a:close/>
              </a:path>
            </a:pathLst>
          </a:custGeom>
          <a:solidFill>
            <a:srgbClr val="009681">
              <a:alpha val="34902"/>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cxnSp>
        <p:nvCxnSpPr>
          <p:cNvPr id="37" name="Straight Connector 36">
            <a:extLst>
              <a:ext uri="{FF2B5EF4-FFF2-40B4-BE49-F238E27FC236}">
                <a16:creationId xmlns:a16="http://schemas.microsoft.com/office/drawing/2014/main" id="{49024071-46E2-124A-87AF-E6135D85B115}"/>
              </a:ext>
            </a:extLst>
          </p:cNvPr>
          <p:cNvCxnSpPr>
            <a:cxnSpLocks/>
          </p:cNvCxnSpPr>
          <p:nvPr userDrawn="1"/>
        </p:nvCxnSpPr>
        <p:spPr bwMode="auto">
          <a:xfrm flipV="1">
            <a:off x="0" y="1"/>
            <a:ext cx="2453833" cy="2338085"/>
          </a:xfrm>
          <a:prstGeom prst="line">
            <a:avLst/>
          </a:prstGeom>
          <a:solidFill>
            <a:schemeClr val="hlink"/>
          </a:solidFill>
          <a:ln w="12700" cap="flat" cmpd="sng" algn="ctr">
            <a:solidFill>
              <a:schemeClr val="bg1">
                <a:lumMod val="85000"/>
              </a:schemeClr>
            </a:solidFill>
            <a:prstDash val="solid"/>
            <a:round/>
            <a:headEnd type="none" w="med" len="med"/>
            <a:tailEnd type="none" w="med" len="med"/>
          </a:ln>
          <a:effectLst/>
        </p:spPr>
      </p:cxnSp>
    </p:spTree>
    <p:extLst>
      <p:ext uri="{BB962C8B-B14F-4D97-AF65-F5344CB8AC3E}">
        <p14:creationId xmlns:p14="http://schemas.microsoft.com/office/powerpoint/2010/main" val="374392332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7. Asset Allocation">
    <p:spTree>
      <p:nvGrpSpPr>
        <p:cNvPr id="1" name=""/>
        <p:cNvGrpSpPr/>
        <p:nvPr/>
      </p:nvGrpSpPr>
      <p:grpSpPr>
        <a:xfrm>
          <a:off x="0" y="0"/>
          <a:ext cx="0" cy="0"/>
          <a:chOff x="0" y="0"/>
          <a:chExt cx="0" cy="0"/>
        </a:xfrm>
      </p:grpSpPr>
      <p:sp>
        <p:nvSpPr>
          <p:cNvPr id="47" name="Footer Placeholder 2"/>
          <p:cNvSpPr>
            <a:spLocks noGrp="1"/>
          </p:cNvSpPr>
          <p:nvPr>
            <p:ph type="ftr" sz="quarter" idx="3"/>
          </p:nvPr>
        </p:nvSpPr>
        <p:spPr>
          <a:xfrm>
            <a:off x="319053" y="6414084"/>
            <a:ext cx="3781425" cy="365125"/>
          </a:xfrm>
          <a:prstGeom prst="rect">
            <a:avLst/>
          </a:prstGeom>
        </p:spPr>
        <p:txBody>
          <a:bodyPr vert="horz" lIns="91440" tIns="45720" rIns="91440" bIns="45720" rtlCol="0" anchor="ctr"/>
          <a:lstStyle>
            <a:lvl1pPr algn="l">
              <a:defRPr sz="800">
                <a:solidFill>
                  <a:srgbClr val="000000"/>
                </a:solidFill>
              </a:defRPr>
            </a:lvl1pPr>
          </a:lstStyle>
          <a:p>
            <a:pPr>
              <a:spcBef>
                <a:spcPts val="300"/>
              </a:spcBef>
            </a:pPr>
            <a:r>
              <a:rPr lang="en-US"/>
              <a:t>Footnotes/disclosures. </a:t>
            </a:r>
          </a:p>
        </p:txBody>
      </p:sp>
      <p:sp>
        <p:nvSpPr>
          <p:cNvPr id="48" name="Slide Number Placeholder 3"/>
          <p:cNvSpPr>
            <a:spLocks noGrp="1"/>
          </p:cNvSpPr>
          <p:nvPr>
            <p:ph type="sldNum" sz="quarter" idx="4"/>
          </p:nvPr>
        </p:nvSpPr>
        <p:spPr>
          <a:xfrm>
            <a:off x="112394" y="6408909"/>
            <a:ext cx="382906" cy="365125"/>
          </a:xfrm>
          <a:prstGeom prst="rect">
            <a:avLst/>
          </a:prstGeom>
        </p:spPr>
        <p:txBody>
          <a:bodyPr vert="horz" lIns="91440" tIns="45720" rIns="91440" bIns="45720" rtlCol="0" anchor="ctr"/>
          <a:lstStyle>
            <a:lvl1pPr algn="l">
              <a:defRPr sz="800" b="1">
                <a:solidFill>
                  <a:srgbClr val="000000"/>
                </a:solidFill>
              </a:defRPr>
            </a:lvl1pPr>
          </a:lstStyle>
          <a:p>
            <a:fld id="{B42A7A4B-1474-47B8-8215-FC88D0AD55CE}" type="slidenum">
              <a:rPr lang="en-US" smtClean="0"/>
              <a:pPr/>
              <a:t>‹#›</a:t>
            </a:fld>
            <a:endParaRPr lang="en-US"/>
          </a:p>
        </p:txBody>
      </p:sp>
      <p:sp>
        <p:nvSpPr>
          <p:cNvPr id="49" name="Title Placeholder 1"/>
          <p:cNvSpPr>
            <a:spLocks noGrp="1"/>
          </p:cNvSpPr>
          <p:nvPr>
            <p:ph type="title"/>
          </p:nvPr>
        </p:nvSpPr>
        <p:spPr>
          <a:xfrm>
            <a:off x="315669" y="227013"/>
            <a:ext cx="8229600" cy="1143000"/>
          </a:xfrm>
          <a:prstGeom prst="rect">
            <a:avLst/>
          </a:prstGeom>
        </p:spPr>
        <p:txBody>
          <a:bodyPr vert="horz" lIns="91440" tIns="45720" rIns="91440" bIns="45720" rtlCol="0" anchor="t">
            <a:normAutofit/>
          </a:bodyPr>
          <a:lstStyle>
            <a:lvl1pPr algn="l">
              <a:defRPr sz="2400"/>
            </a:lvl1pPr>
          </a:lstStyle>
          <a:p>
            <a:r>
              <a:rPr lang="en-US"/>
              <a:t>Click to edit Master title style</a:t>
            </a:r>
          </a:p>
        </p:txBody>
      </p:sp>
      <p:grpSp>
        <p:nvGrpSpPr>
          <p:cNvPr id="45" name="Group 44">
            <a:extLst>
              <a:ext uri="{FF2B5EF4-FFF2-40B4-BE49-F238E27FC236}">
                <a16:creationId xmlns:a16="http://schemas.microsoft.com/office/drawing/2014/main" id="{CE6CD949-6280-134C-8DC7-0C0B346AA358}"/>
              </a:ext>
            </a:extLst>
          </p:cNvPr>
          <p:cNvGrpSpPr/>
          <p:nvPr userDrawn="1"/>
        </p:nvGrpSpPr>
        <p:grpSpPr>
          <a:xfrm>
            <a:off x="7358173" y="6361974"/>
            <a:ext cx="1382376" cy="297562"/>
            <a:chOff x="6923088" y="4475163"/>
            <a:chExt cx="1873251" cy="403225"/>
          </a:xfrm>
        </p:grpSpPr>
        <p:sp>
          <p:nvSpPr>
            <p:cNvPr id="46" name="AutoShape 4">
              <a:extLst>
                <a:ext uri="{FF2B5EF4-FFF2-40B4-BE49-F238E27FC236}">
                  <a16:creationId xmlns:a16="http://schemas.microsoft.com/office/drawing/2014/main" id="{D23598CC-D746-E246-AD73-B00080E9C10F}"/>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6">
              <a:extLst>
                <a:ext uri="{FF2B5EF4-FFF2-40B4-BE49-F238E27FC236}">
                  <a16:creationId xmlns:a16="http://schemas.microsoft.com/office/drawing/2014/main" id="{8EFA35E9-E342-2F49-837D-684ACC78E221}"/>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7">
              <a:extLst>
                <a:ext uri="{FF2B5EF4-FFF2-40B4-BE49-F238E27FC236}">
                  <a16:creationId xmlns:a16="http://schemas.microsoft.com/office/drawing/2014/main" id="{1C4B2BA5-9208-8649-8896-AF33D9AB6C5C}"/>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83">
              <a:extLst>
                <a:ext uri="{FF2B5EF4-FFF2-40B4-BE49-F238E27FC236}">
                  <a16:creationId xmlns:a16="http://schemas.microsoft.com/office/drawing/2014/main" id="{316325C1-4A8F-D447-93BB-D5D9CDF11398}"/>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84">
              <a:extLst>
                <a:ext uri="{FF2B5EF4-FFF2-40B4-BE49-F238E27FC236}">
                  <a16:creationId xmlns:a16="http://schemas.microsoft.com/office/drawing/2014/main" id="{54A8FE70-9F0F-124C-A69A-2EDA2452A924}"/>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85">
              <a:extLst>
                <a:ext uri="{FF2B5EF4-FFF2-40B4-BE49-F238E27FC236}">
                  <a16:creationId xmlns:a16="http://schemas.microsoft.com/office/drawing/2014/main" id="{3E0F2834-6353-A046-8799-7A235A8F7D25}"/>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86">
              <a:extLst>
                <a:ext uri="{FF2B5EF4-FFF2-40B4-BE49-F238E27FC236}">
                  <a16:creationId xmlns:a16="http://schemas.microsoft.com/office/drawing/2014/main" id="{1A75D607-FBF3-1642-9756-CFCFB8AC5B97}"/>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87">
              <a:extLst>
                <a:ext uri="{FF2B5EF4-FFF2-40B4-BE49-F238E27FC236}">
                  <a16:creationId xmlns:a16="http://schemas.microsoft.com/office/drawing/2014/main" id="{3C25E390-DA3F-7947-A665-C09781DD9CD2}"/>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88">
              <a:extLst>
                <a:ext uri="{FF2B5EF4-FFF2-40B4-BE49-F238E27FC236}">
                  <a16:creationId xmlns:a16="http://schemas.microsoft.com/office/drawing/2014/main" id="{08496918-5A1B-274F-AC1D-A337D6807D77}"/>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89">
              <a:extLst>
                <a:ext uri="{FF2B5EF4-FFF2-40B4-BE49-F238E27FC236}">
                  <a16:creationId xmlns:a16="http://schemas.microsoft.com/office/drawing/2014/main" id="{B1A6E752-7EA5-AA4D-BBFB-557E513BC91C}"/>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90">
              <a:extLst>
                <a:ext uri="{FF2B5EF4-FFF2-40B4-BE49-F238E27FC236}">
                  <a16:creationId xmlns:a16="http://schemas.microsoft.com/office/drawing/2014/main" id="{DA0E47BB-F148-B049-958F-C5336796E2BF}"/>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91">
              <a:extLst>
                <a:ext uri="{FF2B5EF4-FFF2-40B4-BE49-F238E27FC236}">
                  <a16:creationId xmlns:a16="http://schemas.microsoft.com/office/drawing/2014/main" id="{ED2B0C1B-0BBA-8D48-AC42-759EB7409766}"/>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92">
              <a:extLst>
                <a:ext uri="{FF2B5EF4-FFF2-40B4-BE49-F238E27FC236}">
                  <a16:creationId xmlns:a16="http://schemas.microsoft.com/office/drawing/2014/main" id="{DFF33311-53AC-0543-9298-7BAB6B93AAF7}"/>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 name="Freeform 93">
              <a:extLst>
                <a:ext uri="{FF2B5EF4-FFF2-40B4-BE49-F238E27FC236}">
                  <a16:creationId xmlns:a16="http://schemas.microsoft.com/office/drawing/2014/main" id="{9333A932-3EA1-834D-87CD-DAE3FEB7E958}"/>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 name="Freeform 94">
              <a:extLst>
                <a:ext uri="{FF2B5EF4-FFF2-40B4-BE49-F238E27FC236}">
                  <a16:creationId xmlns:a16="http://schemas.microsoft.com/office/drawing/2014/main" id="{72398E8F-1FCB-7E48-A428-27171B94BB71}"/>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 name="Freeform 95">
              <a:extLst>
                <a:ext uri="{FF2B5EF4-FFF2-40B4-BE49-F238E27FC236}">
                  <a16:creationId xmlns:a16="http://schemas.microsoft.com/office/drawing/2014/main" id="{E5C0E724-B205-2943-B2B3-28D3CED2232F}"/>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 name="Freeform 96">
              <a:extLst>
                <a:ext uri="{FF2B5EF4-FFF2-40B4-BE49-F238E27FC236}">
                  <a16:creationId xmlns:a16="http://schemas.microsoft.com/office/drawing/2014/main" id="{43949FC3-E540-E446-80A7-A6D26361E628}"/>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 name="Freeform 97">
              <a:extLst>
                <a:ext uri="{FF2B5EF4-FFF2-40B4-BE49-F238E27FC236}">
                  <a16:creationId xmlns:a16="http://schemas.microsoft.com/office/drawing/2014/main" id="{7E53937E-6FE3-DC44-BCDB-59C3B3BDFAD0}"/>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 name="Freeform 98">
              <a:extLst>
                <a:ext uri="{FF2B5EF4-FFF2-40B4-BE49-F238E27FC236}">
                  <a16:creationId xmlns:a16="http://schemas.microsoft.com/office/drawing/2014/main" id="{3B4E4D9E-0856-1540-962A-7D7EA90ED379}"/>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 name="Freeform 99">
              <a:extLst>
                <a:ext uri="{FF2B5EF4-FFF2-40B4-BE49-F238E27FC236}">
                  <a16:creationId xmlns:a16="http://schemas.microsoft.com/office/drawing/2014/main" id="{C7E5B076-A33B-3244-A26B-10610CBFD0FC}"/>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 name="Freeform 100">
              <a:extLst>
                <a:ext uri="{FF2B5EF4-FFF2-40B4-BE49-F238E27FC236}">
                  <a16:creationId xmlns:a16="http://schemas.microsoft.com/office/drawing/2014/main" id="{4ADE1FE7-A2DF-2042-A8B6-3F54813C5C59}"/>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 name="Freeform 101">
              <a:extLst>
                <a:ext uri="{FF2B5EF4-FFF2-40B4-BE49-F238E27FC236}">
                  <a16:creationId xmlns:a16="http://schemas.microsoft.com/office/drawing/2014/main" id="{48FFF623-0CAD-364C-9B70-73A7B0A040F5}"/>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 name="Freeform 102">
              <a:extLst>
                <a:ext uri="{FF2B5EF4-FFF2-40B4-BE49-F238E27FC236}">
                  <a16:creationId xmlns:a16="http://schemas.microsoft.com/office/drawing/2014/main" id="{AA8410A1-0D16-3C42-8767-3201A58DA88F}"/>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 name="Freeform 103">
              <a:extLst>
                <a:ext uri="{FF2B5EF4-FFF2-40B4-BE49-F238E27FC236}">
                  <a16:creationId xmlns:a16="http://schemas.microsoft.com/office/drawing/2014/main" id="{9DDAE798-B3E7-7643-9D47-83FC1DDFA362}"/>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 name="Freeform 104">
              <a:extLst>
                <a:ext uri="{FF2B5EF4-FFF2-40B4-BE49-F238E27FC236}">
                  <a16:creationId xmlns:a16="http://schemas.microsoft.com/office/drawing/2014/main" id="{DE7D1865-C556-E542-B5E1-C860A33B083D}"/>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 name="Freeform 105">
              <a:extLst>
                <a:ext uri="{FF2B5EF4-FFF2-40B4-BE49-F238E27FC236}">
                  <a16:creationId xmlns:a16="http://schemas.microsoft.com/office/drawing/2014/main" id="{BB052EB4-8B63-1843-B4BA-7EF475B53317}"/>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4" name="TextBox 69">
            <a:extLst>
              <a:ext uri="{FF2B5EF4-FFF2-40B4-BE49-F238E27FC236}">
                <a16:creationId xmlns:a16="http://schemas.microsoft.com/office/drawing/2014/main" id="{8F896E01-8594-2E48-B913-5799B90C3FC7}"/>
              </a:ext>
            </a:extLst>
          </p:cNvPr>
          <p:cNvSpPr txBox="1">
            <a:spLocks noChangeArrowheads="1"/>
          </p:cNvSpPr>
          <p:nvPr userDrawn="1"/>
        </p:nvSpPr>
        <p:spPr bwMode="auto">
          <a:xfrm rot="16200000">
            <a:off x="8156742" y="555552"/>
            <a:ext cx="1338265" cy="415498"/>
          </a:xfrm>
          <a:prstGeom prst="rect">
            <a:avLst/>
          </a:prstGeom>
          <a:noFill/>
          <a:ln w="9525">
            <a:noFill/>
            <a:miter lim="800000"/>
            <a:headEnd/>
            <a:tailEnd/>
          </a:ln>
        </p:spPr>
        <p:txBody>
          <a:bodyPr wrap="square" tIns="91440" rIns="0">
            <a:spAutoFit/>
          </a:bodyPr>
          <a:lstStyle/>
          <a:p>
            <a:pPr>
              <a:defRPr/>
            </a:pPr>
            <a:r>
              <a:rPr lang="en-US" sz="900">
                <a:solidFill>
                  <a:srgbClr val="009681"/>
                </a:solidFill>
                <a:cs typeface="Arial" charset="0"/>
              </a:rPr>
              <a:t>ASSET</a:t>
            </a:r>
          </a:p>
          <a:p>
            <a:pPr>
              <a:defRPr/>
            </a:pPr>
            <a:r>
              <a:rPr lang="en-US" sz="900">
                <a:solidFill>
                  <a:srgbClr val="009681"/>
                </a:solidFill>
                <a:cs typeface="Arial" charset="0"/>
              </a:rPr>
              <a:t>MARKETS</a:t>
            </a:r>
          </a:p>
        </p:txBody>
      </p:sp>
      <p:grpSp>
        <p:nvGrpSpPr>
          <p:cNvPr id="35" name="Group 34">
            <a:extLst>
              <a:ext uri="{FF2B5EF4-FFF2-40B4-BE49-F238E27FC236}">
                <a16:creationId xmlns:a16="http://schemas.microsoft.com/office/drawing/2014/main" id="{CD648553-E776-B346-AE85-EB73A8C76A96}"/>
              </a:ext>
            </a:extLst>
          </p:cNvPr>
          <p:cNvGrpSpPr/>
          <p:nvPr userDrawn="1"/>
        </p:nvGrpSpPr>
        <p:grpSpPr>
          <a:xfrm>
            <a:off x="8834955" y="-8348"/>
            <a:ext cx="132661" cy="609866"/>
            <a:chOff x="8876279" y="49059"/>
            <a:chExt cx="132661" cy="609866"/>
          </a:xfrm>
        </p:grpSpPr>
        <p:cxnSp>
          <p:nvCxnSpPr>
            <p:cNvPr id="36" name="Straight Connector 35">
              <a:extLst>
                <a:ext uri="{FF2B5EF4-FFF2-40B4-BE49-F238E27FC236}">
                  <a16:creationId xmlns:a16="http://schemas.microsoft.com/office/drawing/2014/main" id="{98659E3C-1B75-3C48-A3CB-855719A7DE22}"/>
                </a:ext>
              </a:extLst>
            </p:cNvPr>
            <p:cNvCxnSpPr>
              <a:cxnSpLocks/>
              <a:endCxn id="38" idx="4"/>
            </p:cNvCxnSpPr>
            <p:nvPr/>
          </p:nvCxnSpPr>
          <p:spPr bwMode="auto">
            <a:xfrm>
              <a:off x="8942609" y="49059"/>
              <a:ext cx="0" cy="575539"/>
            </a:xfrm>
            <a:prstGeom prst="line">
              <a:avLst/>
            </a:prstGeom>
            <a:solidFill>
              <a:schemeClr val="hlink"/>
            </a:solidFill>
            <a:ln w="12700" cap="flat" cmpd="sng" algn="ctr">
              <a:solidFill>
                <a:schemeClr val="bg1">
                  <a:lumMod val="75000"/>
                </a:schemeClr>
              </a:solidFill>
              <a:prstDash val="solid"/>
              <a:round/>
              <a:headEnd type="none" w="med" len="med"/>
              <a:tailEnd type="none" w="med" len="med"/>
            </a:ln>
            <a:effectLst/>
          </p:spPr>
        </p:cxnSp>
        <p:sp>
          <p:nvSpPr>
            <p:cNvPr id="37" name="Oval 36">
              <a:extLst>
                <a:ext uri="{FF2B5EF4-FFF2-40B4-BE49-F238E27FC236}">
                  <a16:creationId xmlns:a16="http://schemas.microsoft.com/office/drawing/2014/main" id="{AAC89B35-7230-8740-9827-A92919FBD4C1}"/>
                </a:ext>
              </a:extLst>
            </p:cNvPr>
            <p:cNvSpPr/>
            <p:nvPr/>
          </p:nvSpPr>
          <p:spPr bwMode="auto">
            <a:xfrm>
              <a:off x="8876279" y="526264"/>
              <a:ext cx="132661" cy="132661"/>
            </a:xfrm>
            <a:prstGeom prst="ellipse">
              <a:avLst/>
            </a:prstGeom>
            <a:solidFill>
              <a:schemeClr val="bg1"/>
            </a:solidFill>
            <a:ln w="12700"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sp>
          <p:nvSpPr>
            <p:cNvPr id="38" name="Oval 37">
              <a:extLst>
                <a:ext uri="{FF2B5EF4-FFF2-40B4-BE49-F238E27FC236}">
                  <a16:creationId xmlns:a16="http://schemas.microsoft.com/office/drawing/2014/main" id="{CABDC621-798D-4246-9D9F-CECE2AD570E4}"/>
                </a:ext>
              </a:extLst>
            </p:cNvPr>
            <p:cNvSpPr/>
            <p:nvPr/>
          </p:nvSpPr>
          <p:spPr bwMode="auto">
            <a:xfrm>
              <a:off x="8910605" y="560590"/>
              <a:ext cx="64008" cy="64008"/>
            </a:xfrm>
            <a:prstGeom prst="ellipse">
              <a:avLst/>
            </a:prstGeom>
            <a:solidFill>
              <a:srgbClr val="009681"/>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grpSp>
    </p:spTree>
    <p:extLst>
      <p:ext uri="{BB962C8B-B14F-4D97-AF65-F5344CB8AC3E}">
        <p14:creationId xmlns:p14="http://schemas.microsoft.com/office/powerpoint/2010/main" val="111678599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userDrawn="1">
  <p:cSld name="4. U.S. Equity Divider">
    <p:spTree>
      <p:nvGrpSpPr>
        <p:cNvPr id="1" name=""/>
        <p:cNvGrpSpPr/>
        <p:nvPr/>
      </p:nvGrpSpPr>
      <p:grpSpPr>
        <a:xfrm>
          <a:off x="0" y="0"/>
          <a:ext cx="0" cy="0"/>
          <a:chOff x="0" y="0"/>
          <a:chExt cx="0" cy="0"/>
        </a:xfrm>
      </p:grpSpPr>
      <p:grpSp>
        <p:nvGrpSpPr>
          <p:cNvPr id="45" name="Group 44">
            <a:extLst>
              <a:ext uri="{FF2B5EF4-FFF2-40B4-BE49-F238E27FC236}">
                <a16:creationId xmlns:a16="http://schemas.microsoft.com/office/drawing/2014/main" id="{C9B87BAE-5FCE-0B40-A01F-E698D5BC2E91}"/>
              </a:ext>
            </a:extLst>
          </p:cNvPr>
          <p:cNvGrpSpPr/>
          <p:nvPr userDrawn="1"/>
        </p:nvGrpSpPr>
        <p:grpSpPr>
          <a:xfrm>
            <a:off x="7358173" y="6361974"/>
            <a:ext cx="1382376" cy="297562"/>
            <a:chOff x="6923088" y="4475163"/>
            <a:chExt cx="1873251" cy="403225"/>
          </a:xfrm>
        </p:grpSpPr>
        <p:sp>
          <p:nvSpPr>
            <p:cNvPr id="46" name="AutoShape 4">
              <a:extLst>
                <a:ext uri="{FF2B5EF4-FFF2-40B4-BE49-F238E27FC236}">
                  <a16:creationId xmlns:a16="http://schemas.microsoft.com/office/drawing/2014/main" id="{6223E7C6-7A1D-E54F-BD25-F357B49DDEE5}"/>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6">
              <a:extLst>
                <a:ext uri="{FF2B5EF4-FFF2-40B4-BE49-F238E27FC236}">
                  <a16:creationId xmlns:a16="http://schemas.microsoft.com/office/drawing/2014/main" id="{1D10E960-F83B-6B40-9FF8-548B2F06288D}"/>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7">
              <a:extLst>
                <a:ext uri="{FF2B5EF4-FFF2-40B4-BE49-F238E27FC236}">
                  <a16:creationId xmlns:a16="http://schemas.microsoft.com/office/drawing/2014/main" id="{601FFE04-E383-5F4C-9217-743A9FD35D00}"/>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83">
              <a:extLst>
                <a:ext uri="{FF2B5EF4-FFF2-40B4-BE49-F238E27FC236}">
                  <a16:creationId xmlns:a16="http://schemas.microsoft.com/office/drawing/2014/main" id="{1C33D685-F8FA-064A-8A5B-8A6C6C48B42E}"/>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84">
              <a:extLst>
                <a:ext uri="{FF2B5EF4-FFF2-40B4-BE49-F238E27FC236}">
                  <a16:creationId xmlns:a16="http://schemas.microsoft.com/office/drawing/2014/main" id="{0D0945EF-EEF5-264A-87DD-9CEA9DDBC4BD}"/>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85">
              <a:extLst>
                <a:ext uri="{FF2B5EF4-FFF2-40B4-BE49-F238E27FC236}">
                  <a16:creationId xmlns:a16="http://schemas.microsoft.com/office/drawing/2014/main" id="{EEFAA48D-1936-844B-BFAA-253A294BB873}"/>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86">
              <a:extLst>
                <a:ext uri="{FF2B5EF4-FFF2-40B4-BE49-F238E27FC236}">
                  <a16:creationId xmlns:a16="http://schemas.microsoft.com/office/drawing/2014/main" id="{4EA1064D-3A32-2942-9F1C-FFDAC99F8B9D}"/>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87">
              <a:extLst>
                <a:ext uri="{FF2B5EF4-FFF2-40B4-BE49-F238E27FC236}">
                  <a16:creationId xmlns:a16="http://schemas.microsoft.com/office/drawing/2014/main" id="{2B020685-5926-BE41-9DC8-2A1D7268DAAC}"/>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88">
              <a:extLst>
                <a:ext uri="{FF2B5EF4-FFF2-40B4-BE49-F238E27FC236}">
                  <a16:creationId xmlns:a16="http://schemas.microsoft.com/office/drawing/2014/main" id="{CE426645-439E-A043-9CD7-A894EAC528AD}"/>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89">
              <a:extLst>
                <a:ext uri="{FF2B5EF4-FFF2-40B4-BE49-F238E27FC236}">
                  <a16:creationId xmlns:a16="http://schemas.microsoft.com/office/drawing/2014/main" id="{97F81956-7497-F848-BA48-8FB5BEB9F282}"/>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90">
              <a:extLst>
                <a:ext uri="{FF2B5EF4-FFF2-40B4-BE49-F238E27FC236}">
                  <a16:creationId xmlns:a16="http://schemas.microsoft.com/office/drawing/2014/main" id="{4F008A51-90F5-744A-BE2D-A20BDB820E47}"/>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91">
              <a:extLst>
                <a:ext uri="{FF2B5EF4-FFF2-40B4-BE49-F238E27FC236}">
                  <a16:creationId xmlns:a16="http://schemas.microsoft.com/office/drawing/2014/main" id="{D3773239-3F60-6148-B072-3E0CD5A0519D}"/>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92">
              <a:extLst>
                <a:ext uri="{FF2B5EF4-FFF2-40B4-BE49-F238E27FC236}">
                  <a16:creationId xmlns:a16="http://schemas.microsoft.com/office/drawing/2014/main" id="{D740D769-88C0-5743-8F23-E187CC7350F7}"/>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93">
              <a:extLst>
                <a:ext uri="{FF2B5EF4-FFF2-40B4-BE49-F238E27FC236}">
                  <a16:creationId xmlns:a16="http://schemas.microsoft.com/office/drawing/2014/main" id="{A9C5A9DA-4050-954E-88A6-8CF87FC8CC20}"/>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94">
              <a:extLst>
                <a:ext uri="{FF2B5EF4-FFF2-40B4-BE49-F238E27FC236}">
                  <a16:creationId xmlns:a16="http://schemas.microsoft.com/office/drawing/2014/main" id="{3BF77188-6882-F64C-9657-57ED2FEE5924}"/>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95">
              <a:extLst>
                <a:ext uri="{FF2B5EF4-FFF2-40B4-BE49-F238E27FC236}">
                  <a16:creationId xmlns:a16="http://schemas.microsoft.com/office/drawing/2014/main" id="{16F0865C-9DD8-A148-AC5E-7E06C1D9F840}"/>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 name="Freeform 96">
              <a:extLst>
                <a:ext uri="{FF2B5EF4-FFF2-40B4-BE49-F238E27FC236}">
                  <a16:creationId xmlns:a16="http://schemas.microsoft.com/office/drawing/2014/main" id="{E7FCDAF7-1BC6-794A-8368-B65A1B8174EB}"/>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 name="Freeform 97">
              <a:extLst>
                <a:ext uri="{FF2B5EF4-FFF2-40B4-BE49-F238E27FC236}">
                  <a16:creationId xmlns:a16="http://schemas.microsoft.com/office/drawing/2014/main" id="{BB3347FD-DB47-164A-86A0-329095EBBFD5}"/>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 name="Freeform 98">
              <a:extLst>
                <a:ext uri="{FF2B5EF4-FFF2-40B4-BE49-F238E27FC236}">
                  <a16:creationId xmlns:a16="http://schemas.microsoft.com/office/drawing/2014/main" id="{2C9731A9-901A-AB41-8D6A-61FB3E3DA661}"/>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 name="Freeform 99">
              <a:extLst>
                <a:ext uri="{FF2B5EF4-FFF2-40B4-BE49-F238E27FC236}">
                  <a16:creationId xmlns:a16="http://schemas.microsoft.com/office/drawing/2014/main" id="{3A782A5F-1E2D-F04B-821B-AE7710949C91}"/>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 name="Freeform 100">
              <a:extLst>
                <a:ext uri="{FF2B5EF4-FFF2-40B4-BE49-F238E27FC236}">
                  <a16:creationId xmlns:a16="http://schemas.microsoft.com/office/drawing/2014/main" id="{260DB0B6-8A51-CC4B-8B51-59D79DA44DA4}"/>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 name="Freeform 101">
              <a:extLst>
                <a:ext uri="{FF2B5EF4-FFF2-40B4-BE49-F238E27FC236}">
                  <a16:creationId xmlns:a16="http://schemas.microsoft.com/office/drawing/2014/main" id="{0784818E-F006-2E4F-9620-49911598E310}"/>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 name="Freeform 102">
              <a:extLst>
                <a:ext uri="{FF2B5EF4-FFF2-40B4-BE49-F238E27FC236}">
                  <a16:creationId xmlns:a16="http://schemas.microsoft.com/office/drawing/2014/main" id="{12BB5FA0-0255-244A-9655-8CFD5BEB7FE3}"/>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 name="Freeform 103">
              <a:extLst>
                <a:ext uri="{FF2B5EF4-FFF2-40B4-BE49-F238E27FC236}">
                  <a16:creationId xmlns:a16="http://schemas.microsoft.com/office/drawing/2014/main" id="{30927E24-E44F-7E40-8D01-A652E441182D}"/>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 name="Freeform 104">
              <a:extLst>
                <a:ext uri="{FF2B5EF4-FFF2-40B4-BE49-F238E27FC236}">
                  <a16:creationId xmlns:a16="http://schemas.microsoft.com/office/drawing/2014/main" id="{BAEC1E7E-7724-A040-96C8-28ADF0398258}"/>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 name="Freeform 105">
              <a:extLst>
                <a:ext uri="{FF2B5EF4-FFF2-40B4-BE49-F238E27FC236}">
                  <a16:creationId xmlns:a16="http://schemas.microsoft.com/office/drawing/2014/main" id="{837FDBDF-9BD2-2B40-9512-3C06072EAACB}"/>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2" name="Title 1">
            <a:extLst>
              <a:ext uri="{FF2B5EF4-FFF2-40B4-BE49-F238E27FC236}">
                <a16:creationId xmlns:a16="http://schemas.microsoft.com/office/drawing/2014/main" id="{A48BC2A6-E1EB-9B42-A509-FB3346DC8FDF}"/>
              </a:ext>
            </a:extLst>
          </p:cNvPr>
          <p:cNvSpPr>
            <a:spLocks noGrp="1"/>
          </p:cNvSpPr>
          <p:nvPr>
            <p:ph type="title"/>
          </p:nvPr>
        </p:nvSpPr>
        <p:spPr>
          <a:xfrm>
            <a:off x="687295" y="3046413"/>
            <a:ext cx="8229600" cy="1143000"/>
          </a:xfrm>
        </p:spPr>
        <p:txBody>
          <a:bodyPr>
            <a:normAutofit/>
          </a:bodyPr>
          <a:lstStyle>
            <a:lvl1pPr>
              <a:defRPr b="1"/>
            </a:lvl1pPr>
          </a:lstStyle>
          <a:p>
            <a:r>
              <a:rPr lang="en-US">
                <a:solidFill>
                  <a:srgbClr val="00A3D4"/>
                </a:solidFill>
              </a:rPr>
              <a:t>Long-Term Themes</a:t>
            </a:r>
          </a:p>
        </p:txBody>
      </p:sp>
      <p:sp>
        <p:nvSpPr>
          <p:cNvPr id="33" name="Triangle 40">
            <a:extLst>
              <a:ext uri="{FF2B5EF4-FFF2-40B4-BE49-F238E27FC236}">
                <a16:creationId xmlns:a16="http://schemas.microsoft.com/office/drawing/2014/main" id="{010F3663-50E5-AA48-AF98-FEAC0EC0947D}"/>
              </a:ext>
            </a:extLst>
          </p:cNvPr>
          <p:cNvSpPr/>
          <p:nvPr userDrawn="1"/>
        </p:nvSpPr>
        <p:spPr bwMode="auto">
          <a:xfrm flipH="1" flipV="1">
            <a:off x="-1" y="0"/>
            <a:ext cx="5392615" cy="1354238"/>
          </a:xfrm>
          <a:custGeom>
            <a:avLst/>
            <a:gdLst>
              <a:gd name="connsiteX0" fmla="*/ 0 w 12192000"/>
              <a:gd name="connsiteY0" fmla="*/ 2036323 h 2036323"/>
              <a:gd name="connsiteX1" fmla="*/ 12178955 w 12192000"/>
              <a:gd name="connsiteY1" fmla="*/ 0 h 2036323"/>
              <a:gd name="connsiteX2" fmla="*/ 12192000 w 12192000"/>
              <a:gd name="connsiteY2" fmla="*/ 2036323 h 2036323"/>
              <a:gd name="connsiteX3" fmla="*/ 0 w 12192000"/>
              <a:gd name="connsiteY3" fmla="*/ 2036323 h 2036323"/>
              <a:gd name="connsiteX0" fmla="*/ 0 w 12204970"/>
              <a:gd name="connsiteY0" fmla="*/ 1880680 h 2036323"/>
              <a:gd name="connsiteX1" fmla="*/ 12191925 w 12204970"/>
              <a:gd name="connsiteY1" fmla="*/ 0 h 2036323"/>
              <a:gd name="connsiteX2" fmla="*/ 12204970 w 12204970"/>
              <a:gd name="connsiteY2" fmla="*/ 2036323 h 2036323"/>
              <a:gd name="connsiteX3" fmla="*/ 0 w 12204970"/>
              <a:gd name="connsiteY3" fmla="*/ 1880680 h 2036323"/>
              <a:gd name="connsiteX0" fmla="*/ 0 w 12192096"/>
              <a:gd name="connsiteY0" fmla="*/ 1880680 h 1906621"/>
              <a:gd name="connsiteX1" fmla="*/ 12191925 w 12192096"/>
              <a:gd name="connsiteY1" fmla="*/ 0 h 1906621"/>
              <a:gd name="connsiteX2" fmla="*/ 12120664 w 12192096"/>
              <a:gd name="connsiteY2" fmla="*/ 1906621 h 1906621"/>
              <a:gd name="connsiteX3" fmla="*/ 0 w 12192096"/>
              <a:gd name="connsiteY3" fmla="*/ 1880680 h 1906621"/>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9673"/>
              <a:gd name="connsiteY0" fmla="*/ 1867710 h 2049294"/>
              <a:gd name="connsiteX1" fmla="*/ 12198410 w 12199673"/>
              <a:gd name="connsiteY1" fmla="*/ 0 h 2049294"/>
              <a:gd name="connsiteX2" fmla="*/ 12198485 w 12199673"/>
              <a:gd name="connsiteY2" fmla="*/ 2049294 h 2049294"/>
              <a:gd name="connsiteX3" fmla="*/ 0 w 12199673"/>
              <a:gd name="connsiteY3" fmla="*/ 1867710 h 2049294"/>
              <a:gd name="connsiteX0" fmla="*/ 0 w 12199673"/>
              <a:gd name="connsiteY0" fmla="*/ 1867710 h 2329173"/>
              <a:gd name="connsiteX1" fmla="*/ 12198410 w 12199673"/>
              <a:gd name="connsiteY1" fmla="*/ 0 h 2329173"/>
              <a:gd name="connsiteX2" fmla="*/ 12198485 w 12199673"/>
              <a:gd name="connsiteY2" fmla="*/ 2049294 h 2329173"/>
              <a:gd name="connsiteX3" fmla="*/ 0 w 12199673"/>
              <a:gd name="connsiteY3" fmla="*/ 1867710 h 2329173"/>
              <a:gd name="connsiteX0" fmla="*/ 0 w 12199673"/>
              <a:gd name="connsiteY0" fmla="*/ 1867710 h 2049294"/>
              <a:gd name="connsiteX1" fmla="*/ 12198410 w 12199673"/>
              <a:gd name="connsiteY1" fmla="*/ 0 h 2049294"/>
              <a:gd name="connsiteX2" fmla="*/ 12198485 w 12199673"/>
              <a:gd name="connsiteY2" fmla="*/ 2049294 h 2049294"/>
              <a:gd name="connsiteX3" fmla="*/ 0 w 12199673"/>
              <a:gd name="connsiteY3" fmla="*/ 1867710 h 2049294"/>
              <a:gd name="connsiteX0" fmla="*/ 1 w 12167248"/>
              <a:gd name="connsiteY0" fmla="*/ 1861225 h 2049294"/>
              <a:gd name="connsiteX1" fmla="*/ 12165985 w 12167248"/>
              <a:gd name="connsiteY1" fmla="*/ 0 h 2049294"/>
              <a:gd name="connsiteX2" fmla="*/ 12166060 w 12167248"/>
              <a:gd name="connsiteY2" fmla="*/ 2049294 h 2049294"/>
              <a:gd name="connsiteX3" fmla="*/ 1 w 12167248"/>
              <a:gd name="connsiteY3" fmla="*/ 1861225 h 2049294"/>
              <a:gd name="connsiteX0" fmla="*/ 1 w 12167248"/>
              <a:gd name="connsiteY0" fmla="*/ 1841769 h 2029838"/>
              <a:gd name="connsiteX1" fmla="*/ 12165985 w 12167248"/>
              <a:gd name="connsiteY1" fmla="*/ 0 h 2029838"/>
              <a:gd name="connsiteX2" fmla="*/ 12166060 w 12167248"/>
              <a:gd name="connsiteY2" fmla="*/ 2029838 h 2029838"/>
              <a:gd name="connsiteX3" fmla="*/ 1 w 12167248"/>
              <a:gd name="connsiteY3" fmla="*/ 1841769 h 2029838"/>
              <a:gd name="connsiteX0" fmla="*/ 1 w 12167248"/>
              <a:gd name="connsiteY0" fmla="*/ 1842242 h 2030311"/>
              <a:gd name="connsiteX1" fmla="*/ 12165985 w 12167248"/>
              <a:gd name="connsiteY1" fmla="*/ 473 h 2030311"/>
              <a:gd name="connsiteX2" fmla="*/ 12166060 w 12167248"/>
              <a:gd name="connsiteY2" fmla="*/ 2030311 h 2030311"/>
              <a:gd name="connsiteX3" fmla="*/ 1 w 12167248"/>
              <a:gd name="connsiteY3" fmla="*/ 1842242 h 2030311"/>
              <a:gd name="connsiteX0" fmla="*/ 1 w 12167248"/>
              <a:gd name="connsiteY0" fmla="*/ 1842242 h 2030710"/>
              <a:gd name="connsiteX1" fmla="*/ 12165985 w 12167248"/>
              <a:gd name="connsiteY1" fmla="*/ 473 h 2030710"/>
              <a:gd name="connsiteX2" fmla="*/ 12166060 w 12167248"/>
              <a:gd name="connsiteY2" fmla="*/ 2030311 h 2030710"/>
              <a:gd name="connsiteX3" fmla="*/ 1 w 12167248"/>
              <a:gd name="connsiteY3" fmla="*/ 1842242 h 2030710"/>
              <a:gd name="connsiteX0" fmla="*/ 1 w 12167248"/>
              <a:gd name="connsiteY0" fmla="*/ 1842242 h 2030710"/>
              <a:gd name="connsiteX1" fmla="*/ 12165985 w 12167248"/>
              <a:gd name="connsiteY1" fmla="*/ 473 h 2030710"/>
              <a:gd name="connsiteX2" fmla="*/ 12166060 w 12167248"/>
              <a:gd name="connsiteY2" fmla="*/ 2030311 h 2030710"/>
              <a:gd name="connsiteX3" fmla="*/ 1 w 12167248"/>
              <a:gd name="connsiteY3" fmla="*/ 1842242 h 2030710"/>
              <a:gd name="connsiteX0" fmla="*/ 1 w 12166780"/>
              <a:gd name="connsiteY0" fmla="*/ 1842242 h 2043646"/>
              <a:gd name="connsiteX1" fmla="*/ 12165985 w 12166780"/>
              <a:gd name="connsiteY1" fmla="*/ 473 h 2043646"/>
              <a:gd name="connsiteX2" fmla="*/ 12159575 w 12166780"/>
              <a:gd name="connsiteY2" fmla="*/ 2043281 h 2043646"/>
              <a:gd name="connsiteX3" fmla="*/ 1 w 12166780"/>
              <a:gd name="connsiteY3" fmla="*/ 1842242 h 2043646"/>
              <a:gd name="connsiteX0" fmla="*/ 1 w 12166780"/>
              <a:gd name="connsiteY0" fmla="*/ 1842242 h 2024244"/>
              <a:gd name="connsiteX1" fmla="*/ 12165985 w 12166780"/>
              <a:gd name="connsiteY1" fmla="*/ 473 h 2024244"/>
              <a:gd name="connsiteX2" fmla="*/ 12159575 w 12166780"/>
              <a:gd name="connsiteY2" fmla="*/ 2023826 h 2024244"/>
              <a:gd name="connsiteX3" fmla="*/ 1 w 12166780"/>
              <a:gd name="connsiteY3" fmla="*/ 1842242 h 2024244"/>
              <a:gd name="connsiteX0" fmla="*/ 1 w 12179031"/>
              <a:gd name="connsiteY0" fmla="*/ 1842242 h 2037177"/>
              <a:gd name="connsiteX1" fmla="*/ 12165985 w 12179031"/>
              <a:gd name="connsiteY1" fmla="*/ 473 h 2037177"/>
              <a:gd name="connsiteX2" fmla="*/ 12179030 w 12179031"/>
              <a:gd name="connsiteY2" fmla="*/ 2036796 h 2037177"/>
              <a:gd name="connsiteX3" fmla="*/ 1 w 12179031"/>
              <a:gd name="connsiteY3" fmla="*/ 1842242 h 2037177"/>
              <a:gd name="connsiteX0" fmla="*/ 1 w 12167248"/>
              <a:gd name="connsiteY0" fmla="*/ 1842242 h 2056588"/>
              <a:gd name="connsiteX1" fmla="*/ 12165985 w 12167248"/>
              <a:gd name="connsiteY1" fmla="*/ 473 h 2056588"/>
              <a:gd name="connsiteX2" fmla="*/ 12166060 w 12167248"/>
              <a:gd name="connsiteY2" fmla="*/ 2056251 h 2056588"/>
              <a:gd name="connsiteX3" fmla="*/ 1 w 12167248"/>
              <a:gd name="connsiteY3" fmla="*/ 1842242 h 2056588"/>
              <a:gd name="connsiteX0" fmla="*/ 1 w 12192002"/>
              <a:gd name="connsiteY0" fmla="*/ 1842242 h 2024244"/>
              <a:gd name="connsiteX1" fmla="*/ 12165985 w 12192002"/>
              <a:gd name="connsiteY1" fmla="*/ 473 h 2024244"/>
              <a:gd name="connsiteX2" fmla="*/ 12192001 w 12192002"/>
              <a:gd name="connsiteY2" fmla="*/ 2023826 h 2024244"/>
              <a:gd name="connsiteX3" fmla="*/ 1 w 12192002"/>
              <a:gd name="connsiteY3" fmla="*/ 1842242 h 2024244"/>
              <a:gd name="connsiteX0" fmla="*/ 1 w 12167248"/>
              <a:gd name="connsiteY0" fmla="*/ 1842242 h 2050117"/>
              <a:gd name="connsiteX1" fmla="*/ 12165985 w 12167248"/>
              <a:gd name="connsiteY1" fmla="*/ 473 h 2050117"/>
              <a:gd name="connsiteX2" fmla="*/ 12166061 w 12167248"/>
              <a:gd name="connsiteY2" fmla="*/ 2049767 h 2050117"/>
              <a:gd name="connsiteX3" fmla="*/ 1 w 12167248"/>
              <a:gd name="connsiteY3" fmla="*/ 1842242 h 2050117"/>
              <a:gd name="connsiteX0" fmla="*/ 1 w 12166780"/>
              <a:gd name="connsiteY0" fmla="*/ 1842242 h 2024245"/>
              <a:gd name="connsiteX1" fmla="*/ 12165985 w 12166780"/>
              <a:gd name="connsiteY1" fmla="*/ 473 h 2024245"/>
              <a:gd name="connsiteX2" fmla="*/ 12159576 w 12166780"/>
              <a:gd name="connsiteY2" fmla="*/ 2023827 h 2024245"/>
              <a:gd name="connsiteX3" fmla="*/ 1 w 12166780"/>
              <a:gd name="connsiteY3" fmla="*/ 1842242 h 2024245"/>
              <a:gd name="connsiteX0" fmla="*/ 1 w 12172548"/>
              <a:gd name="connsiteY0" fmla="*/ 1842242 h 2043647"/>
              <a:gd name="connsiteX1" fmla="*/ 12165985 w 12172548"/>
              <a:gd name="connsiteY1" fmla="*/ 473 h 2043647"/>
              <a:gd name="connsiteX2" fmla="*/ 12172547 w 12172548"/>
              <a:gd name="connsiteY2" fmla="*/ 2043282 h 2043647"/>
              <a:gd name="connsiteX3" fmla="*/ 1 w 12172548"/>
              <a:gd name="connsiteY3" fmla="*/ 1842242 h 2043647"/>
              <a:gd name="connsiteX0" fmla="*/ 1 w 12166566"/>
              <a:gd name="connsiteY0" fmla="*/ 1842242 h 2030711"/>
              <a:gd name="connsiteX1" fmla="*/ 12165985 w 12166566"/>
              <a:gd name="connsiteY1" fmla="*/ 473 h 2030711"/>
              <a:gd name="connsiteX2" fmla="*/ 12153091 w 12166566"/>
              <a:gd name="connsiteY2" fmla="*/ 2030312 h 2030711"/>
              <a:gd name="connsiteX3" fmla="*/ 1 w 12166566"/>
              <a:gd name="connsiteY3" fmla="*/ 1842242 h 2030711"/>
              <a:gd name="connsiteX0" fmla="*/ 1 w 12175317"/>
              <a:gd name="connsiteY0" fmla="*/ 1842242 h 2037043"/>
              <a:gd name="connsiteX1" fmla="*/ 12165985 w 12175317"/>
              <a:gd name="connsiteY1" fmla="*/ 473 h 2037043"/>
              <a:gd name="connsiteX2" fmla="*/ 12175316 w 12175317"/>
              <a:gd name="connsiteY2" fmla="*/ 2036662 h 2037043"/>
              <a:gd name="connsiteX3" fmla="*/ 1 w 12175317"/>
              <a:gd name="connsiteY3" fmla="*/ 1842242 h 2037043"/>
              <a:gd name="connsiteX0" fmla="*/ 1 w 12184842"/>
              <a:gd name="connsiteY0" fmla="*/ 1842242 h 2027545"/>
              <a:gd name="connsiteX1" fmla="*/ 12165985 w 12184842"/>
              <a:gd name="connsiteY1" fmla="*/ 473 h 2027545"/>
              <a:gd name="connsiteX2" fmla="*/ 12184841 w 12184842"/>
              <a:gd name="connsiteY2" fmla="*/ 2027137 h 2027545"/>
              <a:gd name="connsiteX3" fmla="*/ 1 w 12184842"/>
              <a:gd name="connsiteY3" fmla="*/ 1842242 h 2027545"/>
              <a:gd name="connsiteX0" fmla="*/ 1 w 12184842"/>
              <a:gd name="connsiteY0" fmla="*/ 1851765 h 2037068"/>
              <a:gd name="connsiteX1" fmla="*/ 12172335 w 12184842"/>
              <a:gd name="connsiteY1" fmla="*/ 471 h 2037068"/>
              <a:gd name="connsiteX2" fmla="*/ 12184841 w 12184842"/>
              <a:gd name="connsiteY2" fmla="*/ 2036660 h 2037068"/>
              <a:gd name="connsiteX3" fmla="*/ 1 w 12184842"/>
              <a:gd name="connsiteY3" fmla="*/ 1851765 h 2037068"/>
              <a:gd name="connsiteX0" fmla="*/ 1 w 12184842"/>
              <a:gd name="connsiteY0" fmla="*/ 1858113 h 2043416"/>
              <a:gd name="connsiteX1" fmla="*/ 12172335 w 12184842"/>
              <a:gd name="connsiteY1" fmla="*/ 469 h 2043416"/>
              <a:gd name="connsiteX2" fmla="*/ 12184841 w 12184842"/>
              <a:gd name="connsiteY2" fmla="*/ 2043008 h 2043416"/>
              <a:gd name="connsiteX3" fmla="*/ 1 w 12184842"/>
              <a:gd name="connsiteY3" fmla="*/ 1858113 h 2043416"/>
              <a:gd name="connsiteX0" fmla="*/ 1 w 12205863"/>
              <a:gd name="connsiteY0" fmla="*/ 1858113 h 1923107"/>
              <a:gd name="connsiteX1" fmla="*/ 12172335 w 12205863"/>
              <a:gd name="connsiteY1" fmla="*/ 469 h 1923107"/>
              <a:gd name="connsiteX2" fmla="*/ 12205862 w 12205863"/>
              <a:gd name="connsiteY2" fmla="*/ 1920222 h 1923107"/>
              <a:gd name="connsiteX3" fmla="*/ 1 w 12205863"/>
              <a:gd name="connsiteY3" fmla="*/ 1858113 h 1923107"/>
              <a:gd name="connsiteX0" fmla="*/ 1 w 12206057"/>
              <a:gd name="connsiteY0" fmla="*/ 1858113 h 1920221"/>
              <a:gd name="connsiteX1" fmla="*/ 12172335 w 12206057"/>
              <a:gd name="connsiteY1" fmla="*/ 469 h 1920221"/>
              <a:gd name="connsiteX2" fmla="*/ 12205862 w 12206057"/>
              <a:gd name="connsiteY2" fmla="*/ 1920222 h 1920221"/>
              <a:gd name="connsiteX3" fmla="*/ 1 w 12206057"/>
              <a:gd name="connsiteY3" fmla="*/ 1858113 h 1920221"/>
              <a:gd name="connsiteX0" fmla="*/ 1 w 12227078"/>
              <a:gd name="connsiteY0" fmla="*/ 1858113 h 1870508"/>
              <a:gd name="connsiteX1" fmla="*/ 12172335 w 12227078"/>
              <a:gd name="connsiteY1" fmla="*/ 469 h 1870508"/>
              <a:gd name="connsiteX2" fmla="*/ 12226883 w 12227078"/>
              <a:gd name="connsiteY2" fmla="*/ 1821993 h 1870508"/>
              <a:gd name="connsiteX3" fmla="*/ 1 w 12227078"/>
              <a:gd name="connsiteY3" fmla="*/ 1858113 h 1870508"/>
              <a:gd name="connsiteX0" fmla="*/ 1 w 12227078"/>
              <a:gd name="connsiteY0" fmla="*/ 1919492 h 1931888"/>
              <a:gd name="connsiteX1" fmla="*/ 12193355 w 12227078"/>
              <a:gd name="connsiteY1" fmla="*/ 454 h 1931888"/>
              <a:gd name="connsiteX2" fmla="*/ 12226883 w 12227078"/>
              <a:gd name="connsiteY2" fmla="*/ 1883372 h 1931888"/>
              <a:gd name="connsiteX3" fmla="*/ 1 w 12227078"/>
              <a:gd name="connsiteY3" fmla="*/ 1919492 h 1931888"/>
              <a:gd name="connsiteX0" fmla="*/ 1 w 12258608"/>
              <a:gd name="connsiteY0" fmla="*/ 1919492 h 1930198"/>
              <a:gd name="connsiteX1" fmla="*/ 12193355 w 12258608"/>
              <a:gd name="connsiteY1" fmla="*/ 454 h 1930198"/>
              <a:gd name="connsiteX2" fmla="*/ 12258414 w 12258608"/>
              <a:gd name="connsiteY2" fmla="*/ 1846536 h 1930198"/>
              <a:gd name="connsiteX3" fmla="*/ 1 w 12258608"/>
              <a:gd name="connsiteY3" fmla="*/ 1919492 h 1930198"/>
              <a:gd name="connsiteX0" fmla="*/ 1 w 12193819"/>
              <a:gd name="connsiteY0" fmla="*/ 1919492 h 1932582"/>
              <a:gd name="connsiteX1" fmla="*/ 12193355 w 12193819"/>
              <a:gd name="connsiteY1" fmla="*/ 454 h 1932582"/>
              <a:gd name="connsiteX2" fmla="*/ 12174331 w 12193819"/>
              <a:gd name="connsiteY2" fmla="*/ 1895651 h 1932582"/>
              <a:gd name="connsiteX3" fmla="*/ 1 w 12193819"/>
              <a:gd name="connsiteY3" fmla="*/ 1919492 h 1932582"/>
              <a:gd name="connsiteX0" fmla="*/ 1 w 12193526"/>
              <a:gd name="connsiteY0" fmla="*/ 1919492 h 1932582"/>
              <a:gd name="connsiteX1" fmla="*/ 12193355 w 12193526"/>
              <a:gd name="connsiteY1" fmla="*/ 454 h 1932582"/>
              <a:gd name="connsiteX2" fmla="*/ 12174331 w 12193526"/>
              <a:gd name="connsiteY2" fmla="*/ 1895651 h 1932582"/>
              <a:gd name="connsiteX3" fmla="*/ 1 w 12193526"/>
              <a:gd name="connsiteY3" fmla="*/ 1919492 h 1932582"/>
              <a:gd name="connsiteX0" fmla="*/ 1 w 12193526"/>
              <a:gd name="connsiteY0" fmla="*/ 1919492 h 1938518"/>
              <a:gd name="connsiteX1" fmla="*/ 12193355 w 12193526"/>
              <a:gd name="connsiteY1" fmla="*/ 454 h 1938518"/>
              <a:gd name="connsiteX2" fmla="*/ 12174331 w 12193526"/>
              <a:gd name="connsiteY2" fmla="*/ 1895651 h 1938518"/>
              <a:gd name="connsiteX3" fmla="*/ 1 w 12193526"/>
              <a:gd name="connsiteY3" fmla="*/ 1919492 h 1938518"/>
              <a:gd name="connsiteX0" fmla="*/ 1 w 12193584"/>
              <a:gd name="connsiteY0" fmla="*/ 1919492 h 1938518"/>
              <a:gd name="connsiteX1" fmla="*/ 12193355 w 12193584"/>
              <a:gd name="connsiteY1" fmla="*/ 454 h 1938518"/>
              <a:gd name="connsiteX2" fmla="*/ 12174331 w 12193584"/>
              <a:gd name="connsiteY2" fmla="*/ 1895651 h 1938518"/>
              <a:gd name="connsiteX3" fmla="*/ 1 w 12193584"/>
              <a:gd name="connsiteY3" fmla="*/ 1919492 h 1938518"/>
              <a:gd name="connsiteX0" fmla="*/ 1 w 12193468"/>
              <a:gd name="connsiteY0" fmla="*/ 1919492 h 1933905"/>
              <a:gd name="connsiteX1" fmla="*/ 12193355 w 12193468"/>
              <a:gd name="connsiteY1" fmla="*/ 454 h 1933905"/>
              <a:gd name="connsiteX2" fmla="*/ 12111269 w 12193468"/>
              <a:gd name="connsiteY2" fmla="*/ 1846537 h 1933905"/>
              <a:gd name="connsiteX3" fmla="*/ 1 w 12193468"/>
              <a:gd name="connsiteY3" fmla="*/ 1919492 h 1933905"/>
              <a:gd name="connsiteX0" fmla="*/ 1 w 12193632"/>
              <a:gd name="connsiteY0" fmla="*/ 1919492 h 1940184"/>
              <a:gd name="connsiteX1" fmla="*/ 12193355 w 12193632"/>
              <a:gd name="connsiteY1" fmla="*/ 454 h 1940184"/>
              <a:gd name="connsiteX2" fmla="*/ 12184841 w 12193632"/>
              <a:gd name="connsiteY2" fmla="*/ 1907931 h 1940184"/>
              <a:gd name="connsiteX3" fmla="*/ 1 w 12193632"/>
              <a:gd name="connsiteY3" fmla="*/ 1919492 h 1940184"/>
              <a:gd name="connsiteX0" fmla="*/ 1 w 12193376"/>
              <a:gd name="connsiteY0" fmla="*/ 1919492 h 1923285"/>
              <a:gd name="connsiteX1" fmla="*/ 12193355 w 12193376"/>
              <a:gd name="connsiteY1" fmla="*/ 454 h 1923285"/>
              <a:gd name="connsiteX2" fmla="*/ 11586288 w 12193376"/>
              <a:gd name="connsiteY2" fmla="*/ 1274881 h 1923285"/>
              <a:gd name="connsiteX3" fmla="*/ 1 w 12193376"/>
              <a:gd name="connsiteY3" fmla="*/ 1919492 h 1923285"/>
              <a:gd name="connsiteX0" fmla="*/ 1 w 12211564"/>
              <a:gd name="connsiteY0" fmla="*/ 1919492 h 1940184"/>
              <a:gd name="connsiteX1" fmla="*/ 12193355 w 12211564"/>
              <a:gd name="connsiteY1" fmla="*/ 454 h 1940184"/>
              <a:gd name="connsiteX2" fmla="*/ 12211564 w 12211564"/>
              <a:gd name="connsiteY2" fmla="*/ 1907932 h 1940184"/>
              <a:gd name="connsiteX3" fmla="*/ 1 w 12211564"/>
              <a:gd name="connsiteY3" fmla="*/ 1919492 h 1940184"/>
              <a:gd name="connsiteX0" fmla="*/ 1 w 12142089"/>
              <a:gd name="connsiteY0" fmla="*/ 1913227 h 1934891"/>
              <a:gd name="connsiteX1" fmla="*/ 12123880 w 12142089"/>
              <a:gd name="connsiteY1" fmla="*/ 456 h 1934891"/>
              <a:gd name="connsiteX2" fmla="*/ 12142089 w 12142089"/>
              <a:gd name="connsiteY2" fmla="*/ 1907934 h 1934891"/>
              <a:gd name="connsiteX3" fmla="*/ 1 w 12142089"/>
              <a:gd name="connsiteY3" fmla="*/ 1913227 h 1934891"/>
              <a:gd name="connsiteX0" fmla="*/ 2 w 12142090"/>
              <a:gd name="connsiteY0" fmla="*/ 1913227 h 1913226"/>
              <a:gd name="connsiteX1" fmla="*/ 12123881 w 12142090"/>
              <a:gd name="connsiteY1" fmla="*/ 456 h 1913226"/>
              <a:gd name="connsiteX2" fmla="*/ 12142090 w 12142090"/>
              <a:gd name="connsiteY2" fmla="*/ 1907934 h 1913226"/>
              <a:gd name="connsiteX3" fmla="*/ 2 w 12142090"/>
              <a:gd name="connsiteY3" fmla="*/ 1913227 h 1913226"/>
              <a:gd name="connsiteX0" fmla="*/ 3 w 12093993"/>
              <a:gd name="connsiteY0" fmla="*/ 1919495 h 1919495"/>
              <a:gd name="connsiteX1" fmla="*/ 12075784 w 12093993"/>
              <a:gd name="connsiteY1" fmla="*/ 455 h 1919495"/>
              <a:gd name="connsiteX2" fmla="*/ 12093993 w 12093993"/>
              <a:gd name="connsiteY2" fmla="*/ 1907933 h 1919495"/>
              <a:gd name="connsiteX3" fmla="*/ 3 w 12093993"/>
              <a:gd name="connsiteY3" fmla="*/ 1919495 h 1919495"/>
              <a:gd name="connsiteX0" fmla="*/ 3 w 12126172"/>
              <a:gd name="connsiteY0" fmla="*/ 1919495 h 1919495"/>
              <a:gd name="connsiteX1" fmla="*/ 12075784 w 12126172"/>
              <a:gd name="connsiteY1" fmla="*/ 455 h 1919495"/>
              <a:gd name="connsiteX2" fmla="*/ 12126172 w 12126172"/>
              <a:gd name="connsiteY2" fmla="*/ 1895062 h 1919495"/>
              <a:gd name="connsiteX3" fmla="*/ 3 w 12126172"/>
              <a:gd name="connsiteY3" fmla="*/ 1919495 h 1919495"/>
              <a:gd name="connsiteX0" fmla="*/ 3 w 12088629"/>
              <a:gd name="connsiteY0" fmla="*/ 1919495 h 1919495"/>
              <a:gd name="connsiteX1" fmla="*/ 12075784 w 12088629"/>
              <a:gd name="connsiteY1" fmla="*/ 455 h 1919495"/>
              <a:gd name="connsiteX2" fmla="*/ 12088629 w 12088629"/>
              <a:gd name="connsiteY2" fmla="*/ 1907935 h 1919495"/>
              <a:gd name="connsiteX3" fmla="*/ 3 w 12088629"/>
              <a:gd name="connsiteY3" fmla="*/ 1919495 h 1919495"/>
              <a:gd name="connsiteX0" fmla="*/ 3 w 12088645"/>
              <a:gd name="connsiteY0" fmla="*/ 1919495 h 1920291"/>
              <a:gd name="connsiteX1" fmla="*/ 12075784 w 12088645"/>
              <a:gd name="connsiteY1" fmla="*/ 455 h 1920291"/>
              <a:gd name="connsiteX2" fmla="*/ 12088629 w 12088645"/>
              <a:gd name="connsiteY2" fmla="*/ 1907935 h 1920291"/>
              <a:gd name="connsiteX3" fmla="*/ 3 w 12088645"/>
              <a:gd name="connsiteY3" fmla="*/ 1919495 h 1920291"/>
              <a:gd name="connsiteX0" fmla="*/ 3 w 12088645"/>
              <a:gd name="connsiteY0" fmla="*/ 1919495 h 1920290"/>
              <a:gd name="connsiteX1" fmla="*/ 12075784 w 12088645"/>
              <a:gd name="connsiteY1" fmla="*/ 455 h 1920290"/>
              <a:gd name="connsiteX2" fmla="*/ 12088629 w 12088645"/>
              <a:gd name="connsiteY2" fmla="*/ 1907935 h 1920290"/>
              <a:gd name="connsiteX3" fmla="*/ 3 w 12088645"/>
              <a:gd name="connsiteY3" fmla="*/ 1919495 h 1920290"/>
              <a:gd name="connsiteX0" fmla="*/ 3 w 12094009"/>
              <a:gd name="connsiteY0" fmla="*/ 1919495 h 1919494"/>
              <a:gd name="connsiteX1" fmla="*/ 12075784 w 12094009"/>
              <a:gd name="connsiteY1" fmla="*/ 455 h 1919494"/>
              <a:gd name="connsiteX2" fmla="*/ 12093993 w 12094009"/>
              <a:gd name="connsiteY2" fmla="*/ 1882192 h 1919494"/>
              <a:gd name="connsiteX3" fmla="*/ 3 w 12094009"/>
              <a:gd name="connsiteY3" fmla="*/ 1919495 h 1919494"/>
              <a:gd name="connsiteX0" fmla="*/ 3 w 12099372"/>
              <a:gd name="connsiteY0" fmla="*/ 1919495 h 1920290"/>
              <a:gd name="connsiteX1" fmla="*/ 12075784 w 12099372"/>
              <a:gd name="connsiteY1" fmla="*/ 455 h 1920290"/>
              <a:gd name="connsiteX2" fmla="*/ 12099356 w 12099372"/>
              <a:gd name="connsiteY2" fmla="*/ 1907935 h 1920290"/>
              <a:gd name="connsiteX3" fmla="*/ 3 w 12099372"/>
              <a:gd name="connsiteY3" fmla="*/ 1919495 h 1920290"/>
              <a:gd name="connsiteX0" fmla="*/ 3 w 12099372"/>
              <a:gd name="connsiteY0" fmla="*/ 1919495 h 1920290"/>
              <a:gd name="connsiteX1" fmla="*/ 12075784 w 12099372"/>
              <a:gd name="connsiteY1" fmla="*/ 455 h 1920290"/>
              <a:gd name="connsiteX2" fmla="*/ 12099356 w 12099372"/>
              <a:gd name="connsiteY2" fmla="*/ 1907935 h 1920290"/>
              <a:gd name="connsiteX3" fmla="*/ 3 w 12099372"/>
              <a:gd name="connsiteY3" fmla="*/ 1919495 h 1920290"/>
              <a:gd name="connsiteX0" fmla="*/ 3 w 12075784"/>
              <a:gd name="connsiteY0" fmla="*/ 1919495 h 1919494"/>
              <a:gd name="connsiteX1" fmla="*/ 12075784 w 12075784"/>
              <a:gd name="connsiteY1" fmla="*/ 455 h 1919494"/>
              <a:gd name="connsiteX2" fmla="*/ 11874101 w 12075784"/>
              <a:gd name="connsiteY2" fmla="*/ 1901500 h 1919494"/>
              <a:gd name="connsiteX3" fmla="*/ 3 w 12075784"/>
              <a:gd name="connsiteY3" fmla="*/ 1919495 h 1919494"/>
              <a:gd name="connsiteX0" fmla="*/ 3 w 12083281"/>
              <a:gd name="connsiteY0" fmla="*/ 1919495 h 1920290"/>
              <a:gd name="connsiteX1" fmla="*/ 12075784 w 12083281"/>
              <a:gd name="connsiteY1" fmla="*/ 455 h 1920290"/>
              <a:gd name="connsiteX2" fmla="*/ 12083265 w 12083281"/>
              <a:gd name="connsiteY2" fmla="*/ 1907937 h 1920290"/>
              <a:gd name="connsiteX3" fmla="*/ 3 w 12083281"/>
              <a:gd name="connsiteY3" fmla="*/ 1919495 h 1920290"/>
              <a:gd name="connsiteX0" fmla="*/ 3 w 12083281"/>
              <a:gd name="connsiteY0" fmla="*/ 1919495 h 1920290"/>
              <a:gd name="connsiteX1" fmla="*/ 12075784 w 12083281"/>
              <a:gd name="connsiteY1" fmla="*/ 455 h 1920290"/>
              <a:gd name="connsiteX2" fmla="*/ 12083265 w 12083281"/>
              <a:gd name="connsiteY2" fmla="*/ 1907937 h 1920290"/>
              <a:gd name="connsiteX3" fmla="*/ 3 w 12083281"/>
              <a:gd name="connsiteY3" fmla="*/ 1919495 h 1920290"/>
            </a:gdLst>
            <a:ahLst/>
            <a:cxnLst>
              <a:cxn ang="0">
                <a:pos x="connsiteX0" y="connsiteY0"/>
              </a:cxn>
              <a:cxn ang="0">
                <a:pos x="connsiteX1" y="connsiteY1"/>
              </a:cxn>
              <a:cxn ang="0">
                <a:pos x="connsiteX2" y="connsiteY2"/>
              </a:cxn>
              <a:cxn ang="0">
                <a:pos x="connsiteX3" y="connsiteY3"/>
              </a:cxn>
            </a:cxnLst>
            <a:rect l="l" t="t" r="r" b="b"/>
            <a:pathLst>
              <a:path w="12083281" h="1920290">
                <a:moveTo>
                  <a:pt x="3" y="1919495"/>
                </a:moveTo>
                <a:cubicBezTo>
                  <a:pt x="-21" y="1915172"/>
                  <a:pt x="12056353" y="-34132"/>
                  <a:pt x="12075784" y="455"/>
                </a:cubicBezTo>
                <a:cubicBezTo>
                  <a:pt x="12064042" y="35633"/>
                  <a:pt x="12074201" y="1926691"/>
                  <a:pt x="12083265" y="1907937"/>
                </a:cubicBezTo>
                <a:cubicBezTo>
                  <a:pt x="12099828" y="1924799"/>
                  <a:pt x="-6259" y="1919506"/>
                  <a:pt x="3" y="1919495"/>
                </a:cubicBezTo>
                <a:close/>
              </a:path>
            </a:pathLst>
          </a:custGeom>
          <a:solidFill>
            <a:srgbClr val="00A3D4"/>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cxnSp>
        <p:nvCxnSpPr>
          <p:cNvPr id="34" name="Straight Connector 33">
            <a:extLst>
              <a:ext uri="{FF2B5EF4-FFF2-40B4-BE49-F238E27FC236}">
                <a16:creationId xmlns:a16="http://schemas.microsoft.com/office/drawing/2014/main" id="{AE3B586D-EBB3-2F42-902A-4E55EA954813}"/>
              </a:ext>
            </a:extLst>
          </p:cNvPr>
          <p:cNvCxnSpPr>
            <a:cxnSpLocks/>
          </p:cNvCxnSpPr>
          <p:nvPr userDrawn="1"/>
        </p:nvCxnSpPr>
        <p:spPr bwMode="auto">
          <a:xfrm flipV="1">
            <a:off x="4192367" y="5486401"/>
            <a:ext cx="4951633" cy="1371599"/>
          </a:xfrm>
          <a:prstGeom prst="line">
            <a:avLst/>
          </a:prstGeom>
          <a:solidFill>
            <a:schemeClr val="hlink"/>
          </a:solidFill>
          <a:ln w="12700" cap="flat" cmpd="sng" algn="ctr">
            <a:solidFill>
              <a:schemeClr val="bg1">
                <a:lumMod val="85000"/>
              </a:schemeClr>
            </a:solidFill>
            <a:prstDash val="solid"/>
            <a:round/>
            <a:headEnd type="none" w="med" len="med"/>
            <a:tailEnd type="none" w="med" len="med"/>
          </a:ln>
          <a:effectLst/>
        </p:spPr>
      </p:cxnSp>
      <p:sp>
        <p:nvSpPr>
          <p:cNvPr id="35" name="Triangle 40">
            <a:extLst>
              <a:ext uri="{FF2B5EF4-FFF2-40B4-BE49-F238E27FC236}">
                <a16:creationId xmlns:a16="http://schemas.microsoft.com/office/drawing/2014/main" id="{2FB4EB2F-2681-254D-A81E-C21AB658107E}"/>
              </a:ext>
            </a:extLst>
          </p:cNvPr>
          <p:cNvSpPr/>
          <p:nvPr userDrawn="1"/>
        </p:nvSpPr>
        <p:spPr bwMode="auto">
          <a:xfrm rot="8472601" flipH="1" flipV="1">
            <a:off x="6172249" y="4948072"/>
            <a:ext cx="3771331" cy="1230334"/>
          </a:xfrm>
          <a:custGeom>
            <a:avLst/>
            <a:gdLst>
              <a:gd name="connsiteX0" fmla="*/ 0 w 12192000"/>
              <a:gd name="connsiteY0" fmla="*/ 2036323 h 2036323"/>
              <a:gd name="connsiteX1" fmla="*/ 12178955 w 12192000"/>
              <a:gd name="connsiteY1" fmla="*/ 0 h 2036323"/>
              <a:gd name="connsiteX2" fmla="*/ 12192000 w 12192000"/>
              <a:gd name="connsiteY2" fmla="*/ 2036323 h 2036323"/>
              <a:gd name="connsiteX3" fmla="*/ 0 w 12192000"/>
              <a:gd name="connsiteY3" fmla="*/ 2036323 h 2036323"/>
              <a:gd name="connsiteX0" fmla="*/ 0 w 12204970"/>
              <a:gd name="connsiteY0" fmla="*/ 1880680 h 2036323"/>
              <a:gd name="connsiteX1" fmla="*/ 12191925 w 12204970"/>
              <a:gd name="connsiteY1" fmla="*/ 0 h 2036323"/>
              <a:gd name="connsiteX2" fmla="*/ 12204970 w 12204970"/>
              <a:gd name="connsiteY2" fmla="*/ 2036323 h 2036323"/>
              <a:gd name="connsiteX3" fmla="*/ 0 w 12204970"/>
              <a:gd name="connsiteY3" fmla="*/ 1880680 h 2036323"/>
              <a:gd name="connsiteX0" fmla="*/ 0 w 12192096"/>
              <a:gd name="connsiteY0" fmla="*/ 1880680 h 1906621"/>
              <a:gd name="connsiteX1" fmla="*/ 12191925 w 12192096"/>
              <a:gd name="connsiteY1" fmla="*/ 0 h 1906621"/>
              <a:gd name="connsiteX2" fmla="*/ 12120664 w 12192096"/>
              <a:gd name="connsiteY2" fmla="*/ 1906621 h 1906621"/>
              <a:gd name="connsiteX3" fmla="*/ 0 w 12192096"/>
              <a:gd name="connsiteY3" fmla="*/ 1880680 h 1906621"/>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9673"/>
              <a:gd name="connsiteY0" fmla="*/ 1867710 h 2049294"/>
              <a:gd name="connsiteX1" fmla="*/ 12198410 w 12199673"/>
              <a:gd name="connsiteY1" fmla="*/ 0 h 2049294"/>
              <a:gd name="connsiteX2" fmla="*/ 12198485 w 12199673"/>
              <a:gd name="connsiteY2" fmla="*/ 2049294 h 2049294"/>
              <a:gd name="connsiteX3" fmla="*/ 0 w 12199673"/>
              <a:gd name="connsiteY3" fmla="*/ 1867710 h 2049294"/>
              <a:gd name="connsiteX0" fmla="*/ 0 w 12199673"/>
              <a:gd name="connsiteY0" fmla="*/ 1867710 h 2329173"/>
              <a:gd name="connsiteX1" fmla="*/ 12198410 w 12199673"/>
              <a:gd name="connsiteY1" fmla="*/ 0 h 2329173"/>
              <a:gd name="connsiteX2" fmla="*/ 12198485 w 12199673"/>
              <a:gd name="connsiteY2" fmla="*/ 2049294 h 2329173"/>
              <a:gd name="connsiteX3" fmla="*/ 0 w 12199673"/>
              <a:gd name="connsiteY3" fmla="*/ 1867710 h 2329173"/>
              <a:gd name="connsiteX0" fmla="*/ 0 w 12199673"/>
              <a:gd name="connsiteY0" fmla="*/ 1867710 h 2049294"/>
              <a:gd name="connsiteX1" fmla="*/ 12198410 w 12199673"/>
              <a:gd name="connsiteY1" fmla="*/ 0 h 2049294"/>
              <a:gd name="connsiteX2" fmla="*/ 12198485 w 12199673"/>
              <a:gd name="connsiteY2" fmla="*/ 2049294 h 2049294"/>
              <a:gd name="connsiteX3" fmla="*/ 0 w 12199673"/>
              <a:gd name="connsiteY3" fmla="*/ 1867710 h 2049294"/>
              <a:gd name="connsiteX0" fmla="*/ 1 w 12167248"/>
              <a:gd name="connsiteY0" fmla="*/ 1861225 h 2049294"/>
              <a:gd name="connsiteX1" fmla="*/ 12165985 w 12167248"/>
              <a:gd name="connsiteY1" fmla="*/ 0 h 2049294"/>
              <a:gd name="connsiteX2" fmla="*/ 12166060 w 12167248"/>
              <a:gd name="connsiteY2" fmla="*/ 2049294 h 2049294"/>
              <a:gd name="connsiteX3" fmla="*/ 1 w 12167248"/>
              <a:gd name="connsiteY3" fmla="*/ 1861225 h 2049294"/>
              <a:gd name="connsiteX0" fmla="*/ 1 w 12167248"/>
              <a:gd name="connsiteY0" fmla="*/ 1841769 h 2029838"/>
              <a:gd name="connsiteX1" fmla="*/ 12165985 w 12167248"/>
              <a:gd name="connsiteY1" fmla="*/ 0 h 2029838"/>
              <a:gd name="connsiteX2" fmla="*/ 12166060 w 12167248"/>
              <a:gd name="connsiteY2" fmla="*/ 2029838 h 2029838"/>
              <a:gd name="connsiteX3" fmla="*/ 1 w 12167248"/>
              <a:gd name="connsiteY3" fmla="*/ 1841769 h 2029838"/>
              <a:gd name="connsiteX0" fmla="*/ 1 w 12167248"/>
              <a:gd name="connsiteY0" fmla="*/ 1842242 h 2030311"/>
              <a:gd name="connsiteX1" fmla="*/ 12165985 w 12167248"/>
              <a:gd name="connsiteY1" fmla="*/ 473 h 2030311"/>
              <a:gd name="connsiteX2" fmla="*/ 12166060 w 12167248"/>
              <a:gd name="connsiteY2" fmla="*/ 2030311 h 2030311"/>
              <a:gd name="connsiteX3" fmla="*/ 1 w 12167248"/>
              <a:gd name="connsiteY3" fmla="*/ 1842242 h 2030311"/>
              <a:gd name="connsiteX0" fmla="*/ 1 w 12167248"/>
              <a:gd name="connsiteY0" fmla="*/ 1842242 h 2030710"/>
              <a:gd name="connsiteX1" fmla="*/ 12165985 w 12167248"/>
              <a:gd name="connsiteY1" fmla="*/ 473 h 2030710"/>
              <a:gd name="connsiteX2" fmla="*/ 12166060 w 12167248"/>
              <a:gd name="connsiteY2" fmla="*/ 2030311 h 2030710"/>
              <a:gd name="connsiteX3" fmla="*/ 1 w 12167248"/>
              <a:gd name="connsiteY3" fmla="*/ 1842242 h 2030710"/>
              <a:gd name="connsiteX0" fmla="*/ 1 w 12167248"/>
              <a:gd name="connsiteY0" fmla="*/ 1842242 h 2030710"/>
              <a:gd name="connsiteX1" fmla="*/ 12165985 w 12167248"/>
              <a:gd name="connsiteY1" fmla="*/ 473 h 2030710"/>
              <a:gd name="connsiteX2" fmla="*/ 12166060 w 12167248"/>
              <a:gd name="connsiteY2" fmla="*/ 2030311 h 2030710"/>
              <a:gd name="connsiteX3" fmla="*/ 1 w 12167248"/>
              <a:gd name="connsiteY3" fmla="*/ 1842242 h 2030710"/>
              <a:gd name="connsiteX0" fmla="*/ 1 w 12166780"/>
              <a:gd name="connsiteY0" fmla="*/ 1842242 h 2043646"/>
              <a:gd name="connsiteX1" fmla="*/ 12165985 w 12166780"/>
              <a:gd name="connsiteY1" fmla="*/ 473 h 2043646"/>
              <a:gd name="connsiteX2" fmla="*/ 12159575 w 12166780"/>
              <a:gd name="connsiteY2" fmla="*/ 2043281 h 2043646"/>
              <a:gd name="connsiteX3" fmla="*/ 1 w 12166780"/>
              <a:gd name="connsiteY3" fmla="*/ 1842242 h 2043646"/>
              <a:gd name="connsiteX0" fmla="*/ 1 w 12166780"/>
              <a:gd name="connsiteY0" fmla="*/ 1842242 h 2024244"/>
              <a:gd name="connsiteX1" fmla="*/ 12165985 w 12166780"/>
              <a:gd name="connsiteY1" fmla="*/ 473 h 2024244"/>
              <a:gd name="connsiteX2" fmla="*/ 12159575 w 12166780"/>
              <a:gd name="connsiteY2" fmla="*/ 2023826 h 2024244"/>
              <a:gd name="connsiteX3" fmla="*/ 1 w 12166780"/>
              <a:gd name="connsiteY3" fmla="*/ 1842242 h 2024244"/>
              <a:gd name="connsiteX0" fmla="*/ 1 w 12179031"/>
              <a:gd name="connsiteY0" fmla="*/ 1842242 h 2037177"/>
              <a:gd name="connsiteX1" fmla="*/ 12165985 w 12179031"/>
              <a:gd name="connsiteY1" fmla="*/ 473 h 2037177"/>
              <a:gd name="connsiteX2" fmla="*/ 12179030 w 12179031"/>
              <a:gd name="connsiteY2" fmla="*/ 2036796 h 2037177"/>
              <a:gd name="connsiteX3" fmla="*/ 1 w 12179031"/>
              <a:gd name="connsiteY3" fmla="*/ 1842242 h 2037177"/>
              <a:gd name="connsiteX0" fmla="*/ 1 w 12167248"/>
              <a:gd name="connsiteY0" fmla="*/ 1842242 h 2056588"/>
              <a:gd name="connsiteX1" fmla="*/ 12165985 w 12167248"/>
              <a:gd name="connsiteY1" fmla="*/ 473 h 2056588"/>
              <a:gd name="connsiteX2" fmla="*/ 12166060 w 12167248"/>
              <a:gd name="connsiteY2" fmla="*/ 2056251 h 2056588"/>
              <a:gd name="connsiteX3" fmla="*/ 1 w 12167248"/>
              <a:gd name="connsiteY3" fmla="*/ 1842242 h 2056588"/>
              <a:gd name="connsiteX0" fmla="*/ 1 w 12192002"/>
              <a:gd name="connsiteY0" fmla="*/ 1842242 h 2024244"/>
              <a:gd name="connsiteX1" fmla="*/ 12165985 w 12192002"/>
              <a:gd name="connsiteY1" fmla="*/ 473 h 2024244"/>
              <a:gd name="connsiteX2" fmla="*/ 12192001 w 12192002"/>
              <a:gd name="connsiteY2" fmla="*/ 2023826 h 2024244"/>
              <a:gd name="connsiteX3" fmla="*/ 1 w 12192002"/>
              <a:gd name="connsiteY3" fmla="*/ 1842242 h 2024244"/>
              <a:gd name="connsiteX0" fmla="*/ 1 w 12167248"/>
              <a:gd name="connsiteY0" fmla="*/ 1842242 h 2050117"/>
              <a:gd name="connsiteX1" fmla="*/ 12165985 w 12167248"/>
              <a:gd name="connsiteY1" fmla="*/ 473 h 2050117"/>
              <a:gd name="connsiteX2" fmla="*/ 12166061 w 12167248"/>
              <a:gd name="connsiteY2" fmla="*/ 2049767 h 2050117"/>
              <a:gd name="connsiteX3" fmla="*/ 1 w 12167248"/>
              <a:gd name="connsiteY3" fmla="*/ 1842242 h 2050117"/>
              <a:gd name="connsiteX0" fmla="*/ 1 w 12166780"/>
              <a:gd name="connsiteY0" fmla="*/ 1842242 h 2024245"/>
              <a:gd name="connsiteX1" fmla="*/ 12165985 w 12166780"/>
              <a:gd name="connsiteY1" fmla="*/ 473 h 2024245"/>
              <a:gd name="connsiteX2" fmla="*/ 12159576 w 12166780"/>
              <a:gd name="connsiteY2" fmla="*/ 2023827 h 2024245"/>
              <a:gd name="connsiteX3" fmla="*/ 1 w 12166780"/>
              <a:gd name="connsiteY3" fmla="*/ 1842242 h 2024245"/>
              <a:gd name="connsiteX0" fmla="*/ 1 w 12172548"/>
              <a:gd name="connsiteY0" fmla="*/ 1842242 h 2043647"/>
              <a:gd name="connsiteX1" fmla="*/ 12165985 w 12172548"/>
              <a:gd name="connsiteY1" fmla="*/ 473 h 2043647"/>
              <a:gd name="connsiteX2" fmla="*/ 12172547 w 12172548"/>
              <a:gd name="connsiteY2" fmla="*/ 2043282 h 2043647"/>
              <a:gd name="connsiteX3" fmla="*/ 1 w 12172548"/>
              <a:gd name="connsiteY3" fmla="*/ 1842242 h 2043647"/>
              <a:gd name="connsiteX0" fmla="*/ 1 w 12166566"/>
              <a:gd name="connsiteY0" fmla="*/ 1842242 h 2030711"/>
              <a:gd name="connsiteX1" fmla="*/ 12165985 w 12166566"/>
              <a:gd name="connsiteY1" fmla="*/ 473 h 2030711"/>
              <a:gd name="connsiteX2" fmla="*/ 12153091 w 12166566"/>
              <a:gd name="connsiteY2" fmla="*/ 2030312 h 2030711"/>
              <a:gd name="connsiteX3" fmla="*/ 1 w 12166566"/>
              <a:gd name="connsiteY3" fmla="*/ 1842242 h 2030711"/>
              <a:gd name="connsiteX0" fmla="*/ 1 w 12175317"/>
              <a:gd name="connsiteY0" fmla="*/ 1842242 h 2037043"/>
              <a:gd name="connsiteX1" fmla="*/ 12165985 w 12175317"/>
              <a:gd name="connsiteY1" fmla="*/ 473 h 2037043"/>
              <a:gd name="connsiteX2" fmla="*/ 12175316 w 12175317"/>
              <a:gd name="connsiteY2" fmla="*/ 2036662 h 2037043"/>
              <a:gd name="connsiteX3" fmla="*/ 1 w 12175317"/>
              <a:gd name="connsiteY3" fmla="*/ 1842242 h 2037043"/>
              <a:gd name="connsiteX0" fmla="*/ 1 w 12184842"/>
              <a:gd name="connsiteY0" fmla="*/ 1842242 h 2027545"/>
              <a:gd name="connsiteX1" fmla="*/ 12165985 w 12184842"/>
              <a:gd name="connsiteY1" fmla="*/ 473 h 2027545"/>
              <a:gd name="connsiteX2" fmla="*/ 12184841 w 12184842"/>
              <a:gd name="connsiteY2" fmla="*/ 2027137 h 2027545"/>
              <a:gd name="connsiteX3" fmla="*/ 1 w 12184842"/>
              <a:gd name="connsiteY3" fmla="*/ 1842242 h 2027545"/>
              <a:gd name="connsiteX0" fmla="*/ 1 w 12184842"/>
              <a:gd name="connsiteY0" fmla="*/ 1851765 h 2037068"/>
              <a:gd name="connsiteX1" fmla="*/ 12172335 w 12184842"/>
              <a:gd name="connsiteY1" fmla="*/ 471 h 2037068"/>
              <a:gd name="connsiteX2" fmla="*/ 12184841 w 12184842"/>
              <a:gd name="connsiteY2" fmla="*/ 2036660 h 2037068"/>
              <a:gd name="connsiteX3" fmla="*/ 1 w 12184842"/>
              <a:gd name="connsiteY3" fmla="*/ 1851765 h 2037068"/>
              <a:gd name="connsiteX0" fmla="*/ 1 w 12184842"/>
              <a:gd name="connsiteY0" fmla="*/ 1858113 h 2043416"/>
              <a:gd name="connsiteX1" fmla="*/ 12172335 w 12184842"/>
              <a:gd name="connsiteY1" fmla="*/ 469 h 2043416"/>
              <a:gd name="connsiteX2" fmla="*/ 12184841 w 12184842"/>
              <a:gd name="connsiteY2" fmla="*/ 2043008 h 2043416"/>
              <a:gd name="connsiteX3" fmla="*/ 1 w 12184842"/>
              <a:gd name="connsiteY3" fmla="*/ 1858113 h 2043416"/>
              <a:gd name="connsiteX0" fmla="*/ 1 w 12205863"/>
              <a:gd name="connsiteY0" fmla="*/ 1858113 h 1923107"/>
              <a:gd name="connsiteX1" fmla="*/ 12172335 w 12205863"/>
              <a:gd name="connsiteY1" fmla="*/ 469 h 1923107"/>
              <a:gd name="connsiteX2" fmla="*/ 12205862 w 12205863"/>
              <a:gd name="connsiteY2" fmla="*/ 1920222 h 1923107"/>
              <a:gd name="connsiteX3" fmla="*/ 1 w 12205863"/>
              <a:gd name="connsiteY3" fmla="*/ 1858113 h 1923107"/>
              <a:gd name="connsiteX0" fmla="*/ 1 w 12206057"/>
              <a:gd name="connsiteY0" fmla="*/ 1858113 h 1920221"/>
              <a:gd name="connsiteX1" fmla="*/ 12172335 w 12206057"/>
              <a:gd name="connsiteY1" fmla="*/ 469 h 1920221"/>
              <a:gd name="connsiteX2" fmla="*/ 12205862 w 12206057"/>
              <a:gd name="connsiteY2" fmla="*/ 1920222 h 1920221"/>
              <a:gd name="connsiteX3" fmla="*/ 1 w 12206057"/>
              <a:gd name="connsiteY3" fmla="*/ 1858113 h 1920221"/>
              <a:gd name="connsiteX0" fmla="*/ 1 w 12227078"/>
              <a:gd name="connsiteY0" fmla="*/ 1858113 h 1870508"/>
              <a:gd name="connsiteX1" fmla="*/ 12172335 w 12227078"/>
              <a:gd name="connsiteY1" fmla="*/ 469 h 1870508"/>
              <a:gd name="connsiteX2" fmla="*/ 12226883 w 12227078"/>
              <a:gd name="connsiteY2" fmla="*/ 1821993 h 1870508"/>
              <a:gd name="connsiteX3" fmla="*/ 1 w 12227078"/>
              <a:gd name="connsiteY3" fmla="*/ 1858113 h 1870508"/>
              <a:gd name="connsiteX0" fmla="*/ 1 w 12227078"/>
              <a:gd name="connsiteY0" fmla="*/ 1919492 h 1931888"/>
              <a:gd name="connsiteX1" fmla="*/ 12193355 w 12227078"/>
              <a:gd name="connsiteY1" fmla="*/ 454 h 1931888"/>
              <a:gd name="connsiteX2" fmla="*/ 12226883 w 12227078"/>
              <a:gd name="connsiteY2" fmla="*/ 1883372 h 1931888"/>
              <a:gd name="connsiteX3" fmla="*/ 1 w 12227078"/>
              <a:gd name="connsiteY3" fmla="*/ 1919492 h 1931888"/>
              <a:gd name="connsiteX0" fmla="*/ 1 w 12258608"/>
              <a:gd name="connsiteY0" fmla="*/ 1919492 h 1930198"/>
              <a:gd name="connsiteX1" fmla="*/ 12193355 w 12258608"/>
              <a:gd name="connsiteY1" fmla="*/ 454 h 1930198"/>
              <a:gd name="connsiteX2" fmla="*/ 12258414 w 12258608"/>
              <a:gd name="connsiteY2" fmla="*/ 1846536 h 1930198"/>
              <a:gd name="connsiteX3" fmla="*/ 1 w 12258608"/>
              <a:gd name="connsiteY3" fmla="*/ 1919492 h 1930198"/>
              <a:gd name="connsiteX0" fmla="*/ 1 w 12193819"/>
              <a:gd name="connsiteY0" fmla="*/ 1919492 h 1932582"/>
              <a:gd name="connsiteX1" fmla="*/ 12193355 w 12193819"/>
              <a:gd name="connsiteY1" fmla="*/ 454 h 1932582"/>
              <a:gd name="connsiteX2" fmla="*/ 12174331 w 12193819"/>
              <a:gd name="connsiteY2" fmla="*/ 1895651 h 1932582"/>
              <a:gd name="connsiteX3" fmla="*/ 1 w 12193819"/>
              <a:gd name="connsiteY3" fmla="*/ 1919492 h 1932582"/>
              <a:gd name="connsiteX0" fmla="*/ 1 w 12193526"/>
              <a:gd name="connsiteY0" fmla="*/ 1919492 h 1932582"/>
              <a:gd name="connsiteX1" fmla="*/ 12193355 w 12193526"/>
              <a:gd name="connsiteY1" fmla="*/ 454 h 1932582"/>
              <a:gd name="connsiteX2" fmla="*/ 12174331 w 12193526"/>
              <a:gd name="connsiteY2" fmla="*/ 1895651 h 1932582"/>
              <a:gd name="connsiteX3" fmla="*/ 1 w 12193526"/>
              <a:gd name="connsiteY3" fmla="*/ 1919492 h 1932582"/>
              <a:gd name="connsiteX0" fmla="*/ 1 w 12193526"/>
              <a:gd name="connsiteY0" fmla="*/ 1919492 h 1938518"/>
              <a:gd name="connsiteX1" fmla="*/ 12193355 w 12193526"/>
              <a:gd name="connsiteY1" fmla="*/ 454 h 1938518"/>
              <a:gd name="connsiteX2" fmla="*/ 12174331 w 12193526"/>
              <a:gd name="connsiteY2" fmla="*/ 1895651 h 1938518"/>
              <a:gd name="connsiteX3" fmla="*/ 1 w 12193526"/>
              <a:gd name="connsiteY3" fmla="*/ 1919492 h 1938518"/>
              <a:gd name="connsiteX0" fmla="*/ 1 w 12193584"/>
              <a:gd name="connsiteY0" fmla="*/ 1919492 h 1938518"/>
              <a:gd name="connsiteX1" fmla="*/ 12193355 w 12193584"/>
              <a:gd name="connsiteY1" fmla="*/ 454 h 1938518"/>
              <a:gd name="connsiteX2" fmla="*/ 12174331 w 12193584"/>
              <a:gd name="connsiteY2" fmla="*/ 1895651 h 1938518"/>
              <a:gd name="connsiteX3" fmla="*/ 1 w 12193584"/>
              <a:gd name="connsiteY3" fmla="*/ 1919492 h 1938518"/>
              <a:gd name="connsiteX0" fmla="*/ 1 w 12193468"/>
              <a:gd name="connsiteY0" fmla="*/ 1919492 h 1933905"/>
              <a:gd name="connsiteX1" fmla="*/ 12193355 w 12193468"/>
              <a:gd name="connsiteY1" fmla="*/ 454 h 1933905"/>
              <a:gd name="connsiteX2" fmla="*/ 12111269 w 12193468"/>
              <a:gd name="connsiteY2" fmla="*/ 1846537 h 1933905"/>
              <a:gd name="connsiteX3" fmla="*/ 1 w 12193468"/>
              <a:gd name="connsiteY3" fmla="*/ 1919492 h 1933905"/>
              <a:gd name="connsiteX0" fmla="*/ 1 w 12193632"/>
              <a:gd name="connsiteY0" fmla="*/ 1919492 h 1940184"/>
              <a:gd name="connsiteX1" fmla="*/ 12193355 w 12193632"/>
              <a:gd name="connsiteY1" fmla="*/ 454 h 1940184"/>
              <a:gd name="connsiteX2" fmla="*/ 12184841 w 12193632"/>
              <a:gd name="connsiteY2" fmla="*/ 1907931 h 1940184"/>
              <a:gd name="connsiteX3" fmla="*/ 1 w 12193632"/>
              <a:gd name="connsiteY3" fmla="*/ 1919492 h 1940184"/>
              <a:gd name="connsiteX0" fmla="*/ 1 w 12193376"/>
              <a:gd name="connsiteY0" fmla="*/ 1919492 h 1923285"/>
              <a:gd name="connsiteX1" fmla="*/ 12193355 w 12193376"/>
              <a:gd name="connsiteY1" fmla="*/ 454 h 1923285"/>
              <a:gd name="connsiteX2" fmla="*/ 11586288 w 12193376"/>
              <a:gd name="connsiteY2" fmla="*/ 1274881 h 1923285"/>
              <a:gd name="connsiteX3" fmla="*/ 1 w 12193376"/>
              <a:gd name="connsiteY3" fmla="*/ 1919492 h 1923285"/>
              <a:gd name="connsiteX0" fmla="*/ 1 w 12211564"/>
              <a:gd name="connsiteY0" fmla="*/ 1919492 h 1940184"/>
              <a:gd name="connsiteX1" fmla="*/ 12193355 w 12211564"/>
              <a:gd name="connsiteY1" fmla="*/ 454 h 1940184"/>
              <a:gd name="connsiteX2" fmla="*/ 12211564 w 12211564"/>
              <a:gd name="connsiteY2" fmla="*/ 1907932 h 1940184"/>
              <a:gd name="connsiteX3" fmla="*/ 1 w 12211564"/>
              <a:gd name="connsiteY3" fmla="*/ 1919492 h 1940184"/>
              <a:gd name="connsiteX0" fmla="*/ 1 w 12142089"/>
              <a:gd name="connsiteY0" fmla="*/ 1913227 h 1934891"/>
              <a:gd name="connsiteX1" fmla="*/ 12123880 w 12142089"/>
              <a:gd name="connsiteY1" fmla="*/ 456 h 1934891"/>
              <a:gd name="connsiteX2" fmla="*/ 12142089 w 12142089"/>
              <a:gd name="connsiteY2" fmla="*/ 1907934 h 1934891"/>
              <a:gd name="connsiteX3" fmla="*/ 1 w 12142089"/>
              <a:gd name="connsiteY3" fmla="*/ 1913227 h 1934891"/>
              <a:gd name="connsiteX0" fmla="*/ 2 w 12142090"/>
              <a:gd name="connsiteY0" fmla="*/ 1913227 h 1913226"/>
              <a:gd name="connsiteX1" fmla="*/ 12123881 w 12142090"/>
              <a:gd name="connsiteY1" fmla="*/ 456 h 1913226"/>
              <a:gd name="connsiteX2" fmla="*/ 12142090 w 12142090"/>
              <a:gd name="connsiteY2" fmla="*/ 1907934 h 1913226"/>
              <a:gd name="connsiteX3" fmla="*/ 2 w 12142090"/>
              <a:gd name="connsiteY3" fmla="*/ 1913227 h 1913226"/>
              <a:gd name="connsiteX0" fmla="*/ 3 w 12093993"/>
              <a:gd name="connsiteY0" fmla="*/ 1919495 h 1919495"/>
              <a:gd name="connsiteX1" fmla="*/ 12075784 w 12093993"/>
              <a:gd name="connsiteY1" fmla="*/ 455 h 1919495"/>
              <a:gd name="connsiteX2" fmla="*/ 12093993 w 12093993"/>
              <a:gd name="connsiteY2" fmla="*/ 1907933 h 1919495"/>
              <a:gd name="connsiteX3" fmla="*/ 3 w 12093993"/>
              <a:gd name="connsiteY3" fmla="*/ 1919495 h 1919495"/>
              <a:gd name="connsiteX0" fmla="*/ 3 w 12126172"/>
              <a:gd name="connsiteY0" fmla="*/ 1919495 h 1919495"/>
              <a:gd name="connsiteX1" fmla="*/ 12075784 w 12126172"/>
              <a:gd name="connsiteY1" fmla="*/ 455 h 1919495"/>
              <a:gd name="connsiteX2" fmla="*/ 12126172 w 12126172"/>
              <a:gd name="connsiteY2" fmla="*/ 1895062 h 1919495"/>
              <a:gd name="connsiteX3" fmla="*/ 3 w 12126172"/>
              <a:gd name="connsiteY3" fmla="*/ 1919495 h 1919495"/>
              <a:gd name="connsiteX0" fmla="*/ 3 w 12088629"/>
              <a:gd name="connsiteY0" fmla="*/ 1919495 h 1919495"/>
              <a:gd name="connsiteX1" fmla="*/ 12075784 w 12088629"/>
              <a:gd name="connsiteY1" fmla="*/ 455 h 1919495"/>
              <a:gd name="connsiteX2" fmla="*/ 12088629 w 12088629"/>
              <a:gd name="connsiteY2" fmla="*/ 1907935 h 1919495"/>
              <a:gd name="connsiteX3" fmla="*/ 3 w 12088629"/>
              <a:gd name="connsiteY3" fmla="*/ 1919495 h 1919495"/>
              <a:gd name="connsiteX0" fmla="*/ 3 w 12088645"/>
              <a:gd name="connsiteY0" fmla="*/ 1919495 h 1920291"/>
              <a:gd name="connsiteX1" fmla="*/ 12075784 w 12088645"/>
              <a:gd name="connsiteY1" fmla="*/ 455 h 1920291"/>
              <a:gd name="connsiteX2" fmla="*/ 12088629 w 12088645"/>
              <a:gd name="connsiteY2" fmla="*/ 1907935 h 1920291"/>
              <a:gd name="connsiteX3" fmla="*/ 3 w 12088645"/>
              <a:gd name="connsiteY3" fmla="*/ 1919495 h 1920291"/>
              <a:gd name="connsiteX0" fmla="*/ 3 w 12088645"/>
              <a:gd name="connsiteY0" fmla="*/ 1919495 h 1920290"/>
              <a:gd name="connsiteX1" fmla="*/ 12075784 w 12088645"/>
              <a:gd name="connsiteY1" fmla="*/ 455 h 1920290"/>
              <a:gd name="connsiteX2" fmla="*/ 12088629 w 12088645"/>
              <a:gd name="connsiteY2" fmla="*/ 1907935 h 1920290"/>
              <a:gd name="connsiteX3" fmla="*/ 3 w 12088645"/>
              <a:gd name="connsiteY3" fmla="*/ 1919495 h 1920290"/>
              <a:gd name="connsiteX0" fmla="*/ 3 w 12094009"/>
              <a:gd name="connsiteY0" fmla="*/ 1919495 h 1919494"/>
              <a:gd name="connsiteX1" fmla="*/ 12075784 w 12094009"/>
              <a:gd name="connsiteY1" fmla="*/ 455 h 1919494"/>
              <a:gd name="connsiteX2" fmla="*/ 12093993 w 12094009"/>
              <a:gd name="connsiteY2" fmla="*/ 1882192 h 1919494"/>
              <a:gd name="connsiteX3" fmla="*/ 3 w 12094009"/>
              <a:gd name="connsiteY3" fmla="*/ 1919495 h 1919494"/>
              <a:gd name="connsiteX0" fmla="*/ 3 w 12099372"/>
              <a:gd name="connsiteY0" fmla="*/ 1919495 h 1920290"/>
              <a:gd name="connsiteX1" fmla="*/ 12075784 w 12099372"/>
              <a:gd name="connsiteY1" fmla="*/ 455 h 1920290"/>
              <a:gd name="connsiteX2" fmla="*/ 12099356 w 12099372"/>
              <a:gd name="connsiteY2" fmla="*/ 1907935 h 1920290"/>
              <a:gd name="connsiteX3" fmla="*/ 3 w 12099372"/>
              <a:gd name="connsiteY3" fmla="*/ 1919495 h 1920290"/>
              <a:gd name="connsiteX0" fmla="*/ 3 w 12099372"/>
              <a:gd name="connsiteY0" fmla="*/ 1919495 h 1920290"/>
              <a:gd name="connsiteX1" fmla="*/ 12075784 w 12099372"/>
              <a:gd name="connsiteY1" fmla="*/ 455 h 1920290"/>
              <a:gd name="connsiteX2" fmla="*/ 12099356 w 12099372"/>
              <a:gd name="connsiteY2" fmla="*/ 1907935 h 1920290"/>
              <a:gd name="connsiteX3" fmla="*/ 3 w 12099372"/>
              <a:gd name="connsiteY3" fmla="*/ 1919495 h 1920290"/>
              <a:gd name="connsiteX0" fmla="*/ 3 w 12075784"/>
              <a:gd name="connsiteY0" fmla="*/ 1919495 h 1919494"/>
              <a:gd name="connsiteX1" fmla="*/ 12075784 w 12075784"/>
              <a:gd name="connsiteY1" fmla="*/ 455 h 1919494"/>
              <a:gd name="connsiteX2" fmla="*/ 11874101 w 12075784"/>
              <a:gd name="connsiteY2" fmla="*/ 1901500 h 1919494"/>
              <a:gd name="connsiteX3" fmla="*/ 3 w 12075784"/>
              <a:gd name="connsiteY3" fmla="*/ 1919495 h 1919494"/>
              <a:gd name="connsiteX0" fmla="*/ 3 w 12083281"/>
              <a:gd name="connsiteY0" fmla="*/ 1919495 h 1920290"/>
              <a:gd name="connsiteX1" fmla="*/ 12075784 w 12083281"/>
              <a:gd name="connsiteY1" fmla="*/ 455 h 1920290"/>
              <a:gd name="connsiteX2" fmla="*/ 12083265 w 12083281"/>
              <a:gd name="connsiteY2" fmla="*/ 1907937 h 1920290"/>
              <a:gd name="connsiteX3" fmla="*/ 3 w 12083281"/>
              <a:gd name="connsiteY3" fmla="*/ 1919495 h 1920290"/>
              <a:gd name="connsiteX0" fmla="*/ 3 w 12083281"/>
              <a:gd name="connsiteY0" fmla="*/ 1919495 h 1920290"/>
              <a:gd name="connsiteX1" fmla="*/ 12075784 w 12083281"/>
              <a:gd name="connsiteY1" fmla="*/ 455 h 1920290"/>
              <a:gd name="connsiteX2" fmla="*/ 12083265 w 12083281"/>
              <a:gd name="connsiteY2" fmla="*/ 1907937 h 1920290"/>
              <a:gd name="connsiteX3" fmla="*/ 3 w 12083281"/>
              <a:gd name="connsiteY3" fmla="*/ 1919495 h 1920290"/>
              <a:gd name="connsiteX0" fmla="*/ 3 w 12083281"/>
              <a:gd name="connsiteY0" fmla="*/ 2019472 h 2020267"/>
              <a:gd name="connsiteX1" fmla="*/ 11464601 w 12083281"/>
              <a:gd name="connsiteY1" fmla="*/ 432 h 2020267"/>
              <a:gd name="connsiteX2" fmla="*/ 12083265 w 12083281"/>
              <a:gd name="connsiteY2" fmla="*/ 2007914 h 2020267"/>
              <a:gd name="connsiteX3" fmla="*/ 3 w 12083281"/>
              <a:gd name="connsiteY3" fmla="*/ 2019472 h 2020267"/>
              <a:gd name="connsiteX0" fmla="*/ 3 w 11464601"/>
              <a:gd name="connsiteY0" fmla="*/ 2019472 h 2083880"/>
              <a:gd name="connsiteX1" fmla="*/ 11464601 w 11464601"/>
              <a:gd name="connsiteY1" fmla="*/ 432 h 2083880"/>
              <a:gd name="connsiteX2" fmla="*/ 8243116 w 11464601"/>
              <a:gd name="connsiteY2" fmla="*/ 2081517 h 2083880"/>
              <a:gd name="connsiteX3" fmla="*/ 3 w 11464601"/>
              <a:gd name="connsiteY3" fmla="*/ 2019472 h 2083880"/>
              <a:gd name="connsiteX0" fmla="*/ 3 w 11464601"/>
              <a:gd name="connsiteY0" fmla="*/ 2019472 h 3424835"/>
              <a:gd name="connsiteX1" fmla="*/ 11464601 w 11464601"/>
              <a:gd name="connsiteY1" fmla="*/ 432 h 3424835"/>
              <a:gd name="connsiteX2" fmla="*/ 6272794 w 11464601"/>
              <a:gd name="connsiteY2" fmla="*/ 3424687 h 3424835"/>
              <a:gd name="connsiteX3" fmla="*/ 3 w 11464601"/>
              <a:gd name="connsiteY3" fmla="*/ 2019472 h 3424835"/>
              <a:gd name="connsiteX0" fmla="*/ 3 w 8450455"/>
              <a:gd name="connsiteY0" fmla="*/ 32240 h 1437641"/>
              <a:gd name="connsiteX1" fmla="*/ 8450455 w 8450455"/>
              <a:gd name="connsiteY1" fmla="*/ 12045 h 1437641"/>
              <a:gd name="connsiteX2" fmla="*/ 6272794 w 8450455"/>
              <a:gd name="connsiteY2" fmla="*/ 1437455 h 1437641"/>
              <a:gd name="connsiteX3" fmla="*/ 3 w 8450455"/>
              <a:gd name="connsiteY3" fmla="*/ 32240 h 1437641"/>
            </a:gdLst>
            <a:ahLst/>
            <a:cxnLst>
              <a:cxn ang="0">
                <a:pos x="connsiteX0" y="connsiteY0"/>
              </a:cxn>
              <a:cxn ang="0">
                <a:pos x="connsiteX1" y="connsiteY1"/>
              </a:cxn>
              <a:cxn ang="0">
                <a:pos x="connsiteX2" y="connsiteY2"/>
              </a:cxn>
              <a:cxn ang="0">
                <a:pos x="connsiteX3" y="connsiteY3"/>
              </a:cxn>
            </a:cxnLst>
            <a:rect l="l" t="t" r="r" b="b"/>
            <a:pathLst>
              <a:path w="8450455" h="1437641">
                <a:moveTo>
                  <a:pt x="3" y="32240"/>
                </a:moveTo>
                <a:cubicBezTo>
                  <a:pt x="-21" y="27917"/>
                  <a:pt x="8431024" y="-22542"/>
                  <a:pt x="8450455" y="12045"/>
                </a:cubicBezTo>
                <a:cubicBezTo>
                  <a:pt x="8438713" y="47223"/>
                  <a:pt x="6263730" y="1456209"/>
                  <a:pt x="6272794" y="1437455"/>
                </a:cubicBezTo>
                <a:cubicBezTo>
                  <a:pt x="6289357" y="1454317"/>
                  <a:pt x="-6259" y="32251"/>
                  <a:pt x="3" y="32240"/>
                </a:cubicBezTo>
                <a:close/>
              </a:path>
            </a:pathLst>
          </a:custGeom>
          <a:solidFill>
            <a:srgbClr val="8DD1EB">
              <a:alpha val="50196"/>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cxnSp>
        <p:nvCxnSpPr>
          <p:cNvPr id="36" name="Straight Connector 35">
            <a:extLst>
              <a:ext uri="{FF2B5EF4-FFF2-40B4-BE49-F238E27FC236}">
                <a16:creationId xmlns:a16="http://schemas.microsoft.com/office/drawing/2014/main" id="{399766F8-593A-6149-82C7-88DE04063D0C}"/>
              </a:ext>
            </a:extLst>
          </p:cNvPr>
          <p:cNvCxnSpPr>
            <a:cxnSpLocks/>
          </p:cNvCxnSpPr>
          <p:nvPr userDrawn="1"/>
        </p:nvCxnSpPr>
        <p:spPr bwMode="auto">
          <a:xfrm flipV="1">
            <a:off x="0" y="1"/>
            <a:ext cx="2453833" cy="2338085"/>
          </a:xfrm>
          <a:prstGeom prst="line">
            <a:avLst/>
          </a:prstGeom>
          <a:solidFill>
            <a:schemeClr val="hlink"/>
          </a:solidFill>
          <a:ln w="12700" cap="flat" cmpd="sng" algn="ctr">
            <a:solidFill>
              <a:schemeClr val="bg1">
                <a:lumMod val="85000"/>
              </a:schemeClr>
            </a:solidFill>
            <a:prstDash val="solid"/>
            <a:round/>
            <a:headEnd type="none" w="med" len="med"/>
            <a:tailEnd type="none" w="med" len="med"/>
          </a:ln>
          <a:effectLst/>
        </p:spPr>
      </p:cxnSp>
    </p:spTree>
    <p:extLst>
      <p:ext uri="{BB962C8B-B14F-4D97-AF65-F5344CB8AC3E}">
        <p14:creationId xmlns:p14="http://schemas.microsoft.com/office/powerpoint/2010/main" val="67708741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ography">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p>
            <a:r>
              <a:rPr lang="en-US"/>
              <a:t>Click to edit Master title style</a:t>
            </a:r>
            <a:endParaRPr lang="en-US" dirty="0"/>
          </a:p>
        </p:txBody>
      </p:sp>
      <p:sp>
        <p:nvSpPr>
          <p:cNvPr id="3" name="Content Placeholder 2"/>
          <p:cNvSpPr>
            <a:spLocks noGrp="1"/>
          </p:cNvSpPr>
          <p:nvPr>
            <p:ph idx="1"/>
          </p:nvPr>
        </p:nvSpPr>
        <p:spPr>
          <a:xfrm>
            <a:off x="325661" y="1073258"/>
            <a:ext cx="8188710" cy="439305"/>
          </a:xfrm>
        </p:spPr>
        <p:txBody>
          <a:bodyPr lIns="91440"/>
          <a:lstStyle>
            <a:lvl1pPr marL="0" indent="0">
              <a:spcBef>
                <a:spcPts val="0"/>
              </a:spcBef>
              <a:defRPr lang="en-US" sz="1200" b="1" dirty="0" smtClean="0">
                <a:solidFill>
                  <a:srgbClr val="7A9A3D"/>
                </a:solidFill>
                <a:latin typeface="+mn-lt"/>
                <a:ea typeface="+mn-ea"/>
                <a:cs typeface="+mn-cs"/>
              </a:defRPr>
            </a:lvl1pPr>
            <a:lvl2pPr marL="0" indent="0">
              <a:spcBef>
                <a:spcPts val="0"/>
              </a:spcBef>
              <a:buNone/>
              <a:defRPr sz="1200" b="0" i="1">
                <a:solidFill>
                  <a:srgbClr val="7A9A3D"/>
                </a:solidFill>
              </a:defRPr>
            </a:lvl2pPr>
          </a:lstStyle>
          <a:p>
            <a:pPr lvl="0"/>
            <a:r>
              <a:rPr lang="en-US"/>
              <a:t>Click to edit Master text styles</a:t>
            </a:r>
          </a:p>
          <a:p>
            <a:pPr lvl="1"/>
            <a:r>
              <a:rPr lang="en-US"/>
              <a:t>Second level</a:t>
            </a:r>
          </a:p>
        </p:txBody>
      </p:sp>
      <p:sp>
        <p:nvSpPr>
          <p:cNvPr id="10" name="Content Placeholder 9"/>
          <p:cNvSpPr>
            <a:spLocks noGrp="1"/>
          </p:cNvSpPr>
          <p:nvPr>
            <p:ph sz="quarter" idx="13"/>
          </p:nvPr>
        </p:nvSpPr>
        <p:spPr>
          <a:xfrm>
            <a:off x="325661" y="1526850"/>
            <a:ext cx="8188710" cy="4691387"/>
          </a:xfrm>
        </p:spPr>
        <p:txBody>
          <a:bodyPr lIns="91440"/>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5" name="Group 34">
            <a:extLst>
              <a:ext uri="{FF2B5EF4-FFF2-40B4-BE49-F238E27FC236}">
                <a16:creationId xmlns:a16="http://schemas.microsoft.com/office/drawing/2014/main" id="{C75946E2-9CE1-4073-B70C-BBB1984B336B}"/>
              </a:ext>
            </a:extLst>
          </p:cNvPr>
          <p:cNvGrpSpPr/>
          <p:nvPr userDrawn="1"/>
        </p:nvGrpSpPr>
        <p:grpSpPr>
          <a:xfrm>
            <a:off x="7358173" y="6361974"/>
            <a:ext cx="1382376" cy="297562"/>
            <a:chOff x="6923088" y="4475163"/>
            <a:chExt cx="1873251" cy="403225"/>
          </a:xfrm>
        </p:grpSpPr>
        <p:sp>
          <p:nvSpPr>
            <p:cNvPr id="36" name="AutoShape 4">
              <a:extLst>
                <a:ext uri="{FF2B5EF4-FFF2-40B4-BE49-F238E27FC236}">
                  <a16:creationId xmlns:a16="http://schemas.microsoft.com/office/drawing/2014/main" id="{2064C2BD-8DD3-4C25-B8AC-2511CF7EA6EF}"/>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6">
              <a:extLst>
                <a:ext uri="{FF2B5EF4-FFF2-40B4-BE49-F238E27FC236}">
                  <a16:creationId xmlns:a16="http://schemas.microsoft.com/office/drawing/2014/main" id="{93C5C3B7-4D48-473C-9C5D-A7CC88B7C54C}"/>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7">
              <a:extLst>
                <a:ext uri="{FF2B5EF4-FFF2-40B4-BE49-F238E27FC236}">
                  <a16:creationId xmlns:a16="http://schemas.microsoft.com/office/drawing/2014/main" id="{531D8C9A-73C8-49F6-8615-D07EC3D32C40}"/>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83">
              <a:extLst>
                <a:ext uri="{FF2B5EF4-FFF2-40B4-BE49-F238E27FC236}">
                  <a16:creationId xmlns:a16="http://schemas.microsoft.com/office/drawing/2014/main" id="{6D2B5CD5-7073-41ED-A84D-6573FC02C1C8}"/>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84">
              <a:extLst>
                <a:ext uri="{FF2B5EF4-FFF2-40B4-BE49-F238E27FC236}">
                  <a16:creationId xmlns:a16="http://schemas.microsoft.com/office/drawing/2014/main" id="{7569C185-1C46-46A0-A03E-24819C436803}"/>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85">
              <a:extLst>
                <a:ext uri="{FF2B5EF4-FFF2-40B4-BE49-F238E27FC236}">
                  <a16:creationId xmlns:a16="http://schemas.microsoft.com/office/drawing/2014/main" id="{46F20CF6-25E8-4222-B486-9A86E0E46A37}"/>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86">
              <a:extLst>
                <a:ext uri="{FF2B5EF4-FFF2-40B4-BE49-F238E27FC236}">
                  <a16:creationId xmlns:a16="http://schemas.microsoft.com/office/drawing/2014/main" id="{6FF91587-F189-49E6-B5D5-940D53155449}"/>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87">
              <a:extLst>
                <a:ext uri="{FF2B5EF4-FFF2-40B4-BE49-F238E27FC236}">
                  <a16:creationId xmlns:a16="http://schemas.microsoft.com/office/drawing/2014/main" id="{0CA455CC-F50E-4794-8937-E59F4FAFEA6E}"/>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88">
              <a:extLst>
                <a:ext uri="{FF2B5EF4-FFF2-40B4-BE49-F238E27FC236}">
                  <a16:creationId xmlns:a16="http://schemas.microsoft.com/office/drawing/2014/main" id="{3EE40542-ADA6-4C3B-8A70-A65519704A9B}"/>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89">
              <a:extLst>
                <a:ext uri="{FF2B5EF4-FFF2-40B4-BE49-F238E27FC236}">
                  <a16:creationId xmlns:a16="http://schemas.microsoft.com/office/drawing/2014/main" id="{7B3B4879-B6C1-4F74-BDCF-5F19BB04E0F4}"/>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90">
              <a:extLst>
                <a:ext uri="{FF2B5EF4-FFF2-40B4-BE49-F238E27FC236}">
                  <a16:creationId xmlns:a16="http://schemas.microsoft.com/office/drawing/2014/main" id="{E4BC8AEB-A584-479B-8EEF-2AE54D5872B7}"/>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91">
              <a:extLst>
                <a:ext uri="{FF2B5EF4-FFF2-40B4-BE49-F238E27FC236}">
                  <a16:creationId xmlns:a16="http://schemas.microsoft.com/office/drawing/2014/main" id="{D18A4DCC-C243-4E3F-A2E2-0D29AD7D002A}"/>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92">
              <a:extLst>
                <a:ext uri="{FF2B5EF4-FFF2-40B4-BE49-F238E27FC236}">
                  <a16:creationId xmlns:a16="http://schemas.microsoft.com/office/drawing/2014/main" id="{4D5F04D4-1A7F-41A0-A0E2-BCF50E27D5C6}"/>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93">
              <a:extLst>
                <a:ext uri="{FF2B5EF4-FFF2-40B4-BE49-F238E27FC236}">
                  <a16:creationId xmlns:a16="http://schemas.microsoft.com/office/drawing/2014/main" id="{F96DDB2D-2296-402A-9FB9-212112A5001F}"/>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4">
              <a:extLst>
                <a:ext uri="{FF2B5EF4-FFF2-40B4-BE49-F238E27FC236}">
                  <a16:creationId xmlns:a16="http://schemas.microsoft.com/office/drawing/2014/main" id="{2F742842-62E0-472A-B09A-2A7D39017EB8}"/>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5">
              <a:extLst>
                <a:ext uri="{FF2B5EF4-FFF2-40B4-BE49-F238E27FC236}">
                  <a16:creationId xmlns:a16="http://schemas.microsoft.com/office/drawing/2014/main" id="{E7229456-9A67-45F4-ABC1-C2770B0268FA}"/>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6">
              <a:extLst>
                <a:ext uri="{FF2B5EF4-FFF2-40B4-BE49-F238E27FC236}">
                  <a16:creationId xmlns:a16="http://schemas.microsoft.com/office/drawing/2014/main" id="{1F9751DB-34CD-46BB-B4BC-6259060855F0}"/>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97">
              <a:extLst>
                <a:ext uri="{FF2B5EF4-FFF2-40B4-BE49-F238E27FC236}">
                  <a16:creationId xmlns:a16="http://schemas.microsoft.com/office/drawing/2014/main" id="{5ABC6AFB-E816-4431-A76A-68A3A63D2E44}"/>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98">
              <a:extLst>
                <a:ext uri="{FF2B5EF4-FFF2-40B4-BE49-F238E27FC236}">
                  <a16:creationId xmlns:a16="http://schemas.microsoft.com/office/drawing/2014/main" id="{60E91C8F-F1CE-4BBB-BB3E-56924AB9AC02}"/>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99">
              <a:extLst>
                <a:ext uri="{FF2B5EF4-FFF2-40B4-BE49-F238E27FC236}">
                  <a16:creationId xmlns:a16="http://schemas.microsoft.com/office/drawing/2014/main" id="{0144D498-DBBB-48AB-9938-6860296C54C0}"/>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100">
              <a:extLst>
                <a:ext uri="{FF2B5EF4-FFF2-40B4-BE49-F238E27FC236}">
                  <a16:creationId xmlns:a16="http://schemas.microsoft.com/office/drawing/2014/main" id="{57DA06B8-E74A-4A4F-A5C6-D228C33D4C07}"/>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01">
              <a:extLst>
                <a:ext uri="{FF2B5EF4-FFF2-40B4-BE49-F238E27FC236}">
                  <a16:creationId xmlns:a16="http://schemas.microsoft.com/office/drawing/2014/main" id="{9EE94CD4-EF90-465E-99B0-5D8FE5E0954C}"/>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102">
              <a:extLst>
                <a:ext uri="{FF2B5EF4-FFF2-40B4-BE49-F238E27FC236}">
                  <a16:creationId xmlns:a16="http://schemas.microsoft.com/office/drawing/2014/main" id="{C0D9FFE4-3F0B-4424-9C2B-7BE6269B031E}"/>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103">
              <a:extLst>
                <a:ext uri="{FF2B5EF4-FFF2-40B4-BE49-F238E27FC236}">
                  <a16:creationId xmlns:a16="http://schemas.microsoft.com/office/drawing/2014/main" id="{689B4BCD-46B5-40D0-9B5E-0928400345C7}"/>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104">
              <a:extLst>
                <a:ext uri="{FF2B5EF4-FFF2-40B4-BE49-F238E27FC236}">
                  <a16:creationId xmlns:a16="http://schemas.microsoft.com/office/drawing/2014/main" id="{2BE4801D-4A50-4671-B276-15040C725153}"/>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 name="Freeform 105">
              <a:extLst>
                <a:ext uri="{FF2B5EF4-FFF2-40B4-BE49-F238E27FC236}">
                  <a16:creationId xmlns:a16="http://schemas.microsoft.com/office/drawing/2014/main" id="{9B3CA6D7-EDFA-45F6-A972-C4764E2EF71D}"/>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3" name="Slide Number Placeholder 3">
            <a:extLst>
              <a:ext uri="{FF2B5EF4-FFF2-40B4-BE49-F238E27FC236}">
                <a16:creationId xmlns:a16="http://schemas.microsoft.com/office/drawing/2014/main" id="{7EA345A8-99C1-46D2-B43D-EBB13DCF1ED2}"/>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4" name="Rectangle 155">
            <a:extLst>
              <a:ext uri="{FF2B5EF4-FFF2-40B4-BE49-F238E27FC236}">
                <a16:creationId xmlns:a16="http://schemas.microsoft.com/office/drawing/2014/main" id="{89581FD7-1A7A-4D55-96D3-115BEF36627D}"/>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dirty="0"/>
              <a:t>Production code #</a:t>
            </a:r>
          </a:p>
        </p:txBody>
      </p:sp>
      <p:sp>
        <p:nvSpPr>
          <p:cNvPr id="65" name="Rectangle 176">
            <a:extLst>
              <a:ext uri="{FF2B5EF4-FFF2-40B4-BE49-F238E27FC236}">
                <a16:creationId xmlns:a16="http://schemas.microsoft.com/office/drawing/2014/main" id="{9906DF31-BFC5-4876-8473-BB825737ABD0}"/>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195438511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64" userDrawn="1">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4. U.S. Equity">
    <p:spTree>
      <p:nvGrpSpPr>
        <p:cNvPr id="1" name=""/>
        <p:cNvGrpSpPr/>
        <p:nvPr/>
      </p:nvGrpSpPr>
      <p:grpSpPr>
        <a:xfrm>
          <a:off x="0" y="0"/>
          <a:ext cx="0" cy="0"/>
          <a:chOff x="0" y="0"/>
          <a:chExt cx="0" cy="0"/>
        </a:xfrm>
      </p:grpSpPr>
      <p:sp>
        <p:nvSpPr>
          <p:cNvPr id="47" name="Footer Placeholder 2"/>
          <p:cNvSpPr>
            <a:spLocks noGrp="1"/>
          </p:cNvSpPr>
          <p:nvPr>
            <p:ph type="ftr" sz="quarter" idx="3"/>
          </p:nvPr>
        </p:nvSpPr>
        <p:spPr>
          <a:xfrm>
            <a:off x="319053" y="6414084"/>
            <a:ext cx="3781425" cy="365125"/>
          </a:xfrm>
          <a:prstGeom prst="rect">
            <a:avLst/>
          </a:prstGeom>
        </p:spPr>
        <p:txBody>
          <a:bodyPr vert="horz" lIns="91440" tIns="45720" rIns="91440" bIns="45720" rtlCol="0" anchor="ctr"/>
          <a:lstStyle>
            <a:lvl1pPr algn="l">
              <a:defRPr sz="800">
                <a:solidFill>
                  <a:srgbClr val="000000"/>
                </a:solidFill>
              </a:defRPr>
            </a:lvl1pPr>
          </a:lstStyle>
          <a:p>
            <a:pPr>
              <a:spcBef>
                <a:spcPts val="300"/>
              </a:spcBef>
            </a:pPr>
            <a:r>
              <a:rPr lang="en-US"/>
              <a:t>Footnotes/disclosures. </a:t>
            </a:r>
          </a:p>
        </p:txBody>
      </p:sp>
      <p:sp>
        <p:nvSpPr>
          <p:cNvPr id="48" name="Slide Number Placeholder 3"/>
          <p:cNvSpPr>
            <a:spLocks noGrp="1"/>
          </p:cNvSpPr>
          <p:nvPr>
            <p:ph type="sldNum" sz="quarter" idx="4"/>
          </p:nvPr>
        </p:nvSpPr>
        <p:spPr>
          <a:xfrm>
            <a:off x="112394" y="6408909"/>
            <a:ext cx="382906" cy="365125"/>
          </a:xfrm>
          <a:prstGeom prst="rect">
            <a:avLst/>
          </a:prstGeom>
        </p:spPr>
        <p:txBody>
          <a:bodyPr vert="horz" lIns="91440" tIns="45720" rIns="91440" bIns="45720" rtlCol="0" anchor="ctr"/>
          <a:lstStyle>
            <a:lvl1pPr algn="l">
              <a:defRPr sz="800" b="1">
                <a:solidFill>
                  <a:srgbClr val="000000"/>
                </a:solidFill>
              </a:defRPr>
            </a:lvl1pPr>
          </a:lstStyle>
          <a:p>
            <a:fld id="{B42A7A4B-1474-47B8-8215-FC88D0AD55CE}" type="slidenum">
              <a:rPr lang="en-US" smtClean="0"/>
              <a:pPr/>
              <a:t>‹#›</a:t>
            </a:fld>
            <a:endParaRPr lang="en-US"/>
          </a:p>
        </p:txBody>
      </p:sp>
      <p:sp>
        <p:nvSpPr>
          <p:cNvPr id="49" name="Title Placeholder 1"/>
          <p:cNvSpPr>
            <a:spLocks noGrp="1"/>
          </p:cNvSpPr>
          <p:nvPr>
            <p:ph type="title"/>
          </p:nvPr>
        </p:nvSpPr>
        <p:spPr>
          <a:xfrm>
            <a:off x="315669" y="227013"/>
            <a:ext cx="8229600" cy="1143000"/>
          </a:xfrm>
          <a:prstGeom prst="rect">
            <a:avLst/>
          </a:prstGeom>
        </p:spPr>
        <p:txBody>
          <a:bodyPr vert="horz" lIns="91440" tIns="45720" rIns="91440" bIns="45720" rtlCol="0" anchor="t">
            <a:normAutofit/>
          </a:bodyPr>
          <a:lstStyle>
            <a:lvl1pPr algn="l">
              <a:defRPr sz="2400"/>
            </a:lvl1pPr>
          </a:lstStyle>
          <a:p>
            <a:r>
              <a:rPr lang="en-US"/>
              <a:t>Click to edit Master title style</a:t>
            </a:r>
          </a:p>
        </p:txBody>
      </p:sp>
      <p:grpSp>
        <p:nvGrpSpPr>
          <p:cNvPr id="45" name="Group 44">
            <a:extLst>
              <a:ext uri="{FF2B5EF4-FFF2-40B4-BE49-F238E27FC236}">
                <a16:creationId xmlns:a16="http://schemas.microsoft.com/office/drawing/2014/main" id="{2E7284D6-0A6F-F94A-98AA-5F7B9C6D51D2}"/>
              </a:ext>
            </a:extLst>
          </p:cNvPr>
          <p:cNvGrpSpPr/>
          <p:nvPr userDrawn="1"/>
        </p:nvGrpSpPr>
        <p:grpSpPr>
          <a:xfrm>
            <a:off x="7358173" y="6361974"/>
            <a:ext cx="1382376" cy="297562"/>
            <a:chOff x="6923088" y="4475163"/>
            <a:chExt cx="1873251" cy="403225"/>
          </a:xfrm>
        </p:grpSpPr>
        <p:sp>
          <p:nvSpPr>
            <p:cNvPr id="46" name="AutoShape 4">
              <a:extLst>
                <a:ext uri="{FF2B5EF4-FFF2-40B4-BE49-F238E27FC236}">
                  <a16:creationId xmlns:a16="http://schemas.microsoft.com/office/drawing/2014/main" id="{B7400278-3E7D-C246-9610-2F77C314D294}"/>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6">
              <a:extLst>
                <a:ext uri="{FF2B5EF4-FFF2-40B4-BE49-F238E27FC236}">
                  <a16:creationId xmlns:a16="http://schemas.microsoft.com/office/drawing/2014/main" id="{46CF6301-CEDE-A740-9F05-8E9559A05044}"/>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7">
              <a:extLst>
                <a:ext uri="{FF2B5EF4-FFF2-40B4-BE49-F238E27FC236}">
                  <a16:creationId xmlns:a16="http://schemas.microsoft.com/office/drawing/2014/main" id="{43BE2834-80A3-A346-916E-FE9B34052ADE}"/>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83">
              <a:extLst>
                <a:ext uri="{FF2B5EF4-FFF2-40B4-BE49-F238E27FC236}">
                  <a16:creationId xmlns:a16="http://schemas.microsoft.com/office/drawing/2014/main" id="{B8542E2D-9861-7F49-943F-61E9C0834E60}"/>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84">
              <a:extLst>
                <a:ext uri="{FF2B5EF4-FFF2-40B4-BE49-F238E27FC236}">
                  <a16:creationId xmlns:a16="http://schemas.microsoft.com/office/drawing/2014/main" id="{B3C55F1E-7597-8A4D-A82A-2D1AA325D7A0}"/>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85">
              <a:extLst>
                <a:ext uri="{FF2B5EF4-FFF2-40B4-BE49-F238E27FC236}">
                  <a16:creationId xmlns:a16="http://schemas.microsoft.com/office/drawing/2014/main" id="{8EE1C83D-7D8B-C64E-8081-1516F6D2BBB7}"/>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86">
              <a:extLst>
                <a:ext uri="{FF2B5EF4-FFF2-40B4-BE49-F238E27FC236}">
                  <a16:creationId xmlns:a16="http://schemas.microsoft.com/office/drawing/2014/main" id="{E4769E46-D690-1B43-B987-8DBBAD2F9A90}"/>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87">
              <a:extLst>
                <a:ext uri="{FF2B5EF4-FFF2-40B4-BE49-F238E27FC236}">
                  <a16:creationId xmlns:a16="http://schemas.microsoft.com/office/drawing/2014/main" id="{97108903-7043-8747-B5C0-55CC885D0EF2}"/>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88">
              <a:extLst>
                <a:ext uri="{FF2B5EF4-FFF2-40B4-BE49-F238E27FC236}">
                  <a16:creationId xmlns:a16="http://schemas.microsoft.com/office/drawing/2014/main" id="{E75B6BC1-89C7-D444-B0C5-0BAA6E20297D}"/>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89">
              <a:extLst>
                <a:ext uri="{FF2B5EF4-FFF2-40B4-BE49-F238E27FC236}">
                  <a16:creationId xmlns:a16="http://schemas.microsoft.com/office/drawing/2014/main" id="{12EB2EA8-B2C8-624D-93FD-06EDF379E32B}"/>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90">
              <a:extLst>
                <a:ext uri="{FF2B5EF4-FFF2-40B4-BE49-F238E27FC236}">
                  <a16:creationId xmlns:a16="http://schemas.microsoft.com/office/drawing/2014/main" id="{0FC9E559-6729-EE4F-BD8B-62C26923FB0B}"/>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91">
              <a:extLst>
                <a:ext uri="{FF2B5EF4-FFF2-40B4-BE49-F238E27FC236}">
                  <a16:creationId xmlns:a16="http://schemas.microsoft.com/office/drawing/2014/main" id="{AC7AA2BB-E291-DE4B-8080-16CBBEA915E5}"/>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92">
              <a:extLst>
                <a:ext uri="{FF2B5EF4-FFF2-40B4-BE49-F238E27FC236}">
                  <a16:creationId xmlns:a16="http://schemas.microsoft.com/office/drawing/2014/main" id="{F92E78A1-E246-B344-B5D2-63681E7AE2CE}"/>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 name="Freeform 93">
              <a:extLst>
                <a:ext uri="{FF2B5EF4-FFF2-40B4-BE49-F238E27FC236}">
                  <a16:creationId xmlns:a16="http://schemas.microsoft.com/office/drawing/2014/main" id="{6A8D3539-3578-504B-89E7-FD47BF2A980A}"/>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 name="Freeform 94">
              <a:extLst>
                <a:ext uri="{FF2B5EF4-FFF2-40B4-BE49-F238E27FC236}">
                  <a16:creationId xmlns:a16="http://schemas.microsoft.com/office/drawing/2014/main" id="{33DABC3D-D8B7-9049-A484-0F6FFA4E8CCD}"/>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 name="Freeform 95">
              <a:extLst>
                <a:ext uri="{FF2B5EF4-FFF2-40B4-BE49-F238E27FC236}">
                  <a16:creationId xmlns:a16="http://schemas.microsoft.com/office/drawing/2014/main" id="{9D7A1D81-1590-2E46-ADA7-FE4964B05E9C}"/>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 name="Freeform 96">
              <a:extLst>
                <a:ext uri="{FF2B5EF4-FFF2-40B4-BE49-F238E27FC236}">
                  <a16:creationId xmlns:a16="http://schemas.microsoft.com/office/drawing/2014/main" id="{1E1FC51D-8F15-5744-94C5-1021B3277A1E}"/>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 name="Freeform 97">
              <a:extLst>
                <a:ext uri="{FF2B5EF4-FFF2-40B4-BE49-F238E27FC236}">
                  <a16:creationId xmlns:a16="http://schemas.microsoft.com/office/drawing/2014/main" id="{A4A85D81-67EC-8740-95B4-E5BD4FE22E06}"/>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 name="Freeform 98">
              <a:extLst>
                <a:ext uri="{FF2B5EF4-FFF2-40B4-BE49-F238E27FC236}">
                  <a16:creationId xmlns:a16="http://schemas.microsoft.com/office/drawing/2014/main" id="{5DB16F4B-CA98-794E-B527-4453DBE2C83E}"/>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 name="Freeform 99">
              <a:extLst>
                <a:ext uri="{FF2B5EF4-FFF2-40B4-BE49-F238E27FC236}">
                  <a16:creationId xmlns:a16="http://schemas.microsoft.com/office/drawing/2014/main" id="{814AA6E4-3825-094C-8F69-E0945ECB167D}"/>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 name="Freeform 100">
              <a:extLst>
                <a:ext uri="{FF2B5EF4-FFF2-40B4-BE49-F238E27FC236}">
                  <a16:creationId xmlns:a16="http://schemas.microsoft.com/office/drawing/2014/main" id="{F397360C-DE4A-F642-9561-B5585B283691}"/>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 name="Freeform 101">
              <a:extLst>
                <a:ext uri="{FF2B5EF4-FFF2-40B4-BE49-F238E27FC236}">
                  <a16:creationId xmlns:a16="http://schemas.microsoft.com/office/drawing/2014/main" id="{CFD3DE59-3947-EF40-A589-FE26E53FE3B0}"/>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 name="Freeform 102">
              <a:extLst>
                <a:ext uri="{FF2B5EF4-FFF2-40B4-BE49-F238E27FC236}">
                  <a16:creationId xmlns:a16="http://schemas.microsoft.com/office/drawing/2014/main" id="{027FE565-2C38-1345-AA98-95DC8846233E}"/>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 name="Freeform 103">
              <a:extLst>
                <a:ext uri="{FF2B5EF4-FFF2-40B4-BE49-F238E27FC236}">
                  <a16:creationId xmlns:a16="http://schemas.microsoft.com/office/drawing/2014/main" id="{1BBCC6F4-C3E0-7843-A09D-5F8CF1AEF6BB}"/>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 name="Freeform 104">
              <a:extLst>
                <a:ext uri="{FF2B5EF4-FFF2-40B4-BE49-F238E27FC236}">
                  <a16:creationId xmlns:a16="http://schemas.microsoft.com/office/drawing/2014/main" id="{51D7024A-E154-C240-94E7-265D6B85B6E5}"/>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 name="Freeform 105">
              <a:extLst>
                <a:ext uri="{FF2B5EF4-FFF2-40B4-BE49-F238E27FC236}">
                  <a16:creationId xmlns:a16="http://schemas.microsoft.com/office/drawing/2014/main" id="{2B535644-13E1-F64E-BD8B-F4ED1441841A}"/>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4" name="TextBox 69">
            <a:extLst>
              <a:ext uri="{FF2B5EF4-FFF2-40B4-BE49-F238E27FC236}">
                <a16:creationId xmlns:a16="http://schemas.microsoft.com/office/drawing/2014/main" id="{4FD7763C-88CF-D049-AD7A-0E76E28248F5}"/>
              </a:ext>
            </a:extLst>
          </p:cNvPr>
          <p:cNvSpPr txBox="1">
            <a:spLocks noChangeArrowheads="1"/>
          </p:cNvSpPr>
          <p:nvPr userDrawn="1"/>
        </p:nvSpPr>
        <p:spPr bwMode="auto">
          <a:xfrm rot="16200000">
            <a:off x="8222464" y="623303"/>
            <a:ext cx="1338265" cy="284693"/>
          </a:xfrm>
          <a:prstGeom prst="rect">
            <a:avLst/>
          </a:prstGeom>
          <a:noFill/>
          <a:ln w="9525">
            <a:noFill/>
            <a:miter lim="800000"/>
            <a:headEnd/>
            <a:tailEnd/>
          </a:ln>
        </p:spPr>
        <p:txBody>
          <a:bodyPr wrap="square" tIns="91440" rIns="0">
            <a:spAutoFit/>
          </a:bodyPr>
          <a:lstStyle/>
          <a:p>
            <a:pPr>
              <a:defRPr/>
            </a:pPr>
            <a:r>
              <a:rPr lang="en-US" sz="900">
                <a:solidFill>
                  <a:srgbClr val="00A3D4"/>
                </a:solidFill>
                <a:cs typeface="Arial" charset="0"/>
              </a:rPr>
              <a:t>LONG-TERM</a:t>
            </a:r>
          </a:p>
        </p:txBody>
      </p:sp>
      <p:grpSp>
        <p:nvGrpSpPr>
          <p:cNvPr id="35" name="Group 34">
            <a:extLst>
              <a:ext uri="{FF2B5EF4-FFF2-40B4-BE49-F238E27FC236}">
                <a16:creationId xmlns:a16="http://schemas.microsoft.com/office/drawing/2014/main" id="{75F3E358-423E-624B-9D64-6834A35615D9}"/>
              </a:ext>
            </a:extLst>
          </p:cNvPr>
          <p:cNvGrpSpPr/>
          <p:nvPr userDrawn="1"/>
        </p:nvGrpSpPr>
        <p:grpSpPr>
          <a:xfrm>
            <a:off x="8834955" y="-8348"/>
            <a:ext cx="132661" cy="609866"/>
            <a:chOff x="8876279" y="49059"/>
            <a:chExt cx="132661" cy="609866"/>
          </a:xfrm>
        </p:grpSpPr>
        <p:cxnSp>
          <p:nvCxnSpPr>
            <p:cNvPr id="36" name="Straight Connector 35">
              <a:extLst>
                <a:ext uri="{FF2B5EF4-FFF2-40B4-BE49-F238E27FC236}">
                  <a16:creationId xmlns:a16="http://schemas.microsoft.com/office/drawing/2014/main" id="{87F7D5AA-8BBE-4048-9AB1-16590B895002}"/>
                </a:ext>
              </a:extLst>
            </p:cNvPr>
            <p:cNvCxnSpPr>
              <a:cxnSpLocks/>
              <a:endCxn id="38" idx="4"/>
            </p:cNvCxnSpPr>
            <p:nvPr/>
          </p:nvCxnSpPr>
          <p:spPr bwMode="auto">
            <a:xfrm>
              <a:off x="8942609" y="49059"/>
              <a:ext cx="0" cy="575539"/>
            </a:xfrm>
            <a:prstGeom prst="line">
              <a:avLst/>
            </a:prstGeom>
            <a:solidFill>
              <a:schemeClr val="hlink"/>
            </a:solidFill>
            <a:ln w="12700" cap="flat" cmpd="sng" algn="ctr">
              <a:solidFill>
                <a:schemeClr val="bg1">
                  <a:lumMod val="75000"/>
                </a:schemeClr>
              </a:solidFill>
              <a:prstDash val="solid"/>
              <a:round/>
              <a:headEnd type="none" w="med" len="med"/>
              <a:tailEnd type="none" w="med" len="med"/>
            </a:ln>
            <a:effectLst/>
          </p:spPr>
        </p:cxnSp>
        <p:sp>
          <p:nvSpPr>
            <p:cNvPr id="37" name="Oval 36">
              <a:extLst>
                <a:ext uri="{FF2B5EF4-FFF2-40B4-BE49-F238E27FC236}">
                  <a16:creationId xmlns:a16="http://schemas.microsoft.com/office/drawing/2014/main" id="{67C02944-AA75-9F45-AC0A-565E027282DC}"/>
                </a:ext>
              </a:extLst>
            </p:cNvPr>
            <p:cNvSpPr/>
            <p:nvPr/>
          </p:nvSpPr>
          <p:spPr bwMode="auto">
            <a:xfrm>
              <a:off x="8876279" y="526264"/>
              <a:ext cx="132661" cy="132661"/>
            </a:xfrm>
            <a:prstGeom prst="ellipse">
              <a:avLst/>
            </a:prstGeom>
            <a:solidFill>
              <a:schemeClr val="bg1"/>
            </a:solidFill>
            <a:ln w="12700"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sp>
          <p:nvSpPr>
            <p:cNvPr id="38" name="Oval 37">
              <a:extLst>
                <a:ext uri="{FF2B5EF4-FFF2-40B4-BE49-F238E27FC236}">
                  <a16:creationId xmlns:a16="http://schemas.microsoft.com/office/drawing/2014/main" id="{07536330-36B8-B143-AE02-77515F145757}"/>
                </a:ext>
              </a:extLst>
            </p:cNvPr>
            <p:cNvSpPr/>
            <p:nvPr/>
          </p:nvSpPr>
          <p:spPr bwMode="auto">
            <a:xfrm>
              <a:off x="8910605" y="560590"/>
              <a:ext cx="64008" cy="64008"/>
            </a:xfrm>
            <a:prstGeom prst="ellipse">
              <a:avLst/>
            </a:prstGeom>
            <a:solidFill>
              <a:srgbClr val="00A3D4"/>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grpSp>
    </p:spTree>
    <p:extLst>
      <p:ext uri="{BB962C8B-B14F-4D97-AF65-F5344CB8AC3E}">
        <p14:creationId xmlns:p14="http://schemas.microsoft.com/office/powerpoint/2010/main" val="6890183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1_8. Appendix">
    <p:spTree>
      <p:nvGrpSpPr>
        <p:cNvPr id="1" name=""/>
        <p:cNvGrpSpPr/>
        <p:nvPr/>
      </p:nvGrpSpPr>
      <p:grpSpPr>
        <a:xfrm>
          <a:off x="0" y="0"/>
          <a:ext cx="0" cy="0"/>
          <a:chOff x="0" y="0"/>
          <a:chExt cx="0" cy="0"/>
        </a:xfrm>
      </p:grpSpPr>
      <p:sp>
        <p:nvSpPr>
          <p:cNvPr id="9" name="Rectangle 8"/>
          <p:cNvSpPr/>
          <p:nvPr userDrawn="1"/>
        </p:nvSpPr>
        <p:spPr>
          <a:xfrm>
            <a:off x="0" y="0"/>
            <a:ext cx="9152965" cy="676275"/>
          </a:xfrm>
          <a:prstGeom prst="rect">
            <a:avLst/>
          </a:prstGeom>
          <a:solidFill>
            <a:srgbClr val="223D4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12" name="Title 1"/>
          <p:cNvSpPr>
            <a:spLocks noGrp="1"/>
          </p:cNvSpPr>
          <p:nvPr>
            <p:ph type="title"/>
          </p:nvPr>
        </p:nvSpPr>
        <p:spPr>
          <a:xfrm>
            <a:off x="256486" y="78574"/>
            <a:ext cx="8114402" cy="548640"/>
          </a:xfrm>
        </p:spPr>
        <p:txBody>
          <a:bodyPr/>
          <a:lstStyle>
            <a:lvl1pPr marL="0" indent="0">
              <a:defRPr/>
            </a:lvl1pPr>
          </a:lstStyle>
          <a:p>
            <a:r>
              <a:rPr lang="en-US"/>
              <a:t>Click to edit Master title style</a:t>
            </a:r>
          </a:p>
        </p:txBody>
      </p:sp>
      <p:sp>
        <p:nvSpPr>
          <p:cNvPr id="6" name="Footer Placeholder 4"/>
          <p:cNvSpPr>
            <a:spLocks noGrp="1"/>
          </p:cNvSpPr>
          <p:nvPr userDrawn="1">
            <p:ph type="ftr" sz="quarter" idx="11"/>
          </p:nvPr>
        </p:nvSpPr>
        <p:spPr>
          <a:xfrm>
            <a:off x="264318" y="6337581"/>
            <a:ext cx="8106569" cy="365125"/>
          </a:xfrm>
        </p:spPr>
        <p:txBody>
          <a:bodyPr/>
          <a:lstStyle>
            <a:lvl1pPr>
              <a:defRPr/>
            </a:lvl1pPr>
          </a:lstStyle>
          <a:p>
            <a:pPr>
              <a:defRPr/>
            </a:pPr>
            <a:r>
              <a:rPr lang="en-US"/>
              <a:t>Fidelity Confidential Information</a:t>
            </a:r>
          </a:p>
        </p:txBody>
      </p:sp>
      <p:sp>
        <p:nvSpPr>
          <p:cNvPr id="10" name="Slide Number Placeholder 5"/>
          <p:cNvSpPr>
            <a:spLocks noGrp="1"/>
          </p:cNvSpPr>
          <p:nvPr>
            <p:ph type="sldNum" sz="quarter" idx="12"/>
          </p:nvPr>
        </p:nvSpPr>
        <p:spPr>
          <a:xfrm>
            <a:off x="8370888" y="6401933"/>
            <a:ext cx="315912" cy="365125"/>
          </a:xfrm>
        </p:spPr>
        <p:txBody>
          <a:bodyPr rIns="0"/>
          <a:lstStyle>
            <a:lvl1pPr>
              <a:defRPr/>
            </a:lvl1pPr>
          </a:lstStyle>
          <a:p>
            <a:pPr>
              <a:defRPr/>
            </a:pPr>
            <a:fld id="{55772473-24D5-4368-927A-9F91835352F1}" type="slidenum">
              <a:rPr lang="en-US" smtClean="0"/>
              <a:pPr>
                <a:defRPr/>
              </a:pPr>
              <a:t>‹#›</a:t>
            </a:fld>
            <a:endParaRPr lang="en-US"/>
          </a:p>
        </p:txBody>
      </p:sp>
      <p:sp>
        <p:nvSpPr>
          <p:cNvPr id="11" name="Content Placeholder 3"/>
          <p:cNvSpPr>
            <a:spLocks noGrp="1"/>
          </p:cNvSpPr>
          <p:nvPr>
            <p:ph idx="1"/>
          </p:nvPr>
        </p:nvSpPr>
        <p:spPr>
          <a:xfrm>
            <a:off x="257495" y="815707"/>
            <a:ext cx="8113394" cy="5243273"/>
          </a:xfrm>
          <a:prstGeom prst="rect">
            <a:avLst/>
          </a:prstGeom>
        </p:spPr>
        <p:txBody>
          <a:bodyPr/>
          <a:lstStyle>
            <a:lvl1pPr marL="171450" indent="-171450">
              <a:buClr>
                <a:schemeClr val="accent1"/>
              </a:buClr>
              <a:defRPr sz="1800">
                <a:latin typeface="+mj-lt"/>
              </a:defRPr>
            </a:lvl1pPr>
            <a:lvl2pPr>
              <a:defRPr sz="1400" baseline="0"/>
            </a:lvl2pPr>
          </a:lstStyle>
          <a:p>
            <a:endParaRPr lang="en-US"/>
          </a:p>
          <a:p>
            <a:pPr lvl="1"/>
            <a:endParaRPr lang="en-US"/>
          </a:p>
        </p:txBody>
      </p:sp>
    </p:spTree>
    <p:extLst>
      <p:ext uri="{BB962C8B-B14F-4D97-AF65-F5344CB8AC3E}">
        <p14:creationId xmlns:p14="http://schemas.microsoft.com/office/powerpoint/2010/main" val="201906465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95570" y="336212"/>
            <a:ext cx="8523174" cy="461665"/>
          </a:xfrm>
        </p:spPr>
        <p:txBody>
          <a:bodyPr vert="horz" lIns="91440" tIns="45720" rIns="91440" bIns="45720" rtlCol="0" anchor="t">
            <a:spAutoFit/>
          </a:bodyPr>
          <a:lstStyle>
            <a:lvl1pPr>
              <a:defRPr lang="en-US" dirty="0">
                <a:solidFill>
                  <a:schemeClr val="tx1">
                    <a:lumMod val="75000"/>
                    <a:lumOff val="25000"/>
                  </a:schemeClr>
                </a:solidFill>
              </a:defRPr>
            </a:lvl1pPr>
          </a:lstStyle>
          <a:p>
            <a:pPr lvl="0">
              <a:lnSpc>
                <a:spcPct val="100000"/>
              </a:lnSpc>
            </a:pPr>
            <a:r>
              <a:rPr lang="en-US"/>
              <a:t>Click to edit Master title style</a:t>
            </a:r>
          </a:p>
        </p:txBody>
      </p:sp>
      <p:sp>
        <p:nvSpPr>
          <p:cNvPr id="6" name="Rectangle 5"/>
          <p:cNvSpPr/>
          <p:nvPr userDrawn="1"/>
        </p:nvSpPr>
        <p:spPr>
          <a:xfrm>
            <a:off x="0" y="3"/>
            <a:ext cx="9144000" cy="142647"/>
          </a:xfrm>
          <a:prstGeom prst="rect">
            <a:avLst/>
          </a:prstGeom>
          <a:solidFill>
            <a:srgbClr val="D4D6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rgbClr val="FFFFFF"/>
              </a:solidFill>
              <a:latin typeface="Arial" panose="020B0604020202020204" pitchFamily="34" charset="0"/>
            </a:endParaRPr>
          </a:p>
        </p:txBody>
      </p:sp>
      <p:sp>
        <p:nvSpPr>
          <p:cNvPr id="8" name="Slide Number Placeholder 3"/>
          <p:cNvSpPr>
            <a:spLocks noGrp="1"/>
          </p:cNvSpPr>
          <p:nvPr>
            <p:ph type="sldNum" sz="quarter" idx="14"/>
          </p:nvPr>
        </p:nvSpPr>
        <p:spPr>
          <a:xfrm>
            <a:off x="131630" y="6448491"/>
            <a:ext cx="327880" cy="258533"/>
          </a:xfrm>
          <a:prstGeom prst="rect">
            <a:avLst/>
          </a:prstGeom>
        </p:spPr>
        <p:txBody>
          <a:bodyPr anchor="ctr">
            <a:noAutofit/>
          </a:bodyPr>
          <a:lstStyle>
            <a:lvl1pPr algn="l">
              <a:defRPr sz="800">
                <a:solidFill>
                  <a:schemeClr val="tx1">
                    <a:lumMod val="50000"/>
                    <a:lumOff val="50000"/>
                  </a:schemeClr>
                </a:solidFill>
              </a:defRPr>
            </a:lvl1pPr>
          </a:lstStyle>
          <a:p>
            <a:pPr>
              <a:defRPr/>
            </a:pPr>
            <a:fld id="{E6474CC2-1230-4213-AD1A-4B2FEEABA7A1}" type="slidenum">
              <a:rPr lang="en-US" smtClean="0"/>
              <a:pPr>
                <a:defRPr/>
              </a:pPr>
              <a:t>‹#›</a:t>
            </a:fld>
            <a:endParaRPr lang="en-US"/>
          </a:p>
        </p:txBody>
      </p:sp>
    </p:spTree>
    <p:extLst>
      <p:ext uri="{BB962C8B-B14F-4D97-AF65-F5344CB8AC3E}">
        <p14:creationId xmlns:p14="http://schemas.microsoft.com/office/powerpoint/2010/main" val="73261482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2. Theme">
    <p:spTree>
      <p:nvGrpSpPr>
        <p:cNvPr id="1" name=""/>
        <p:cNvGrpSpPr/>
        <p:nvPr/>
      </p:nvGrpSpPr>
      <p:grpSpPr>
        <a:xfrm>
          <a:off x="0" y="0"/>
          <a:ext cx="0" cy="0"/>
          <a:chOff x="0" y="0"/>
          <a:chExt cx="0" cy="0"/>
        </a:xfrm>
      </p:grpSpPr>
      <p:sp>
        <p:nvSpPr>
          <p:cNvPr id="5" name="Footer Placeholder 4"/>
          <p:cNvSpPr>
            <a:spLocks noGrp="1"/>
          </p:cNvSpPr>
          <p:nvPr userDrawn="1">
            <p:ph type="ftr" sz="quarter" idx="11"/>
          </p:nvPr>
        </p:nvSpPr>
        <p:spPr/>
        <p:txBody>
          <a:bodyPr/>
          <a:lstStyle>
            <a:lvl1pPr>
              <a:defRPr/>
            </a:lvl1pPr>
          </a:lstStyle>
          <a:p>
            <a:pPr>
              <a:defRPr/>
            </a:pPr>
            <a:endParaRPr lang="en-US"/>
          </a:p>
        </p:txBody>
      </p:sp>
      <p:sp>
        <p:nvSpPr>
          <p:cNvPr id="257" name="Rectangle 256"/>
          <p:cNvSpPr/>
          <p:nvPr userDrawn="1"/>
        </p:nvSpPr>
        <p:spPr>
          <a:xfrm>
            <a:off x="0" y="0"/>
            <a:ext cx="9144000" cy="1266825"/>
          </a:xfrm>
          <a:prstGeom prst="rect">
            <a:avLst/>
          </a:prstGeom>
          <a:solidFill>
            <a:srgbClr val="223D4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59" name="Title 1"/>
          <p:cNvSpPr>
            <a:spLocks noGrp="1"/>
          </p:cNvSpPr>
          <p:nvPr>
            <p:ph type="title"/>
          </p:nvPr>
        </p:nvSpPr>
        <p:spPr>
          <a:xfrm>
            <a:off x="0" y="1"/>
            <a:ext cx="8686800" cy="679507"/>
          </a:xfrm>
        </p:spPr>
        <p:txBody>
          <a:bodyPr/>
          <a:lstStyle>
            <a:lvl1pPr>
              <a:defRPr>
                <a:solidFill>
                  <a:schemeClr val="bg1"/>
                </a:solidFill>
              </a:defRPr>
            </a:lvl1pPr>
          </a:lstStyle>
          <a:p>
            <a:r>
              <a:rPr lang="en-US"/>
              <a:t>Click to edit Master title style</a:t>
            </a:r>
          </a:p>
        </p:txBody>
      </p:sp>
      <p:sp>
        <p:nvSpPr>
          <p:cNvPr id="260" name="Subtitle 2"/>
          <p:cNvSpPr>
            <a:spLocks noGrp="1"/>
          </p:cNvSpPr>
          <p:nvPr>
            <p:ph type="subTitle" idx="13"/>
          </p:nvPr>
        </p:nvSpPr>
        <p:spPr>
          <a:xfrm>
            <a:off x="0" y="461396"/>
            <a:ext cx="8892330" cy="645952"/>
          </a:xfrm>
          <a:prstGeom prst="rect">
            <a:avLst/>
          </a:prstGeom>
        </p:spPr>
        <p:txBody>
          <a:bodyPr anchor="b" anchorCtr="0"/>
          <a:lstStyle>
            <a:lvl1pPr marL="285750" indent="0" algn="l">
              <a:buNone/>
              <a:defRPr lang="en-US" sz="1200" kern="1200" dirty="0">
                <a:solidFill>
                  <a:srgbClr val="A3BACD"/>
                </a:solidFill>
                <a:latin typeface="Arial" pitchFamily="34" charset="0"/>
                <a:ea typeface="+mj-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8" name="TextBox 69"/>
          <p:cNvSpPr txBox="1">
            <a:spLocks noChangeArrowheads="1"/>
          </p:cNvSpPr>
          <p:nvPr userDrawn="1"/>
        </p:nvSpPr>
        <p:spPr bwMode="auto">
          <a:xfrm rot="16200000">
            <a:off x="8442327" y="610392"/>
            <a:ext cx="1104901" cy="284163"/>
          </a:xfrm>
          <a:prstGeom prst="rect">
            <a:avLst/>
          </a:prstGeom>
          <a:noFill/>
          <a:ln w="9525">
            <a:noFill/>
            <a:miter lim="800000"/>
            <a:headEnd/>
            <a:tailEnd/>
          </a:ln>
        </p:spPr>
        <p:txBody>
          <a:bodyPr wrap="square" tIns="91440" rIns="0">
            <a:spAutoFit/>
          </a:bodyPr>
          <a:lstStyle/>
          <a:p>
            <a:pPr>
              <a:defRPr/>
            </a:pPr>
            <a:r>
              <a:rPr lang="en-US" sz="950">
                <a:solidFill>
                  <a:srgbClr val="569BBE"/>
                </a:solidFill>
                <a:cs typeface="Arial" charset="0"/>
                <a:sym typeface="Wingdings"/>
              </a:rPr>
              <a:t></a:t>
            </a:r>
            <a:r>
              <a:rPr lang="en-US" sz="950">
                <a:solidFill>
                  <a:schemeClr val="bg1"/>
                </a:solidFill>
                <a:cs typeface="Arial" charset="0"/>
                <a:sym typeface="Wingdings"/>
              </a:rPr>
              <a:t> </a:t>
            </a:r>
            <a:r>
              <a:rPr lang="en-US" sz="950">
                <a:solidFill>
                  <a:schemeClr val="bg1"/>
                </a:solidFill>
                <a:cs typeface="Arial" charset="0"/>
              </a:rPr>
              <a:t>THEME</a:t>
            </a:r>
          </a:p>
        </p:txBody>
      </p:sp>
      <p:cxnSp>
        <p:nvCxnSpPr>
          <p:cNvPr id="10" name="Straight Connector 9"/>
          <p:cNvCxnSpPr/>
          <p:nvPr userDrawn="1"/>
        </p:nvCxnSpPr>
        <p:spPr>
          <a:xfrm flipV="1">
            <a:off x="8879680" y="0"/>
            <a:ext cx="0" cy="128111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6832600" y="6374155"/>
            <a:ext cx="2133600" cy="365125"/>
          </a:xfrm>
          <a:prstGeom prst="rect">
            <a:avLst/>
          </a:prstGeom>
        </p:spPr>
        <p:txBody>
          <a:bodyPr vert="horz" lIns="91440" tIns="45720" rIns="91440" bIns="45720" rtlCol="0" anchor="ctr"/>
          <a:lstStyle>
            <a:lvl1pPr algn="r" fontAlgn="auto">
              <a:spcBef>
                <a:spcPts val="0"/>
              </a:spcBef>
              <a:spcAft>
                <a:spcPts val="0"/>
              </a:spcAft>
              <a:defRPr sz="1000" b="1">
                <a:solidFill>
                  <a:srgbClr val="4C5F6C"/>
                </a:solidFill>
                <a:latin typeface="Arial" pitchFamily="34" charset="0"/>
                <a:cs typeface="Arial" pitchFamily="34" charset="0"/>
              </a:defRPr>
            </a:lvl1pPr>
          </a:lstStyle>
          <a:p>
            <a:pPr>
              <a:defRPr/>
            </a:pPr>
            <a:fld id="{55772473-24D5-4368-927A-9F91835352F1}" type="slidenum">
              <a:rPr lang="en-US" smtClean="0"/>
              <a:pPr>
                <a:defRPr/>
              </a:pPr>
              <a:t>‹#›</a:t>
            </a:fld>
            <a:endParaRPr lang="en-US"/>
          </a:p>
        </p:txBody>
      </p:sp>
    </p:spTree>
    <p:extLst>
      <p:ext uri="{BB962C8B-B14F-4D97-AF65-F5344CB8AC3E}">
        <p14:creationId xmlns:p14="http://schemas.microsoft.com/office/powerpoint/2010/main" val="2059982446"/>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lvl1pPr>
              <a:defRPr>
                <a:solidFill>
                  <a:srgbClr val="333F48"/>
                </a:solidFill>
              </a:defRPr>
            </a:lvl1pPr>
          </a:lstStyle>
          <a:p>
            <a:r>
              <a:rPr lang="en-US"/>
              <a:t>Click to edit Master title style</a:t>
            </a:r>
          </a:p>
        </p:txBody>
      </p:sp>
      <p:grpSp>
        <p:nvGrpSpPr>
          <p:cNvPr id="33" name="Group 32">
            <a:extLst>
              <a:ext uri="{FF2B5EF4-FFF2-40B4-BE49-F238E27FC236}">
                <a16:creationId xmlns:a16="http://schemas.microsoft.com/office/drawing/2014/main" id="{0F62616B-A113-49C2-BCA3-32AFDB89CBE2}"/>
              </a:ext>
            </a:extLst>
          </p:cNvPr>
          <p:cNvGrpSpPr/>
          <p:nvPr userDrawn="1"/>
        </p:nvGrpSpPr>
        <p:grpSpPr>
          <a:xfrm>
            <a:off x="7358173" y="6361974"/>
            <a:ext cx="1382376" cy="297562"/>
            <a:chOff x="6923088" y="4475163"/>
            <a:chExt cx="1873251" cy="403225"/>
          </a:xfrm>
        </p:grpSpPr>
        <p:sp>
          <p:nvSpPr>
            <p:cNvPr id="34" name="AutoShape 4">
              <a:extLst>
                <a:ext uri="{FF2B5EF4-FFF2-40B4-BE49-F238E27FC236}">
                  <a16:creationId xmlns:a16="http://schemas.microsoft.com/office/drawing/2014/main" id="{49D58BA8-C307-41D7-A988-42E097D1EF76}"/>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6">
              <a:extLst>
                <a:ext uri="{FF2B5EF4-FFF2-40B4-BE49-F238E27FC236}">
                  <a16:creationId xmlns:a16="http://schemas.microsoft.com/office/drawing/2014/main" id="{99E6BBF1-6900-43FC-B106-808C1203D52D}"/>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7">
              <a:extLst>
                <a:ext uri="{FF2B5EF4-FFF2-40B4-BE49-F238E27FC236}">
                  <a16:creationId xmlns:a16="http://schemas.microsoft.com/office/drawing/2014/main" id="{1CAA1F79-AF27-468E-8586-71EF43CE357A}"/>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83">
              <a:extLst>
                <a:ext uri="{FF2B5EF4-FFF2-40B4-BE49-F238E27FC236}">
                  <a16:creationId xmlns:a16="http://schemas.microsoft.com/office/drawing/2014/main" id="{25628C13-6D93-4F00-8ED8-90737568691A}"/>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84">
              <a:extLst>
                <a:ext uri="{FF2B5EF4-FFF2-40B4-BE49-F238E27FC236}">
                  <a16:creationId xmlns:a16="http://schemas.microsoft.com/office/drawing/2014/main" id="{85C9C7A1-11FD-4D2C-8EDF-4833DE82B50F}"/>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85">
              <a:extLst>
                <a:ext uri="{FF2B5EF4-FFF2-40B4-BE49-F238E27FC236}">
                  <a16:creationId xmlns:a16="http://schemas.microsoft.com/office/drawing/2014/main" id="{713E574F-4758-48CF-8C5C-4B0FEAD58DBC}"/>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86">
              <a:extLst>
                <a:ext uri="{FF2B5EF4-FFF2-40B4-BE49-F238E27FC236}">
                  <a16:creationId xmlns:a16="http://schemas.microsoft.com/office/drawing/2014/main" id="{5095EFD8-8B78-4FEF-966C-2B785E288D2C}"/>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87">
              <a:extLst>
                <a:ext uri="{FF2B5EF4-FFF2-40B4-BE49-F238E27FC236}">
                  <a16:creationId xmlns:a16="http://schemas.microsoft.com/office/drawing/2014/main" id="{E1B3AF36-9DB0-4539-A4AF-978F6A19D6B3}"/>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88">
              <a:extLst>
                <a:ext uri="{FF2B5EF4-FFF2-40B4-BE49-F238E27FC236}">
                  <a16:creationId xmlns:a16="http://schemas.microsoft.com/office/drawing/2014/main" id="{F15062CC-7097-4E22-AE5F-F76A8333AC1D}"/>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89">
              <a:extLst>
                <a:ext uri="{FF2B5EF4-FFF2-40B4-BE49-F238E27FC236}">
                  <a16:creationId xmlns:a16="http://schemas.microsoft.com/office/drawing/2014/main" id="{62041FF7-97A2-4A11-9271-8D11EF1B6F17}"/>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90">
              <a:extLst>
                <a:ext uri="{FF2B5EF4-FFF2-40B4-BE49-F238E27FC236}">
                  <a16:creationId xmlns:a16="http://schemas.microsoft.com/office/drawing/2014/main" id="{866430AE-6669-4687-886A-98B81A7EF4AC}"/>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91">
              <a:extLst>
                <a:ext uri="{FF2B5EF4-FFF2-40B4-BE49-F238E27FC236}">
                  <a16:creationId xmlns:a16="http://schemas.microsoft.com/office/drawing/2014/main" id="{57909145-25A0-4EAB-B40E-FBACBBFF5AE0}"/>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92">
              <a:extLst>
                <a:ext uri="{FF2B5EF4-FFF2-40B4-BE49-F238E27FC236}">
                  <a16:creationId xmlns:a16="http://schemas.microsoft.com/office/drawing/2014/main" id="{62666816-D824-4ACC-8078-CCF01B95645F}"/>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93">
              <a:extLst>
                <a:ext uri="{FF2B5EF4-FFF2-40B4-BE49-F238E27FC236}">
                  <a16:creationId xmlns:a16="http://schemas.microsoft.com/office/drawing/2014/main" id="{1F0724D1-2EFF-4A05-AA97-B428B60B54AA}"/>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94">
              <a:extLst>
                <a:ext uri="{FF2B5EF4-FFF2-40B4-BE49-F238E27FC236}">
                  <a16:creationId xmlns:a16="http://schemas.microsoft.com/office/drawing/2014/main" id="{D34C7757-1028-46E7-A0FC-91415EC881CB}"/>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95">
              <a:extLst>
                <a:ext uri="{FF2B5EF4-FFF2-40B4-BE49-F238E27FC236}">
                  <a16:creationId xmlns:a16="http://schemas.microsoft.com/office/drawing/2014/main" id="{36C1B6E4-AA6D-4CF5-B8E3-594DC6CE63A1}"/>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6">
              <a:extLst>
                <a:ext uri="{FF2B5EF4-FFF2-40B4-BE49-F238E27FC236}">
                  <a16:creationId xmlns:a16="http://schemas.microsoft.com/office/drawing/2014/main" id="{DF1C8D13-DF52-4DA1-BA6C-7FDF9DC5423E}"/>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7">
              <a:extLst>
                <a:ext uri="{FF2B5EF4-FFF2-40B4-BE49-F238E27FC236}">
                  <a16:creationId xmlns:a16="http://schemas.microsoft.com/office/drawing/2014/main" id="{0B1E1E0F-7A95-4895-BC4B-813467036ACD}"/>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8">
              <a:extLst>
                <a:ext uri="{FF2B5EF4-FFF2-40B4-BE49-F238E27FC236}">
                  <a16:creationId xmlns:a16="http://schemas.microsoft.com/office/drawing/2014/main" id="{1724219D-3EC2-412F-BEDC-0B04B4D64F07}"/>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99">
              <a:extLst>
                <a:ext uri="{FF2B5EF4-FFF2-40B4-BE49-F238E27FC236}">
                  <a16:creationId xmlns:a16="http://schemas.microsoft.com/office/drawing/2014/main" id="{66CE2863-34C9-4A02-9B77-AFA590051207}"/>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100">
              <a:extLst>
                <a:ext uri="{FF2B5EF4-FFF2-40B4-BE49-F238E27FC236}">
                  <a16:creationId xmlns:a16="http://schemas.microsoft.com/office/drawing/2014/main" id="{80C1B223-C089-47E5-927C-E60A5CDCA764}"/>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101">
              <a:extLst>
                <a:ext uri="{FF2B5EF4-FFF2-40B4-BE49-F238E27FC236}">
                  <a16:creationId xmlns:a16="http://schemas.microsoft.com/office/drawing/2014/main" id="{058054D3-04AE-4AA2-873C-35A5A9D314DF}"/>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102">
              <a:extLst>
                <a:ext uri="{FF2B5EF4-FFF2-40B4-BE49-F238E27FC236}">
                  <a16:creationId xmlns:a16="http://schemas.microsoft.com/office/drawing/2014/main" id="{CC748DEB-C39E-42D7-937A-08EF61FC5D31}"/>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03">
              <a:extLst>
                <a:ext uri="{FF2B5EF4-FFF2-40B4-BE49-F238E27FC236}">
                  <a16:creationId xmlns:a16="http://schemas.microsoft.com/office/drawing/2014/main" id="{B18D9B0F-C3B3-45D2-BAAC-62562A3321F1}"/>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104">
              <a:extLst>
                <a:ext uri="{FF2B5EF4-FFF2-40B4-BE49-F238E27FC236}">
                  <a16:creationId xmlns:a16="http://schemas.microsoft.com/office/drawing/2014/main" id="{88CA10C9-6D49-426A-B008-08E0E8E944BC}"/>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105">
              <a:extLst>
                <a:ext uri="{FF2B5EF4-FFF2-40B4-BE49-F238E27FC236}">
                  <a16:creationId xmlns:a16="http://schemas.microsoft.com/office/drawing/2014/main" id="{070CAC55-C633-45AA-A07A-C0957C583FFD}"/>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1" name="Slide Number Placeholder 3">
            <a:extLst>
              <a:ext uri="{FF2B5EF4-FFF2-40B4-BE49-F238E27FC236}">
                <a16:creationId xmlns:a16="http://schemas.microsoft.com/office/drawing/2014/main" id="{EF524037-F5D0-4428-9CA5-C04BEDCCDDDB}"/>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a:p>
        </p:txBody>
      </p:sp>
      <p:sp>
        <p:nvSpPr>
          <p:cNvPr id="62" name="Rectangle 155">
            <a:extLst>
              <a:ext uri="{FF2B5EF4-FFF2-40B4-BE49-F238E27FC236}">
                <a16:creationId xmlns:a16="http://schemas.microsoft.com/office/drawing/2014/main" id="{2B1046A9-03EE-49D1-911F-F1D3C9D50387}"/>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a:t>Production code #</a:t>
            </a:r>
          </a:p>
        </p:txBody>
      </p:sp>
      <p:sp>
        <p:nvSpPr>
          <p:cNvPr id="63" name="Rectangle 176">
            <a:extLst>
              <a:ext uri="{FF2B5EF4-FFF2-40B4-BE49-F238E27FC236}">
                <a16:creationId xmlns:a16="http://schemas.microsoft.com/office/drawing/2014/main" id="{3D2F4685-1C9C-46FB-9AD7-3D8BB399C73D}"/>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a:t>Page footer, i.e., For institutional use only.</a:t>
            </a:r>
          </a:p>
        </p:txBody>
      </p:sp>
    </p:spTree>
    <p:extLst>
      <p:ext uri="{BB962C8B-B14F-4D97-AF65-F5344CB8AC3E}">
        <p14:creationId xmlns:p14="http://schemas.microsoft.com/office/powerpoint/2010/main" val="130101171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p>
            <a:r>
              <a:rPr lang="en-US"/>
              <a:t>Click to edit Master title style</a:t>
            </a:r>
          </a:p>
        </p:txBody>
      </p:sp>
      <p:sp>
        <p:nvSpPr>
          <p:cNvPr id="7" name="Content Placeholder 2"/>
          <p:cNvSpPr>
            <a:spLocks noGrp="1"/>
          </p:cNvSpPr>
          <p:nvPr>
            <p:ph idx="13"/>
          </p:nvPr>
        </p:nvSpPr>
        <p:spPr>
          <a:xfrm>
            <a:off x="325661" y="1339850"/>
            <a:ext cx="8188710" cy="4878388"/>
          </a:xfrm>
        </p:spPr>
        <p:txBody>
          <a:bodyPr lIns="91440"/>
          <a:lstStyle>
            <a:lvl1pPr marL="0" indent="0" algn="l" rtl="0" fontAlgn="base">
              <a:spcBef>
                <a:spcPts val="480"/>
              </a:spcBef>
              <a:spcAft>
                <a:spcPct val="0"/>
              </a:spcAft>
              <a:buSzPct val="40000"/>
              <a:defRPr lang="en-US" sz="1600" b="1" dirty="0" smtClean="0">
                <a:solidFill>
                  <a:srgbClr val="7A9A3D"/>
                </a:solidFill>
                <a:latin typeface="+mn-lt"/>
                <a:ea typeface="+mn-ea"/>
                <a:cs typeface="+mn-cs"/>
              </a:defRPr>
            </a:lvl1pPr>
            <a:lvl2pPr>
              <a:spcBef>
                <a:spcPts val="2000"/>
              </a:spcBef>
              <a:defRPr lang="en-US" dirty="0" smtClean="0">
                <a:solidFill>
                  <a:schemeClr val="tx1"/>
                </a:solidFill>
                <a:latin typeface="+mn-lt"/>
              </a:defRPr>
            </a:lvl2pPr>
            <a:lvl3pPr>
              <a:defRPr lang="en-US" sz="1600" dirty="0" smtClean="0">
                <a:solidFill>
                  <a:schemeClr val="accent1"/>
                </a:solidFill>
                <a:latin typeface="+mn-lt"/>
              </a:defRPr>
            </a:lvl3pPr>
            <a:lvl4pPr>
              <a:buClr>
                <a:schemeClr val="bg2"/>
              </a:buClr>
              <a:buSzPct val="80000"/>
              <a:buFont typeface="Arial" pitchFamily="34" charset="0"/>
              <a:buChar char="•"/>
              <a:defRPr sz="1400">
                <a:solidFill>
                  <a:schemeClr val="accent1"/>
                </a:solidFill>
              </a:defRPr>
            </a:lvl4pPr>
          </a:lstStyle>
          <a:p>
            <a:pPr lvl="0"/>
            <a:r>
              <a:rPr lang="en-US"/>
              <a:t>Click to edit Master text styles</a:t>
            </a:r>
          </a:p>
        </p:txBody>
      </p:sp>
      <p:grpSp>
        <p:nvGrpSpPr>
          <p:cNvPr id="34" name="Group 33">
            <a:extLst>
              <a:ext uri="{FF2B5EF4-FFF2-40B4-BE49-F238E27FC236}">
                <a16:creationId xmlns:a16="http://schemas.microsoft.com/office/drawing/2014/main" id="{7645B271-DC5A-455C-972F-184CD6F75FE1}"/>
              </a:ext>
            </a:extLst>
          </p:cNvPr>
          <p:cNvGrpSpPr/>
          <p:nvPr userDrawn="1"/>
        </p:nvGrpSpPr>
        <p:grpSpPr>
          <a:xfrm>
            <a:off x="7358173" y="6361974"/>
            <a:ext cx="1382376" cy="297562"/>
            <a:chOff x="6923088" y="4475163"/>
            <a:chExt cx="1873251" cy="403225"/>
          </a:xfrm>
        </p:grpSpPr>
        <p:sp>
          <p:nvSpPr>
            <p:cNvPr id="35" name="AutoShape 4">
              <a:extLst>
                <a:ext uri="{FF2B5EF4-FFF2-40B4-BE49-F238E27FC236}">
                  <a16:creationId xmlns:a16="http://schemas.microsoft.com/office/drawing/2014/main" id="{981F299B-B30A-4200-882E-A1DB110E54A1}"/>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6">
              <a:extLst>
                <a:ext uri="{FF2B5EF4-FFF2-40B4-BE49-F238E27FC236}">
                  <a16:creationId xmlns:a16="http://schemas.microsoft.com/office/drawing/2014/main" id="{8CB19815-5037-45FC-9786-8C9AD1058016}"/>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7">
              <a:extLst>
                <a:ext uri="{FF2B5EF4-FFF2-40B4-BE49-F238E27FC236}">
                  <a16:creationId xmlns:a16="http://schemas.microsoft.com/office/drawing/2014/main" id="{210663C0-C8F9-403A-8CD2-C1F7CF8FC2BF}"/>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83">
              <a:extLst>
                <a:ext uri="{FF2B5EF4-FFF2-40B4-BE49-F238E27FC236}">
                  <a16:creationId xmlns:a16="http://schemas.microsoft.com/office/drawing/2014/main" id="{8158FE4D-784E-459F-A960-4E125DF0F251}"/>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84">
              <a:extLst>
                <a:ext uri="{FF2B5EF4-FFF2-40B4-BE49-F238E27FC236}">
                  <a16:creationId xmlns:a16="http://schemas.microsoft.com/office/drawing/2014/main" id="{84E0C97A-D15D-41FF-A250-6C5D06F3172F}"/>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85">
              <a:extLst>
                <a:ext uri="{FF2B5EF4-FFF2-40B4-BE49-F238E27FC236}">
                  <a16:creationId xmlns:a16="http://schemas.microsoft.com/office/drawing/2014/main" id="{9286D920-7349-4DA5-8098-FBBBA4142274}"/>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86">
              <a:extLst>
                <a:ext uri="{FF2B5EF4-FFF2-40B4-BE49-F238E27FC236}">
                  <a16:creationId xmlns:a16="http://schemas.microsoft.com/office/drawing/2014/main" id="{C1B434F8-ADCA-4E47-AE1A-49F89DAFECC5}"/>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87">
              <a:extLst>
                <a:ext uri="{FF2B5EF4-FFF2-40B4-BE49-F238E27FC236}">
                  <a16:creationId xmlns:a16="http://schemas.microsoft.com/office/drawing/2014/main" id="{282F5851-8545-4EE9-A625-19BE3095ACB6}"/>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88">
              <a:extLst>
                <a:ext uri="{FF2B5EF4-FFF2-40B4-BE49-F238E27FC236}">
                  <a16:creationId xmlns:a16="http://schemas.microsoft.com/office/drawing/2014/main" id="{D6AB1CC1-1D24-4B74-A27D-D1B8A703D991}"/>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89">
              <a:extLst>
                <a:ext uri="{FF2B5EF4-FFF2-40B4-BE49-F238E27FC236}">
                  <a16:creationId xmlns:a16="http://schemas.microsoft.com/office/drawing/2014/main" id="{3862B34B-4D7E-4367-ABFC-C70AAC34F925}"/>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90">
              <a:extLst>
                <a:ext uri="{FF2B5EF4-FFF2-40B4-BE49-F238E27FC236}">
                  <a16:creationId xmlns:a16="http://schemas.microsoft.com/office/drawing/2014/main" id="{E5F1F9C5-A51C-4CC0-8DF0-465C55D60173}"/>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91">
              <a:extLst>
                <a:ext uri="{FF2B5EF4-FFF2-40B4-BE49-F238E27FC236}">
                  <a16:creationId xmlns:a16="http://schemas.microsoft.com/office/drawing/2014/main" id="{569D52C3-EFFA-4F6C-88D6-95C2B8F81034}"/>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92">
              <a:extLst>
                <a:ext uri="{FF2B5EF4-FFF2-40B4-BE49-F238E27FC236}">
                  <a16:creationId xmlns:a16="http://schemas.microsoft.com/office/drawing/2014/main" id="{42ED9E5F-C2B4-42A4-AA2A-AF48941C81EB}"/>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93">
              <a:extLst>
                <a:ext uri="{FF2B5EF4-FFF2-40B4-BE49-F238E27FC236}">
                  <a16:creationId xmlns:a16="http://schemas.microsoft.com/office/drawing/2014/main" id="{CC43DE98-B858-4BA0-96D4-87DABB0B9042}"/>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94">
              <a:extLst>
                <a:ext uri="{FF2B5EF4-FFF2-40B4-BE49-F238E27FC236}">
                  <a16:creationId xmlns:a16="http://schemas.microsoft.com/office/drawing/2014/main" id="{C77B781B-7A72-4CD0-B5D7-93667054DEC7}"/>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5">
              <a:extLst>
                <a:ext uri="{FF2B5EF4-FFF2-40B4-BE49-F238E27FC236}">
                  <a16:creationId xmlns:a16="http://schemas.microsoft.com/office/drawing/2014/main" id="{65A1C4BE-A361-43C9-9F99-35D7D96B6351}"/>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6">
              <a:extLst>
                <a:ext uri="{FF2B5EF4-FFF2-40B4-BE49-F238E27FC236}">
                  <a16:creationId xmlns:a16="http://schemas.microsoft.com/office/drawing/2014/main" id="{A0712A7E-616F-4D72-9D69-992C6EECD487}"/>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7">
              <a:extLst>
                <a:ext uri="{FF2B5EF4-FFF2-40B4-BE49-F238E27FC236}">
                  <a16:creationId xmlns:a16="http://schemas.microsoft.com/office/drawing/2014/main" id="{622CAA9B-3BBB-4A0A-9F4F-A55FF6A4F70F}"/>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98">
              <a:extLst>
                <a:ext uri="{FF2B5EF4-FFF2-40B4-BE49-F238E27FC236}">
                  <a16:creationId xmlns:a16="http://schemas.microsoft.com/office/drawing/2014/main" id="{05FA4D1B-0AF0-478D-9483-3C9AD781F457}"/>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99">
              <a:extLst>
                <a:ext uri="{FF2B5EF4-FFF2-40B4-BE49-F238E27FC236}">
                  <a16:creationId xmlns:a16="http://schemas.microsoft.com/office/drawing/2014/main" id="{759E997B-853C-4C4C-A139-FCA7C81D155F}"/>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100">
              <a:extLst>
                <a:ext uri="{FF2B5EF4-FFF2-40B4-BE49-F238E27FC236}">
                  <a16:creationId xmlns:a16="http://schemas.microsoft.com/office/drawing/2014/main" id="{986E164C-CF11-4423-93E0-CE6765080049}"/>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101">
              <a:extLst>
                <a:ext uri="{FF2B5EF4-FFF2-40B4-BE49-F238E27FC236}">
                  <a16:creationId xmlns:a16="http://schemas.microsoft.com/office/drawing/2014/main" id="{2BA4917F-73B1-42C6-8A7A-BC93E1E70930}"/>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02">
              <a:extLst>
                <a:ext uri="{FF2B5EF4-FFF2-40B4-BE49-F238E27FC236}">
                  <a16:creationId xmlns:a16="http://schemas.microsoft.com/office/drawing/2014/main" id="{5219F6E5-979C-417D-B1BC-F638E25EC2C3}"/>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103">
              <a:extLst>
                <a:ext uri="{FF2B5EF4-FFF2-40B4-BE49-F238E27FC236}">
                  <a16:creationId xmlns:a16="http://schemas.microsoft.com/office/drawing/2014/main" id="{A50A41F6-9858-47F8-8C00-C523EFC2667E}"/>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104">
              <a:extLst>
                <a:ext uri="{FF2B5EF4-FFF2-40B4-BE49-F238E27FC236}">
                  <a16:creationId xmlns:a16="http://schemas.microsoft.com/office/drawing/2014/main" id="{D34DAA34-328E-42B7-AEF3-A67AF79B1509}"/>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105">
              <a:extLst>
                <a:ext uri="{FF2B5EF4-FFF2-40B4-BE49-F238E27FC236}">
                  <a16:creationId xmlns:a16="http://schemas.microsoft.com/office/drawing/2014/main" id="{09E02178-BC20-4656-8320-DBEE2C2D78BF}"/>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2" name="Slide Number Placeholder 3">
            <a:extLst>
              <a:ext uri="{FF2B5EF4-FFF2-40B4-BE49-F238E27FC236}">
                <a16:creationId xmlns:a16="http://schemas.microsoft.com/office/drawing/2014/main" id="{4BACBA7A-3B9C-4FA4-BE9B-2701ADADA166}"/>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a:p>
        </p:txBody>
      </p:sp>
      <p:sp>
        <p:nvSpPr>
          <p:cNvPr id="63" name="Rectangle 155">
            <a:extLst>
              <a:ext uri="{FF2B5EF4-FFF2-40B4-BE49-F238E27FC236}">
                <a16:creationId xmlns:a16="http://schemas.microsoft.com/office/drawing/2014/main" id="{14E214B7-BB48-4178-B022-500F2BA5A5EF}"/>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a:t>Production code #</a:t>
            </a:r>
          </a:p>
        </p:txBody>
      </p:sp>
      <p:sp>
        <p:nvSpPr>
          <p:cNvPr id="64" name="Rectangle 176">
            <a:extLst>
              <a:ext uri="{FF2B5EF4-FFF2-40B4-BE49-F238E27FC236}">
                <a16:creationId xmlns:a16="http://schemas.microsoft.com/office/drawing/2014/main" id="{1206BE26-E5C7-4ADA-8A9A-41BDC4C42A8A}"/>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a:t>Page footer, i.e., For institutional use only.</a:t>
            </a:r>
          </a:p>
        </p:txBody>
      </p:sp>
    </p:spTree>
    <p:extLst>
      <p:ext uri="{BB962C8B-B14F-4D97-AF65-F5344CB8AC3E}">
        <p14:creationId xmlns:p14="http://schemas.microsoft.com/office/powerpoint/2010/main" val="344882679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264">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41248"/>
          </a:xfrm>
        </p:spPr>
        <p:txBody>
          <a:bodyPr/>
          <a:lstStyle>
            <a:lvl1pPr>
              <a:defRPr>
                <a:solidFill>
                  <a:srgbClr val="333F48"/>
                </a:solidFill>
              </a:defRPr>
            </a:lvl1pPr>
          </a:lstStyle>
          <a:p>
            <a:r>
              <a:rPr lang="en-US"/>
              <a:t>Click to edit Master title style</a:t>
            </a:r>
          </a:p>
        </p:txBody>
      </p:sp>
      <p:sp>
        <p:nvSpPr>
          <p:cNvPr id="11" name="Content Placeholder 2"/>
          <p:cNvSpPr>
            <a:spLocks noGrp="1"/>
          </p:cNvSpPr>
          <p:nvPr>
            <p:ph idx="12"/>
          </p:nvPr>
        </p:nvSpPr>
        <p:spPr>
          <a:xfrm>
            <a:off x="325661" y="1339850"/>
            <a:ext cx="8188710" cy="4878388"/>
          </a:xfrm>
        </p:spPr>
        <p:txBody>
          <a:bodyPr lIns="91440"/>
          <a:lstStyle>
            <a:lvl1pPr marL="0" indent="0" algn="l" rtl="0" fontAlgn="base">
              <a:spcBef>
                <a:spcPts val="480"/>
              </a:spcBef>
              <a:spcAft>
                <a:spcPct val="0"/>
              </a:spcAft>
              <a:buSzPct val="40000"/>
              <a:defRPr lang="en-US" sz="1600" b="1" dirty="0" smtClean="0">
                <a:solidFill>
                  <a:srgbClr val="7A9B3D"/>
                </a:solidFill>
                <a:latin typeface="+mn-lt"/>
                <a:ea typeface="+mn-ea"/>
                <a:cs typeface="+mn-cs"/>
              </a:defRPr>
            </a:lvl1pPr>
            <a:lvl2pPr marL="114300" indent="-114300">
              <a:spcBef>
                <a:spcPts val="288"/>
              </a:spcBef>
              <a:buClr>
                <a:srgbClr val="7A9B3D"/>
              </a:buClr>
              <a:defRPr lang="en-US" dirty="0" smtClean="0">
                <a:solidFill>
                  <a:srgbClr val="000000"/>
                </a:solidFill>
                <a:latin typeface="+mn-lt"/>
              </a:defRPr>
            </a:lvl2pPr>
            <a:lvl3pPr marL="228600" indent="-114300">
              <a:buClr>
                <a:srgbClr val="768692"/>
              </a:buClr>
              <a:defRPr lang="en-US" sz="1200" dirty="0" smtClean="0">
                <a:solidFill>
                  <a:srgbClr val="000000"/>
                </a:solidFill>
                <a:latin typeface="+mn-lt"/>
              </a:defRPr>
            </a:lvl3pPr>
            <a:lvl4pPr marL="342900" indent="-114300">
              <a:buClr>
                <a:srgbClr val="000000"/>
              </a:buClr>
              <a:buSzPct val="100000"/>
              <a:buFont typeface="Arial" pitchFamily="34" charset="0"/>
              <a:buChar char="•"/>
              <a:defRPr sz="1200">
                <a:solidFill>
                  <a:srgbClr val="000000"/>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grpSp>
        <p:nvGrpSpPr>
          <p:cNvPr id="34" name="Group 33">
            <a:extLst>
              <a:ext uri="{FF2B5EF4-FFF2-40B4-BE49-F238E27FC236}">
                <a16:creationId xmlns:a16="http://schemas.microsoft.com/office/drawing/2014/main" id="{F35FDC46-FBEF-4D3A-824F-AA5527F6B538}"/>
              </a:ext>
            </a:extLst>
          </p:cNvPr>
          <p:cNvGrpSpPr/>
          <p:nvPr userDrawn="1"/>
        </p:nvGrpSpPr>
        <p:grpSpPr>
          <a:xfrm>
            <a:off x="7358173" y="6361974"/>
            <a:ext cx="1382376" cy="297562"/>
            <a:chOff x="6923088" y="4475163"/>
            <a:chExt cx="1873251" cy="403225"/>
          </a:xfrm>
        </p:grpSpPr>
        <p:sp>
          <p:nvSpPr>
            <p:cNvPr id="35" name="AutoShape 4">
              <a:extLst>
                <a:ext uri="{FF2B5EF4-FFF2-40B4-BE49-F238E27FC236}">
                  <a16:creationId xmlns:a16="http://schemas.microsoft.com/office/drawing/2014/main" id="{13B1E680-6021-422B-8A8E-1B306778B234}"/>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6">
              <a:extLst>
                <a:ext uri="{FF2B5EF4-FFF2-40B4-BE49-F238E27FC236}">
                  <a16:creationId xmlns:a16="http://schemas.microsoft.com/office/drawing/2014/main" id="{E8025A2B-E398-4697-A9E2-8F0FC31A0D85}"/>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7">
              <a:extLst>
                <a:ext uri="{FF2B5EF4-FFF2-40B4-BE49-F238E27FC236}">
                  <a16:creationId xmlns:a16="http://schemas.microsoft.com/office/drawing/2014/main" id="{C43F9FE8-4030-4823-AFFC-53EC41D610C8}"/>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83">
              <a:extLst>
                <a:ext uri="{FF2B5EF4-FFF2-40B4-BE49-F238E27FC236}">
                  <a16:creationId xmlns:a16="http://schemas.microsoft.com/office/drawing/2014/main" id="{84CFA8D7-B7EA-4C49-8B7B-52F2EBD40D72}"/>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84">
              <a:extLst>
                <a:ext uri="{FF2B5EF4-FFF2-40B4-BE49-F238E27FC236}">
                  <a16:creationId xmlns:a16="http://schemas.microsoft.com/office/drawing/2014/main" id="{E5FA71CE-1849-4F2B-BBF1-D88DF543601E}"/>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85">
              <a:extLst>
                <a:ext uri="{FF2B5EF4-FFF2-40B4-BE49-F238E27FC236}">
                  <a16:creationId xmlns:a16="http://schemas.microsoft.com/office/drawing/2014/main" id="{B09D7E37-F1F3-4A71-A11A-DFFB32209D19}"/>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86">
              <a:extLst>
                <a:ext uri="{FF2B5EF4-FFF2-40B4-BE49-F238E27FC236}">
                  <a16:creationId xmlns:a16="http://schemas.microsoft.com/office/drawing/2014/main" id="{A2B61984-2AF8-42DC-88E5-6AC6F527AD9A}"/>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87">
              <a:extLst>
                <a:ext uri="{FF2B5EF4-FFF2-40B4-BE49-F238E27FC236}">
                  <a16:creationId xmlns:a16="http://schemas.microsoft.com/office/drawing/2014/main" id="{C07FC06A-2E9C-4A48-BBD3-6327F3653272}"/>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88">
              <a:extLst>
                <a:ext uri="{FF2B5EF4-FFF2-40B4-BE49-F238E27FC236}">
                  <a16:creationId xmlns:a16="http://schemas.microsoft.com/office/drawing/2014/main" id="{BC929529-3872-4564-916D-B78F3A022AC1}"/>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89">
              <a:extLst>
                <a:ext uri="{FF2B5EF4-FFF2-40B4-BE49-F238E27FC236}">
                  <a16:creationId xmlns:a16="http://schemas.microsoft.com/office/drawing/2014/main" id="{76C611A8-28A4-4EB7-8E8D-5709B0A9C09D}"/>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90">
              <a:extLst>
                <a:ext uri="{FF2B5EF4-FFF2-40B4-BE49-F238E27FC236}">
                  <a16:creationId xmlns:a16="http://schemas.microsoft.com/office/drawing/2014/main" id="{2A3387E9-C969-42C4-8C31-01B08251BC3A}"/>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91">
              <a:extLst>
                <a:ext uri="{FF2B5EF4-FFF2-40B4-BE49-F238E27FC236}">
                  <a16:creationId xmlns:a16="http://schemas.microsoft.com/office/drawing/2014/main" id="{302AB622-4561-41BC-BC82-5C875ED588E4}"/>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92">
              <a:extLst>
                <a:ext uri="{FF2B5EF4-FFF2-40B4-BE49-F238E27FC236}">
                  <a16:creationId xmlns:a16="http://schemas.microsoft.com/office/drawing/2014/main" id="{E60D74BB-AE92-4309-8898-038C88CD68C4}"/>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93">
              <a:extLst>
                <a:ext uri="{FF2B5EF4-FFF2-40B4-BE49-F238E27FC236}">
                  <a16:creationId xmlns:a16="http://schemas.microsoft.com/office/drawing/2014/main" id="{8B265CB2-CFC3-48F3-A867-1D7250C38C07}"/>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94">
              <a:extLst>
                <a:ext uri="{FF2B5EF4-FFF2-40B4-BE49-F238E27FC236}">
                  <a16:creationId xmlns:a16="http://schemas.microsoft.com/office/drawing/2014/main" id="{67D6C386-B58F-4756-AEDA-323448941B69}"/>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5">
              <a:extLst>
                <a:ext uri="{FF2B5EF4-FFF2-40B4-BE49-F238E27FC236}">
                  <a16:creationId xmlns:a16="http://schemas.microsoft.com/office/drawing/2014/main" id="{A8EC6758-D67A-4DF6-B788-44C3EA3AE253}"/>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6">
              <a:extLst>
                <a:ext uri="{FF2B5EF4-FFF2-40B4-BE49-F238E27FC236}">
                  <a16:creationId xmlns:a16="http://schemas.microsoft.com/office/drawing/2014/main" id="{C765FFF5-FEC7-4B2F-BE49-019DD1B75BC0}"/>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7">
              <a:extLst>
                <a:ext uri="{FF2B5EF4-FFF2-40B4-BE49-F238E27FC236}">
                  <a16:creationId xmlns:a16="http://schemas.microsoft.com/office/drawing/2014/main" id="{4037D999-CE4B-40FE-BDE3-6257E3833FE6}"/>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98">
              <a:extLst>
                <a:ext uri="{FF2B5EF4-FFF2-40B4-BE49-F238E27FC236}">
                  <a16:creationId xmlns:a16="http://schemas.microsoft.com/office/drawing/2014/main" id="{670E1E2A-C6E4-432C-91D5-5002B80FA31E}"/>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99">
              <a:extLst>
                <a:ext uri="{FF2B5EF4-FFF2-40B4-BE49-F238E27FC236}">
                  <a16:creationId xmlns:a16="http://schemas.microsoft.com/office/drawing/2014/main" id="{F4A5B3F1-45B2-446A-85C8-AE25FB0A14B0}"/>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100">
              <a:extLst>
                <a:ext uri="{FF2B5EF4-FFF2-40B4-BE49-F238E27FC236}">
                  <a16:creationId xmlns:a16="http://schemas.microsoft.com/office/drawing/2014/main" id="{04268254-A1B1-43E8-9769-A0BD433D5D0E}"/>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101">
              <a:extLst>
                <a:ext uri="{FF2B5EF4-FFF2-40B4-BE49-F238E27FC236}">
                  <a16:creationId xmlns:a16="http://schemas.microsoft.com/office/drawing/2014/main" id="{F2EDB0F0-6E60-47F6-A679-89912AB17CC3}"/>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02">
              <a:extLst>
                <a:ext uri="{FF2B5EF4-FFF2-40B4-BE49-F238E27FC236}">
                  <a16:creationId xmlns:a16="http://schemas.microsoft.com/office/drawing/2014/main" id="{9305A429-8E7E-40EB-87BD-88486F37CD0D}"/>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103">
              <a:extLst>
                <a:ext uri="{FF2B5EF4-FFF2-40B4-BE49-F238E27FC236}">
                  <a16:creationId xmlns:a16="http://schemas.microsoft.com/office/drawing/2014/main" id="{D39023A5-E518-4444-8B57-73531A0F3B21}"/>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104">
              <a:extLst>
                <a:ext uri="{FF2B5EF4-FFF2-40B4-BE49-F238E27FC236}">
                  <a16:creationId xmlns:a16="http://schemas.microsoft.com/office/drawing/2014/main" id="{00BFEA3B-6363-498A-9DCB-1DDD6916076F}"/>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105">
              <a:extLst>
                <a:ext uri="{FF2B5EF4-FFF2-40B4-BE49-F238E27FC236}">
                  <a16:creationId xmlns:a16="http://schemas.microsoft.com/office/drawing/2014/main" id="{0665DFAE-7DC0-4298-A731-4646C37AFEE5}"/>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2" name="Slide Number Placeholder 3">
            <a:extLst>
              <a:ext uri="{FF2B5EF4-FFF2-40B4-BE49-F238E27FC236}">
                <a16:creationId xmlns:a16="http://schemas.microsoft.com/office/drawing/2014/main" id="{AE8437CA-0496-4DD5-9905-A7ABC5A38B93}"/>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a:p>
        </p:txBody>
      </p:sp>
      <p:sp>
        <p:nvSpPr>
          <p:cNvPr id="63" name="Rectangle 155">
            <a:extLst>
              <a:ext uri="{FF2B5EF4-FFF2-40B4-BE49-F238E27FC236}">
                <a16:creationId xmlns:a16="http://schemas.microsoft.com/office/drawing/2014/main" id="{D9284EF3-CC3D-477B-A455-E4730B2DF686}"/>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a:t>Production code #</a:t>
            </a:r>
          </a:p>
        </p:txBody>
      </p:sp>
      <p:sp>
        <p:nvSpPr>
          <p:cNvPr id="64" name="Rectangle 176">
            <a:extLst>
              <a:ext uri="{FF2B5EF4-FFF2-40B4-BE49-F238E27FC236}">
                <a16:creationId xmlns:a16="http://schemas.microsoft.com/office/drawing/2014/main" id="{5F21FBC4-709C-41E5-B2BD-D589A058990C}"/>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a:t>Page footer, i.e., For institutional use only.</a:t>
            </a:r>
          </a:p>
        </p:txBody>
      </p:sp>
    </p:spTree>
    <p:extLst>
      <p:ext uri="{BB962C8B-B14F-4D97-AF65-F5344CB8AC3E}">
        <p14:creationId xmlns:p14="http://schemas.microsoft.com/office/powerpoint/2010/main" val="307674756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264">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ulleted List - with subhead">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41248"/>
          </a:xfrm>
        </p:spPr>
        <p:txBody>
          <a:bodyPr/>
          <a:lstStyle/>
          <a:p>
            <a:r>
              <a:rPr lang="en-US"/>
              <a:t>Click to edit Master title style</a:t>
            </a:r>
          </a:p>
        </p:txBody>
      </p:sp>
      <p:sp>
        <p:nvSpPr>
          <p:cNvPr id="11" name="Content Placeholder 2"/>
          <p:cNvSpPr>
            <a:spLocks noGrp="1"/>
          </p:cNvSpPr>
          <p:nvPr>
            <p:ph idx="12"/>
          </p:nvPr>
        </p:nvSpPr>
        <p:spPr>
          <a:xfrm>
            <a:off x="325661" y="1339850"/>
            <a:ext cx="8188710" cy="4878388"/>
          </a:xfrm>
        </p:spPr>
        <p:txBody>
          <a:bodyPr lIns="91440"/>
          <a:lstStyle>
            <a:lvl1pPr marL="0" indent="0" algn="l" rtl="0" fontAlgn="base">
              <a:spcBef>
                <a:spcPts val="480"/>
              </a:spcBef>
              <a:spcAft>
                <a:spcPct val="0"/>
              </a:spcAft>
              <a:buSzPct val="40000"/>
              <a:defRPr lang="en-US" sz="1400" b="1" dirty="0" smtClean="0">
                <a:solidFill>
                  <a:srgbClr val="7A9B3D"/>
                </a:solidFill>
                <a:latin typeface="+mn-lt"/>
                <a:ea typeface="+mn-ea"/>
                <a:cs typeface="+mn-cs"/>
              </a:defRPr>
            </a:lvl1pPr>
            <a:lvl2pPr marL="114300" indent="-114300">
              <a:spcBef>
                <a:spcPts val="288"/>
              </a:spcBef>
              <a:buClr>
                <a:srgbClr val="7A9B3D"/>
              </a:buClr>
              <a:defRPr lang="en-US" sz="1200" dirty="0" smtClean="0">
                <a:solidFill>
                  <a:srgbClr val="000000"/>
                </a:solidFill>
                <a:latin typeface="+mn-lt"/>
              </a:defRPr>
            </a:lvl2pPr>
            <a:lvl3pPr marL="228600" indent="-114300">
              <a:buClr>
                <a:srgbClr val="7A9A3D"/>
              </a:buClr>
              <a:defRPr lang="en-US" sz="1100" dirty="0" smtClean="0">
                <a:solidFill>
                  <a:srgbClr val="000000"/>
                </a:solidFill>
                <a:latin typeface="+mn-lt"/>
              </a:defRPr>
            </a:lvl3pPr>
            <a:lvl4pPr marL="342900" indent="-114300">
              <a:buClr>
                <a:srgbClr val="7A9A3D"/>
              </a:buClr>
              <a:buSzPct val="100000"/>
              <a:buFont typeface="Arial" pitchFamily="34" charset="0"/>
              <a:buChar char="•"/>
              <a:defRPr sz="1100">
                <a:solidFill>
                  <a:srgbClr val="000000"/>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grpSp>
        <p:nvGrpSpPr>
          <p:cNvPr id="34" name="Group 33">
            <a:extLst>
              <a:ext uri="{FF2B5EF4-FFF2-40B4-BE49-F238E27FC236}">
                <a16:creationId xmlns:a16="http://schemas.microsoft.com/office/drawing/2014/main" id="{D28BA5D5-7577-4DB0-9BC0-1966AD89CF1A}"/>
              </a:ext>
            </a:extLst>
          </p:cNvPr>
          <p:cNvGrpSpPr/>
          <p:nvPr userDrawn="1"/>
        </p:nvGrpSpPr>
        <p:grpSpPr>
          <a:xfrm>
            <a:off x="7358173" y="6361974"/>
            <a:ext cx="1382376" cy="297562"/>
            <a:chOff x="6923088" y="4475163"/>
            <a:chExt cx="1873251" cy="403225"/>
          </a:xfrm>
        </p:grpSpPr>
        <p:sp>
          <p:nvSpPr>
            <p:cNvPr id="35" name="AutoShape 4">
              <a:extLst>
                <a:ext uri="{FF2B5EF4-FFF2-40B4-BE49-F238E27FC236}">
                  <a16:creationId xmlns:a16="http://schemas.microsoft.com/office/drawing/2014/main" id="{81528732-0B22-455F-8181-76F748DA3CCA}"/>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6">
              <a:extLst>
                <a:ext uri="{FF2B5EF4-FFF2-40B4-BE49-F238E27FC236}">
                  <a16:creationId xmlns:a16="http://schemas.microsoft.com/office/drawing/2014/main" id="{5A6B5828-B285-4B2A-87A0-0FBC6A49E983}"/>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7">
              <a:extLst>
                <a:ext uri="{FF2B5EF4-FFF2-40B4-BE49-F238E27FC236}">
                  <a16:creationId xmlns:a16="http://schemas.microsoft.com/office/drawing/2014/main" id="{BA9A7A8C-0055-48D8-8CDB-835865091C57}"/>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83">
              <a:extLst>
                <a:ext uri="{FF2B5EF4-FFF2-40B4-BE49-F238E27FC236}">
                  <a16:creationId xmlns:a16="http://schemas.microsoft.com/office/drawing/2014/main" id="{10EB657C-BE66-4635-89D3-1E933230114F}"/>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84">
              <a:extLst>
                <a:ext uri="{FF2B5EF4-FFF2-40B4-BE49-F238E27FC236}">
                  <a16:creationId xmlns:a16="http://schemas.microsoft.com/office/drawing/2014/main" id="{5EDFA9F8-4FAD-46D1-8ABC-D231E3876DE2}"/>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85">
              <a:extLst>
                <a:ext uri="{FF2B5EF4-FFF2-40B4-BE49-F238E27FC236}">
                  <a16:creationId xmlns:a16="http://schemas.microsoft.com/office/drawing/2014/main" id="{C807C58D-1491-44D6-9716-89F7B7746AFE}"/>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86">
              <a:extLst>
                <a:ext uri="{FF2B5EF4-FFF2-40B4-BE49-F238E27FC236}">
                  <a16:creationId xmlns:a16="http://schemas.microsoft.com/office/drawing/2014/main" id="{5594BE26-E188-4C15-88D4-6634A095626F}"/>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87">
              <a:extLst>
                <a:ext uri="{FF2B5EF4-FFF2-40B4-BE49-F238E27FC236}">
                  <a16:creationId xmlns:a16="http://schemas.microsoft.com/office/drawing/2014/main" id="{9C261F2B-017C-492C-83EC-7327405AED5C}"/>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88">
              <a:extLst>
                <a:ext uri="{FF2B5EF4-FFF2-40B4-BE49-F238E27FC236}">
                  <a16:creationId xmlns:a16="http://schemas.microsoft.com/office/drawing/2014/main" id="{36F6085D-3297-4DE4-A169-3C2B8E42B575}"/>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89">
              <a:extLst>
                <a:ext uri="{FF2B5EF4-FFF2-40B4-BE49-F238E27FC236}">
                  <a16:creationId xmlns:a16="http://schemas.microsoft.com/office/drawing/2014/main" id="{B3C2FE72-800A-4FC4-BB26-44492DBDFCE5}"/>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90">
              <a:extLst>
                <a:ext uri="{FF2B5EF4-FFF2-40B4-BE49-F238E27FC236}">
                  <a16:creationId xmlns:a16="http://schemas.microsoft.com/office/drawing/2014/main" id="{185F0E5E-F44E-47BE-84B9-016C499FF549}"/>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91">
              <a:extLst>
                <a:ext uri="{FF2B5EF4-FFF2-40B4-BE49-F238E27FC236}">
                  <a16:creationId xmlns:a16="http://schemas.microsoft.com/office/drawing/2014/main" id="{6202E0E2-C79A-46B7-8A4B-618E59D30316}"/>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92">
              <a:extLst>
                <a:ext uri="{FF2B5EF4-FFF2-40B4-BE49-F238E27FC236}">
                  <a16:creationId xmlns:a16="http://schemas.microsoft.com/office/drawing/2014/main" id="{52D8B876-4146-41FC-90E5-EB069956E4F4}"/>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93">
              <a:extLst>
                <a:ext uri="{FF2B5EF4-FFF2-40B4-BE49-F238E27FC236}">
                  <a16:creationId xmlns:a16="http://schemas.microsoft.com/office/drawing/2014/main" id="{41EDBBAC-DC0B-4BD0-9310-D6838B3F6E38}"/>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94">
              <a:extLst>
                <a:ext uri="{FF2B5EF4-FFF2-40B4-BE49-F238E27FC236}">
                  <a16:creationId xmlns:a16="http://schemas.microsoft.com/office/drawing/2014/main" id="{84ACC00C-F95C-4B32-BF4F-3411850639EA}"/>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5">
              <a:extLst>
                <a:ext uri="{FF2B5EF4-FFF2-40B4-BE49-F238E27FC236}">
                  <a16:creationId xmlns:a16="http://schemas.microsoft.com/office/drawing/2014/main" id="{417D68F0-30E3-4096-A9F7-CEDEAC64534B}"/>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6">
              <a:extLst>
                <a:ext uri="{FF2B5EF4-FFF2-40B4-BE49-F238E27FC236}">
                  <a16:creationId xmlns:a16="http://schemas.microsoft.com/office/drawing/2014/main" id="{859C69A3-C929-4929-BC3B-138672DDCDE4}"/>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7">
              <a:extLst>
                <a:ext uri="{FF2B5EF4-FFF2-40B4-BE49-F238E27FC236}">
                  <a16:creationId xmlns:a16="http://schemas.microsoft.com/office/drawing/2014/main" id="{1716567F-37F9-49DF-B000-78B220024D1B}"/>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98">
              <a:extLst>
                <a:ext uri="{FF2B5EF4-FFF2-40B4-BE49-F238E27FC236}">
                  <a16:creationId xmlns:a16="http://schemas.microsoft.com/office/drawing/2014/main" id="{E5138AFD-F944-4D25-91A7-6B6003B813B3}"/>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99">
              <a:extLst>
                <a:ext uri="{FF2B5EF4-FFF2-40B4-BE49-F238E27FC236}">
                  <a16:creationId xmlns:a16="http://schemas.microsoft.com/office/drawing/2014/main" id="{B956A5F5-A12F-416D-BE39-E5525A328EE2}"/>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100">
              <a:extLst>
                <a:ext uri="{FF2B5EF4-FFF2-40B4-BE49-F238E27FC236}">
                  <a16:creationId xmlns:a16="http://schemas.microsoft.com/office/drawing/2014/main" id="{CB57E0C9-1534-4789-BE5D-72C287BE68D9}"/>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101">
              <a:extLst>
                <a:ext uri="{FF2B5EF4-FFF2-40B4-BE49-F238E27FC236}">
                  <a16:creationId xmlns:a16="http://schemas.microsoft.com/office/drawing/2014/main" id="{FC7E3BDF-8DC5-4B7B-B4A9-836F3873BE34}"/>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02">
              <a:extLst>
                <a:ext uri="{FF2B5EF4-FFF2-40B4-BE49-F238E27FC236}">
                  <a16:creationId xmlns:a16="http://schemas.microsoft.com/office/drawing/2014/main" id="{B9EB18AF-CC98-464A-871E-F56D7D66EC9B}"/>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103">
              <a:extLst>
                <a:ext uri="{FF2B5EF4-FFF2-40B4-BE49-F238E27FC236}">
                  <a16:creationId xmlns:a16="http://schemas.microsoft.com/office/drawing/2014/main" id="{A5234D59-E2B2-44AA-BA14-4A6AB7455855}"/>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104">
              <a:extLst>
                <a:ext uri="{FF2B5EF4-FFF2-40B4-BE49-F238E27FC236}">
                  <a16:creationId xmlns:a16="http://schemas.microsoft.com/office/drawing/2014/main" id="{2730BDAA-DA90-48A3-AAF4-09E47007FAF1}"/>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105">
              <a:extLst>
                <a:ext uri="{FF2B5EF4-FFF2-40B4-BE49-F238E27FC236}">
                  <a16:creationId xmlns:a16="http://schemas.microsoft.com/office/drawing/2014/main" id="{F603AB9B-36DA-4AEA-9C6F-2246A6643BAB}"/>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2" name="Slide Number Placeholder 3">
            <a:extLst>
              <a:ext uri="{FF2B5EF4-FFF2-40B4-BE49-F238E27FC236}">
                <a16:creationId xmlns:a16="http://schemas.microsoft.com/office/drawing/2014/main" id="{4A053A76-615F-4FBA-B14F-6384383F7E56}"/>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a:p>
        </p:txBody>
      </p:sp>
      <p:sp>
        <p:nvSpPr>
          <p:cNvPr id="63" name="Rectangle 155">
            <a:extLst>
              <a:ext uri="{FF2B5EF4-FFF2-40B4-BE49-F238E27FC236}">
                <a16:creationId xmlns:a16="http://schemas.microsoft.com/office/drawing/2014/main" id="{239E84CF-F60D-4345-ABF5-5413EBC827D4}"/>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a:t>Production code #</a:t>
            </a:r>
          </a:p>
        </p:txBody>
      </p:sp>
      <p:sp>
        <p:nvSpPr>
          <p:cNvPr id="64" name="Rectangle 176">
            <a:extLst>
              <a:ext uri="{FF2B5EF4-FFF2-40B4-BE49-F238E27FC236}">
                <a16:creationId xmlns:a16="http://schemas.microsoft.com/office/drawing/2014/main" id="{8E42AD6F-48FC-4927-9EA5-C0808419781D}"/>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a:t>Page footer, i.e., For institutional use only.</a:t>
            </a:r>
          </a:p>
        </p:txBody>
      </p:sp>
    </p:spTree>
    <p:extLst>
      <p:ext uri="{BB962C8B-B14F-4D97-AF65-F5344CB8AC3E}">
        <p14:creationId xmlns:p14="http://schemas.microsoft.com/office/powerpoint/2010/main" val="3030266056"/>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264">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Important Information">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lvl1pPr>
              <a:defRPr>
                <a:solidFill>
                  <a:srgbClr val="333F48"/>
                </a:solidFill>
              </a:defRPr>
            </a:lvl1pPr>
          </a:lstStyle>
          <a:p>
            <a:r>
              <a:rPr lang="en-US"/>
              <a:t>Click to edit Master title style</a:t>
            </a:r>
          </a:p>
        </p:txBody>
      </p:sp>
      <p:sp>
        <p:nvSpPr>
          <p:cNvPr id="3" name="Content Placeholder 2"/>
          <p:cNvSpPr>
            <a:spLocks noGrp="1"/>
          </p:cNvSpPr>
          <p:nvPr>
            <p:ph idx="1"/>
          </p:nvPr>
        </p:nvSpPr>
        <p:spPr>
          <a:xfrm>
            <a:off x="325661" y="1076325"/>
            <a:ext cx="8188710" cy="4808538"/>
          </a:xfrm>
          <a:noFill/>
          <a:ln w="9525">
            <a:noFill/>
            <a:miter lim="800000"/>
            <a:headEnd/>
            <a:tailEnd/>
          </a:ln>
          <a:effectLst/>
        </p:spPr>
        <p:txBody>
          <a:bodyPr lIns="91440"/>
          <a:lstStyle>
            <a:lvl1pPr marL="0" indent="0" algn="l" rtl="0" eaLnBrk="1" fontAlgn="base" hangingPunct="1">
              <a:spcAft>
                <a:spcPct val="0"/>
              </a:spcAft>
              <a:buSzPct val="40000"/>
              <a:defRPr lang="en-US" sz="1000" b="0" dirty="0" smtClean="0">
                <a:solidFill>
                  <a:srgbClr val="000000"/>
                </a:solidFill>
                <a:latin typeface="+mn-lt"/>
                <a:ea typeface="+mn-ea"/>
                <a:cs typeface="+mn-cs"/>
              </a:defRPr>
            </a:lvl1pPr>
            <a:lvl2pPr marL="0" indent="0" algn="l" rtl="0" eaLnBrk="1" fontAlgn="base" hangingPunct="1">
              <a:spcBef>
                <a:spcPts val="600"/>
              </a:spcBef>
              <a:spcAft>
                <a:spcPct val="0"/>
              </a:spcAft>
              <a:buSzPct val="40000"/>
              <a:buNone/>
              <a:defRPr lang="en-US" sz="1000" b="1" dirty="0">
                <a:solidFill>
                  <a:srgbClr val="000000"/>
                </a:solidFill>
                <a:latin typeface="+mn-lt"/>
                <a:ea typeface="+mn-ea"/>
                <a:cs typeface="+mn-cs"/>
              </a:defRPr>
            </a:lvl2pPr>
          </a:lstStyle>
          <a:p>
            <a:pPr lvl="0"/>
            <a:r>
              <a:rPr lang="en-US"/>
              <a:t>Click to edit Master text styles</a:t>
            </a:r>
          </a:p>
          <a:p>
            <a:pPr lvl="1"/>
            <a:r>
              <a:rPr lang="en-US"/>
              <a:t>Second level</a:t>
            </a:r>
          </a:p>
        </p:txBody>
      </p:sp>
      <p:grpSp>
        <p:nvGrpSpPr>
          <p:cNvPr id="34" name="Group 33">
            <a:extLst>
              <a:ext uri="{FF2B5EF4-FFF2-40B4-BE49-F238E27FC236}">
                <a16:creationId xmlns:a16="http://schemas.microsoft.com/office/drawing/2014/main" id="{840E14F0-3EE3-4127-BC16-D3F3953FFE3F}"/>
              </a:ext>
            </a:extLst>
          </p:cNvPr>
          <p:cNvGrpSpPr/>
          <p:nvPr userDrawn="1"/>
        </p:nvGrpSpPr>
        <p:grpSpPr>
          <a:xfrm>
            <a:off x="7358173" y="6361974"/>
            <a:ext cx="1382376" cy="297562"/>
            <a:chOff x="6923088" y="4475163"/>
            <a:chExt cx="1873251" cy="403225"/>
          </a:xfrm>
        </p:grpSpPr>
        <p:sp>
          <p:nvSpPr>
            <p:cNvPr id="35" name="AutoShape 4">
              <a:extLst>
                <a:ext uri="{FF2B5EF4-FFF2-40B4-BE49-F238E27FC236}">
                  <a16:creationId xmlns:a16="http://schemas.microsoft.com/office/drawing/2014/main" id="{6CD5F173-C5BB-4F2E-848B-68E571D2511E}"/>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6">
              <a:extLst>
                <a:ext uri="{FF2B5EF4-FFF2-40B4-BE49-F238E27FC236}">
                  <a16:creationId xmlns:a16="http://schemas.microsoft.com/office/drawing/2014/main" id="{F35D1E52-C58A-4226-814B-B889E5D392A2}"/>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7">
              <a:extLst>
                <a:ext uri="{FF2B5EF4-FFF2-40B4-BE49-F238E27FC236}">
                  <a16:creationId xmlns:a16="http://schemas.microsoft.com/office/drawing/2014/main" id="{3931309B-69B1-4504-BC9E-723A4E648811}"/>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83">
              <a:extLst>
                <a:ext uri="{FF2B5EF4-FFF2-40B4-BE49-F238E27FC236}">
                  <a16:creationId xmlns:a16="http://schemas.microsoft.com/office/drawing/2014/main" id="{E71D54FB-4ABD-4C44-B32E-1CE4D98AD4B3}"/>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84">
              <a:extLst>
                <a:ext uri="{FF2B5EF4-FFF2-40B4-BE49-F238E27FC236}">
                  <a16:creationId xmlns:a16="http://schemas.microsoft.com/office/drawing/2014/main" id="{6FC76818-6D97-40AA-97B0-54614807A538}"/>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85">
              <a:extLst>
                <a:ext uri="{FF2B5EF4-FFF2-40B4-BE49-F238E27FC236}">
                  <a16:creationId xmlns:a16="http://schemas.microsoft.com/office/drawing/2014/main" id="{7DFFF7DB-1434-4536-8069-7E21C8D1B9E3}"/>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86">
              <a:extLst>
                <a:ext uri="{FF2B5EF4-FFF2-40B4-BE49-F238E27FC236}">
                  <a16:creationId xmlns:a16="http://schemas.microsoft.com/office/drawing/2014/main" id="{23BA871E-A0EA-41BA-8724-5CABEF76296C}"/>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87">
              <a:extLst>
                <a:ext uri="{FF2B5EF4-FFF2-40B4-BE49-F238E27FC236}">
                  <a16:creationId xmlns:a16="http://schemas.microsoft.com/office/drawing/2014/main" id="{5F7C586C-3E26-4206-A96B-DA86E954214E}"/>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88">
              <a:extLst>
                <a:ext uri="{FF2B5EF4-FFF2-40B4-BE49-F238E27FC236}">
                  <a16:creationId xmlns:a16="http://schemas.microsoft.com/office/drawing/2014/main" id="{CFE70E27-46F5-465B-9F57-F55E3CEF8736}"/>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89">
              <a:extLst>
                <a:ext uri="{FF2B5EF4-FFF2-40B4-BE49-F238E27FC236}">
                  <a16:creationId xmlns:a16="http://schemas.microsoft.com/office/drawing/2014/main" id="{7FAE27B7-D81B-4001-834F-776859495AA1}"/>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90">
              <a:extLst>
                <a:ext uri="{FF2B5EF4-FFF2-40B4-BE49-F238E27FC236}">
                  <a16:creationId xmlns:a16="http://schemas.microsoft.com/office/drawing/2014/main" id="{4AE5BF09-27E6-4688-B9C4-19E2671CA566}"/>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91">
              <a:extLst>
                <a:ext uri="{FF2B5EF4-FFF2-40B4-BE49-F238E27FC236}">
                  <a16:creationId xmlns:a16="http://schemas.microsoft.com/office/drawing/2014/main" id="{8810B2AB-A2BA-46AC-86CE-C8DB6C050979}"/>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92">
              <a:extLst>
                <a:ext uri="{FF2B5EF4-FFF2-40B4-BE49-F238E27FC236}">
                  <a16:creationId xmlns:a16="http://schemas.microsoft.com/office/drawing/2014/main" id="{F0E21CE3-1B3A-48A2-8777-3ACB130A176F}"/>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93">
              <a:extLst>
                <a:ext uri="{FF2B5EF4-FFF2-40B4-BE49-F238E27FC236}">
                  <a16:creationId xmlns:a16="http://schemas.microsoft.com/office/drawing/2014/main" id="{0E106C86-6E92-414C-8C1F-193ABA3372F2}"/>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94">
              <a:extLst>
                <a:ext uri="{FF2B5EF4-FFF2-40B4-BE49-F238E27FC236}">
                  <a16:creationId xmlns:a16="http://schemas.microsoft.com/office/drawing/2014/main" id="{7FFBAE3E-1E34-4024-8E12-C6A804E61E90}"/>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5">
              <a:extLst>
                <a:ext uri="{FF2B5EF4-FFF2-40B4-BE49-F238E27FC236}">
                  <a16:creationId xmlns:a16="http://schemas.microsoft.com/office/drawing/2014/main" id="{34A75038-5822-4211-8429-EEE73276E055}"/>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6">
              <a:extLst>
                <a:ext uri="{FF2B5EF4-FFF2-40B4-BE49-F238E27FC236}">
                  <a16:creationId xmlns:a16="http://schemas.microsoft.com/office/drawing/2014/main" id="{693F0C95-0D69-4520-8F8E-82883B076B30}"/>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7">
              <a:extLst>
                <a:ext uri="{FF2B5EF4-FFF2-40B4-BE49-F238E27FC236}">
                  <a16:creationId xmlns:a16="http://schemas.microsoft.com/office/drawing/2014/main" id="{2DCC514B-8D65-4A2F-B9D3-A26B2C512584}"/>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98">
              <a:extLst>
                <a:ext uri="{FF2B5EF4-FFF2-40B4-BE49-F238E27FC236}">
                  <a16:creationId xmlns:a16="http://schemas.microsoft.com/office/drawing/2014/main" id="{86B9EC89-49BC-4B67-9837-B486AC5DA24B}"/>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99">
              <a:extLst>
                <a:ext uri="{FF2B5EF4-FFF2-40B4-BE49-F238E27FC236}">
                  <a16:creationId xmlns:a16="http://schemas.microsoft.com/office/drawing/2014/main" id="{07013593-EDCD-49A4-8483-37A94E197F46}"/>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100">
              <a:extLst>
                <a:ext uri="{FF2B5EF4-FFF2-40B4-BE49-F238E27FC236}">
                  <a16:creationId xmlns:a16="http://schemas.microsoft.com/office/drawing/2014/main" id="{E4C82CFE-24C2-4335-91A1-786AA56B78AE}"/>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101">
              <a:extLst>
                <a:ext uri="{FF2B5EF4-FFF2-40B4-BE49-F238E27FC236}">
                  <a16:creationId xmlns:a16="http://schemas.microsoft.com/office/drawing/2014/main" id="{269AE1D0-2ED3-45BA-8B41-5958312CC5FE}"/>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02">
              <a:extLst>
                <a:ext uri="{FF2B5EF4-FFF2-40B4-BE49-F238E27FC236}">
                  <a16:creationId xmlns:a16="http://schemas.microsoft.com/office/drawing/2014/main" id="{293258D7-F5FB-43FE-946C-050D5A534B0B}"/>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103">
              <a:extLst>
                <a:ext uri="{FF2B5EF4-FFF2-40B4-BE49-F238E27FC236}">
                  <a16:creationId xmlns:a16="http://schemas.microsoft.com/office/drawing/2014/main" id="{ED28C0B7-779D-48AC-B3D7-2EE77B274C6C}"/>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104">
              <a:extLst>
                <a:ext uri="{FF2B5EF4-FFF2-40B4-BE49-F238E27FC236}">
                  <a16:creationId xmlns:a16="http://schemas.microsoft.com/office/drawing/2014/main" id="{F91BA0B7-9AA1-4A35-A3B5-1DF23E7E6BC0}"/>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105">
              <a:extLst>
                <a:ext uri="{FF2B5EF4-FFF2-40B4-BE49-F238E27FC236}">
                  <a16:creationId xmlns:a16="http://schemas.microsoft.com/office/drawing/2014/main" id="{0CD9D2F1-AB4D-41BA-BB3A-ABD0BB2DB8FD}"/>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2" name="Slide Number Placeholder 3">
            <a:extLst>
              <a:ext uri="{FF2B5EF4-FFF2-40B4-BE49-F238E27FC236}">
                <a16:creationId xmlns:a16="http://schemas.microsoft.com/office/drawing/2014/main" id="{9A263509-98AC-4546-B2C5-DF2F4C4F986A}"/>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a:p>
        </p:txBody>
      </p:sp>
      <p:sp>
        <p:nvSpPr>
          <p:cNvPr id="63" name="Rectangle 155">
            <a:extLst>
              <a:ext uri="{FF2B5EF4-FFF2-40B4-BE49-F238E27FC236}">
                <a16:creationId xmlns:a16="http://schemas.microsoft.com/office/drawing/2014/main" id="{5EDCB748-D9FF-41F0-9AE5-3D6778696294}"/>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a:t>Production code #</a:t>
            </a:r>
          </a:p>
        </p:txBody>
      </p:sp>
      <p:sp>
        <p:nvSpPr>
          <p:cNvPr id="64" name="Rectangle 176">
            <a:extLst>
              <a:ext uri="{FF2B5EF4-FFF2-40B4-BE49-F238E27FC236}">
                <a16:creationId xmlns:a16="http://schemas.microsoft.com/office/drawing/2014/main" id="{B1F08EC2-0348-4B46-8C6D-BF6EDFBBBD44}"/>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a:t>Page footer, i.e., For institutional use only.</a:t>
            </a:r>
          </a:p>
        </p:txBody>
      </p:sp>
    </p:spTree>
    <p:extLst>
      <p:ext uri="{BB962C8B-B14F-4D97-AF65-F5344CB8AC3E}">
        <p14:creationId xmlns:p14="http://schemas.microsoft.com/office/powerpoint/2010/main" val="288517267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264">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iography">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p>
            <a:r>
              <a:rPr lang="en-US"/>
              <a:t>Click to edit Master title style</a:t>
            </a:r>
          </a:p>
        </p:txBody>
      </p:sp>
      <p:sp>
        <p:nvSpPr>
          <p:cNvPr id="3" name="Content Placeholder 2"/>
          <p:cNvSpPr>
            <a:spLocks noGrp="1"/>
          </p:cNvSpPr>
          <p:nvPr>
            <p:ph idx="1"/>
          </p:nvPr>
        </p:nvSpPr>
        <p:spPr>
          <a:xfrm>
            <a:off x="325661" y="1073258"/>
            <a:ext cx="8188710" cy="439305"/>
          </a:xfrm>
        </p:spPr>
        <p:txBody>
          <a:bodyPr lIns="91440"/>
          <a:lstStyle>
            <a:lvl1pPr marL="0" indent="0">
              <a:spcBef>
                <a:spcPts val="0"/>
              </a:spcBef>
              <a:defRPr lang="en-US" sz="1200" b="1" dirty="0" smtClean="0">
                <a:solidFill>
                  <a:srgbClr val="7A9A3D"/>
                </a:solidFill>
                <a:latin typeface="+mn-lt"/>
                <a:ea typeface="+mn-ea"/>
                <a:cs typeface="+mn-cs"/>
              </a:defRPr>
            </a:lvl1pPr>
            <a:lvl2pPr marL="0" indent="0">
              <a:spcBef>
                <a:spcPts val="0"/>
              </a:spcBef>
              <a:buNone/>
              <a:defRPr sz="1200" b="0" i="1">
                <a:solidFill>
                  <a:srgbClr val="7A9A3D"/>
                </a:solidFill>
              </a:defRPr>
            </a:lvl2pPr>
          </a:lstStyle>
          <a:p>
            <a:pPr lvl="0"/>
            <a:r>
              <a:rPr lang="en-US"/>
              <a:t>Click to edit Master text styles</a:t>
            </a:r>
          </a:p>
          <a:p>
            <a:pPr lvl="1"/>
            <a:r>
              <a:rPr lang="en-US"/>
              <a:t>Second level</a:t>
            </a:r>
          </a:p>
        </p:txBody>
      </p:sp>
      <p:sp>
        <p:nvSpPr>
          <p:cNvPr id="10" name="Content Placeholder 9"/>
          <p:cNvSpPr>
            <a:spLocks noGrp="1"/>
          </p:cNvSpPr>
          <p:nvPr>
            <p:ph sz="quarter" idx="13"/>
          </p:nvPr>
        </p:nvSpPr>
        <p:spPr>
          <a:xfrm>
            <a:off x="325661" y="1526850"/>
            <a:ext cx="8188710" cy="4691387"/>
          </a:xfrm>
        </p:spPr>
        <p:txBody>
          <a:bodyPr lIns="91440"/>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5" name="Group 34">
            <a:extLst>
              <a:ext uri="{FF2B5EF4-FFF2-40B4-BE49-F238E27FC236}">
                <a16:creationId xmlns:a16="http://schemas.microsoft.com/office/drawing/2014/main" id="{C75946E2-9CE1-4073-B70C-BBB1984B336B}"/>
              </a:ext>
            </a:extLst>
          </p:cNvPr>
          <p:cNvGrpSpPr/>
          <p:nvPr userDrawn="1"/>
        </p:nvGrpSpPr>
        <p:grpSpPr>
          <a:xfrm>
            <a:off x="7358173" y="6361974"/>
            <a:ext cx="1382376" cy="297562"/>
            <a:chOff x="6923088" y="4475163"/>
            <a:chExt cx="1873251" cy="403225"/>
          </a:xfrm>
        </p:grpSpPr>
        <p:sp>
          <p:nvSpPr>
            <p:cNvPr id="36" name="AutoShape 4">
              <a:extLst>
                <a:ext uri="{FF2B5EF4-FFF2-40B4-BE49-F238E27FC236}">
                  <a16:creationId xmlns:a16="http://schemas.microsoft.com/office/drawing/2014/main" id="{2064C2BD-8DD3-4C25-B8AC-2511CF7EA6EF}"/>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6">
              <a:extLst>
                <a:ext uri="{FF2B5EF4-FFF2-40B4-BE49-F238E27FC236}">
                  <a16:creationId xmlns:a16="http://schemas.microsoft.com/office/drawing/2014/main" id="{93C5C3B7-4D48-473C-9C5D-A7CC88B7C54C}"/>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7">
              <a:extLst>
                <a:ext uri="{FF2B5EF4-FFF2-40B4-BE49-F238E27FC236}">
                  <a16:creationId xmlns:a16="http://schemas.microsoft.com/office/drawing/2014/main" id="{531D8C9A-73C8-49F6-8615-D07EC3D32C40}"/>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83">
              <a:extLst>
                <a:ext uri="{FF2B5EF4-FFF2-40B4-BE49-F238E27FC236}">
                  <a16:creationId xmlns:a16="http://schemas.microsoft.com/office/drawing/2014/main" id="{6D2B5CD5-7073-41ED-A84D-6573FC02C1C8}"/>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84">
              <a:extLst>
                <a:ext uri="{FF2B5EF4-FFF2-40B4-BE49-F238E27FC236}">
                  <a16:creationId xmlns:a16="http://schemas.microsoft.com/office/drawing/2014/main" id="{7569C185-1C46-46A0-A03E-24819C436803}"/>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85">
              <a:extLst>
                <a:ext uri="{FF2B5EF4-FFF2-40B4-BE49-F238E27FC236}">
                  <a16:creationId xmlns:a16="http://schemas.microsoft.com/office/drawing/2014/main" id="{46F20CF6-25E8-4222-B486-9A86E0E46A37}"/>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86">
              <a:extLst>
                <a:ext uri="{FF2B5EF4-FFF2-40B4-BE49-F238E27FC236}">
                  <a16:creationId xmlns:a16="http://schemas.microsoft.com/office/drawing/2014/main" id="{6FF91587-F189-49E6-B5D5-940D53155449}"/>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87">
              <a:extLst>
                <a:ext uri="{FF2B5EF4-FFF2-40B4-BE49-F238E27FC236}">
                  <a16:creationId xmlns:a16="http://schemas.microsoft.com/office/drawing/2014/main" id="{0CA455CC-F50E-4794-8937-E59F4FAFEA6E}"/>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88">
              <a:extLst>
                <a:ext uri="{FF2B5EF4-FFF2-40B4-BE49-F238E27FC236}">
                  <a16:creationId xmlns:a16="http://schemas.microsoft.com/office/drawing/2014/main" id="{3EE40542-ADA6-4C3B-8A70-A65519704A9B}"/>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89">
              <a:extLst>
                <a:ext uri="{FF2B5EF4-FFF2-40B4-BE49-F238E27FC236}">
                  <a16:creationId xmlns:a16="http://schemas.microsoft.com/office/drawing/2014/main" id="{7B3B4879-B6C1-4F74-BDCF-5F19BB04E0F4}"/>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90">
              <a:extLst>
                <a:ext uri="{FF2B5EF4-FFF2-40B4-BE49-F238E27FC236}">
                  <a16:creationId xmlns:a16="http://schemas.microsoft.com/office/drawing/2014/main" id="{E4BC8AEB-A584-479B-8EEF-2AE54D5872B7}"/>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91">
              <a:extLst>
                <a:ext uri="{FF2B5EF4-FFF2-40B4-BE49-F238E27FC236}">
                  <a16:creationId xmlns:a16="http://schemas.microsoft.com/office/drawing/2014/main" id="{D18A4DCC-C243-4E3F-A2E2-0D29AD7D002A}"/>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92">
              <a:extLst>
                <a:ext uri="{FF2B5EF4-FFF2-40B4-BE49-F238E27FC236}">
                  <a16:creationId xmlns:a16="http://schemas.microsoft.com/office/drawing/2014/main" id="{4D5F04D4-1A7F-41A0-A0E2-BCF50E27D5C6}"/>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93">
              <a:extLst>
                <a:ext uri="{FF2B5EF4-FFF2-40B4-BE49-F238E27FC236}">
                  <a16:creationId xmlns:a16="http://schemas.microsoft.com/office/drawing/2014/main" id="{F96DDB2D-2296-402A-9FB9-212112A5001F}"/>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4">
              <a:extLst>
                <a:ext uri="{FF2B5EF4-FFF2-40B4-BE49-F238E27FC236}">
                  <a16:creationId xmlns:a16="http://schemas.microsoft.com/office/drawing/2014/main" id="{2F742842-62E0-472A-B09A-2A7D39017EB8}"/>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5">
              <a:extLst>
                <a:ext uri="{FF2B5EF4-FFF2-40B4-BE49-F238E27FC236}">
                  <a16:creationId xmlns:a16="http://schemas.microsoft.com/office/drawing/2014/main" id="{E7229456-9A67-45F4-ABC1-C2770B0268FA}"/>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6">
              <a:extLst>
                <a:ext uri="{FF2B5EF4-FFF2-40B4-BE49-F238E27FC236}">
                  <a16:creationId xmlns:a16="http://schemas.microsoft.com/office/drawing/2014/main" id="{1F9751DB-34CD-46BB-B4BC-6259060855F0}"/>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97">
              <a:extLst>
                <a:ext uri="{FF2B5EF4-FFF2-40B4-BE49-F238E27FC236}">
                  <a16:creationId xmlns:a16="http://schemas.microsoft.com/office/drawing/2014/main" id="{5ABC6AFB-E816-4431-A76A-68A3A63D2E44}"/>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98">
              <a:extLst>
                <a:ext uri="{FF2B5EF4-FFF2-40B4-BE49-F238E27FC236}">
                  <a16:creationId xmlns:a16="http://schemas.microsoft.com/office/drawing/2014/main" id="{60E91C8F-F1CE-4BBB-BB3E-56924AB9AC02}"/>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99">
              <a:extLst>
                <a:ext uri="{FF2B5EF4-FFF2-40B4-BE49-F238E27FC236}">
                  <a16:creationId xmlns:a16="http://schemas.microsoft.com/office/drawing/2014/main" id="{0144D498-DBBB-48AB-9938-6860296C54C0}"/>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100">
              <a:extLst>
                <a:ext uri="{FF2B5EF4-FFF2-40B4-BE49-F238E27FC236}">
                  <a16:creationId xmlns:a16="http://schemas.microsoft.com/office/drawing/2014/main" id="{57DA06B8-E74A-4A4F-A5C6-D228C33D4C07}"/>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01">
              <a:extLst>
                <a:ext uri="{FF2B5EF4-FFF2-40B4-BE49-F238E27FC236}">
                  <a16:creationId xmlns:a16="http://schemas.microsoft.com/office/drawing/2014/main" id="{9EE94CD4-EF90-465E-99B0-5D8FE5E0954C}"/>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102">
              <a:extLst>
                <a:ext uri="{FF2B5EF4-FFF2-40B4-BE49-F238E27FC236}">
                  <a16:creationId xmlns:a16="http://schemas.microsoft.com/office/drawing/2014/main" id="{C0D9FFE4-3F0B-4424-9C2B-7BE6269B031E}"/>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103">
              <a:extLst>
                <a:ext uri="{FF2B5EF4-FFF2-40B4-BE49-F238E27FC236}">
                  <a16:creationId xmlns:a16="http://schemas.microsoft.com/office/drawing/2014/main" id="{689B4BCD-46B5-40D0-9B5E-0928400345C7}"/>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104">
              <a:extLst>
                <a:ext uri="{FF2B5EF4-FFF2-40B4-BE49-F238E27FC236}">
                  <a16:creationId xmlns:a16="http://schemas.microsoft.com/office/drawing/2014/main" id="{2BE4801D-4A50-4671-B276-15040C725153}"/>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 name="Freeform 105">
              <a:extLst>
                <a:ext uri="{FF2B5EF4-FFF2-40B4-BE49-F238E27FC236}">
                  <a16:creationId xmlns:a16="http://schemas.microsoft.com/office/drawing/2014/main" id="{9B3CA6D7-EDFA-45F6-A972-C4764E2EF71D}"/>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3" name="Slide Number Placeholder 3">
            <a:extLst>
              <a:ext uri="{FF2B5EF4-FFF2-40B4-BE49-F238E27FC236}">
                <a16:creationId xmlns:a16="http://schemas.microsoft.com/office/drawing/2014/main" id="{7EA345A8-99C1-46D2-B43D-EBB13DCF1ED2}"/>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a:p>
        </p:txBody>
      </p:sp>
      <p:sp>
        <p:nvSpPr>
          <p:cNvPr id="64" name="Rectangle 155">
            <a:extLst>
              <a:ext uri="{FF2B5EF4-FFF2-40B4-BE49-F238E27FC236}">
                <a16:creationId xmlns:a16="http://schemas.microsoft.com/office/drawing/2014/main" id="{89581FD7-1A7A-4D55-96D3-115BEF36627D}"/>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a:t>Production code #</a:t>
            </a:r>
          </a:p>
        </p:txBody>
      </p:sp>
      <p:sp>
        <p:nvSpPr>
          <p:cNvPr id="65" name="Rectangle 176">
            <a:extLst>
              <a:ext uri="{FF2B5EF4-FFF2-40B4-BE49-F238E27FC236}">
                <a16:creationId xmlns:a16="http://schemas.microsoft.com/office/drawing/2014/main" id="{9906DF31-BFC5-4876-8473-BB825737ABD0}"/>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a:t>Page footer, i.e., For institutional use only.</a:t>
            </a:r>
          </a:p>
        </p:txBody>
      </p:sp>
    </p:spTree>
    <p:extLst>
      <p:ext uri="{BB962C8B-B14F-4D97-AF65-F5344CB8AC3E}">
        <p14:creationId xmlns:p14="http://schemas.microsoft.com/office/powerpoint/2010/main" val="49929847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26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iography 2">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7948" cy="838200"/>
          </a:xfrm>
        </p:spPr>
        <p:txBody>
          <a:bodyPr/>
          <a:lstStyle/>
          <a:p>
            <a:r>
              <a:rPr lang="en-US"/>
              <a:t>Click to edit Master title style</a:t>
            </a:r>
            <a:endParaRPr lang="en-US" dirty="0"/>
          </a:p>
        </p:txBody>
      </p:sp>
      <p:sp>
        <p:nvSpPr>
          <p:cNvPr id="3" name="Content Placeholder 2"/>
          <p:cNvSpPr>
            <a:spLocks noGrp="1"/>
          </p:cNvSpPr>
          <p:nvPr>
            <p:ph idx="1"/>
          </p:nvPr>
        </p:nvSpPr>
        <p:spPr>
          <a:xfrm>
            <a:off x="325661" y="1073258"/>
            <a:ext cx="8187948" cy="439305"/>
          </a:xfrm>
        </p:spPr>
        <p:txBody>
          <a:bodyPr lIns="91440"/>
          <a:lstStyle>
            <a:lvl1pPr marL="0" indent="0">
              <a:spcBef>
                <a:spcPts val="0"/>
              </a:spcBef>
              <a:defRPr lang="en-US" sz="1200" b="1" dirty="0" smtClean="0">
                <a:solidFill>
                  <a:srgbClr val="7A9A3D"/>
                </a:solidFill>
                <a:latin typeface="+mn-lt"/>
                <a:ea typeface="+mn-ea"/>
                <a:cs typeface="+mn-cs"/>
              </a:defRPr>
            </a:lvl1pPr>
            <a:lvl2pPr marL="0" indent="0">
              <a:spcBef>
                <a:spcPts val="0"/>
              </a:spcBef>
              <a:buNone/>
              <a:defRPr sz="1200" b="0" i="1">
                <a:solidFill>
                  <a:srgbClr val="7A9A3D"/>
                </a:solidFill>
              </a:defRPr>
            </a:lvl2pPr>
          </a:lstStyle>
          <a:p>
            <a:pPr lvl="0"/>
            <a:r>
              <a:rPr lang="en-US"/>
              <a:t>Click to edit Master text styles</a:t>
            </a:r>
          </a:p>
          <a:p>
            <a:pPr lvl="1"/>
            <a:r>
              <a:rPr lang="en-US"/>
              <a:t>Second level</a:t>
            </a:r>
          </a:p>
        </p:txBody>
      </p:sp>
      <p:sp>
        <p:nvSpPr>
          <p:cNvPr id="10" name="Content Placeholder 9"/>
          <p:cNvSpPr>
            <a:spLocks noGrp="1"/>
          </p:cNvSpPr>
          <p:nvPr>
            <p:ph sz="quarter" idx="13"/>
          </p:nvPr>
        </p:nvSpPr>
        <p:spPr>
          <a:xfrm>
            <a:off x="325661" y="1526851"/>
            <a:ext cx="8188710" cy="1902149"/>
          </a:xfrm>
        </p:spPr>
        <p:txBody>
          <a:bodyPr lIns="91440"/>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p:cNvSpPr>
            <a:spLocks noGrp="1"/>
          </p:cNvSpPr>
          <p:nvPr>
            <p:ph idx="17"/>
          </p:nvPr>
        </p:nvSpPr>
        <p:spPr>
          <a:xfrm>
            <a:off x="325661" y="3666458"/>
            <a:ext cx="8188710" cy="439305"/>
          </a:xfrm>
        </p:spPr>
        <p:txBody>
          <a:bodyPr lIns="91440"/>
          <a:lstStyle>
            <a:lvl1pPr marL="0" indent="0">
              <a:spcBef>
                <a:spcPts val="0"/>
              </a:spcBef>
              <a:defRPr lang="en-US" sz="1200" b="1" dirty="0" smtClean="0">
                <a:solidFill>
                  <a:srgbClr val="7A9A3D"/>
                </a:solidFill>
                <a:latin typeface="+mn-lt"/>
                <a:ea typeface="+mn-ea"/>
                <a:cs typeface="+mn-cs"/>
              </a:defRPr>
            </a:lvl1pPr>
            <a:lvl2pPr marL="0" indent="0">
              <a:spcBef>
                <a:spcPts val="0"/>
              </a:spcBef>
              <a:buNone/>
              <a:defRPr sz="1200" b="0" i="1">
                <a:solidFill>
                  <a:srgbClr val="7A9A3D"/>
                </a:solidFill>
              </a:defRPr>
            </a:lvl2pPr>
          </a:lstStyle>
          <a:p>
            <a:pPr lvl="0"/>
            <a:r>
              <a:rPr lang="en-US"/>
              <a:t>Click to edit Master text styles</a:t>
            </a:r>
          </a:p>
          <a:p>
            <a:pPr lvl="1"/>
            <a:r>
              <a:rPr lang="en-US"/>
              <a:t>Second level</a:t>
            </a:r>
          </a:p>
        </p:txBody>
      </p:sp>
      <p:sp>
        <p:nvSpPr>
          <p:cNvPr id="9" name="Content Placeholder 9"/>
          <p:cNvSpPr>
            <a:spLocks noGrp="1"/>
          </p:cNvSpPr>
          <p:nvPr>
            <p:ph sz="quarter" idx="18"/>
          </p:nvPr>
        </p:nvSpPr>
        <p:spPr>
          <a:xfrm>
            <a:off x="325661" y="4120051"/>
            <a:ext cx="8188710" cy="1902149"/>
          </a:xfrm>
        </p:spPr>
        <p:txBody>
          <a:bodyPr lIns="91440"/>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7" name="Group 36">
            <a:extLst>
              <a:ext uri="{FF2B5EF4-FFF2-40B4-BE49-F238E27FC236}">
                <a16:creationId xmlns:a16="http://schemas.microsoft.com/office/drawing/2014/main" id="{AD47060C-9B45-4CFF-98F4-FE27989B6517}"/>
              </a:ext>
            </a:extLst>
          </p:cNvPr>
          <p:cNvGrpSpPr/>
          <p:nvPr userDrawn="1"/>
        </p:nvGrpSpPr>
        <p:grpSpPr>
          <a:xfrm>
            <a:off x="7358173" y="6361974"/>
            <a:ext cx="1382376" cy="297562"/>
            <a:chOff x="6923088" y="4475163"/>
            <a:chExt cx="1873251" cy="403225"/>
          </a:xfrm>
        </p:grpSpPr>
        <p:sp>
          <p:nvSpPr>
            <p:cNvPr id="38" name="AutoShape 4">
              <a:extLst>
                <a:ext uri="{FF2B5EF4-FFF2-40B4-BE49-F238E27FC236}">
                  <a16:creationId xmlns:a16="http://schemas.microsoft.com/office/drawing/2014/main" id="{A50C7966-165F-4807-AFEA-C12F2BCA17FB}"/>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6">
              <a:extLst>
                <a:ext uri="{FF2B5EF4-FFF2-40B4-BE49-F238E27FC236}">
                  <a16:creationId xmlns:a16="http://schemas.microsoft.com/office/drawing/2014/main" id="{2D416542-B102-488D-BF19-9EDA79075042}"/>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7">
              <a:extLst>
                <a:ext uri="{FF2B5EF4-FFF2-40B4-BE49-F238E27FC236}">
                  <a16:creationId xmlns:a16="http://schemas.microsoft.com/office/drawing/2014/main" id="{20EA49BF-25F1-44C7-B3A3-56209FB69046}"/>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83">
              <a:extLst>
                <a:ext uri="{FF2B5EF4-FFF2-40B4-BE49-F238E27FC236}">
                  <a16:creationId xmlns:a16="http://schemas.microsoft.com/office/drawing/2014/main" id="{93865A9A-4077-40DF-807C-57106D5F955A}"/>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84">
              <a:extLst>
                <a:ext uri="{FF2B5EF4-FFF2-40B4-BE49-F238E27FC236}">
                  <a16:creationId xmlns:a16="http://schemas.microsoft.com/office/drawing/2014/main" id="{FC0FB584-1254-43CD-9B50-F7E305FCF015}"/>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85">
              <a:extLst>
                <a:ext uri="{FF2B5EF4-FFF2-40B4-BE49-F238E27FC236}">
                  <a16:creationId xmlns:a16="http://schemas.microsoft.com/office/drawing/2014/main" id="{EF08544E-126E-4F54-A00B-6F0382B734E3}"/>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86">
              <a:extLst>
                <a:ext uri="{FF2B5EF4-FFF2-40B4-BE49-F238E27FC236}">
                  <a16:creationId xmlns:a16="http://schemas.microsoft.com/office/drawing/2014/main" id="{B7C8C951-F508-45D9-904C-71C7B64EA3D0}"/>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87">
              <a:extLst>
                <a:ext uri="{FF2B5EF4-FFF2-40B4-BE49-F238E27FC236}">
                  <a16:creationId xmlns:a16="http://schemas.microsoft.com/office/drawing/2014/main" id="{BF59C57B-5654-43F0-BA0C-E27B3C2F62F0}"/>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88">
              <a:extLst>
                <a:ext uri="{FF2B5EF4-FFF2-40B4-BE49-F238E27FC236}">
                  <a16:creationId xmlns:a16="http://schemas.microsoft.com/office/drawing/2014/main" id="{B2B8E467-EB9C-43CB-ABBD-81EF05FBA74B}"/>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89">
              <a:extLst>
                <a:ext uri="{FF2B5EF4-FFF2-40B4-BE49-F238E27FC236}">
                  <a16:creationId xmlns:a16="http://schemas.microsoft.com/office/drawing/2014/main" id="{5729355F-EB63-44E1-96E2-095C971F95BC}"/>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90">
              <a:extLst>
                <a:ext uri="{FF2B5EF4-FFF2-40B4-BE49-F238E27FC236}">
                  <a16:creationId xmlns:a16="http://schemas.microsoft.com/office/drawing/2014/main" id="{B2BD55CF-6ED1-4857-B856-B55BE2966D11}"/>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91">
              <a:extLst>
                <a:ext uri="{FF2B5EF4-FFF2-40B4-BE49-F238E27FC236}">
                  <a16:creationId xmlns:a16="http://schemas.microsoft.com/office/drawing/2014/main" id="{91FFB3E8-240C-4EBF-9A50-5B17BEB0AEDD}"/>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2">
              <a:extLst>
                <a:ext uri="{FF2B5EF4-FFF2-40B4-BE49-F238E27FC236}">
                  <a16:creationId xmlns:a16="http://schemas.microsoft.com/office/drawing/2014/main" id="{0F7093E9-640F-4B9B-83B9-27422D4BBCEA}"/>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3">
              <a:extLst>
                <a:ext uri="{FF2B5EF4-FFF2-40B4-BE49-F238E27FC236}">
                  <a16:creationId xmlns:a16="http://schemas.microsoft.com/office/drawing/2014/main" id="{CDDE04FA-9432-48D8-9E57-ABC89785B966}"/>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4">
              <a:extLst>
                <a:ext uri="{FF2B5EF4-FFF2-40B4-BE49-F238E27FC236}">
                  <a16:creationId xmlns:a16="http://schemas.microsoft.com/office/drawing/2014/main" id="{9FB26D40-47C6-47E5-9FC7-3A94E8B3C66B}"/>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95">
              <a:extLst>
                <a:ext uri="{FF2B5EF4-FFF2-40B4-BE49-F238E27FC236}">
                  <a16:creationId xmlns:a16="http://schemas.microsoft.com/office/drawing/2014/main" id="{F4507BC5-5154-4DFC-842E-135C92100B92}"/>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96">
              <a:extLst>
                <a:ext uri="{FF2B5EF4-FFF2-40B4-BE49-F238E27FC236}">
                  <a16:creationId xmlns:a16="http://schemas.microsoft.com/office/drawing/2014/main" id="{75387EE5-700A-4DDE-AE3A-90A6F5B94044}"/>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97">
              <a:extLst>
                <a:ext uri="{FF2B5EF4-FFF2-40B4-BE49-F238E27FC236}">
                  <a16:creationId xmlns:a16="http://schemas.microsoft.com/office/drawing/2014/main" id="{9758482D-85DB-4DDF-B79B-7B188F9F0143}"/>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98">
              <a:extLst>
                <a:ext uri="{FF2B5EF4-FFF2-40B4-BE49-F238E27FC236}">
                  <a16:creationId xmlns:a16="http://schemas.microsoft.com/office/drawing/2014/main" id="{EF151CAF-7ED9-42DE-B1B9-1AACB59758C2}"/>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99">
              <a:extLst>
                <a:ext uri="{FF2B5EF4-FFF2-40B4-BE49-F238E27FC236}">
                  <a16:creationId xmlns:a16="http://schemas.microsoft.com/office/drawing/2014/main" id="{A792E0C4-20CF-4AC8-9F70-AE8E83B4A35C}"/>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100">
              <a:extLst>
                <a:ext uri="{FF2B5EF4-FFF2-40B4-BE49-F238E27FC236}">
                  <a16:creationId xmlns:a16="http://schemas.microsoft.com/office/drawing/2014/main" id="{39DBB25B-35A5-4398-A82F-C9BA146E9BD3}"/>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101">
              <a:extLst>
                <a:ext uri="{FF2B5EF4-FFF2-40B4-BE49-F238E27FC236}">
                  <a16:creationId xmlns:a16="http://schemas.microsoft.com/office/drawing/2014/main" id="{79A902AC-2DE8-4C34-BB27-7ABE95066A6C}"/>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102">
              <a:extLst>
                <a:ext uri="{FF2B5EF4-FFF2-40B4-BE49-F238E27FC236}">
                  <a16:creationId xmlns:a16="http://schemas.microsoft.com/office/drawing/2014/main" id="{8561171B-2D21-495A-B71C-95D9A80939CD}"/>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 name="Freeform 103">
              <a:extLst>
                <a:ext uri="{FF2B5EF4-FFF2-40B4-BE49-F238E27FC236}">
                  <a16:creationId xmlns:a16="http://schemas.microsoft.com/office/drawing/2014/main" id="{864D7054-9BEE-4BF3-968D-6A0C5C3D31CE}"/>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 name="Freeform 104">
              <a:extLst>
                <a:ext uri="{FF2B5EF4-FFF2-40B4-BE49-F238E27FC236}">
                  <a16:creationId xmlns:a16="http://schemas.microsoft.com/office/drawing/2014/main" id="{CC385E1A-8F4F-4C9D-9CF5-375C670B1017}"/>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 name="Freeform 105">
              <a:extLst>
                <a:ext uri="{FF2B5EF4-FFF2-40B4-BE49-F238E27FC236}">
                  <a16:creationId xmlns:a16="http://schemas.microsoft.com/office/drawing/2014/main" id="{7895869E-4BC5-4BA7-AF72-8FC48EFE9BF7}"/>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5" name="Slide Number Placeholder 3">
            <a:extLst>
              <a:ext uri="{FF2B5EF4-FFF2-40B4-BE49-F238E27FC236}">
                <a16:creationId xmlns:a16="http://schemas.microsoft.com/office/drawing/2014/main" id="{E8A4DA1C-022C-486D-AE72-319ED27E49CB}"/>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6" name="Rectangle 155">
            <a:extLst>
              <a:ext uri="{FF2B5EF4-FFF2-40B4-BE49-F238E27FC236}">
                <a16:creationId xmlns:a16="http://schemas.microsoft.com/office/drawing/2014/main" id="{F5375835-282B-48B9-BA05-8C7189097404}"/>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dirty="0"/>
              <a:t>Production code #</a:t>
            </a:r>
          </a:p>
        </p:txBody>
      </p:sp>
      <p:sp>
        <p:nvSpPr>
          <p:cNvPr id="67" name="Rectangle 176">
            <a:extLst>
              <a:ext uri="{FF2B5EF4-FFF2-40B4-BE49-F238E27FC236}">
                <a16:creationId xmlns:a16="http://schemas.microsoft.com/office/drawing/2014/main" id="{1E8B0D02-E4F8-412E-BDB8-086E6FE9CF00}"/>
              </a:ext>
            </a:extLst>
          </p:cNvPr>
          <p:cNvSpPr>
            <a:spLocks noGrp="1" noChangeArrowheads="1"/>
          </p:cNvSpPr>
          <p:nvPr>
            <p:ph type="ftr" sz="quarter" idx="19"/>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156755905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64" userDrawn="1">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Biography 2">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7948" cy="838200"/>
          </a:xfrm>
        </p:spPr>
        <p:txBody>
          <a:bodyPr/>
          <a:lstStyle/>
          <a:p>
            <a:r>
              <a:rPr lang="en-US"/>
              <a:t>Click to edit Master title style</a:t>
            </a:r>
          </a:p>
        </p:txBody>
      </p:sp>
      <p:sp>
        <p:nvSpPr>
          <p:cNvPr id="3" name="Content Placeholder 2"/>
          <p:cNvSpPr>
            <a:spLocks noGrp="1"/>
          </p:cNvSpPr>
          <p:nvPr>
            <p:ph idx="1"/>
          </p:nvPr>
        </p:nvSpPr>
        <p:spPr>
          <a:xfrm>
            <a:off x="325661" y="1073258"/>
            <a:ext cx="8187948" cy="439305"/>
          </a:xfrm>
        </p:spPr>
        <p:txBody>
          <a:bodyPr lIns="91440"/>
          <a:lstStyle>
            <a:lvl1pPr marL="0" indent="0">
              <a:spcBef>
                <a:spcPts val="0"/>
              </a:spcBef>
              <a:defRPr lang="en-US" sz="1200" b="1" dirty="0" smtClean="0">
                <a:solidFill>
                  <a:srgbClr val="7A9A3D"/>
                </a:solidFill>
                <a:latin typeface="+mn-lt"/>
                <a:ea typeface="+mn-ea"/>
                <a:cs typeface="+mn-cs"/>
              </a:defRPr>
            </a:lvl1pPr>
            <a:lvl2pPr marL="0" indent="0">
              <a:spcBef>
                <a:spcPts val="0"/>
              </a:spcBef>
              <a:buNone/>
              <a:defRPr sz="1200" b="0" i="1">
                <a:solidFill>
                  <a:srgbClr val="7A9A3D"/>
                </a:solidFill>
              </a:defRPr>
            </a:lvl2pPr>
          </a:lstStyle>
          <a:p>
            <a:pPr lvl="0"/>
            <a:r>
              <a:rPr lang="en-US"/>
              <a:t>Click to edit Master text styles</a:t>
            </a:r>
          </a:p>
          <a:p>
            <a:pPr lvl="1"/>
            <a:r>
              <a:rPr lang="en-US"/>
              <a:t>Second level</a:t>
            </a:r>
          </a:p>
        </p:txBody>
      </p:sp>
      <p:sp>
        <p:nvSpPr>
          <p:cNvPr id="10" name="Content Placeholder 9"/>
          <p:cNvSpPr>
            <a:spLocks noGrp="1"/>
          </p:cNvSpPr>
          <p:nvPr>
            <p:ph sz="quarter" idx="13"/>
          </p:nvPr>
        </p:nvSpPr>
        <p:spPr>
          <a:xfrm>
            <a:off x="325661" y="1526851"/>
            <a:ext cx="8188710" cy="1902149"/>
          </a:xfrm>
        </p:spPr>
        <p:txBody>
          <a:bodyPr lIns="91440"/>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p:cNvSpPr>
            <a:spLocks noGrp="1"/>
          </p:cNvSpPr>
          <p:nvPr>
            <p:ph idx="17"/>
          </p:nvPr>
        </p:nvSpPr>
        <p:spPr>
          <a:xfrm>
            <a:off x="325661" y="3666458"/>
            <a:ext cx="8188710" cy="439305"/>
          </a:xfrm>
        </p:spPr>
        <p:txBody>
          <a:bodyPr lIns="91440"/>
          <a:lstStyle>
            <a:lvl1pPr marL="0" indent="0">
              <a:spcBef>
                <a:spcPts val="0"/>
              </a:spcBef>
              <a:defRPr lang="en-US" sz="1200" b="1" dirty="0" smtClean="0">
                <a:solidFill>
                  <a:srgbClr val="7A9A3D"/>
                </a:solidFill>
                <a:latin typeface="+mn-lt"/>
                <a:ea typeface="+mn-ea"/>
                <a:cs typeface="+mn-cs"/>
              </a:defRPr>
            </a:lvl1pPr>
            <a:lvl2pPr marL="0" indent="0">
              <a:spcBef>
                <a:spcPts val="0"/>
              </a:spcBef>
              <a:buNone/>
              <a:defRPr sz="1200" b="0" i="1">
                <a:solidFill>
                  <a:srgbClr val="7A9A3D"/>
                </a:solidFill>
              </a:defRPr>
            </a:lvl2pPr>
          </a:lstStyle>
          <a:p>
            <a:pPr lvl="0"/>
            <a:r>
              <a:rPr lang="en-US"/>
              <a:t>Click to edit Master text styles</a:t>
            </a:r>
          </a:p>
          <a:p>
            <a:pPr lvl="1"/>
            <a:r>
              <a:rPr lang="en-US"/>
              <a:t>Second level</a:t>
            </a:r>
          </a:p>
        </p:txBody>
      </p:sp>
      <p:sp>
        <p:nvSpPr>
          <p:cNvPr id="9" name="Content Placeholder 9"/>
          <p:cNvSpPr>
            <a:spLocks noGrp="1"/>
          </p:cNvSpPr>
          <p:nvPr>
            <p:ph sz="quarter" idx="18"/>
          </p:nvPr>
        </p:nvSpPr>
        <p:spPr>
          <a:xfrm>
            <a:off x="325661" y="4120051"/>
            <a:ext cx="8188710" cy="1902149"/>
          </a:xfrm>
        </p:spPr>
        <p:txBody>
          <a:bodyPr lIns="91440"/>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7" name="Group 36">
            <a:extLst>
              <a:ext uri="{FF2B5EF4-FFF2-40B4-BE49-F238E27FC236}">
                <a16:creationId xmlns:a16="http://schemas.microsoft.com/office/drawing/2014/main" id="{AD47060C-9B45-4CFF-98F4-FE27989B6517}"/>
              </a:ext>
            </a:extLst>
          </p:cNvPr>
          <p:cNvGrpSpPr/>
          <p:nvPr userDrawn="1"/>
        </p:nvGrpSpPr>
        <p:grpSpPr>
          <a:xfrm>
            <a:off x="7358173" y="6361974"/>
            <a:ext cx="1382376" cy="297562"/>
            <a:chOff x="6923088" y="4475163"/>
            <a:chExt cx="1873251" cy="403225"/>
          </a:xfrm>
        </p:grpSpPr>
        <p:sp>
          <p:nvSpPr>
            <p:cNvPr id="38" name="AutoShape 4">
              <a:extLst>
                <a:ext uri="{FF2B5EF4-FFF2-40B4-BE49-F238E27FC236}">
                  <a16:creationId xmlns:a16="http://schemas.microsoft.com/office/drawing/2014/main" id="{A50C7966-165F-4807-AFEA-C12F2BCA17FB}"/>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6">
              <a:extLst>
                <a:ext uri="{FF2B5EF4-FFF2-40B4-BE49-F238E27FC236}">
                  <a16:creationId xmlns:a16="http://schemas.microsoft.com/office/drawing/2014/main" id="{2D416542-B102-488D-BF19-9EDA79075042}"/>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7">
              <a:extLst>
                <a:ext uri="{FF2B5EF4-FFF2-40B4-BE49-F238E27FC236}">
                  <a16:creationId xmlns:a16="http://schemas.microsoft.com/office/drawing/2014/main" id="{20EA49BF-25F1-44C7-B3A3-56209FB69046}"/>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83">
              <a:extLst>
                <a:ext uri="{FF2B5EF4-FFF2-40B4-BE49-F238E27FC236}">
                  <a16:creationId xmlns:a16="http://schemas.microsoft.com/office/drawing/2014/main" id="{93865A9A-4077-40DF-807C-57106D5F955A}"/>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84">
              <a:extLst>
                <a:ext uri="{FF2B5EF4-FFF2-40B4-BE49-F238E27FC236}">
                  <a16:creationId xmlns:a16="http://schemas.microsoft.com/office/drawing/2014/main" id="{FC0FB584-1254-43CD-9B50-F7E305FCF015}"/>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85">
              <a:extLst>
                <a:ext uri="{FF2B5EF4-FFF2-40B4-BE49-F238E27FC236}">
                  <a16:creationId xmlns:a16="http://schemas.microsoft.com/office/drawing/2014/main" id="{EF08544E-126E-4F54-A00B-6F0382B734E3}"/>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86">
              <a:extLst>
                <a:ext uri="{FF2B5EF4-FFF2-40B4-BE49-F238E27FC236}">
                  <a16:creationId xmlns:a16="http://schemas.microsoft.com/office/drawing/2014/main" id="{B7C8C951-F508-45D9-904C-71C7B64EA3D0}"/>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87">
              <a:extLst>
                <a:ext uri="{FF2B5EF4-FFF2-40B4-BE49-F238E27FC236}">
                  <a16:creationId xmlns:a16="http://schemas.microsoft.com/office/drawing/2014/main" id="{BF59C57B-5654-43F0-BA0C-E27B3C2F62F0}"/>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88">
              <a:extLst>
                <a:ext uri="{FF2B5EF4-FFF2-40B4-BE49-F238E27FC236}">
                  <a16:creationId xmlns:a16="http://schemas.microsoft.com/office/drawing/2014/main" id="{B2B8E467-EB9C-43CB-ABBD-81EF05FBA74B}"/>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89">
              <a:extLst>
                <a:ext uri="{FF2B5EF4-FFF2-40B4-BE49-F238E27FC236}">
                  <a16:creationId xmlns:a16="http://schemas.microsoft.com/office/drawing/2014/main" id="{5729355F-EB63-44E1-96E2-095C971F95BC}"/>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90">
              <a:extLst>
                <a:ext uri="{FF2B5EF4-FFF2-40B4-BE49-F238E27FC236}">
                  <a16:creationId xmlns:a16="http://schemas.microsoft.com/office/drawing/2014/main" id="{B2BD55CF-6ED1-4857-B856-B55BE2966D11}"/>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91">
              <a:extLst>
                <a:ext uri="{FF2B5EF4-FFF2-40B4-BE49-F238E27FC236}">
                  <a16:creationId xmlns:a16="http://schemas.microsoft.com/office/drawing/2014/main" id="{91FFB3E8-240C-4EBF-9A50-5B17BEB0AEDD}"/>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2">
              <a:extLst>
                <a:ext uri="{FF2B5EF4-FFF2-40B4-BE49-F238E27FC236}">
                  <a16:creationId xmlns:a16="http://schemas.microsoft.com/office/drawing/2014/main" id="{0F7093E9-640F-4B9B-83B9-27422D4BBCEA}"/>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3">
              <a:extLst>
                <a:ext uri="{FF2B5EF4-FFF2-40B4-BE49-F238E27FC236}">
                  <a16:creationId xmlns:a16="http://schemas.microsoft.com/office/drawing/2014/main" id="{CDDE04FA-9432-48D8-9E57-ABC89785B966}"/>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4">
              <a:extLst>
                <a:ext uri="{FF2B5EF4-FFF2-40B4-BE49-F238E27FC236}">
                  <a16:creationId xmlns:a16="http://schemas.microsoft.com/office/drawing/2014/main" id="{9FB26D40-47C6-47E5-9FC7-3A94E8B3C66B}"/>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95">
              <a:extLst>
                <a:ext uri="{FF2B5EF4-FFF2-40B4-BE49-F238E27FC236}">
                  <a16:creationId xmlns:a16="http://schemas.microsoft.com/office/drawing/2014/main" id="{F4507BC5-5154-4DFC-842E-135C92100B92}"/>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96">
              <a:extLst>
                <a:ext uri="{FF2B5EF4-FFF2-40B4-BE49-F238E27FC236}">
                  <a16:creationId xmlns:a16="http://schemas.microsoft.com/office/drawing/2014/main" id="{75387EE5-700A-4DDE-AE3A-90A6F5B94044}"/>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97">
              <a:extLst>
                <a:ext uri="{FF2B5EF4-FFF2-40B4-BE49-F238E27FC236}">
                  <a16:creationId xmlns:a16="http://schemas.microsoft.com/office/drawing/2014/main" id="{9758482D-85DB-4DDF-B79B-7B188F9F0143}"/>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98">
              <a:extLst>
                <a:ext uri="{FF2B5EF4-FFF2-40B4-BE49-F238E27FC236}">
                  <a16:creationId xmlns:a16="http://schemas.microsoft.com/office/drawing/2014/main" id="{EF151CAF-7ED9-42DE-B1B9-1AACB59758C2}"/>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99">
              <a:extLst>
                <a:ext uri="{FF2B5EF4-FFF2-40B4-BE49-F238E27FC236}">
                  <a16:creationId xmlns:a16="http://schemas.microsoft.com/office/drawing/2014/main" id="{A792E0C4-20CF-4AC8-9F70-AE8E83B4A35C}"/>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100">
              <a:extLst>
                <a:ext uri="{FF2B5EF4-FFF2-40B4-BE49-F238E27FC236}">
                  <a16:creationId xmlns:a16="http://schemas.microsoft.com/office/drawing/2014/main" id="{39DBB25B-35A5-4398-A82F-C9BA146E9BD3}"/>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101">
              <a:extLst>
                <a:ext uri="{FF2B5EF4-FFF2-40B4-BE49-F238E27FC236}">
                  <a16:creationId xmlns:a16="http://schemas.microsoft.com/office/drawing/2014/main" id="{79A902AC-2DE8-4C34-BB27-7ABE95066A6C}"/>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102">
              <a:extLst>
                <a:ext uri="{FF2B5EF4-FFF2-40B4-BE49-F238E27FC236}">
                  <a16:creationId xmlns:a16="http://schemas.microsoft.com/office/drawing/2014/main" id="{8561171B-2D21-495A-B71C-95D9A80939CD}"/>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 name="Freeform 103">
              <a:extLst>
                <a:ext uri="{FF2B5EF4-FFF2-40B4-BE49-F238E27FC236}">
                  <a16:creationId xmlns:a16="http://schemas.microsoft.com/office/drawing/2014/main" id="{864D7054-9BEE-4BF3-968D-6A0C5C3D31CE}"/>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 name="Freeform 104">
              <a:extLst>
                <a:ext uri="{FF2B5EF4-FFF2-40B4-BE49-F238E27FC236}">
                  <a16:creationId xmlns:a16="http://schemas.microsoft.com/office/drawing/2014/main" id="{CC385E1A-8F4F-4C9D-9CF5-375C670B1017}"/>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 name="Freeform 105">
              <a:extLst>
                <a:ext uri="{FF2B5EF4-FFF2-40B4-BE49-F238E27FC236}">
                  <a16:creationId xmlns:a16="http://schemas.microsoft.com/office/drawing/2014/main" id="{7895869E-4BC5-4BA7-AF72-8FC48EFE9BF7}"/>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5" name="Slide Number Placeholder 3">
            <a:extLst>
              <a:ext uri="{FF2B5EF4-FFF2-40B4-BE49-F238E27FC236}">
                <a16:creationId xmlns:a16="http://schemas.microsoft.com/office/drawing/2014/main" id="{E8A4DA1C-022C-486D-AE72-319ED27E49CB}"/>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a:p>
        </p:txBody>
      </p:sp>
      <p:sp>
        <p:nvSpPr>
          <p:cNvPr id="66" name="Rectangle 155">
            <a:extLst>
              <a:ext uri="{FF2B5EF4-FFF2-40B4-BE49-F238E27FC236}">
                <a16:creationId xmlns:a16="http://schemas.microsoft.com/office/drawing/2014/main" id="{F5375835-282B-48B9-BA05-8C7189097404}"/>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a:t>Production code #</a:t>
            </a:r>
          </a:p>
        </p:txBody>
      </p:sp>
      <p:sp>
        <p:nvSpPr>
          <p:cNvPr id="67" name="Rectangle 176">
            <a:extLst>
              <a:ext uri="{FF2B5EF4-FFF2-40B4-BE49-F238E27FC236}">
                <a16:creationId xmlns:a16="http://schemas.microsoft.com/office/drawing/2014/main" id="{1E8B0D02-E4F8-412E-BDB8-086E6FE9CF00}"/>
              </a:ext>
            </a:extLst>
          </p:cNvPr>
          <p:cNvSpPr>
            <a:spLocks noGrp="1" noChangeArrowheads="1"/>
          </p:cNvSpPr>
          <p:nvPr>
            <p:ph type="ftr" sz="quarter" idx="19"/>
          </p:nvPr>
        </p:nvSpPr>
        <p:spPr>
          <a:xfrm>
            <a:off x="320040" y="6508597"/>
            <a:ext cx="3931920" cy="173736"/>
          </a:xfrm>
        </p:spPr>
        <p:txBody>
          <a:bodyPr/>
          <a:lstStyle>
            <a:lvl1pPr algn="l">
              <a:defRPr sz="800" b="0" smtClean="0">
                <a:solidFill>
                  <a:srgbClr val="000000"/>
                </a:solidFill>
              </a:defRPr>
            </a:lvl1pPr>
          </a:lstStyle>
          <a:p>
            <a:pPr>
              <a:defRPr/>
            </a:pPr>
            <a:r>
              <a:rPr lang="en-US"/>
              <a:t>Page footer, i.e., For institutional use only.</a:t>
            </a:r>
          </a:p>
        </p:txBody>
      </p:sp>
    </p:spTree>
    <p:extLst>
      <p:ext uri="{BB962C8B-B14F-4D97-AF65-F5344CB8AC3E}">
        <p14:creationId xmlns:p14="http://schemas.microsoft.com/office/powerpoint/2010/main" val="343390626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264">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73742" cy="838200"/>
          </a:xfrm>
        </p:spPr>
        <p:txBody>
          <a:bodyPr/>
          <a:lstStyle/>
          <a:p>
            <a:r>
              <a:rPr lang="en-US"/>
              <a:t>Click to edit Master title style</a:t>
            </a:r>
          </a:p>
        </p:txBody>
      </p:sp>
      <p:sp>
        <p:nvSpPr>
          <p:cNvPr id="3" name="Content Placeholder 2"/>
          <p:cNvSpPr>
            <a:spLocks noGrp="1"/>
          </p:cNvSpPr>
          <p:nvPr>
            <p:ph sz="half" idx="1"/>
          </p:nvPr>
        </p:nvSpPr>
        <p:spPr>
          <a:xfrm>
            <a:off x="325661" y="1339850"/>
            <a:ext cx="3878262" cy="4878388"/>
          </a:xfrm>
        </p:spPr>
        <p:txBody>
          <a:bodyPr lIns="91440"/>
          <a:lstStyle>
            <a:lvl1pPr>
              <a:spcBef>
                <a:spcPts val="600"/>
              </a:spcBef>
              <a:defRPr sz="1400">
                <a:solidFill>
                  <a:srgbClr val="7A9A3D"/>
                </a:solidFill>
              </a:defRPr>
            </a:lvl1pPr>
            <a:lvl2pPr marL="114300" indent="-114300">
              <a:spcBef>
                <a:spcPts val="600"/>
              </a:spcBef>
              <a:buClr>
                <a:srgbClr val="7A9A3D"/>
              </a:buClr>
              <a:defRPr sz="1200">
                <a:solidFill>
                  <a:srgbClr val="000000"/>
                </a:solidFill>
              </a:defRPr>
            </a:lvl2pPr>
            <a:lvl3pPr marL="228600" indent="-114300">
              <a:spcBef>
                <a:spcPts val="600"/>
              </a:spcBef>
              <a:buClr>
                <a:srgbClr val="7A9A3D"/>
              </a:buClr>
              <a:defRPr sz="1100">
                <a:solidFill>
                  <a:srgbClr val="000000"/>
                </a:solidFill>
              </a:defRPr>
            </a:lvl3pPr>
            <a:lvl4pPr marL="342900" indent="-114300">
              <a:spcBef>
                <a:spcPts val="600"/>
              </a:spcBef>
              <a:buClr>
                <a:srgbClr val="7A9A3D"/>
              </a:buClr>
              <a:defRPr sz="1100">
                <a:solidFill>
                  <a:srgbClr val="000000"/>
                </a:solidFill>
              </a:defRPr>
            </a:lvl4pPr>
            <a:lvl5pPr>
              <a:defRPr sz="105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2"/>
          <p:cNvSpPr>
            <a:spLocks noGrp="1"/>
          </p:cNvSpPr>
          <p:nvPr>
            <p:ph sz="half" idx="13"/>
          </p:nvPr>
        </p:nvSpPr>
        <p:spPr>
          <a:xfrm>
            <a:off x="4611450" y="1339850"/>
            <a:ext cx="3878262" cy="4878388"/>
          </a:xfrm>
        </p:spPr>
        <p:txBody>
          <a:bodyPr lIns="91440"/>
          <a:lstStyle>
            <a:lvl1pPr>
              <a:spcBef>
                <a:spcPts val="600"/>
              </a:spcBef>
              <a:defRPr sz="1400">
                <a:solidFill>
                  <a:srgbClr val="7A9A3D"/>
                </a:solidFill>
              </a:defRPr>
            </a:lvl1pPr>
            <a:lvl2pPr marL="114300" indent="-114300">
              <a:spcBef>
                <a:spcPts val="600"/>
              </a:spcBef>
              <a:buClr>
                <a:srgbClr val="7A9A3D"/>
              </a:buClr>
              <a:defRPr sz="1200">
                <a:solidFill>
                  <a:srgbClr val="000000"/>
                </a:solidFill>
              </a:defRPr>
            </a:lvl2pPr>
            <a:lvl3pPr marL="228600" indent="-114300">
              <a:spcBef>
                <a:spcPts val="600"/>
              </a:spcBef>
              <a:buClr>
                <a:srgbClr val="7A9A3D"/>
              </a:buClr>
              <a:defRPr sz="1100">
                <a:solidFill>
                  <a:srgbClr val="000000"/>
                </a:solidFill>
              </a:defRPr>
            </a:lvl3pPr>
            <a:lvl4pPr marL="342900" indent="-114300">
              <a:spcBef>
                <a:spcPts val="600"/>
              </a:spcBef>
              <a:buClr>
                <a:srgbClr val="7A9A3D"/>
              </a:buClr>
              <a:defRPr sz="1100">
                <a:solidFill>
                  <a:srgbClr val="000000"/>
                </a:solidFill>
              </a:defRPr>
            </a:lvl4pPr>
            <a:lvl5pPr>
              <a:defRPr sz="105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grpSp>
        <p:nvGrpSpPr>
          <p:cNvPr id="35" name="Group 34">
            <a:extLst>
              <a:ext uri="{FF2B5EF4-FFF2-40B4-BE49-F238E27FC236}">
                <a16:creationId xmlns:a16="http://schemas.microsoft.com/office/drawing/2014/main" id="{2AFCA40D-8F58-429B-B9CC-8837A21EB90D}"/>
              </a:ext>
            </a:extLst>
          </p:cNvPr>
          <p:cNvGrpSpPr/>
          <p:nvPr userDrawn="1"/>
        </p:nvGrpSpPr>
        <p:grpSpPr>
          <a:xfrm>
            <a:off x="7358173" y="6361974"/>
            <a:ext cx="1382376" cy="297562"/>
            <a:chOff x="6923088" y="4475163"/>
            <a:chExt cx="1873251" cy="403225"/>
          </a:xfrm>
        </p:grpSpPr>
        <p:sp>
          <p:nvSpPr>
            <p:cNvPr id="36" name="AutoShape 4">
              <a:extLst>
                <a:ext uri="{FF2B5EF4-FFF2-40B4-BE49-F238E27FC236}">
                  <a16:creationId xmlns:a16="http://schemas.microsoft.com/office/drawing/2014/main" id="{8DFB9938-63A0-4A34-8449-BE002E9AF923}"/>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6">
              <a:extLst>
                <a:ext uri="{FF2B5EF4-FFF2-40B4-BE49-F238E27FC236}">
                  <a16:creationId xmlns:a16="http://schemas.microsoft.com/office/drawing/2014/main" id="{A28F1350-5F1B-44AA-821E-44CCD813CA02}"/>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7">
              <a:extLst>
                <a:ext uri="{FF2B5EF4-FFF2-40B4-BE49-F238E27FC236}">
                  <a16:creationId xmlns:a16="http://schemas.microsoft.com/office/drawing/2014/main" id="{FCCB5549-4BD4-4157-837C-79C5F090E2AB}"/>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83">
              <a:extLst>
                <a:ext uri="{FF2B5EF4-FFF2-40B4-BE49-F238E27FC236}">
                  <a16:creationId xmlns:a16="http://schemas.microsoft.com/office/drawing/2014/main" id="{E66A0397-0D9A-454D-B863-45119AA30F0A}"/>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84">
              <a:extLst>
                <a:ext uri="{FF2B5EF4-FFF2-40B4-BE49-F238E27FC236}">
                  <a16:creationId xmlns:a16="http://schemas.microsoft.com/office/drawing/2014/main" id="{1159932D-D4AA-4554-80A3-C5953FD235BD}"/>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85">
              <a:extLst>
                <a:ext uri="{FF2B5EF4-FFF2-40B4-BE49-F238E27FC236}">
                  <a16:creationId xmlns:a16="http://schemas.microsoft.com/office/drawing/2014/main" id="{99EA43E4-E207-4DE8-86BD-FE173B0D11B7}"/>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86">
              <a:extLst>
                <a:ext uri="{FF2B5EF4-FFF2-40B4-BE49-F238E27FC236}">
                  <a16:creationId xmlns:a16="http://schemas.microsoft.com/office/drawing/2014/main" id="{3D5E77D7-98DF-4F64-8E1D-556C5538EF71}"/>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87">
              <a:extLst>
                <a:ext uri="{FF2B5EF4-FFF2-40B4-BE49-F238E27FC236}">
                  <a16:creationId xmlns:a16="http://schemas.microsoft.com/office/drawing/2014/main" id="{1A7515BE-7CAE-4A11-A11B-4B99A5C9E2AC}"/>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88">
              <a:extLst>
                <a:ext uri="{FF2B5EF4-FFF2-40B4-BE49-F238E27FC236}">
                  <a16:creationId xmlns:a16="http://schemas.microsoft.com/office/drawing/2014/main" id="{D694EEF5-E4E7-45C7-8B2C-0BC6FA89E172}"/>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89">
              <a:extLst>
                <a:ext uri="{FF2B5EF4-FFF2-40B4-BE49-F238E27FC236}">
                  <a16:creationId xmlns:a16="http://schemas.microsoft.com/office/drawing/2014/main" id="{9F7A167B-7471-440D-A0ED-79CAA455AA23}"/>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90">
              <a:extLst>
                <a:ext uri="{FF2B5EF4-FFF2-40B4-BE49-F238E27FC236}">
                  <a16:creationId xmlns:a16="http://schemas.microsoft.com/office/drawing/2014/main" id="{FC6AE01D-51AE-4B9E-BEFD-19330091AB5D}"/>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91">
              <a:extLst>
                <a:ext uri="{FF2B5EF4-FFF2-40B4-BE49-F238E27FC236}">
                  <a16:creationId xmlns:a16="http://schemas.microsoft.com/office/drawing/2014/main" id="{B726AD82-47C6-47F3-9CE2-4A8F4DDCBDF9}"/>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92">
              <a:extLst>
                <a:ext uri="{FF2B5EF4-FFF2-40B4-BE49-F238E27FC236}">
                  <a16:creationId xmlns:a16="http://schemas.microsoft.com/office/drawing/2014/main" id="{214E2653-82A5-43E3-B666-1B0E9D70D71F}"/>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93">
              <a:extLst>
                <a:ext uri="{FF2B5EF4-FFF2-40B4-BE49-F238E27FC236}">
                  <a16:creationId xmlns:a16="http://schemas.microsoft.com/office/drawing/2014/main" id="{60F840A2-381E-4048-8295-88F95AC524FF}"/>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4">
              <a:extLst>
                <a:ext uri="{FF2B5EF4-FFF2-40B4-BE49-F238E27FC236}">
                  <a16:creationId xmlns:a16="http://schemas.microsoft.com/office/drawing/2014/main" id="{DFA6C402-3CCD-4FC6-A518-DE487141DAD7}"/>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5">
              <a:extLst>
                <a:ext uri="{FF2B5EF4-FFF2-40B4-BE49-F238E27FC236}">
                  <a16:creationId xmlns:a16="http://schemas.microsoft.com/office/drawing/2014/main" id="{6BCE0A60-59BA-4A31-84DF-83EF81C96B9E}"/>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6">
              <a:extLst>
                <a:ext uri="{FF2B5EF4-FFF2-40B4-BE49-F238E27FC236}">
                  <a16:creationId xmlns:a16="http://schemas.microsoft.com/office/drawing/2014/main" id="{64F2B275-69D4-4CE0-B768-F5AEE48D8E75}"/>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97">
              <a:extLst>
                <a:ext uri="{FF2B5EF4-FFF2-40B4-BE49-F238E27FC236}">
                  <a16:creationId xmlns:a16="http://schemas.microsoft.com/office/drawing/2014/main" id="{62B10CCD-9C7A-4E26-B43B-D74312D407B5}"/>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98">
              <a:extLst>
                <a:ext uri="{FF2B5EF4-FFF2-40B4-BE49-F238E27FC236}">
                  <a16:creationId xmlns:a16="http://schemas.microsoft.com/office/drawing/2014/main" id="{96F83C84-C17B-4B94-ACA5-05431674C481}"/>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99">
              <a:extLst>
                <a:ext uri="{FF2B5EF4-FFF2-40B4-BE49-F238E27FC236}">
                  <a16:creationId xmlns:a16="http://schemas.microsoft.com/office/drawing/2014/main" id="{1E05D619-B8D6-4805-A3F9-780F60543EB6}"/>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100">
              <a:extLst>
                <a:ext uri="{FF2B5EF4-FFF2-40B4-BE49-F238E27FC236}">
                  <a16:creationId xmlns:a16="http://schemas.microsoft.com/office/drawing/2014/main" id="{A0103845-613F-45A7-B66E-688FD3E3246E}"/>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01">
              <a:extLst>
                <a:ext uri="{FF2B5EF4-FFF2-40B4-BE49-F238E27FC236}">
                  <a16:creationId xmlns:a16="http://schemas.microsoft.com/office/drawing/2014/main" id="{DE8DA4D6-B281-47E4-A7BF-F95430547F0B}"/>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102">
              <a:extLst>
                <a:ext uri="{FF2B5EF4-FFF2-40B4-BE49-F238E27FC236}">
                  <a16:creationId xmlns:a16="http://schemas.microsoft.com/office/drawing/2014/main" id="{897DEA63-F6D7-489B-A9E8-1D2F3B2898E7}"/>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103">
              <a:extLst>
                <a:ext uri="{FF2B5EF4-FFF2-40B4-BE49-F238E27FC236}">
                  <a16:creationId xmlns:a16="http://schemas.microsoft.com/office/drawing/2014/main" id="{54874F82-9013-46F0-A138-0F6D2E53904F}"/>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104">
              <a:extLst>
                <a:ext uri="{FF2B5EF4-FFF2-40B4-BE49-F238E27FC236}">
                  <a16:creationId xmlns:a16="http://schemas.microsoft.com/office/drawing/2014/main" id="{7934340A-F61F-4A9C-BB0A-9854348706BB}"/>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 name="Freeform 105">
              <a:extLst>
                <a:ext uri="{FF2B5EF4-FFF2-40B4-BE49-F238E27FC236}">
                  <a16:creationId xmlns:a16="http://schemas.microsoft.com/office/drawing/2014/main" id="{5289D484-713A-4780-8642-C297A02968CC}"/>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3" name="Slide Number Placeholder 3">
            <a:extLst>
              <a:ext uri="{FF2B5EF4-FFF2-40B4-BE49-F238E27FC236}">
                <a16:creationId xmlns:a16="http://schemas.microsoft.com/office/drawing/2014/main" id="{962933B9-4871-4551-B211-283BF78E4B31}"/>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a:p>
        </p:txBody>
      </p:sp>
      <p:sp>
        <p:nvSpPr>
          <p:cNvPr id="64" name="Rectangle 155">
            <a:extLst>
              <a:ext uri="{FF2B5EF4-FFF2-40B4-BE49-F238E27FC236}">
                <a16:creationId xmlns:a16="http://schemas.microsoft.com/office/drawing/2014/main" id="{B7058636-AC71-4357-A634-03DF107B85A4}"/>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a:t>Production code #</a:t>
            </a:r>
          </a:p>
        </p:txBody>
      </p:sp>
      <p:sp>
        <p:nvSpPr>
          <p:cNvPr id="65" name="Rectangle 176">
            <a:extLst>
              <a:ext uri="{FF2B5EF4-FFF2-40B4-BE49-F238E27FC236}">
                <a16:creationId xmlns:a16="http://schemas.microsoft.com/office/drawing/2014/main" id="{6160F30A-F128-4555-90DE-A89193F5A54B}"/>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a:t>Page footer, i.e., For institutional use only.</a:t>
            </a:r>
          </a:p>
        </p:txBody>
      </p:sp>
    </p:spTree>
    <p:extLst>
      <p:ext uri="{BB962C8B-B14F-4D97-AF65-F5344CB8AC3E}">
        <p14:creationId xmlns:p14="http://schemas.microsoft.com/office/powerpoint/2010/main" val="3047281586"/>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264">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Back_Cover_Disclosures">
    <p:spTree>
      <p:nvGrpSpPr>
        <p:cNvPr id="1" name=""/>
        <p:cNvGrpSpPr/>
        <p:nvPr/>
      </p:nvGrpSpPr>
      <p:grpSpPr>
        <a:xfrm>
          <a:off x="0" y="0"/>
          <a:ext cx="0" cy="0"/>
          <a:chOff x="0" y="0"/>
          <a:chExt cx="0" cy="0"/>
        </a:xfrm>
      </p:grpSpPr>
      <p:sp>
        <p:nvSpPr>
          <p:cNvPr id="11" name="Content Placeholder 10"/>
          <p:cNvSpPr>
            <a:spLocks noGrp="1"/>
          </p:cNvSpPr>
          <p:nvPr>
            <p:ph sz="quarter" idx="15" hasCustomPrompt="1"/>
          </p:nvPr>
        </p:nvSpPr>
        <p:spPr>
          <a:xfrm>
            <a:off x="324088" y="6526412"/>
            <a:ext cx="711200" cy="214312"/>
          </a:xfrm>
        </p:spPr>
        <p:txBody>
          <a:bodyPr/>
          <a:lstStyle>
            <a:lvl1pPr>
              <a:defRPr sz="700" b="0">
                <a:solidFill>
                  <a:schemeClr val="tx1"/>
                </a:solidFill>
              </a:defRPr>
            </a:lvl1pPr>
            <a:lvl2pPr>
              <a:defRPr sz="700" b="0">
                <a:solidFill>
                  <a:schemeClr val="tx1"/>
                </a:solidFill>
              </a:defRPr>
            </a:lvl2pPr>
            <a:lvl3pPr>
              <a:defRPr sz="700" b="0">
                <a:solidFill>
                  <a:schemeClr val="tx1"/>
                </a:solidFill>
              </a:defRPr>
            </a:lvl3pPr>
            <a:lvl4pPr>
              <a:defRPr sz="700" b="0">
                <a:solidFill>
                  <a:schemeClr val="tx1"/>
                </a:solidFill>
              </a:defRPr>
            </a:lvl4pPr>
            <a:lvl5pPr>
              <a:defRPr sz="700" b="0">
                <a:solidFill>
                  <a:schemeClr val="tx1"/>
                </a:solidFill>
              </a:defRPr>
            </a:lvl5pPr>
          </a:lstStyle>
          <a:p>
            <a:pPr lvl="0"/>
            <a:r>
              <a:rPr lang="en-US"/>
              <a:t>XXXXXX.1.0</a:t>
            </a:r>
          </a:p>
        </p:txBody>
      </p:sp>
      <p:sp>
        <p:nvSpPr>
          <p:cNvPr id="6" name="Content Placeholder 5"/>
          <p:cNvSpPr>
            <a:spLocks noGrp="1"/>
          </p:cNvSpPr>
          <p:nvPr>
            <p:ph sz="quarter" idx="14" hasCustomPrompt="1"/>
          </p:nvPr>
        </p:nvSpPr>
        <p:spPr>
          <a:xfrm>
            <a:off x="1333500" y="6503543"/>
            <a:ext cx="6477000" cy="214312"/>
          </a:xfrm>
        </p:spPr>
        <p:txBody>
          <a:bodyPr/>
          <a:lstStyle>
            <a:lvl1pPr algn="ctr">
              <a:defRPr sz="900" b="0">
                <a:solidFill>
                  <a:schemeClr val="tx1"/>
                </a:solidFill>
              </a:defRPr>
            </a:lvl1pPr>
            <a:lvl2pPr algn="ctr">
              <a:defRPr sz="900" b="0">
                <a:solidFill>
                  <a:schemeClr val="tx1"/>
                </a:solidFill>
              </a:defRPr>
            </a:lvl2pPr>
            <a:lvl3pPr algn="ctr">
              <a:defRPr sz="900" b="0">
                <a:solidFill>
                  <a:schemeClr val="tx1"/>
                </a:solidFill>
              </a:defRPr>
            </a:lvl3pPr>
            <a:lvl4pPr algn="ctr">
              <a:defRPr sz="900" b="0">
                <a:solidFill>
                  <a:schemeClr val="tx1"/>
                </a:solidFill>
              </a:defRPr>
            </a:lvl4pPr>
            <a:lvl5pPr algn="ctr">
              <a:defRPr sz="900" b="0">
                <a:solidFill>
                  <a:schemeClr val="tx1"/>
                </a:solidFill>
              </a:defRPr>
            </a:lvl5pPr>
          </a:lstStyle>
          <a:p>
            <a:pPr lvl="0"/>
            <a:r>
              <a:rPr lang="en-US" altLang="en-US" sz="900"/>
              <a:t>BROKER/DEALER and ADDRESS PLACEHOLDER</a:t>
            </a:r>
          </a:p>
        </p:txBody>
      </p:sp>
      <p:sp>
        <p:nvSpPr>
          <p:cNvPr id="7" name="Content Placeholder 2"/>
          <p:cNvSpPr>
            <a:spLocks noGrp="1"/>
          </p:cNvSpPr>
          <p:nvPr>
            <p:ph idx="13" hasCustomPrompt="1"/>
          </p:nvPr>
        </p:nvSpPr>
        <p:spPr>
          <a:xfrm>
            <a:off x="325661" y="3228975"/>
            <a:ext cx="8506210" cy="2903538"/>
          </a:xfrm>
        </p:spPr>
        <p:txBody>
          <a:bodyPr lIns="91440" anchor="b"/>
          <a:lstStyle>
            <a:lvl1pPr marL="0" indent="0" algn="l" rtl="0" eaLnBrk="1" fontAlgn="base" hangingPunct="1">
              <a:spcBef>
                <a:spcPts val="300"/>
              </a:spcBef>
              <a:spcAft>
                <a:spcPct val="0"/>
              </a:spcAft>
              <a:buClrTx/>
              <a:buSzTx/>
              <a:buFontTx/>
              <a:buNone/>
              <a:defRPr lang="en-US" sz="1000" b="0" dirty="0" smtClean="0">
                <a:solidFill>
                  <a:schemeClr val="tx1"/>
                </a:solidFill>
              </a:defRPr>
            </a:lvl1pPr>
            <a:lvl2pPr>
              <a:spcBef>
                <a:spcPts val="2000"/>
              </a:spcBef>
              <a:defRPr lang="en-US" dirty="0" smtClean="0">
                <a:solidFill>
                  <a:schemeClr val="tx1"/>
                </a:solidFill>
                <a:latin typeface="+mn-lt"/>
              </a:defRPr>
            </a:lvl2pPr>
            <a:lvl3pPr>
              <a:defRPr lang="en-US" sz="1600" dirty="0" smtClean="0">
                <a:solidFill>
                  <a:schemeClr val="accent1"/>
                </a:solidFill>
                <a:latin typeface="+mn-lt"/>
              </a:defRPr>
            </a:lvl3pPr>
            <a:lvl4pPr>
              <a:buClr>
                <a:schemeClr val="bg2"/>
              </a:buClr>
              <a:buSzPct val="80000"/>
              <a:buFont typeface="Arial" pitchFamily="34" charset="0"/>
              <a:buChar char="•"/>
              <a:defRPr sz="1400">
                <a:solidFill>
                  <a:schemeClr val="accent1"/>
                </a:solidFill>
              </a:defRPr>
            </a:lvl4pPr>
          </a:lstStyle>
          <a:p>
            <a:pPr eaLnBrk="1" hangingPunct="1">
              <a:spcBef>
                <a:spcPts val="300"/>
              </a:spcBef>
              <a:buClrTx/>
              <a:buSzTx/>
              <a:buFontTx/>
              <a:buNone/>
            </a:pPr>
            <a:r>
              <a:rPr lang="en-US" sz="1000">
                <a:latin typeface="+mj-lt"/>
              </a:rPr>
              <a:t>Lorem ipsum e </a:t>
            </a:r>
            <a:r>
              <a:rPr lang="en-US" sz="1000" err="1">
                <a:latin typeface="+mj-lt"/>
              </a:rPr>
              <a:t>dolore</a:t>
            </a:r>
            <a:r>
              <a:rPr lang="en-US" sz="1000">
                <a:latin typeface="+mj-lt"/>
              </a:rPr>
              <a:t> sit </a:t>
            </a:r>
            <a:r>
              <a:rPr lang="en-US" sz="1000" err="1">
                <a:latin typeface="+mj-lt"/>
              </a:rPr>
              <a:t>amet</a:t>
            </a:r>
            <a:r>
              <a:rPr lang="en-US" sz="1000">
                <a:latin typeface="+mj-lt"/>
              </a:rPr>
              <a:t> con </a:t>
            </a:r>
            <a:r>
              <a:rPr lang="en-US" sz="1000" err="1">
                <a:latin typeface="+mj-lt"/>
              </a:rPr>
              <a:t>secuatur</a:t>
            </a:r>
            <a:r>
              <a:rPr lang="en-US" sz="1000">
                <a:latin typeface="+mj-lt"/>
              </a:rPr>
              <a:t> </a:t>
            </a:r>
            <a:r>
              <a:rPr lang="en-US" sz="1000" err="1">
                <a:latin typeface="+mj-lt"/>
              </a:rPr>
              <a:t>voltare</a:t>
            </a:r>
            <a:r>
              <a:rPr lang="en-US" sz="1000">
                <a:latin typeface="+mj-lt"/>
              </a:rPr>
              <a:t> sans </a:t>
            </a:r>
            <a:r>
              <a:rPr lang="en-US" sz="1000" err="1">
                <a:latin typeface="+mj-lt"/>
              </a:rPr>
              <a:t>hitre</a:t>
            </a:r>
            <a:r>
              <a:rPr lang="en-US" sz="1000">
                <a:latin typeface="+mj-lt"/>
              </a:rPr>
              <a:t> </a:t>
            </a:r>
            <a:r>
              <a:rPr lang="en-US" sz="1000" err="1">
                <a:latin typeface="+mj-lt"/>
              </a:rPr>
              <a:t>vintaxe</a:t>
            </a:r>
            <a:r>
              <a:rPr lang="en-US" sz="1000">
                <a:latin typeface="+mj-lt"/>
              </a:rPr>
              <a:t> </a:t>
            </a:r>
            <a:r>
              <a:rPr lang="en-US" sz="1000" err="1">
                <a:latin typeface="+mj-lt"/>
              </a:rPr>
              <a:t>ellert</a:t>
            </a:r>
            <a:r>
              <a:rPr lang="en-US" sz="1000">
                <a:latin typeface="+mj-lt"/>
              </a:rPr>
              <a:t>  ipsum e </a:t>
            </a:r>
            <a:r>
              <a:rPr lang="en-US" sz="1000" err="1">
                <a:latin typeface="+mj-lt"/>
              </a:rPr>
              <a:t>dolore</a:t>
            </a:r>
            <a:r>
              <a:rPr lang="en-US" sz="1000">
                <a:latin typeface="+mj-lt"/>
              </a:rPr>
              <a:t> sit </a:t>
            </a:r>
            <a:r>
              <a:rPr lang="en-US" sz="1000" err="1">
                <a:latin typeface="+mj-lt"/>
              </a:rPr>
              <a:t>amet</a:t>
            </a:r>
            <a:r>
              <a:rPr lang="en-US" sz="1000">
                <a:latin typeface="+mj-lt"/>
              </a:rPr>
              <a:t> con </a:t>
            </a:r>
            <a:r>
              <a:rPr lang="en-US" sz="1000" err="1">
                <a:latin typeface="+mj-lt"/>
              </a:rPr>
              <a:t>secuatur</a:t>
            </a:r>
            <a:r>
              <a:rPr lang="en-US" sz="1000">
                <a:latin typeface="+mj-lt"/>
              </a:rPr>
              <a:t> </a:t>
            </a:r>
            <a:r>
              <a:rPr lang="en-US" sz="1000" err="1">
                <a:latin typeface="+mj-lt"/>
              </a:rPr>
              <a:t>voltare</a:t>
            </a:r>
            <a:r>
              <a:rPr lang="en-US" sz="1000">
                <a:latin typeface="+mj-lt"/>
              </a:rPr>
              <a:t> sans </a:t>
            </a:r>
            <a:r>
              <a:rPr lang="en-US" sz="1000" err="1">
                <a:latin typeface="+mj-lt"/>
              </a:rPr>
              <a:t>hitre</a:t>
            </a:r>
            <a:r>
              <a:rPr lang="en-US" sz="1000">
                <a:latin typeface="+mj-lt"/>
              </a:rPr>
              <a:t> </a:t>
            </a:r>
            <a:r>
              <a:rPr lang="en-US" sz="1000" err="1">
                <a:latin typeface="+mj-lt"/>
              </a:rPr>
              <a:t>vintaxe</a:t>
            </a:r>
            <a:r>
              <a:rPr lang="en-US" sz="1000">
                <a:latin typeface="+mj-lt"/>
              </a:rPr>
              <a:t> </a:t>
            </a:r>
            <a:r>
              <a:rPr lang="en-US" sz="1000" err="1">
                <a:latin typeface="+mj-lt"/>
              </a:rPr>
              <a:t>ellert</a:t>
            </a:r>
            <a:r>
              <a:rPr lang="en-US" sz="1000">
                <a:latin typeface="+mj-lt"/>
              </a:rPr>
              <a:t>. Lorem ipsum e </a:t>
            </a:r>
            <a:r>
              <a:rPr lang="en-US" sz="1000" err="1">
                <a:latin typeface="+mj-lt"/>
              </a:rPr>
              <a:t>dolore</a:t>
            </a:r>
            <a:r>
              <a:rPr lang="en-US" sz="1000">
                <a:latin typeface="+mj-lt"/>
              </a:rPr>
              <a:t> sit </a:t>
            </a:r>
            <a:r>
              <a:rPr lang="en-US" sz="1000" err="1">
                <a:latin typeface="+mj-lt"/>
              </a:rPr>
              <a:t>amet</a:t>
            </a:r>
            <a:r>
              <a:rPr lang="en-US" sz="1000">
                <a:latin typeface="+mj-lt"/>
              </a:rPr>
              <a:t> con </a:t>
            </a:r>
            <a:r>
              <a:rPr lang="en-US" sz="1000" err="1">
                <a:latin typeface="+mj-lt"/>
              </a:rPr>
              <a:t>secuatur</a:t>
            </a:r>
            <a:r>
              <a:rPr lang="en-US" sz="1000">
                <a:latin typeface="+mj-lt"/>
              </a:rPr>
              <a:t> </a:t>
            </a:r>
            <a:r>
              <a:rPr lang="en-US" sz="1000" err="1">
                <a:latin typeface="+mj-lt"/>
              </a:rPr>
              <a:t>voltare</a:t>
            </a:r>
            <a:r>
              <a:rPr lang="en-US" sz="1000">
                <a:latin typeface="+mj-lt"/>
              </a:rPr>
              <a:t> sans </a:t>
            </a:r>
            <a:r>
              <a:rPr lang="en-US" sz="1000" err="1">
                <a:latin typeface="+mj-lt"/>
              </a:rPr>
              <a:t>hitre</a:t>
            </a:r>
            <a:r>
              <a:rPr lang="en-US" sz="1000">
                <a:latin typeface="+mj-lt"/>
              </a:rPr>
              <a:t> </a:t>
            </a:r>
            <a:r>
              <a:rPr lang="en-US" sz="1000" err="1">
                <a:latin typeface="+mj-lt"/>
              </a:rPr>
              <a:t>vintaxe</a:t>
            </a:r>
            <a:r>
              <a:rPr lang="en-US" sz="1000">
                <a:latin typeface="+mj-lt"/>
              </a:rPr>
              <a:t> </a:t>
            </a:r>
            <a:r>
              <a:rPr lang="en-US" sz="1000" err="1">
                <a:latin typeface="+mj-lt"/>
              </a:rPr>
              <a:t>ellert</a:t>
            </a:r>
            <a:r>
              <a:rPr lang="en-US" sz="1000">
                <a:latin typeface="+mj-lt"/>
              </a:rPr>
              <a:t>. Lorem ipsum e </a:t>
            </a:r>
            <a:r>
              <a:rPr lang="en-US" sz="1000" err="1">
                <a:latin typeface="+mj-lt"/>
              </a:rPr>
              <a:t>dolore</a:t>
            </a:r>
            <a:r>
              <a:rPr lang="en-US" sz="1000">
                <a:latin typeface="+mj-lt"/>
              </a:rPr>
              <a:t> sit </a:t>
            </a:r>
            <a:r>
              <a:rPr lang="en-US" sz="1000" err="1">
                <a:latin typeface="+mj-lt"/>
              </a:rPr>
              <a:t>amet</a:t>
            </a:r>
            <a:r>
              <a:rPr lang="en-US" sz="1000">
                <a:latin typeface="+mj-lt"/>
              </a:rPr>
              <a:t> con </a:t>
            </a:r>
            <a:r>
              <a:rPr lang="en-US" sz="1000" err="1">
                <a:latin typeface="+mj-lt"/>
              </a:rPr>
              <a:t>secuatur</a:t>
            </a:r>
            <a:r>
              <a:rPr lang="en-US" sz="1000">
                <a:latin typeface="+mj-lt"/>
              </a:rPr>
              <a:t> </a:t>
            </a:r>
            <a:r>
              <a:rPr lang="en-US" sz="1000" err="1">
                <a:latin typeface="+mj-lt"/>
              </a:rPr>
              <a:t>voltare</a:t>
            </a:r>
            <a:r>
              <a:rPr lang="en-US" sz="1000">
                <a:latin typeface="+mj-lt"/>
              </a:rPr>
              <a:t> sans </a:t>
            </a:r>
            <a:r>
              <a:rPr lang="en-US" sz="1000" err="1">
                <a:latin typeface="+mj-lt"/>
              </a:rPr>
              <a:t>hitre</a:t>
            </a:r>
            <a:r>
              <a:rPr lang="en-US" sz="1000">
                <a:latin typeface="+mj-lt"/>
              </a:rPr>
              <a:t> </a:t>
            </a:r>
            <a:r>
              <a:rPr lang="en-US" sz="1000" err="1">
                <a:latin typeface="+mj-lt"/>
              </a:rPr>
              <a:t>vintaxe</a:t>
            </a:r>
            <a:r>
              <a:rPr lang="en-US" sz="1000">
                <a:latin typeface="+mj-lt"/>
              </a:rPr>
              <a:t> </a:t>
            </a:r>
            <a:r>
              <a:rPr lang="en-US" sz="1000" err="1">
                <a:latin typeface="+mj-lt"/>
              </a:rPr>
              <a:t>ellert</a:t>
            </a:r>
            <a:r>
              <a:rPr lang="en-US" sz="1000">
                <a:latin typeface="+mj-lt"/>
              </a:rPr>
              <a:t>. Lorem ipsum e </a:t>
            </a:r>
            <a:r>
              <a:rPr lang="en-US" sz="1000" err="1">
                <a:latin typeface="+mj-lt"/>
              </a:rPr>
              <a:t>dolore</a:t>
            </a:r>
            <a:r>
              <a:rPr lang="en-US" sz="1000">
                <a:latin typeface="+mj-lt"/>
              </a:rPr>
              <a:t> sit </a:t>
            </a:r>
            <a:r>
              <a:rPr lang="en-US" sz="1000" err="1">
                <a:latin typeface="+mj-lt"/>
              </a:rPr>
              <a:t>amet</a:t>
            </a:r>
            <a:r>
              <a:rPr lang="en-US" sz="1000">
                <a:latin typeface="+mj-lt"/>
              </a:rPr>
              <a:t> con </a:t>
            </a:r>
            <a:r>
              <a:rPr lang="en-US" sz="1000" err="1">
                <a:latin typeface="+mj-lt"/>
              </a:rPr>
              <a:t>secuatur</a:t>
            </a:r>
            <a:r>
              <a:rPr lang="en-US" sz="1000">
                <a:latin typeface="+mj-lt"/>
              </a:rPr>
              <a:t> </a:t>
            </a:r>
            <a:r>
              <a:rPr lang="en-US" sz="1000" err="1">
                <a:latin typeface="+mj-lt"/>
              </a:rPr>
              <a:t>voltare</a:t>
            </a:r>
            <a:r>
              <a:rPr lang="en-US" sz="1000">
                <a:latin typeface="+mj-lt"/>
              </a:rPr>
              <a:t> sans </a:t>
            </a:r>
            <a:r>
              <a:rPr lang="en-US" sz="1000" err="1">
                <a:latin typeface="+mj-lt"/>
              </a:rPr>
              <a:t>hitre</a:t>
            </a:r>
            <a:r>
              <a:rPr lang="en-US" sz="1000">
                <a:latin typeface="+mj-lt"/>
              </a:rPr>
              <a:t> </a:t>
            </a:r>
            <a:r>
              <a:rPr lang="en-US" sz="1000" err="1">
                <a:latin typeface="+mj-lt"/>
              </a:rPr>
              <a:t>vintaxe</a:t>
            </a:r>
            <a:r>
              <a:rPr lang="en-US" sz="1000">
                <a:latin typeface="+mj-lt"/>
              </a:rPr>
              <a:t> </a:t>
            </a:r>
            <a:r>
              <a:rPr lang="en-US" sz="1000" err="1">
                <a:latin typeface="+mj-lt"/>
              </a:rPr>
              <a:t>ellert</a:t>
            </a:r>
            <a:r>
              <a:rPr lang="en-US" sz="1000">
                <a:latin typeface="+mj-lt"/>
              </a:rPr>
              <a:t>. Lorem ipsum e </a:t>
            </a:r>
            <a:r>
              <a:rPr lang="en-US" sz="1000" err="1">
                <a:latin typeface="+mj-lt"/>
              </a:rPr>
              <a:t>dolore</a:t>
            </a:r>
            <a:r>
              <a:rPr lang="en-US" sz="1000">
                <a:latin typeface="+mj-lt"/>
              </a:rPr>
              <a:t> sit </a:t>
            </a:r>
            <a:r>
              <a:rPr lang="en-US" sz="1000" err="1">
                <a:latin typeface="+mj-lt"/>
              </a:rPr>
              <a:t>amet</a:t>
            </a:r>
            <a:r>
              <a:rPr lang="en-US" sz="1000">
                <a:latin typeface="+mj-lt"/>
              </a:rPr>
              <a:t> con </a:t>
            </a:r>
            <a:r>
              <a:rPr lang="en-US" sz="1000" err="1">
                <a:latin typeface="+mj-lt"/>
              </a:rPr>
              <a:t>secuatur</a:t>
            </a:r>
            <a:r>
              <a:rPr lang="en-US" sz="1000">
                <a:latin typeface="+mj-lt"/>
              </a:rPr>
              <a:t> </a:t>
            </a:r>
            <a:r>
              <a:rPr lang="en-US" sz="1000" err="1">
                <a:latin typeface="+mj-lt"/>
              </a:rPr>
              <a:t>voltare</a:t>
            </a:r>
            <a:r>
              <a:rPr lang="en-US" sz="1000">
                <a:latin typeface="+mj-lt"/>
              </a:rPr>
              <a:t> sans </a:t>
            </a:r>
            <a:r>
              <a:rPr lang="en-US" sz="1000" err="1">
                <a:latin typeface="+mj-lt"/>
              </a:rPr>
              <a:t>hitre</a:t>
            </a:r>
            <a:r>
              <a:rPr lang="en-US" sz="1000">
                <a:latin typeface="+mj-lt"/>
              </a:rPr>
              <a:t> </a:t>
            </a:r>
            <a:r>
              <a:rPr lang="en-US" sz="1000" err="1">
                <a:latin typeface="+mj-lt"/>
              </a:rPr>
              <a:t>vintaxe</a:t>
            </a:r>
            <a:r>
              <a:rPr lang="en-US" sz="1000">
                <a:latin typeface="+mj-lt"/>
              </a:rPr>
              <a:t> </a:t>
            </a:r>
            <a:r>
              <a:rPr lang="en-US" sz="1000" err="1">
                <a:latin typeface="+mj-lt"/>
              </a:rPr>
              <a:t>ellert</a:t>
            </a:r>
            <a:r>
              <a:rPr lang="en-US" sz="1000">
                <a:latin typeface="+mj-lt"/>
              </a:rPr>
              <a:t>. Lorem ipsum e </a:t>
            </a:r>
            <a:r>
              <a:rPr lang="en-US" sz="1000" err="1">
                <a:latin typeface="+mj-lt"/>
              </a:rPr>
              <a:t>dolore</a:t>
            </a:r>
            <a:r>
              <a:rPr lang="en-US" sz="1000">
                <a:latin typeface="+mj-lt"/>
              </a:rPr>
              <a:t> sit </a:t>
            </a:r>
            <a:r>
              <a:rPr lang="en-US" sz="1000" err="1">
                <a:latin typeface="+mj-lt"/>
              </a:rPr>
              <a:t>amet</a:t>
            </a:r>
            <a:r>
              <a:rPr lang="en-US" sz="1000">
                <a:latin typeface="+mj-lt"/>
              </a:rPr>
              <a:t> con </a:t>
            </a:r>
            <a:r>
              <a:rPr lang="en-US" sz="1000" err="1">
                <a:latin typeface="+mj-lt"/>
              </a:rPr>
              <a:t>secuatur</a:t>
            </a:r>
            <a:r>
              <a:rPr lang="en-US" sz="1000">
                <a:latin typeface="+mj-lt"/>
              </a:rPr>
              <a:t> </a:t>
            </a:r>
            <a:r>
              <a:rPr lang="en-US" sz="1000" err="1">
                <a:latin typeface="+mj-lt"/>
              </a:rPr>
              <a:t>voltare</a:t>
            </a:r>
            <a:r>
              <a:rPr lang="en-US" sz="1000">
                <a:latin typeface="+mj-lt"/>
              </a:rPr>
              <a:t> sans </a:t>
            </a:r>
            <a:r>
              <a:rPr lang="en-US" sz="1000" err="1">
                <a:latin typeface="+mj-lt"/>
              </a:rPr>
              <a:t>hitre</a:t>
            </a:r>
            <a:r>
              <a:rPr lang="en-US" sz="1000">
                <a:latin typeface="+mj-lt"/>
              </a:rPr>
              <a:t> </a:t>
            </a:r>
            <a:r>
              <a:rPr lang="en-US" sz="1000" err="1">
                <a:latin typeface="+mj-lt"/>
              </a:rPr>
              <a:t>vintaxe</a:t>
            </a:r>
            <a:r>
              <a:rPr lang="en-US" sz="1000">
                <a:latin typeface="+mj-lt"/>
              </a:rPr>
              <a:t> </a:t>
            </a:r>
            <a:r>
              <a:rPr lang="en-US" sz="1000" err="1">
                <a:latin typeface="+mj-lt"/>
              </a:rPr>
              <a:t>ellert</a:t>
            </a:r>
            <a:r>
              <a:rPr lang="en-US" sz="1000">
                <a:latin typeface="+mj-lt"/>
              </a:rPr>
              <a:t>. Lorem ipsum e </a:t>
            </a:r>
            <a:r>
              <a:rPr lang="en-US" sz="1000" err="1">
                <a:latin typeface="+mj-lt"/>
              </a:rPr>
              <a:t>dolore</a:t>
            </a:r>
            <a:r>
              <a:rPr lang="en-US" sz="1000">
                <a:latin typeface="+mj-lt"/>
              </a:rPr>
              <a:t> sit </a:t>
            </a:r>
            <a:r>
              <a:rPr lang="en-US" sz="1000" err="1">
                <a:latin typeface="+mj-lt"/>
              </a:rPr>
              <a:t>amet</a:t>
            </a:r>
            <a:r>
              <a:rPr lang="en-US" sz="1000">
                <a:latin typeface="+mj-lt"/>
              </a:rPr>
              <a:t> con </a:t>
            </a:r>
            <a:r>
              <a:rPr lang="en-US" sz="1000" err="1">
                <a:latin typeface="+mj-lt"/>
              </a:rPr>
              <a:t>secuatur</a:t>
            </a:r>
            <a:r>
              <a:rPr lang="en-US" sz="1000">
                <a:latin typeface="+mj-lt"/>
              </a:rPr>
              <a:t> </a:t>
            </a:r>
            <a:r>
              <a:rPr lang="en-US" sz="1000" err="1">
                <a:latin typeface="+mj-lt"/>
              </a:rPr>
              <a:t>voltare</a:t>
            </a:r>
            <a:r>
              <a:rPr lang="en-US" sz="1000">
                <a:latin typeface="+mj-lt"/>
              </a:rPr>
              <a:t> sans </a:t>
            </a:r>
            <a:r>
              <a:rPr lang="en-US" sz="1000" err="1">
                <a:latin typeface="+mj-lt"/>
              </a:rPr>
              <a:t>hitre</a:t>
            </a:r>
            <a:r>
              <a:rPr lang="en-US" sz="1000">
                <a:latin typeface="+mj-lt"/>
              </a:rPr>
              <a:t> </a:t>
            </a:r>
            <a:r>
              <a:rPr lang="en-US" sz="1000" err="1">
                <a:latin typeface="+mj-lt"/>
              </a:rPr>
              <a:t>vintaxe</a:t>
            </a:r>
            <a:r>
              <a:rPr lang="en-US" sz="1000">
                <a:latin typeface="+mj-lt"/>
              </a:rPr>
              <a:t> </a:t>
            </a:r>
            <a:r>
              <a:rPr lang="en-US" sz="1000" err="1">
                <a:latin typeface="+mj-lt"/>
              </a:rPr>
              <a:t>ellert</a:t>
            </a:r>
            <a:r>
              <a:rPr lang="en-US" sz="1000">
                <a:latin typeface="+mj-lt"/>
              </a:rPr>
              <a:t>. sit </a:t>
            </a:r>
            <a:r>
              <a:rPr lang="en-US" sz="1000" err="1">
                <a:latin typeface="+mj-lt"/>
              </a:rPr>
              <a:t>amet</a:t>
            </a:r>
            <a:r>
              <a:rPr lang="en-US" sz="1000">
                <a:latin typeface="+mj-lt"/>
              </a:rPr>
              <a:t> con </a:t>
            </a:r>
            <a:r>
              <a:rPr lang="en-US" sz="1000" err="1">
                <a:latin typeface="+mj-lt"/>
              </a:rPr>
              <a:t>secuatur</a:t>
            </a:r>
            <a:r>
              <a:rPr lang="en-US" sz="1000">
                <a:latin typeface="+mj-lt"/>
              </a:rPr>
              <a:t> </a:t>
            </a:r>
            <a:r>
              <a:rPr lang="en-US" sz="1000" err="1">
                <a:latin typeface="+mj-lt"/>
              </a:rPr>
              <a:t>voltare</a:t>
            </a:r>
            <a:r>
              <a:rPr lang="en-US" sz="1000">
                <a:latin typeface="+mj-lt"/>
              </a:rPr>
              <a:t> sans </a:t>
            </a:r>
            <a:r>
              <a:rPr lang="en-US" sz="1000" err="1">
                <a:latin typeface="+mj-lt"/>
              </a:rPr>
              <a:t>hitre</a:t>
            </a:r>
            <a:r>
              <a:rPr lang="en-US" sz="1000">
                <a:latin typeface="+mj-lt"/>
              </a:rPr>
              <a:t> </a:t>
            </a:r>
            <a:r>
              <a:rPr lang="en-US" sz="1000" err="1">
                <a:latin typeface="+mj-lt"/>
              </a:rPr>
              <a:t>vintaxe</a:t>
            </a:r>
            <a:r>
              <a:rPr lang="en-US" sz="1000">
                <a:latin typeface="+mj-lt"/>
              </a:rPr>
              <a:t> </a:t>
            </a:r>
            <a:r>
              <a:rPr lang="en-US" sz="1000" err="1">
                <a:latin typeface="+mj-lt"/>
              </a:rPr>
              <a:t>ellert</a:t>
            </a:r>
            <a:r>
              <a:rPr lang="en-US" sz="1000">
                <a:latin typeface="+mj-lt"/>
              </a:rPr>
              <a:t>. Lorem ipsum e </a:t>
            </a:r>
            <a:r>
              <a:rPr lang="en-US" sz="1000" err="1">
                <a:latin typeface="+mj-lt"/>
              </a:rPr>
              <a:t>dolore</a:t>
            </a:r>
            <a:r>
              <a:rPr lang="en-US" sz="1000">
                <a:latin typeface="+mj-lt"/>
              </a:rPr>
              <a:t> sit </a:t>
            </a:r>
            <a:r>
              <a:rPr lang="en-US" sz="1000" err="1">
                <a:latin typeface="+mj-lt"/>
              </a:rPr>
              <a:t>amet</a:t>
            </a:r>
            <a:r>
              <a:rPr lang="en-US" sz="1000">
                <a:latin typeface="+mj-lt"/>
              </a:rPr>
              <a:t> con </a:t>
            </a:r>
            <a:r>
              <a:rPr lang="en-US" sz="1000" err="1">
                <a:latin typeface="+mj-lt"/>
              </a:rPr>
              <a:t>secuatur</a:t>
            </a:r>
            <a:r>
              <a:rPr lang="en-US" sz="1000">
                <a:latin typeface="+mj-lt"/>
              </a:rPr>
              <a:t> </a:t>
            </a:r>
            <a:r>
              <a:rPr lang="en-US" sz="1000" err="1">
                <a:latin typeface="+mj-lt"/>
              </a:rPr>
              <a:t>voltare</a:t>
            </a:r>
            <a:r>
              <a:rPr lang="en-US" sz="1000">
                <a:latin typeface="+mj-lt"/>
              </a:rPr>
              <a:t> sans </a:t>
            </a:r>
            <a:r>
              <a:rPr lang="en-US" sz="1000" err="1">
                <a:latin typeface="+mj-lt"/>
              </a:rPr>
              <a:t>hitre</a:t>
            </a:r>
            <a:r>
              <a:rPr lang="en-US" sz="1000">
                <a:latin typeface="+mj-lt"/>
              </a:rPr>
              <a:t> </a:t>
            </a:r>
            <a:r>
              <a:rPr lang="en-US" sz="1000" err="1">
                <a:latin typeface="+mj-lt"/>
              </a:rPr>
              <a:t>vintaxe</a:t>
            </a:r>
            <a:r>
              <a:rPr lang="en-US" sz="1000">
                <a:latin typeface="+mj-lt"/>
              </a:rPr>
              <a:t> </a:t>
            </a:r>
            <a:r>
              <a:rPr lang="en-US" sz="1000" err="1">
                <a:latin typeface="+mj-lt"/>
              </a:rPr>
              <a:t>ellert</a:t>
            </a:r>
            <a:r>
              <a:rPr lang="en-US" sz="1000">
                <a:latin typeface="+mj-lt"/>
              </a:rPr>
              <a:t>. Lorem ipsum e </a:t>
            </a:r>
            <a:r>
              <a:rPr lang="en-US" sz="1000" err="1">
                <a:latin typeface="+mj-lt"/>
              </a:rPr>
              <a:t>dolore</a:t>
            </a:r>
            <a:r>
              <a:rPr lang="en-US" sz="1000">
                <a:latin typeface="+mj-lt"/>
              </a:rPr>
              <a:t> sit </a:t>
            </a:r>
            <a:r>
              <a:rPr lang="en-US" sz="1000" err="1">
                <a:latin typeface="+mj-lt"/>
              </a:rPr>
              <a:t>amet</a:t>
            </a:r>
            <a:r>
              <a:rPr lang="en-US" sz="1000">
                <a:latin typeface="+mj-lt"/>
              </a:rPr>
              <a:t> con </a:t>
            </a:r>
            <a:r>
              <a:rPr lang="en-US" sz="1000" err="1">
                <a:latin typeface="+mj-lt"/>
              </a:rPr>
              <a:t>secuatur</a:t>
            </a:r>
            <a:r>
              <a:rPr lang="en-US" sz="1000">
                <a:latin typeface="+mj-lt"/>
              </a:rPr>
              <a:t> </a:t>
            </a:r>
            <a:r>
              <a:rPr lang="en-US" sz="1000" err="1">
                <a:latin typeface="+mj-lt"/>
              </a:rPr>
              <a:t>voltare</a:t>
            </a:r>
            <a:r>
              <a:rPr lang="en-US" sz="1000">
                <a:latin typeface="+mj-lt"/>
              </a:rPr>
              <a:t> sans </a:t>
            </a:r>
            <a:r>
              <a:rPr lang="en-US" sz="1000" err="1">
                <a:latin typeface="+mj-lt"/>
              </a:rPr>
              <a:t>hitre</a:t>
            </a:r>
            <a:r>
              <a:rPr lang="en-US" sz="1000">
                <a:latin typeface="+mj-lt"/>
              </a:rPr>
              <a:t> </a:t>
            </a:r>
            <a:r>
              <a:rPr lang="en-US" sz="1000" err="1">
                <a:latin typeface="+mj-lt"/>
              </a:rPr>
              <a:t>vintaxe</a:t>
            </a:r>
            <a:r>
              <a:rPr lang="en-US" sz="1000">
                <a:latin typeface="+mj-lt"/>
              </a:rPr>
              <a:t> </a:t>
            </a:r>
            <a:r>
              <a:rPr lang="en-US" sz="1000" err="1">
                <a:latin typeface="+mj-lt"/>
              </a:rPr>
              <a:t>ellert</a:t>
            </a:r>
            <a:r>
              <a:rPr lang="en-US" sz="1000">
                <a:latin typeface="+mj-lt"/>
              </a:rPr>
              <a:t>. Lorem ipsum e </a:t>
            </a:r>
            <a:r>
              <a:rPr lang="en-US" sz="1000" err="1">
                <a:latin typeface="+mj-lt"/>
              </a:rPr>
              <a:t>dolore</a:t>
            </a:r>
            <a:r>
              <a:rPr lang="en-US" sz="1000">
                <a:latin typeface="+mj-lt"/>
              </a:rPr>
              <a:t> sit </a:t>
            </a:r>
            <a:r>
              <a:rPr lang="en-US" sz="1000" err="1">
                <a:latin typeface="+mj-lt"/>
              </a:rPr>
              <a:t>amet</a:t>
            </a:r>
            <a:r>
              <a:rPr lang="en-US" sz="1000">
                <a:latin typeface="+mj-lt"/>
              </a:rPr>
              <a:t> con </a:t>
            </a:r>
            <a:r>
              <a:rPr lang="en-US" sz="1000" err="1">
                <a:latin typeface="+mj-lt"/>
              </a:rPr>
              <a:t>secuatur</a:t>
            </a:r>
            <a:r>
              <a:rPr lang="en-US" sz="1000">
                <a:latin typeface="+mj-lt"/>
              </a:rPr>
              <a:t> </a:t>
            </a:r>
            <a:r>
              <a:rPr lang="en-US" sz="1000" err="1">
                <a:latin typeface="+mj-lt"/>
              </a:rPr>
              <a:t>voltare</a:t>
            </a:r>
            <a:r>
              <a:rPr lang="en-US" sz="1000">
                <a:latin typeface="+mj-lt"/>
              </a:rPr>
              <a:t> sans </a:t>
            </a:r>
            <a:r>
              <a:rPr lang="en-US" sz="1000" err="1">
                <a:latin typeface="+mj-lt"/>
              </a:rPr>
              <a:t>hitre</a:t>
            </a:r>
            <a:r>
              <a:rPr lang="en-US" sz="1000">
                <a:latin typeface="+mj-lt"/>
              </a:rPr>
              <a:t> </a:t>
            </a:r>
            <a:r>
              <a:rPr lang="en-US" sz="1000" err="1">
                <a:latin typeface="+mj-lt"/>
              </a:rPr>
              <a:t>vintaxe</a:t>
            </a:r>
            <a:r>
              <a:rPr lang="en-US" sz="1000">
                <a:latin typeface="+mj-lt"/>
              </a:rPr>
              <a:t> </a:t>
            </a:r>
            <a:r>
              <a:rPr lang="en-US" sz="1000" err="1">
                <a:latin typeface="+mj-lt"/>
              </a:rPr>
              <a:t>ellert</a:t>
            </a:r>
            <a:r>
              <a:rPr lang="en-US" sz="1000">
                <a:latin typeface="+mj-lt"/>
              </a:rPr>
              <a:t>. Lorem ipsum e </a:t>
            </a:r>
            <a:r>
              <a:rPr lang="en-US" sz="1000" err="1">
                <a:latin typeface="+mj-lt"/>
              </a:rPr>
              <a:t>dolore</a:t>
            </a:r>
            <a:r>
              <a:rPr lang="en-US" sz="1000">
                <a:latin typeface="+mj-lt"/>
              </a:rPr>
              <a:t> sit </a:t>
            </a:r>
            <a:r>
              <a:rPr lang="en-US" sz="1000" err="1">
                <a:latin typeface="+mj-lt"/>
              </a:rPr>
              <a:t>amet</a:t>
            </a:r>
            <a:r>
              <a:rPr lang="en-US" sz="1000">
                <a:latin typeface="+mj-lt"/>
              </a:rPr>
              <a:t> con </a:t>
            </a:r>
            <a:r>
              <a:rPr lang="en-US" sz="1000" err="1">
                <a:latin typeface="+mj-lt"/>
              </a:rPr>
              <a:t>secuatur</a:t>
            </a:r>
            <a:r>
              <a:rPr lang="en-US" sz="1000">
                <a:latin typeface="+mj-lt"/>
              </a:rPr>
              <a:t> </a:t>
            </a:r>
            <a:r>
              <a:rPr lang="en-US" sz="1000" err="1">
                <a:latin typeface="+mj-lt"/>
              </a:rPr>
              <a:t>voltare</a:t>
            </a:r>
            <a:r>
              <a:rPr lang="en-US" sz="1000">
                <a:latin typeface="+mj-lt"/>
              </a:rPr>
              <a:t> sans </a:t>
            </a:r>
            <a:r>
              <a:rPr lang="en-US" sz="1000" err="1">
                <a:latin typeface="+mj-lt"/>
              </a:rPr>
              <a:t>hitre</a:t>
            </a:r>
            <a:r>
              <a:rPr lang="en-US" sz="1000">
                <a:latin typeface="+mj-lt"/>
              </a:rPr>
              <a:t> </a:t>
            </a:r>
            <a:r>
              <a:rPr lang="en-US" sz="1000" err="1">
                <a:latin typeface="+mj-lt"/>
              </a:rPr>
              <a:t>vintaxe</a:t>
            </a:r>
            <a:r>
              <a:rPr lang="en-US" sz="1000">
                <a:latin typeface="+mj-lt"/>
              </a:rPr>
              <a:t> </a:t>
            </a:r>
            <a:r>
              <a:rPr lang="en-US" sz="1000" err="1">
                <a:latin typeface="+mj-lt"/>
              </a:rPr>
              <a:t>ellert</a:t>
            </a:r>
            <a:r>
              <a:rPr lang="en-US" sz="1000">
                <a:latin typeface="+mj-lt"/>
              </a:rPr>
              <a:t>. Lorem ipsum e </a:t>
            </a:r>
            <a:r>
              <a:rPr lang="en-US" sz="1000" err="1">
                <a:latin typeface="+mj-lt"/>
              </a:rPr>
              <a:t>dolore</a:t>
            </a:r>
            <a:r>
              <a:rPr lang="en-US" sz="1000">
                <a:latin typeface="+mj-lt"/>
              </a:rPr>
              <a:t> sit </a:t>
            </a:r>
            <a:r>
              <a:rPr lang="en-US" sz="1000" err="1">
                <a:latin typeface="+mj-lt"/>
              </a:rPr>
              <a:t>amet</a:t>
            </a:r>
            <a:r>
              <a:rPr lang="en-US" sz="1000">
                <a:latin typeface="+mj-lt"/>
              </a:rPr>
              <a:t> con </a:t>
            </a:r>
            <a:r>
              <a:rPr lang="en-US" sz="1000" err="1">
                <a:latin typeface="+mj-lt"/>
              </a:rPr>
              <a:t>secuatur</a:t>
            </a:r>
            <a:r>
              <a:rPr lang="en-US" sz="1000">
                <a:latin typeface="+mj-lt"/>
              </a:rPr>
              <a:t> </a:t>
            </a:r>
            <a:r>
              <a:rPr lang="en-US" sz="1000" err="1">
                <a:latin typeface="+mj-lt"/>
              </a:rPr>
              <a:t>voltare</a:t>
            </a:r>
            <a:r>
              <a:rPr lang="en-US" sz="1000">
                <a:latin typeface="+mj-lt"/>
              </a:rPr>
              <a:t> sans </a:t>
            </a:r>
            <a:r>
              <a:rPr lang="en-US" sz="1000" err="1">
                <a:latin typeface="+mj-lt"/>
              </a:rPr>
              <a:t>hitre</a:t>
            </a:r>
            <a:r>
              <a:rPr lang="en-US" sz="1000">
                <a:latin typeface="+mj-lt"/>
              </a:rPr>
              <a:t> </a:t>
            </a:r>
            <a:r>
              <a:rPr lang="en-US" sz="1000" err="1">
                <a:latin typeface="+mj-lt"/>
              </a:rPr>
              <a:t>vintaxe</a:t>
            </a:r>
            <a:r>
              <a:rPr lang="en-US" sz="1000">
                <a:latin typeface="+mj-lt"/>
              </a:rPr>
              <a:t> </a:t>
            </a:r>
            <a:r>
              <a:rPr lang="en-US" sz="1000" err="1">
                <a:latin typeface="+mj-lt"/>
              </a:rPr>
              <a:t>ellert</a:t>
            </a:r>
            <a:r>
              <a:rPr lang="en-US" sz="1000">
                <a:latin typeface="+mj-lt"/>
              </a:rPr>
              <a:t>. Lorem ipsum e </a:t>
            </a:r>
            <a:r>
              <a:rPr lang="en-US" sz="1000" err="1">
                <a:latin typeface="+mj-lt"/>
              </a:rPr>
              <a:t>dolore</a:t>
            </a:r>
            <a:r>
              <a:rPr lang="en-US" sz="1000">
                <a:latin typeface="+mj-lt"/>
              </a:rPr>
              <a:t> sit </a:t>
            </a:r>
            <a:r>
              <a:rPr lang="en-US" sz="1000" err="1">
                <a:latin typeface="+mj-lt"/>
              </a:rPr>
              <a:t>amet</a:t>
            </a:r>
            <a:r>
              <a:rPr lang="en-US" sz="1000">
                <a:latin typeface="+mj-lt"/>
              </a:rPr>
              <a:t> con </a:t>
            </a:r>
            <a:r>
              <a:rPr lang="en-US" sz="1000" err="1">
                <a:latin typeface="+mj-lt"/>
              </a:rPr>
              <a:t>secuatur</a:t>
            </a:r>
            <a:r>
              <a:rPr lang="en-US" sz="1000">
                <a:latin typeface="+mj-lt"/>
              </a:rPr>
              <a:t> </a:t>
            </a:r>
            <a:r>
              <a:rPr lang="en-US" sz="1000" err="1">
                <a:latin typeface="+mj-lt"/>
              </a:rPr>
              <a:t>voltare</a:t>
            </a:r>
            <a:r>
              <a:rPr lang="en-US" sz="1000">
                <a:latin typeface="+mj-lt"/>
              </a:rPr>
              <a:t> sans </a:t>
            </a:r>
            <a:r>
              <a:rPr lang="en-US" sz="1000" err="1">
                <a:latin typeface="+mj-lt"/>
              </a:rPr>
              <a:t>hitre</a:t>
            </a:r>
            <a:r>
              <a:rPr lang="en-US" sz="1000">
                <a:latin typeface="+mj-lt"/>
              </a:rPr>
              <a:t> </a:t>
            </a:r>
            <a:r>
              <a:rPr lang="en-US" sz="1000" err="1">
                <a:latin typeface="+mj-lt"/>
              </a:rPr>
              <a:t>vintaxe</a:t>
            </a:r>
            <a:r>
              <a:rPr lang="en-US" sz="1000">
                <a:latin typeface="+mj-lt"/>
              </a:rPr>
              <a:t> </a:t>
            </a:r>
            <a:r>
              <a:rPr lang="en-US" sz="1000" err="1">
                <a:latin typeface="+mj-lt"/>
              </a:rPr>
              <a:t>ellert</a:t>
            </a:r>
            <a:r>
              <a:rPr lang="en-US" sz="1000">
                <a:latin typeface="+mj-lt"/>
              </a:rPr>
              <a:t>.</a:t>
            </a:r>
          </a:p>
          <a:p>
            <a:pPr eaLnBrk="1" hangingPunct="1">
              <a:spcBef>
                <a:spcPts val="300"/>
              </a:spcBef>
              <a:buClrTx/>
              <a:buSzTx/>
              <a:buFontTx/>
              <a:buNone/>
            </a:pPr>
            <a:r>
              <a:rPr lang="en-US" sz="1000" b="1">
                <a:latin typeface="+mj-lt"/>
              </a:rPr>
              <a:t>Lorem ipsum e </a:t>
            </a:r>
            <a:r>
              <a:rPr lang="en-US" sz="1000" b="1" err="1">
                <a:latin typeface="+mj-lt"/>
              </a:rPr>
              <a:t>dolore</a:t>
            </a:r>
            <a:r>
              <a:rPr lang="en-US" sz="1000" b="1">
                <a:latin typeface="+mj-lt"/>
              </a:rPr>
              <a:t> sit </a:t>
            </a:r>
            <a:r>
              <a:rPr lang="en-US" sz="1000" b="1" err="1">
                <a:latin typeface="+mj-lt"/>
              </a:rPr>
              <a:t>amet</a:t>
            </a:r>
            <a:r>
              <a:rPr lang="en-US" sz="1000" b="1">
                <a:latin typeface="+mj-lt"/>
              </a:rPr>
              <a:t> con </a:t>
            </a:r>
            <a:r>
              <a:rPr lang="en-US" sz="1000" b="1" err="1">
                <a:latin typeface="+mj-lt"/>
              </a:rPr>
              <a:t>secuatur</a:t>
            </a:r>
            <a:r>
              <a:rPr lang="en-US" sz="1000" b="1">
                <a:latin typeface="+mj-lt"/>
              </a:rPr>
              <a:t> </a:t>
            </a:r>
            <a:r>
              <a:rPr lang="en-US" sz="1000" b="1" err="1">
                <a:latin typeface="+mj-lt"/>
              </a:rPr>
              <a:t>voltare</a:t>
            </a:r>
            <a:r>
              <a:rPr lang="en-US" sz="1000" b="1">
                <a:latin typeface="+mj-lt"/>
              </a:rPr>
              <a:t> sans </a:t>
            </a:r>
            <a:r>
              <a:rPr lang="en-US" sz="1000" b="1" err="1">
                <a:latin typeface="+mj-lt"/>
              </a:rPr>
              <a:t>hitre</a:t>
            </a:r>
            <a:r>
              <a:rPr lang="en-US" sz="1000" b="1">
                <a:latin typeface="+mj-lt"/>
              </a:rPr>
              <a:t> </a:t>
            </a:r>
            <a:r>
              <a:rPr lang="en-US" sz="1000" b="1" err="1">
                <a:latin typeface="+mj-lt"/>
              </a:rPr>
              <a:t>vintaxe</a:t>
            </a:r>
            <a:r>
              <a:rPr lang="en-US" sz="1000" b="1">
                <a:latin typeface="+mj-lt"/>
              </a:rPr>
              <a:t> </a:t>
            </a:r>
            <a:r>
              <a:rPr lang="en-US" sz="1000" b="1" err="1">
                <a:latin typeface="+mj-lt"/>
              </a:rPr>
              <a:t>ellert</a:t>
            </a:r>
            <a:r>
              <a:rPr lang="en-US" sz="1000" b="1">
                <a:latin typeface="+mj-lt"/>
              </a:rPr>
              <a:t>  ipsum e </a:t>
            </a:r>
            <a:r>
              <a:rPr lang="en-US" sz="1000" b="1" err="1">
                <a:latin typeface="+mj-lt"/>
              </a:rPr>
              <a:t>dolore</a:t>
            </a:r>
            <a:r>
              <a:rPr lang="en-US" sz="1000" b="1">
                <a:latin typeface="+mj-lt"/>
              </a:rPr>
              <a:t> sit </a:t>
            </a:r>
            <a:r>
              <a:rPr lang="en-US" sz="1000" b="1" err="1">
                <a:latin typeface="+mj-lt"/>
              </a:rPr>
              <a:t>amet</a:t>
            </a:r>
            <a:r>
              <a:rPr lang="en-US" sz="1000" b="1">
                <a:latin typeface="+mj-lt"/>
              </a:rPr>
              <a:t> con </a:t>
            </a:r>
            <a:r>
              <a:rPr lang="en-US" sz="1000" b="1" err="1">
                <a:latin typeface="+mj-lt"/>
              </a:rPr>
              <a:t>secuatur</a:t>
            </a:r>
            <a:r>
              <a:rPr lang="en-US" sz="1000" b="1">
                <a:latin typeface="+mj-lt"/>
              </a:rPr>
              <a:t> </a:t>
            </a:r>
            <a:r>
              <a:rPr lang="en-US" sz="1000" b="1" err="1">
                <a:latin typeface="+mj-lt"/>
              </a:rPr>
              <a:t>voltare</a:t>
            </a:r>
            <a:r>
              <a:rPr lang="en-US" sz="1000" b="1">
                <a:latin typeface="+mj-lt"/>
              </a:rPr>
              <a:t> sans </a:t>
            </a:r>
            <a:r>
              <a:rPr lang="en-US" sz="1000" b="1" err="1">
                <a:latin typeface="+mj-lt"/>
              </a:rPr>
              <a:t>hitre</a:t>
            </a:r>
            <a:r>
              <a:rPr lang="en-US" sz="1000" b="1">
                <a:latin typeface="+mj-lt"/>
              </a:rPr>
              <a:t> </a:t>
            </a:r>
            <a:r>
              <a:rPr lang="en-US" sz="1000" b="1" err="1">
                <a:latin typeface="+mj-lt"/>
              </a:rPr>
              <a:t>vintaxe</a:t>
            </a:r>
            <a:r>
              <a:rPr lang="en-US" sz="1000" b="1">
                <a:latin typeface="+mj-lt"/>
              </a:rPr>
              <a:t> </a:t>
            </a:r>
            <a:r>
              <a:rPr lang="en-US" sz="1000" b="1" err="1">
                <a:latin typeface="+mj-lt"/>
              </a:rPr>
              <a:t>ellert</a:t>
            </a:r>
            <a:r>
              <a:rPr lang="en-US" sz="1000" b="1">
                <a:latin typeface="+mj-lt"/>
              </a:rPr>
              <a:t>. Lorem ipsum e </a:t>
            </a:r>
            <a:r>
              <a:rPr lang="en-US" sz="1000" b="1" err="1">
                <a:latin typeface="+mj-lt"/>
              </a:rPr>
              <a:t>dolore</a:t>
            </a:r>
            <a:r>
              <a:rPr lang="en-US" sz="1000" b="1">
                <a:latin typeface="+mj-lt"/>
              </a:rPr>
              <a:t> sit </a:t>
            </a:r>
            <a:r>
              <a:rPr lang="en-US" sz="1000" b="1" err="1">
                <a:latin typeface="+mj-lt"/>
              </a:rPr>
              <a:t>amet</a:t>
            </a:r>
            <a:r>
              <a:rPr lang="en-US" sz="1000" b="1">
                <a:latin typeface="+mj-lt"/>
              </a:rPr>
              <a:t> con </a:t>
            </a:r>
            <a:r>
              <a:rPr lang="en-US" sz="1000" b="1" err="1">
                <a:latin typeface="+mj-lt"/>
              </a:rPr>
              <a:t>secuatur</a:t>
            </a:r>
            <a:r>
              <a:rPr lang="en-US" sz="1000" b="1">
                <a:latin typeface="+mj-lt"/>
              </a:rPr>
              <a:t> </a:t>
            </a:r>
            <a:r>
              <a:rPr lang="en-US" sz="1000" b="1" err="1">
                <a:latin typeface="+mj-lt"/>
              </a:rPr>
              <a:t>voltare</a:t>
            </a:r>
            <a:r>
              <a:rPr lang="en-US" sz="1000" b="1">
                <a:latin typeface="+mj-lt"/>
              </a:rPr>
              <a:t> sans </a:t>
            </a:r>
            <a:r>
              <a:rPr lang="en-US" sz="1000" b="1" err="1">
                <a:latin typeface="+mj-lt"/>
              </a:rPr>
              <a:t>hitre</a:t>
            </a:r>
            <a:r>
              <a:rPr lang="en-US" sz="1000" b="1">
                <a:latin typeface="+mj-lt"/>
              </a:rPr>
              <a:t> </a:t>
            </a:r>
            <a:r>
              <a:rPr lang="en-US" sz="1000" b="1" err="1">
                <a:latin typeface="+mj-lt"/>
              </a:rPr>
              <a:t>vintaxe</a:t>
            </a:r>
            <a:r>
              <a:rPr lang="en-US" sz="1000" b="1">
                <a:latin typeface="+mj-lt"/>
              </a:rPr>
              <a:t> </a:t>
            </a:r>
            <a:r>
              <a:rPr lang="en-US" sz="1000" b="1" err="1">
                <a:latin typeface="+mj-lt"/>
              </a:rPr>
              <a:t>ellert</a:t>
            </a:r>
            <a:r>
              <a:rPr lang="en-US" sz="1000" b="1">
                <a:latin typeface="+mj-lt"/>
              </a:rPr>
              <a:t>. Lorem ipsum e </a:t>
            </a:r>
            <a:r>
              <a:rPr lang="en-US" sz="1000" b="1" err="1">
                <a:latin typeface="+mj-lt"/>
              </a:rPr>
              <a:t>dolore</a:t>
            </a:r>
            <a:r>
              <a:rPr lang="en-US" sz="1000" b="1">
                <a:latin typeface="+mj-lt"/>
              </a:rPr>
              <a:t> sit </a:t>
            </a:r>
            <a:r>
              <a:rPr lang="en-US" sz="1000" b="1" err="1">
                <a:latin typeface="+mj-lt"/>
              </a:rPr>
              <a:t>amet</a:t>
            </a:r>
            <a:r>
              <a:rPr lang="en-US" sz="1000" b="1">
                <a:latin typeface="+mj-lt"/>
              </a:rPr>
              <a:t> con </a:t>
            </a:r>
            <a:r>
              <a:rPr lang="en-US" sz="1000" b="1" err="1">
                <a:latin typeface="+mj-lt"/>
              </a:rPr>
              <a:t>secuatur</a:t>
            </a:r>
            <a:r>
              <a:rPr lang="en-US" sz="1000" b="1">
                <a:latin typeface="+mj-lt"/>
              </a:rPr>
              <a:t> </a:t>
            </a:r>
            <a:r>
              <a:rPr lang="en-US" sz="1000" b="1" err="1">
                <a:latin typeface="+mj-lt"/>
              </a:rPr>
              <a:t>voltare</a:t>
            </a:r>
            <a:r>
              <a:rPr lang="en-US" sz="1000" b="1">
                <a:latin typeface="+mj-lt"/>
              </a:rPr>
              <a:t> sans </a:t>
            </a:r>
            <a:r>
              <a:rPr lang="en-US" sz="1000" b="1" err="1">
                <a:latin typeface="+mj-lt"/>
              </a:rPr>
              <a:t>hitre</a:t>
            </a:r>
            <a:r>
              <a:rPr lang="en-US" sz="1000" b="1">
                <a:latin typeface="+mj-lt"/>
              </a:rPr>
              <a:t> </a:t>
            </a:r>
            <a:r>
              <a:rPr lang="en-US" sz="1000" b="1" err="1">
                <a:latin typeface="+mj-lt"/>
              </a:rPr>
              <a:t>vintaxe</a:t>
            </a:r>
            <a:r>
              <a:rPr lang="en-US" sz="1000" b="1">
                <a:latin typeface="+mj-lt"/>
              </a:rPr>
              <a:t> </a:t>
            </a:r>
            <a:r>
              <a:rPr lang="en-US" sz="1000" b="1" err="1">
                <a:latin typeface="+mj-lt"/>
              </a:rPr>
              <a:t>ellert</a:t>
            </a:r>
            <a:r>
              <a:rPr lang="en-US" sz="1000" b="1">
                <a:latin typeface="+mj-lt"/>
              </a:rPr>
              <a:t>. Lorem ipsum e </a:t>
            </a:r>
            <a:r>
              <a:rPr lang="en-US" sz="1000" b="1" err="1">
                <a:latin typeface="+mj-lt"/>
              </a:rPr>
              <a:t>dolore</a:t>
            </a:r>
            <a:r>
              <a:rPr lang="en-US" sz="1000" b="1">
                <a:latin typeface="+mj-lt"/>
              </a:rPr>
              <a:t> sit </a:t>
            </a:r>
            <a:r>
              <a:rPr lang="en-US" sz="1000" b="1" err="1">
                <a:latin typeface="+mj-lt"/>
              </a:rPr>
              <a:t>amet</a:t>
            </a:r>
            <a:r>
              <a:rPr lang="en-US" sz="1000" b="1">
                <a:latin typeface="+mj-lt"/>
              </a:rPr>
              <a:t> con </a:t>
            </a:r>
            <a:r>
              <a:rPr lang="en-US" sz="1000" b="1" err="1">
                <a:latin typeface="+mj-lt"/>
              </a:rPr>
              <a:t>secuatur</a:t>
            </a:r>
            <a:r>
              <a:rPr lang="en-US" sz="1000" b="1">
                <a:latin typeface="+mj-lt"/>
              </a:rPr>
              <a:t> </a:t>
            </a:r>
            <a:r>
              <a:rPr lang="en-US" sz="1000" b="1" err="1">
                <a:latin typeface="+mj-lt"/>
              </a:rPr>
              <a:t>voltare</a:t>
            </a:r>
            <a:r>
              <a:rPr lang="en-US" sz="1000" b="1">
                <a:latin typeface="+mj-lt"/>
              </a:rPr>
              <a:t> sans </a:t>
            </a:r>
            <a:r>
              <a:rPr lang="en-US" sz="1000" b="1" err="1">
                <a:latin typeface="+mj-lt"/>
              </a:rPr>
              <a:t>hitre</a:t>
            </a:r>
            <a:r>
              <a:rPr lang="en-US" sz="1000" b="1">
                <a:latin typeface="+mj-lt"/>
              </a:rPr>
              <a:t> </a:t>
            </a:r>
            <a:r>
              <a:rPr lang="en-US" sz="1000" b="1" err="1">
                <a:latin typeface="+mj-lt"/>
              </a:rPr>
              <a:t>vintaxe</a:t>
            </a:r>
            <a:r>
              <a:rPr lang="en-US" sz="1000" b="1">
                <a:latin typeface="+mj-lt"/>
              </a:rPr>
              <a:t> </a:t>
            </a:r>
            <a:r>
              <a:rPr lang="en-US" sz="1000" b="1" err="1">
                <a:latin typeface="+mj-lt"/>
              </a:rPr>
              <a:t>ellert</a:t>
            </a:r>
            <a:r>
              <a:rPr lang="en-US" sz="1000" b="1">
                <a:latin typeface="+mj-lt"/>
              </a:rPr>
              <a:t>. Lorem ipsum e </a:t>
            </a:r>
            <a:r>
              <a:rPr lang="en-US" sz="1000" b="1" err="1">
                <a:latin typeface="+mj-lt"/>
              </a:rPr>
              <a:t>dolore</a:t>
            </a:r>
            <a:r>
              <a:rPr lang="en-US" sz="1000" b="1">
                <a:latin typeface="+mj-lt"/>
              </a:rPr>
              <a:t> sit </a:t>
            </a:r>
            <a:r>
              <a:rPr lang="en-US" sz="1000" b="1" err="1">
                <a:latin typeface="+mj-lt"/>
              </a:rPr>
              <a:t>amet</a:t>
            </a:r>
            <a:r>
              <a:rPr lang="en-US" sz="1000" b="1">
                <a:latin typeface="+mj-lt"/>
              </a:rPr>
              <a:t> con </a:t>
            </a:r>
            <a:r>
              <a:rPr lang="en-US" sz="1000" b="1" err="1">
                <a:latin typeface="+mj-lt"/>
              </a:rPr>
              <a:t>secuatur</a:t>
            </a:r>
            <a:r>
              <a:rPr lang="en-US" sz="1000" b="1">
                <a:latin typeface="+mj-lt"/>
              </a:rPr>
              <a:t> </a:t>
            </a:r>
            <a:r>
              <a:rPr lang="en-US" sz="1000" b="1" err="1">
                <a:latin typeface="+mj-lt"/>
              </a:rPr>
              <a:t>voltare</a:t>
            </a:r>
            <a:r>
              <a:rPr lang="en-US" sz="1000" b="1">
                <a:latin typeface="+mj-lt"/>
              </a:rPr>
              <a:t> sans </a:t>
            </a:r>
            <a:r>
              <a:rPr lang="en-US" sz="1000" b="1" err="1">
                <a:latin typeface="+mj-lt"/>
              </a:rPr>
              <a:t>hitre</a:t>
            </a:r>
            <a:r>
              <a:rPr lang="en-US" sz="1000" b="1">
                <a:latin typeface="+mj-lt"/>
              </a:rPr>
              <a:t> </a:t>
            </a:r>
            <a:r>
              <a:rPr lang="en-US" sz="1000" b="1" err="1">
                <a:latin typeface="+mj-lt"/>
              </a:rPr>
              <a:t>vintaxe</a:t>
            </a:r>
            <a:r>
              <a:rPr lang="en-US" sz="1000" b="1">
                <a:latin typeface="+mj-lt"/>
              </a:rPr>
              <a:t> </a:t>
            </a:r>
            <a:r>
              <a:rPr lang="en-US" sz="1000" b="1" err="1">
                <a:latin typeface="+mj-lt"/>
              </a:rPr>
              <a:t>ellert</a:t>
            </a:r>
            <a:r>
              <a:rPr lang="en-US" sz="1000" b="1">
                <a:latin typeface="+mj-lt"/>
              </a:rPr>
              <a:t>. Lorem ipsum e </a:t>
            </a:r>
            <a:r>
              <a:rPr lang="en-US" sz="1000" b="1" err="1">
                <a:latin typeface="+mj-lt"/>
              </a:rPr>
              <a:t>dolore</a:t>
            </a:r>
            <a:r>
              <a:rPr lang="en-US" sz="1000" b="1">
                <a:latin typeface="+mj-lt"/>
              </a:rPr>
              <a:t> sit </a:t>
            </a:r>
            <a:r>
              <a:rPr lang="en-US" sz="1000" b="1" err="1">
                <a:latin typeface="+mj-lt"/>
              </a:rPr>
              <a:t>amet</a:t>
            </a:r>
            <a:r>
              <a:rPr lang="en-US" sz="1000" b="1">
                <a:latin typeface="+mj-lt"/>
              </a:rPr>
              <a:t> con </a:t>
            </a:r>
            <a:r>
              <a:rPr lang="en-US" sz="1000" b="1" err="1">
                <a:latin typeface="+mj-lt"/>
              </a:rPr>
              <a:t>secuatur</a:t>
            </a:r>
            <a:r>
              <a:rPr lang="en-US" sz="1000" b="1">
                <a:latin typeface="+mj-lt"/>
              </a:rPr>
              <a:t> </a:t>
            </a:r>
            <a:r>
              <a:rPr lang="en-US" sz="1000" b="1" err="1">
                <a:latin typeface="+mj-lt"/>
              </a:rPr>
              <a:t>voltare</a:t>
            </a:r>
            <a:r>
              <a:rPr lang="en-US" sz="1000" b="1">
                <a:latin typeface="+mj-lt"/>
              </a:rPr>
              <a:t> sans </a:t>
            </a:r>
            <a:r>
              <a:rPr lang="en-US" sz="1000" b="1" err="1">
                <a:latin typeface="+mj-lt"/>
              </a:rPr>
              <a:t>hitre</a:t>
            </a:r>
            <a:r>
              <a:rPr lang="en-US" sz="1000" b="1">
                <a:latin typeface="+mj-lt"/>
              </a:rPr>
              <a:t> </a:t>
            </a:r>
            <a:r>
              <a:rPr lang="en-US" sz="1000" b="1" err="1">
                <a:latin typeface="+mj-lt"/>
              </a:rPr>
              <a:t>vintaxe</a:t>
            </a:r>
            <a:r>
              <a:rPr lang="en-US" sz="1000" b="1">
                <a:latin typeface="+mj-lt"/>
              </a:rPr>
              <a:t> </a:t>
            </a:r>
            <a:r>
              <a:rPr lang="en-US" sz="1000" b="1" err="1">
                <a:latin typeface="+mj-lt"/>
              </a:rPr>
              <a:t>ellert</a:t>
            </a:r>
            <a:r>
              <a:rPr lang="en-US" sz="1000" b="1">
                <a:latin typeface="+mj-lt"/>
              </a:rPr>
              <a:t>. Lorem ipsum e </a:t>
            </a:r>
            <a:r>
              <a:rPr lang="en-US" sz="1000" b="1" err="1">
                <a:latin typeface="+mj-lt"/>
              </a:rPr>
              <a:t>dolore</a:t>
            </a:r>
            <a:r>
              <a:rPr lang="en-US" sz="1000" b="1">
                <a:latin typeface="+mj-lt"/>
              </a:rPr>
              <a:t> sit </a:t>
            </a:r>
            <a:r>
              <a:rPr lang="en-US" sz="1000" b="1" err="1">
                <a:latin typeface="+mj-lt"/>
              </a:rPr>
              <a:t>amet</a:t>
            </a:r>
            <a:r>
              <a:rPr lang="en-US" sz="1000" b="1">
                <a:latin typeface="+mj-lt"/>
              </a:rPr>
              <a:t> con </a:t>
            </a:r>
            <a:r>
              <a:rPr lang="en-US" sz="1000" b="1" err="1">
                <a:latin typeface="+mj-lt"/>
              </a:rPr>
              <a:t>secuatur</a:t>
            </a:r>
            <a:r>
              <a:rPr lang="en-US" sz="1000" b="1">
                <a:latin typeface="+mj-lt"/>
              </a:rPr>
              <a:t> </a:t>
            </a:r>
            <a:r>
              <a:rPr lang="en-US" sz="1000" b="1" err="1">
                <a:latin typeface="+mj-lt"/>
              </a:rPr>
              <a:t>voltare</a:t>
            </a:r>
            <a:r>
              <a:rPr lang="en-US" sz="1000" b="1">
                <a:latin typeface="+mj-lt"/>
              </a:rPr>
              <a:t> sans </a:t>
            </a:r>
            <a:r>
              <a:rPr lang="en-US" sz="1000" b="1" err="1">
                <a:latin typeface="+mj-lt"/>
              </a:rPr>
              <a:t>hitre</a:t>
            </a:r>
            <a:r>
              <a:rPr lang="en-US" sz="1000" b="1">
                <a:latin typeface="+mj-lt"/>
              </a:rPr>
              <a:t> </a:t>
            </a:r>
            <a:r>
              <a:rPr lang="en-US" sz="1000" b="1" err="1">
                <a:latin typeface="+mj-lt"/>
              </a:rPr>
              <a:t>vintaxe</a:t>
            </a:r>
            <a:r>
              <a:rPr lang="en-US" sz="1000" b="1">
                <a:latin typeface="+mj-lt"/>
              </a:rPr>
              <a:t> </a:t>
            </a:r>
            <a:r>
              <a:rPr lang="en-US" sz="1000" b="1" err="1">
                <a:latin typeface="+mj-lt"/>
              </a:rPr>
              <a:t>ellert</a:t>
            </a:r>
            <a:r>
              <a:rPr lang="en-US" sz="1000" b="1">
                <a:latin typeface="+mj-lt"/>
              </a:rPr>
              <a:t>.</a:t>
            </a:r>
          </a:p>
        </p:txBody>
      </p:sp>
      <p:sp>
        <p:nvSpPr>
          <p:cNvPr id="13" name="Content Placeholder 12"/>
          <p:cNvSpPr>
            <a:spLocks noGrp="1"/>
          </p:cNvSpPr>
          <p:nvPr>
            <p:ph sz="quarter" idx="16" hasCustomPrompt="1"/>
          </p:nvPr>
        </p:nvSpPr>
        <p:spPr>
          <a:xfrm>
            <a:off x="7991475" y="6456525"/>
            <a:ext cx="908050" cy="377825"/>
          </a:xfrm>
        </p:spPr>
        <p:txBody>
          <a:bodyPr anchor="b"/>
          <a:lstStyle>
            <a:lvl1pPr algn="r">
              <a:spcBef>
                <a:spcPts val="0"/>
              </a:spcBef>
              <a:defRPr sz="700" b="0">
                <a:solidFill>
                  <a:schemeClr val="tx1"/>
                </a:solidFill>
              </a:defRPr>
            </a:lvl1pPr>
            <a:lvl2pPr algn="r">
              <a:defRPr sz="700" b="0">
                <a:solidFill>
                  <a:schemeClr val="tx1"/>
                </a:solidFill>
              </a:defRPr>
            </a:lvl2pPr>
            <a:lvl3pPr algn="r">
              <a:defRPr sz="700" b="0">
                <a:solidFill>
                  <a:schemeClr val="tx1"/>
                </a:solidFill>
              </a:defRPr>
            </a:lvl3pPr>
            <a:lvl4pPr algn="r">
              <a:defRPr sz="700" b="0">
                <a:solidFill>
                  <a:schemeClr val="tx1"/>
                </a:solidFill>
              </a:defRPr>
            </a:lvl4pPr>
            <a:lvl5pPr algn="r">
              <a:defRPr sz="700" b="0">
                <a:solidFill>
                  <a:schemeClr val="tx1"/>
                </a:solidFill>
              </a:defRPr>
            </a:lvl5pPr>
          </a:lstStyle>
          <a:p>
            <a:pPr lvl="0"/>
            <a:r>
              <a:rPr lang="en-US"/>
              <a:t>1.000000.100</a:t>
            </a:r>
          </a:p>
          <a:p>
            <a:pPr lvl="0"/>
            <a:r>
              <a:rPr lang="en-US"/>
              <a:t>MMYY</a:t>
            </a:r>
          </a:p>
        </p:txBody>
      </p:sp>
    </p:spTree>
    <p:extLst>
      <p:ext uri="{BB962C8B-B14F-4D97-AF65-F5344CB8AC3E}">
        <p14:creationId xmlns:p14="http://schemas.microsoft.com/office/powerpoint/2010/main" val="50921404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orient="horz" pos="4200">
          <p15:clr>
            <a:srgbClr val="FBAE40"/>
          </p15:clr>
        </p15:guide>
        <p15:guide id="2" pos="264">
          <p15:clr>
            <a:srgbClr val="FBAE4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DC138087-D35E-43A1-BEFE-8F2D0B0F0C3F}"/>
              </a:ext>
            </a:extLst>
          </p:cNvPr>
          <p:cNvGrpSpPr/>
          <p:nvPr userDrawn="1"/>
        </p:nvGrpSpPr>
        <p:grpSpPr>
          <a:xfrm>
            <a:off x="7358173" y="6361974"/>
            <a:ext cx="1382376" cy="297562"/>
            <a:chOff x="6923088" y="4475163"/>
            <a:chExt cx="1873251" cy="403225"/>
          </a:xfrm>
        </p:grpSpPr>
        <p:sp>
          <p:nvSpPr>
            <p:cNvPr id="33" name="AutoShape 4">
              <a:extLst>
                <a:ext uri="{FF2B5EF4-FFF2-40B4-BE49-F238E27FC236}">
                  <a16:creationId xmlns:a16="http://schemas.microsoft.com/office/drawing/2014/main" id="{3D8EF03B-5B23-4ABD-9440-15D1EBC84329}"/>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6">
              <a:extLst>
                <a:ext uri="{FF2B5EF4-FFF2-40B4-BE49-F238E27FC236}">
                  <a16:creationId xmlns:a16="http://schemas.microsoft.com/office/drawing/2014/main" id="{93A04742-FB2D-4533-BDD2-3A08D6F3691A}"/>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7">
              <a:extLst>
                <a:ext uri="{FF2B5EF4-FFF2-40B4-BE49-F238E27FC236}">
                  <a16:creationId xmlns:a16="http://schemas.microsoft.com/office/drawing/2014/main" id="{51BE678F-4430-4FD9-A2A5-1B79173B4E23}"/>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83">
              <a:extLst>
                <a:ext uri="{FF2B5EF4-FFF2-40B4-BE49-F238E27FC236}">
                  <a16:creationId xmlns:a16="http://schemas.microsoft.com/office/drawing/2014/main" id="{F56B0136-29A5-4CC6-94AF-73C81592E4AE}"/>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84">
              <a:extLst>
                <a:ext uri="{FF2B5EF4-FFF2-40B4-BE49-F238E27FC236}">
                  <a16:creationId xmlns:a16="http://schemas.microsoft.com/office/drawing/2014/main" id="{AF2A7FC2-49BE-44A6-8DDE-0C224CC3044D}"/>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85">
              <a:extLst>
                <a:ext uri="{FF2B5EF4-FFF2-40B4-BE49-F238E27FC236}">
                  <a16:creationId xmlns:a16="http://schemas.microsoft.com/office/drawing/2014/main" id="{B87EDB37-3805-4129-9E3F-FF8887C37A2E}"/>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86">
              <a:extLst>
                <a:ext uri="{FF2B5EF4-FFF2-40B4-BE49-F238E27FC236}">
                  <a16:creationId xmlns:a16="http://schemas.microsoft.com/office/drawing/2014/main" id="{8D73AABB-D943-4FB8-A7F3-E99412CF91A9}"/>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87">
              <a:extLst>
                <a:ext uri="{FF2B5EF4-FFF2-40B4-BE49-F238E27FC236}">
                  <a16:creationId xmlns:a16="http://schemas.microsoft.com/office/drawing/2014/main" id="{F6CF7947-801F-4146-8FB6-018CC0071CAB}"/>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88">
              <a:extLst>
                <a:ext uri="{FF2B5EF4-FFF2-40B4-BE49-F238E27FC236}">
                  <a16:creationId xmlns:a16="http://schemas.microsoft.com/office/drawing/2014/main" id="{BCCA673D-6EF3-45F9-910D-F8C059CFCFD9}"/>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89">
              <a:extLst>
                <a:ext uri="{FF2B5EF4-FFF2-40B4-BE49-F238E27FC236}">
                  <a16:creationId xmlns:a16="http://schemas.microsoft.com/office/drawing/2014/main" id="{BB4975A3-6C1B-4B0C-9EEA-5CF277D78CD8}"/>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90">
              <a:extLst>
                <a:ext uri="{FF2B5EF4-FFF2-40B4-BE49-F238E27FC236}">
                  <a16:creationId xmlns:a16="http://schemas.microsoft.com/office/drawing/2014/main" id="{A979E4D1-C6EA-4112-885F-CD66D7AACA2F}"/>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91">
              <a:extLst>
                <a:ext uri="{FF2B5EF4-FFF2-40B4-BE49-F238E27FC236}">
                  <a16:creationId xmlns:a16="http://schemas.microsoft.com/office/drawing/2014/main" id="{CC9144C6-DE8D-4256-9506-58DFA67FE04E}"/>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92">
              <a:extLst>
                <a:ext uri="{FF2B5EF4-FFF2-40B4-BE49-F238E27FC236}">
                  <a16:creationId xmlns:a16="http://schemas.microsoft.com/office/drawing/2014/main" id="{4B2F15AA-5913-4A17-8AC2-36E90932947B}"/>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93">
              <a:extLst>
                <a:ext uri="{FF2B5EF4-FFF2-40B4-BE49-F238E27FC236}">
                  <a16:creationId xmlns:a16="http://schemas.microsoft.com/office/drawing/2014/main" id="{60532004-056D-445B-8AC2-3BFEC07FECA9}"/>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94">
              <a:extLst>
                <a:ext uri="{FF2B5EF4-FFF2-40B4-BE49-F238E27FC236}">
                  <a16:creationId xmlns:a16="http://schemas.microsoft.com/office/drawing/2014/main" id="{56E9A1F1-BC11-4BE9-88EA-2F69BFC0D954}"/>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95">
              <a:extLst>
                <a:ext uri="{FF2B5EF4-FFF2-40B4-BE49-F238E27FC236}">
                  <a16:creationId xmlns:a16="http://schemas.microsoft.com/office/drawing/2014/main" id="{F28E3F43-8922-459B-93CA-713E3528553D}"/>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96">
              <a:extLst>
                <a:ext uri="{FF2B5EF4-FFF2-40B4-BE49-F238E27FC236}">
                  <a16:creationId xmlns:a16="http://schemas.microsoft.com/office/drawing/2014/main" id="{F9690BB1-B165-4E3D-A7DB-B37A268C9D16}"/>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7">
              <a:extLst>
                <a:ext uri="{FF2B5EF4-FFF2-40B4-BE49-F238E27FC236}">
                  <a16:creationId xmlns:a16="http://schemas.microsoft.com/office/drawing/2014/main" id="{ADA2FD01-76B9-404E-82AA-BD0E94C7009D}"/>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8">
              <a:extLst>
                <a:ext uri="{FF2B5EF4-FFF2-40B4-BE49-F238E27FC236}">
                  <a16:creationId xmlns:a16="http://schemas.microsoft.com/office/drawing/2014/main" id="{EBF74C1F-C59C-4BE2-BE43-DC2A7A82C8DC}"/>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9">
              <a:extLst>
                <a:ext uri="{FF2B5EF4-FFF2-40B4-BE49-F238E27FC236}">
                  <a16:creationId xmlns:a16="http://schemas.microsoft.com/office/drawing/2014/main" id="{E245FD61-F79C-4994-B97E-380722096E41}"/>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100">
              <a:extLst>
                <a:ext uri="{FF2B5EF4-FFF2-40B4-BE49-F238E27FC236}">
                  <a16:creationId xmlns:a16="http://schemas.microsoft.com/office/drawing/2014/main" id="{D08EA29F-593F-4FC8-97F0-4629053CC405}"/>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101">
              <a:extLst>
                <a:ext uri="{FF2B5EF4-FFF2-40B4-BE49-F238E27FC236}">
                  <a16:creationId xmlns:a16="http://schemas.microsoft.com/office/drawing/2014/main" id="{E358CBFB-5516-47AF-86F1-97AAE362C09C}"/>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102">
              <a:extLst>
                <a:ext uri="{FF2B5EF4-FFF2-40B4-BE49-F238E27FC236}">
                  <a16:creationId xmlns:a16="http://schemas.microsoft.com/office/drawing/2014/main" id="{98CAD3F8-02DB-4B47-827D-45514D991228}"/>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103">
              <a:extLst>
                <a:ext uri="{FF2B5EF4-FFF2-40B4-BE49-F238E27FC236}">
                  <a16:creationId xmlns:a16="http://schemas.microsoft.com/office/drawing/2014/main" id="{EAE77410-81C0-4B97-B88F-750EF0E3365D}"/>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04">
              <a:extLst>
                <a:ext uri="{FF2B5EF4-FFF2-40B4-BE49-F238E27FC236}">
                  <a16:creationId xmlns:a16="http://schemas.microsoft.com/office/drawing/2014/main" id="{D564E5C2-E42A-4C31-BBCD-B6D3A88B1F88}"/>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105">
              <a:extLst>
                <a:ext uri="{FF2B5EF4-FFF2-40B4-BE49-F238E27FC236}">
                  <a16:creationId xmlns:a16="http://schemas.microsoft.com/office/drawing/2014/main" id="{C3E9A073-6E22-497A-8494-047622B5A67B}"/>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0" name="Slide Number Placeholder 3">
            <a:extLst>
              <a:ext uri="{FF2B5EF4-FFF2-40B4-BE49-F238E27FC236}">
                <a16:creationId xmlns:a16="http://schemas.microsoft.com/office/drawing/2014/main" id="{BCE193F0-C685-4085-9D8A-B79EF54508E4}"/>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a:p>
        </p:txBody>
      </p:sp>
      <p:sp>
        <p:nvSpPr>
          <p:cNvPr id="61" name="Rectangle 155">
            <a:extLst>
              <a:ext uri="{FF2B5EF4-FFF2-40B4-BE49-F238E27FC236}">
                <a16:creationId xmlns:a16="http://schemas.microsoft.com/office/drawing/2014/main" id="{84E06131-FBAA-43EF-B330-B5D9B5D74861}"/>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a:t>Production code #</a:t>
            </a:r>
          </a:p>
        </p:txBody>
      </p:sp>
      <p:sp>
        <p:nvSpPr>
          <p:cNvPr id="62" name="Rectangle 176">
            <a:extLst>
              <a:ext uri="{FF2B5EF4-FFF2-40B4-BE49-F238E27FC236}">
                <a16:creationId xmlns:a16="http://schemas.microsoft.com/office/drawing/2014/main" id="{F5AA948F-B277-4FEC-B9BB-772B7C340B16}"/>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a:t>Page footer, i.e., For institutional use only.</a:t>
            </a:r>
          </a:p>
        </p:txBody>
      </p:sp>
    </p:spTree>
    <p:extLst>
      <p:ext uri="{BB962C8B-B14F-4D97-AF65-F5344CB8AC3E}">
        <p14:creationId xmlns:p14="http://schemas.microsoft.com/office/powerpoint/2010/main" val="3992604296"/>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userDrawn="1">
  <p:cSld name="Fidelity cover">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57076E3A-4114-C649-AF1E-0D37A6ABDDCC}"/>
              </a:ext>
            </a:extLst>
          </p:cNvPr>
          <p:cNvGrpSpPr/>
          <p:nvPr userDrawn="1"/>
        </p:nvGrpSpPr>
        <p:grpSpPr>
          <a:xfrm>
            <a:off x="0" y="0"/>
            <a:ext cx="9144000" cy="6858000"/>
            <a:chOff x="0" y="0"/>
            <a:chExt cx="9144000" cy="6858000"/>
          </a:xfrm>
        </p:grpSpPr>
        <p:pic>
          <p:nvPicPr>
            <p:cNvPr id="4" name="Picture 3" descr="A picture containing table, game&#10;&#10;Description automatically generated">
              <a:extLst>
                <a:ext uri="{FF2B5EF4-FFF2-40B4-BE49-F238E27FC236}">
                  <a16:creationId xmlns:a16="http://schemas.microsoft.com/office/drawing/2014/main" id="{9902898C-CE00-2042-AA20-BC5FD6A427A5}"/>
                </a:ext>
              </a:extLst>
            </p:cNvPr>
            <p:cNvPicPr>
              <a:picLocks noChangeAspect="1"/>
            </p:cNvPicPr>
            <p:nvPr userDrawn="1"/>
          </p:nvPicPr>
          <p:blipFill>
            <a:blip r:embed="rId4"/>
            <a:stretch>
              <a:fillRect/>
            </a:stretch>
          </p:blipFill>
          <p:spPr>
            <a:xfrm>
              <a:off x="0" y="0"/>
              <a:ext cx="9144000" cy="6858000"/>
            </a:xfrm>
            <a:prstGeom prst="rect">
              <a:avLst/>
            </a:prstGeom>
          </p:spPr>
        </p:pic>
        <p:sp>
          <p:nvSpPr>
            <p:cNvPr id="2" name="Rectangle 1">
              <a:extLst>
                <a:ext uri="{FF2B5EF4-FFF2-40B4-BE49-F238E27FC236}">
                  <a16:creationId xmlns:a16="http://schemas.microsoft.com/office/drawing/2014/main" id="{952B6D37-75F9-C047-A851-61B059B35450}"/>
                </a:ext>
              </a:extLst>
            </p:cNvPr>
            <p:cNvSpPr/>
            <p:nvPr userDrawn="1"/>
          </p:nvSpPr>
          <p:spPr bwMode="auto">
            <a:xfrm>
              <a:off x="5703216" y="5580668"/>
              <a:ext cx="3440784" cy="127733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gr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612506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6"/>
          <p:cNvSpPr txBox="1">
            <a:spLocks noChangeArrowheads="1"/>
          </p:cNvSpPr>
          <p:nvPr userDrawn="1"/>
        </p:nvSpPr>
        <p:spPr>
          <a:xfrm>
            <a:off x="462665" y="2841674"/>
            <a:ext cx="7870630" cy="1190625"/>
          </a:xfrm>
          <a:prstGeom prst="rect">
            <a:avLst/>
          </a:prstGeom>
        </p:spPr>
        <p:txBody>
          <a:bodyPr lIns="0" tIns="0" rIns="0" bIns="0" anchor="b" anchorCtr="0"/>
          <a:lstStyle>
            <a:lvl1pPr marL="0" indent="0" algn="l" rtl="0" eaLnBrk="1" fontAlgn="base" hangingPunct="1">
              <a:spcBef>
                <a:spcPct val="20000"/>
              </a:spcBef>
              <a:spcAft>
                <a:spcPct val="0"/>
              </a:spcAft>
              <a:buSzPct val="40000"/>
              <a:defRPr sz="4000" b="0" baseline="0">
                <a:solidFill>
                  <a:schemeClr val="bg1"/>
                </a:solidFill>
                <a:latin typeface="Arial Narrow" panose="020B0606020202030204" pitchFamily="34" charset="0"/>
                <a:ea typeface="+mn-ea"/>
                <a:cs typeface="+mn-cs"/>
              </a:defRPr>
            </a:lvl1pPr>
            <a:lvl2pPr marL="342900" indent="-114300" algn="l" rtl="0" eaLnBrk="1" fontAlgn="base" hangingPunct="1">
              <a:spcBef>
                <a:spcPct val="20000"/>
              </a:spcBef>
              <a:spcAft>
                <a:spcPct val="0"/>
              </a:spcAft>
              <a:buClr>
                <a:schemeClr val="bg2"/>
              </a:buClr>
              <a:buChar char="•"/>
              <a:defRPr>
                <a:solidFill>
                  <a:srgbClr val="172934"/>
                </a:solidFill>
                <a:latin typeface="+mn-lt"/>
              </a:defRPr>
            </a:lvl2pPr>
            <a:lvl3pPr marL="571500" indent="-114300" algn="l" rtl="0" eaLnBrk="1" fontAlgn="base" hangingPunct="1">
              <a:spcBef>
                <a:spcPct val="20000"/>
              </a:spcBef>
              <a:spcAft>
                <a:spcPct val="0"/>
              </a:spcAft>
              <a:buClr>
                <a:schemeClr val="accent1"/>
              </a:buClr>
              <a:buFont typeface="Arial" charset="0"/>
              <a:buChar char="–"/>
              <a:defRPr sz="1600">
                <a:solidFill>
                  <a:schemeClr val="accent1"/>
                </a:solidFill>
                <a:latin typeface="+mn-lt"/>
              </a:defRPr>
            </a:lvl3pPr>
            <a:lvl4pPr marL="800100" indent="-114300" algn="l" rtl="0" eaLnBrk="1" fontAlgn="base" hangingPunct="1">
              <a:spcBef>
                <a:spcPct val="20000"/>
              </a:spcBef>
              <a:spcAft>
                <a:spcPct val="0"/>
              </a:spcAft>
              <a:defRPr sz="1600">
                <a:solidFill>
                  <a:srgbClr val="172934"/>
                </a:solidFill>
                <a:latin typeface="+mn-lt"/>
              </a:defRPr>
            </a:lvl4pPr>
            <a:lvl5pPr marL="2057400" indent="-228600" algn="l" rtl="0" eaLnBrk="1" fontAlgn="base" hangingPunct="1">
              <a:lnSpc>
                <a:spcPts val="2400"/>
              </a:lnSpc>
              <a:spcBef>
                <a:spcPct val="0"/>
              </a:spcBef>
              <a:spcAft>
                <a:spcPct val="0"/>
              </a:spcAft>
              <a:defRPr sz="1400">
                <a:solidFill>
                  <a:schemeClr val="tx1"/>
                </a:solidFill>
                <a:latin typeface="+mn-lt"/>
              </a:defRPr>
            </a:lvl5pPr>
            <a:lvl6pPr marL="2514600" indent="-228600" algn="l" rtl="0" eaLnBrk="1" fontAlgn="base" hangingPunct="1">
              <a:lnSpc>
                <a:spcPts val="2400"/>
              </a:lnSpc>
              <a:spcBef>
                <a:spcPct val="0"/>
              </a:spcBef>
              <a:spcAft>
                <a:spcPct val="0"/>
              </a:spcAft>
              <a:defRPr sz="1400">
                <a:solidFill>
                  <a:schemeClr val="tx1"/>
                </a:solidFill>
                <a:latin typeface="+mn-lt"/>
              </a:defRPr>
            </a:lvl6pPr>
            <a:lvl7pPr marL="2971800" indent="-228600" algn="l" rtl="0" eaLnBrk="1" fontAlgn="base" hangingPunct="1">
              <a:lnSpc>
                <a:spcPts val="2400"/>
              </a:lnSpc>
              <a:spcBef>
                <a:spcPct val="0"/>
              </a:spcBef>
              <a:spcAft>
                <a:spcPct val="0"/>
              </a:spcAft>
              <a:defRPr sz="1400">
                <a:solidFill>
                  <a:schemeClr val="tx1"/>
                </a:solidFill>
                <a:latin typeface="+mn-lt"/>
              </a:defRPr>
            </a:lvl7pPr>
            <a:lvl8pPr marL="3429000" indent="-228600" algn="l" rtl="0" eaLnBrk="1" fontAlgn="base" hangingPunct="1">
              <a:lnSpc>
                <a:spcPts val="2400"/>
              </a:lnSpc>
              <a:spcBef>
                <a:spcPct val="0"/>
              </a:spcBef>
              <a:spcAft>
                <a:spcPct val="0"/>
              </a:spcAft>
              <a:defRPr sz="1400">
                <a:solidFill>
                  <a:schemeClr val="tx1"/>
                </a:solidFill>
                <a:latin typeface="+mn-lt"/>
              </a:defRPr>
            </a:lvl8pPr>
            <a:lvl9pPr marL="3886200" indent="-228600" algn="l" rtl="0" eaLnBrk="1" fontAlgn="base" hangingPunct="1">
              <a:lnSpc>
                <a:spcPts val="2400"/>
              </a:lnSpc>
              <a:spcBef>
                <a:spcPct val="0"/>
              </a:spcBef>
              <a:spcAft>
                <a:spcPct val="0"/>
              </a:spcAft>
              <a:defRPr sz="1400">
                <a:solidFill>
                  <a:schemeClr val="tx1"/>
                </a:solidFill>
                <a:latin typeface="+mn-lt"/>
              </a:defRPr>
            </a:lvl9pPr>
          </a:lstStyle>
          <a:p>
            <a:pPr>
              <a:lnSpc>
                <a:spcPts val="5500"/>
              </a:lnSpc>
            </a:pPr>
            <a:r>
              <a:rPr lang="en-US" sz="4400" kern="0">
                <a:solidFill>
                  <a:srgbClr val="333F48"/>
                </a:solidFill>
                <a:latin typeface="Arial"/>
              </a:rPr>
              <a:t>Quarterly Market Update</a:t>
            </a:r>
          </a:p>
        </p:txBody>
      </p:sp>
      <p:grpSp>
        <p:nvGrpSpPr>
          <p:cNvPr id="6" name="Group 5"/>
          <p:cNvGrpSpPr/>
          <p:nvPr userDrawn="1"/>
        </p:nvGrpSpPr>
        <p:grpSpPr>
          <a:xfrm>
            <a:off x="462665" y="4224324"/>
            <a:ext cx="6615590" cy="1228960"/>
            <a:chOff x="457200" y="4836903"/>
            <a:chExt cx="6615590" cy="1228960"/>
          </a:xfrm>
        </p:grpSpPr>
        <p:sp>
          <p:nvSpPr>
            <p:cNvPr id="7" name="Rectangle 176"/>
            <p:cNvSpPr txBox="1">
              <a:spLocks noChangeArrowheads="1"/>
            </p:cNvSpPr>
            <p:nvPr/>
          </p:nvSpPr>
          <p:spPr>
            <a:xfrm>
              <a:off x="457200" y="4836903"/>
              <a:ext cx="5324476" cy="460102"/>
            </a:xfrm>
            <a:prstGeom prst="rect">
              <a:avLst/>
            </a:prstGeom>
          </p:spPr>
          <p:txBody>
            <a:bodyPr lIns="0" bIns="0" anchor="ctr" anchorCtr="0"/>
            <a:lstStyle>
              <a:defPPr>
                <a:defRPr lang="en-US"/>
              </a:defPPr>
              <a:lvl1pPr algn="ctr" rtl="0" eaLnBrk="0" fontAlgn="base" hangingPunct="0">
                <a:spcBef>
                  <a:spcPct val="0"/>
                </a:spcBef>
                <a:spcAft>
                  <a:spcPct val="0"/>
                </a:spcAft>
                <a:defRPr sz="1000" b="1" kern="1200" smtClean="0">
                  <a:solidFill>
                    <a:schemeClr val="bg1"/>
                  </a:solidFill>
                  <a:latin typeface="Arial" charset="0"/>
                  <a:ea typeface="ＭＳ Ｐゴシック" charset="-128"/>
                  <a:cs typeface="+mn-cs"/>
                </a:defRPr>
              </a:lvl1pPr>
              <a:lvl2pPr marL="457200" algn="ctr" rtl="0" eaLnBrk="0" fontAlgn="base" hangingPunct="0">
                <a:spcBef>
                  <a:spcPct val="0"/>
                </a:spcBef>
                <a:spcAft>
                  <a:spcPct val="0"/>
                </a:spcAft>
                <a:defRPr sz="12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2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2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200" kern="1200">
                  <a:solidFill>
                    <a:schemeClr val="tx1"/>
                  </a:solidFill>
                  <a:latin typeface="Arial" charset="0"/>
                  <a:ea typeface="ＭＳ Ｐゴシック" charset="-128"/>
                  <a:cs typeface="+mn-cs"/>
                </a:defRPr>
              </a:lvl5pPr>
              <a:lvl6pPr marL="2286000" algn="l" defTabSz="914400" rtl="0" eaLnBrk="1" latinLnBrk="0" hangingPunct="1">
                <a:defRPr sz="1200" kern="1200">
                  <a:solidFill>
                    <a:schemeClr val="tx1"/>
                  </a:solidFill>
                  <a:latin typeface="Arial" charset="0"/>
                  <a:ea typeface="ＭＳ Ｐゴシック" charset="-128"/>
                  <a:cs typeface="+mn-cs"/>
                </a:defRPr>
              </a:lvl6pPr>
              <a:lvl7pPr marL="2743200" algn="l" defTabSz="914400" rtl="0" eaLnBrk="1" latinLnBrk="0" hangingPunct="1">
                <a:defRPr sz="1200" kern="1200">
                  <a:solidFill>
                    <a:schemeClr val="tx1"/>
                  </a:solidFill>
                  <a:latin typeface="Arial" charset="0"/>
                  <a:ea typeface="ＭＳ Ｐゴシック" charset="-128"/>
                  <a:cs typeface="+mn-cs"/>
                </a:defRPr>
              </a:lvl7pPr>
              <a:lvl8pPr marL="3200400" algn="l" defTabSz="914400" rtl="0" eaLnBrk="1" latinLnBrk="0" hangingPunct="1">
                <a:defRPr sz="1200" kern="1200">
                  <a:solidFill>
                    <a:schemeClr val="tx1"/>
                  </a:solidFill>
                  <a:latin typeface="Arial" charset="0"/>
                  <a:ea typeface="ＭＳ Ｐゴシック" charset="-128"/>
                  <a:cs typeface="+mn-cs"/>
                </a:defRPr>
              </a:lvl8pPr>
              <a:lvl9pPr marL="3657600" algn="l" defTabSz="914400" rtl="0" eaLnBrk="1" latinLnBrk="0" hangingPunct="1">
                <a:defRPr sz="1200" kern="1200">
                  <a:solidFill>
                    <a:schemeClr val="tx1"/>
                  </a:solidFill>
                  <a:latin typeface="Arial" charset="0"/>
                  <a:ea typeface="ＭＳ Ｐゴシック" charset="-128"/>
                  <a:cs typeface="+mn-cs"/>
                </a:defRPr>
              </a:lvl9pPr>
            </a:lstStyle>
            <a:p>
              <a:pPr algn="l"/>
              <a:r>
                <a:rPr lang="en-US" sz="1050">
                  <a:solidFill>
                    <a:srgbClr val="7A9B3D"/>
                  </a:solidFill>
                  <a:latin typeface="Arial"/>
                  <a:ea typeface="ＭＳ Ｐゴシック"/>
                </a:rPr>
                <a:t>PRIMARY CONTRIBUTORS</a:t>
              </a:r>
            </a:p>
          </p:txBody>
        </p:sp>
        <p:sp>
          <p:nvSpPr>
            <p:cNvPr id="8" name="Rectangle 7"/>
            <p:cNvSpPr/>
            <p:nvPr/>
          </p:nvSpPr>
          <p:spPr>
            <a:xfrm>
              <a:off x="457200" y="5255147"/>
              <a:ext cx="2011680" cy="377026"/>
            </a:xfrm>
            <a:prstGeom prst="rect">
              <a:avLst/>
            </a:prstGeom>
          </p:spPr>
          <p:txBody>
            <a:bodyPr wrap="square" lIns="0">
              <a:spAutoFit/>
            </a:bodyPr>
            <a:lstStyle/>
            <a:p>
              <a:pPr eaLnBrk="0" hangingPunct="0"/>
              <a:r>
                <a:rPr lang="en-US" sz="1050" b="1">
                  <a:solidFill>
                    <a:srgbClr val="333F48"/>
                  </a:solidFill>
                  <a:latin typeface="Arial"/>
                  <a:ea typeface="ＭＳ Ｐゴシック" charset="-128"/>
                </a:rPr>
                <a:t>Lisa Emsbo-Mattingly, CBE</a:t>
              </a:r>
            </a:p>
            <a:p>
              <a:pPr eaLnBrk="0" hangingPunct="0"/>
              <a:r>
                <a:rPr lang="en-US" sz="800" i="1">
                  <a:solidFill>
                    <a:srgbClr val="333F48"/>
                  </a:solidFill>
                  <a:latin typeface="Arial"/>
                  <a:ea typeface="ＭＳ Ｐゴシック" charset="-128"/>
                </a:rPr>
                <a:t>Director of Asset Allocation Research </a:t>
              </a:r>
            </a:p>
          </p:txBody>
        </p:sp>
        <p:sp>
          <p:nvSpPr>
            <p:cNvPr id="9" name="Rectangle 8"/>
            <p:cNvSpPr/>
            <p:nvPr/>
          </p:nvSpPr>
          <p:spPr>
            <a:xfrm>
              <a:off x="457200" y="5688837"/>
              <a:ext cx="1737360" cy="377026"/>
            </a:xfrm>
            <a:prstGeom prst="rect">
              <a:avLst/>
            </a:prstGeom>
          </p:spPr>
          <p:txBody>
            <a:bodyPr wrap="square" lIns="0">
              <a:spAutoFit/>
            </a:bodyPr>
            <a:lstStyle/>
            <a:p>
              <a:pPr eaLnBrk="0" hangingPunct="0"/>
              <a:r>
                <a:rPr lang="en-US" sz="1050" b="1">
                  <a:solidFill>
                    <a:srgbClr val="333F48"/>
                  </a:solidFill>
                  <a:latin typeface="Arial"/>
                  <a:ea typeface="ＭＳ Ｐゴシック" charset="-128"/>
                </a:rPr>
                <a:t>Dirk Hofschire, CFA</a:t>
              </a:r>
            </a:p>
            <a:p>
              <a:pPr eaLnBrk="0" hangingPunct="0"/>
              <a:r>
                <a:rPr lang="en-US" sz="800" i="1">
                  <a:solidFill>
                    <a:srgbClr val="333F48"/>
                  </a:solidFill>
                  <a:latin typeface="Arial"/>
                  <a:ea typeface="ＭＳ Ｐゴシック" charset="-128"/>
                </a:rPr>
                <a:t>SVP, Asset Allocation Research </a:t>
              </a:r>
            </a:p>
          </p:txBody>
        </p:sp>
        <p:sp>
          <p:nvSpPr>
            <p:cNvPr id="11" name="Rectangle 10"/>
            <p:cNvSpPr/>
            <p:nvPr/>
          </p:nvSpPr>
          <p:spPr>
            <a:xfrm>
              <a:off x="2493108" y="5255147"/>
              <a:ext cx="2286000" cy="377026"/>
            </a:xfrm>
            <a:prstGeom prst="rect">
              <a:avLst/>
            </a:prstGeom>
          </p:spPr>
          <p:txBody>
            <a:bodyPr wrap="square" lIns="0">
              <a:spAutoFit/>
            </a:bodyPr>
            <a:lstStyle/>
            <a:p>
              <a:pPr eaLnBrk="0" hangingPunct="0"/>
              <a:r>
                <a:rPr lang="en-US" sz="1050" b="1">
                  <a:solidFill>
                    <a:srgbClr val="333F48"/>
                  </a:solidFill>
                  <a:latin typeface="Arial"/>
                  <a:ea typeface="ＭＳ Ｐゴシック" charset="-128"/>
                </a:rPr>
                <a:t>Jake Weinstein, CFA</a:t>
              </a:r>
            </a:p>
            <a:p>
              <a:pPr eaLnBrk="0" hangingPunct="0"/>
              <a:r>
                <a:rPr lang="en-US" sz="800" i="1">
                  <a:solidFill>
                    <a:srgbClr val="333F48"/>
                  </a:solidFill>
                  <a:latin typeface="Arial"/>
                  <a:ea typeface="ＭＳ Ｐゴシック" charset="-128"/>
                </a:rPr>
                <a:t>Research Analyst, Asset Allocation Research </a:t>
              </a:r>
            </a:p>
          </p:txBody>
        </p:sp>
        <p:sp>
          <p:nvSpPr>
            <p:cNvPr id="12" name="Rectangle 11"/>
            <p:cNvSpPr/>
            <p:nvPr/>
          </p:nvSpPr>
          <p:spPr>
            <a:xfrm>
              <a:off x="2474912" y="5688837"/>
              <a:ext cx="2286000" cy="377026"/>
            </a:xfrm>
            <a:prstGeom prst="rect">
              <a:avLst/>
            </a:prstGeom>
          </p:spPr>
          <p:txBody>
            <a:bodyPr wrap="square" lIns="0">
              <a:spAutoFit/>
            </a:bodyPr>
            <a:lstStyle/>
            <a:p>
              <a:pPr eaLnBrk="0" hangingPunct="0"/>
              <a:r>
                <a:rPr lang="en-US" sz="1050" b="1">
                  <a:solidFill>
                    <a:srgbClr val="333F48"/>
                  </a:solidFill>
                  <a:latin typeface="Arial"/>
                  <a:ea typeface="ＭＳ Ｐゴシック" charset="-128"/>
                </a:rPr>
                <a:t>Jenna Christensen</a:t>
              </a:r>
            </a:p>
            <a:p>
              <a:pPr eaLnBrk="0" hangingPunct="0"/>
              <a:r>
                <a:rPr lang="en-US" sz="800" i="1">
                  <a:solidFill>
                    <a:srgbClr val="333F48"/>
                  </a:solidFill>
                  <a:latin typeface="Arial"/>
                  <a:ea typeface="ＭＳ Ｐゴシック" charset="-128"/>
                </a:rPr>
                <a:t>Research Associate, Asset Allocation Research </a:t>
              </a:r>
            </a:p>
          </p:txBody>
        </p:sp>
        <p:sp>
          <p:nvSpPr>
            <p:cNvPr id="67" name="Rectangle 66">
              <a:extLst>
                <a:ext uri="{FF2B5EF4-FFF2-40B4-BE49-F238E27FC236}">
                  <a16:creationId xmlns:a16="http://schemas.microsoft.com/office/drawing/2014/main" id="{D228D2EF-45E7-40C1-8FF7-F1E2AE4775DE}"/>
                </a:ext>
              </a:extLst>
            </p:cNvPr>
            <p:cNvSpPr/>
            <p:nvPr userDrawn="1"/>
          </p:nvSpPr>
          <p:spPr>
            <a:xfrm>
              <a:off x="4786790" y="5255147"/>
              <a:ext cx="2286000" cy="377026"/>
            </a:xfrm>
            <a:prstGeom prst="rect">
              <a:avLst/>
            </a:prstGeom>
          </p:spPr>
          <p:txBody>
            <a:bodyPr wrap="square" lIns="0">
              <a:spAutoFit/>
            </a:bodyPr>
            <a:lstStyle/>
            <a:p>
              <a:pPr eaLnBrk="0" hangingPunct="0"/>
              <a:r>
                <a:rPr lang="en-US" sz="1050" b="1">
                  <a:solidFill>
                    <a:srgbClr val="333F48"/>
                  </a:solidFill>
                  <a:latin typeface="Arial"/>
                  <a:ea typeface="ＭＳ Ｐゴシック" charset="-128"/>
                </a:rPr>
                <a:t>Andrew Garvey</a:t>
              </a:r>
            </a:p>
            <a:p>
              <a:pPr eaLnBrk="0" hangingPunct="0"/>
              <a:r>
                <a:rPr lang="en-US" sz="800" i="1">
                  <a:solidFill>
                    <a:srgbClr val="333F48"/>
                  </a:solidFill>
                  <a:latin typeface="Arial"/>
                  <a:ea typeface="ＭＳ Ｐゴシック" charset="-128"/>
                </a:rPr>
                <a:t>Research Associate, Asset Allocation Research </a:t>
              </a:r>
            </a:p>
          </p:txBody>
        </p:sp>
      </p:grpSp>
      <p:grpSp>
        <p:nvGrpSpPr>
          <p:cNvPr id="40" name="Group 39">
            <a:extLst>
              <a:ext uri="{FF2B5EF4-FFF2-40B4-BE49-F238E27FC236}">
                <a16:creationId xmlns:a16="http://schemas.microsoft.com/office/drawing/2014/main" id="{A9D95972-C050-594C-A5FF-3B21EEDCF2D7}"/>
              </a:ext>
            </a:extLst>
          </p:cNvPr>
          <p:cNvGrpSpPr/>
          <p:nvPr userDrawn="1"/>
        </p:nvGrpSpPr>
        <p:grpSpPr>
          <a:xfrm>
            <a:off x="7358173" y="6361974"/>
            <a:ext cx="1382376" cy="297562"/>
            <a:chOff x="6923088" y="4475163"/>
            <a:chExt cx="1873251" cy="403225"/>
          </a:xfrm>
        </p:grpSpPr>
        <p:sp>
          <p:nvSpPr>
            <p:cNvPr id="41" name="AutoShape 4">
              <a:extLst>
                <a:ext uri="{FF2B5EF4-FFF2-40B4-BE49-F238E27FC236}">
                  <a16:creationId xmlns:a16="http://schemas.microsoft.com/office/drawing/2014/main" id="{4A40E767-1D72-544C-B8F3-F29870469A72}"/>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6">
              <a:extLst>
                <a:ext uri="{FF2B5EF4-FFF2-40B4-BE49-F238E27FC236}">
                  <a16:creationId xmlns:a16="http://schemas.microsoft.com/office/drawing/2014/main" id="{2574EE06-10FE-2544-9461-3E0C4E6D58D8}"/>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7">
              <a:extLst>
                <a:ext uri="{FF2B5EF4-FFF2-40B4-BE49-F238E27FC236}">
                  <a16:creationId xmlns:a16="http://schemas.microsoft.com/office/drawing/2014/main" id="{4090426C-7358-014A-A874-E474988AF07D}"/>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83">
              <a:extLst>
                <a:ext uri="{FF2B5EF4-FFF2-40B4-BE49-F238E27FC236}">
                  <a16:creationId xmlns:a16="http://schemas.microsoft.com/office/drawing/2014/main" id="{64ABBCA2-69DA-CA4F-9D76-0B027E2501DB}"/>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84">
              <a:extLst>
                <a:ext uri="{FF2B5EF4-FFF2-40B4-BE49-F238E27FC236}">
                  <a16:creationId xmlns:a16="http://schemas.microsoft.com/office/drawing/2014/main" id="{57BDCE77-8010-864E-9BF7-5F62326BA87A}"/>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85">
              <a:extLst>
                <a:ext uri="{FF2B5EF4-FFF2-40B4-BE49-F238E27FC236}">
                  <a16:creationId xmlns:a16="http://schemas.microsoft.com/office/drawing/2014/main" id="{27340607-38C3-4B49-8D70-5AC6FD814A1B}"/>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86">
              <a:extLst>
                <a:ext uri="{FF2B5EF4-FFF2-40B4-BE49-F238E27FC236}">
                  <a16:creationId xmlns:a16="http://schemas.microsoft.com/office/drawing/2014/main" id="{6D8A34FD-E56B-8241-82BF-4694779F666E}"/>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87">
              <a:extLst>
                <a:ext uri="{FF2B5EF4-FFF2-40B4-BE49-F238E27FC236}">
                  <a16:creationId xmlns:a16="http://schemas.microsoft.com/office/drawing/2014/main" id="{0A694722-E110-4B48-8582-2C31AA4A7161}"/>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88">
              <a:extLst>
                <a:ext uri="{FF2B5EF4-FFF2-40B4-BE49-F238E27FC236}">
                  <a16:creationId xmlns:a16="http://schemas.microsoft.com/office/drawing/2014/main" id="{E70E4E5D-3C1C-2945-A1A9-6B0868221C62}"/>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89">
              <a:extLst>
                <a:ext uri="{FF2B5EF4-FFF2-40B4-BE49-F238E27FC236}">
                  <a16:creationId xmlns:a16="http://schemas.microsoft.com/office/drawing/2014/main" id="{67692936-96E9-0C4C-B00D-C75CC444AAB1}"/>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0">
              <a:extLst>
                <a:ext uri="{FF2B5EF4-FFF2-40B4-BE49-F238E27FC236}">
                  <a16:creationId xmlns:a16="http://schemas.microsoft.com/office/drawing/2014/main" id="{4613CB48-7952-7C49-A473-176D042D94C0}"/>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1">
              <a:extLst>
                <a:ext uri="{FF2B5EF4-FFF2-40B4-BE49-F238E27FC236}">
                  <a16:creationId xmlns:a16="http://schemas.microsoft.com/office/drawing/2014/main" id="{AD5F924A-C03C-6C4D-BB86-D37B5B7C1B2E}"/>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2">
              <a:extLst>
                <a:ext uri="{FF2B5EF4-FFF2-40B4-BE49-F238E27FC236}">
                  <a16:creationId xmlns:a16="http://schemas.microsoft.com/office/drawing/2014/main" id="{4E8A62CE-A25D-F645-8B11-989BA3AA8513}"/>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93">
              <a:extLst>
                <a:ext uri="{FF2B5EF4-FFF2-40B4-BE49-F238E27FC236}">
                  <a16:creationId xmlns:a16="http://schemas.microsoft.com/office/drawing/2014/main" id="{79D43580-A133-2747-8DAA-8289C17B2BF5}"/>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94">
              <a:extLst>
                <a:ext uri="{FF2B5EF4-FFF2-40B4-BE49-F238E27FC236}">
                  <a16:creationId xmlns:a16="http://schemas.microsoft.com/office/drawing/2014/main" id="{80E8402F-6B11-9245-A8AE-360CFA2AF7DC}"/>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95">
              <a:extLst>
                <a:ext uri="{FF2B5EF4-FFF2-40B4-BE49-F238E27FC236}">
                  <a16:creationId xmlns:a16="http://schemas.microsoft.com/office/drawing/2014/main" id="{493CC136-FDC2-BE44-9064-7CD1D5E1BE2B}"/>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96">
              <a:extLst>
                <a:ext uri="{FF2B5EF4-FFF2-40B4-BE49-F238E27FC236}">
                  <a16:creationId xmlns:a16="http://schemas.microsoft.com/office/drawing/2014/main" id="{C7896067-CC6B-3D4F-B4EF-6832C76E5AEE}"/>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97">
              <a:extLst>
                <a:ext uri="{FF2B5EF4-FFF2-40B4-BE49-F238E27FC236}">
                  <a16:creationId xmlns:a16="http://schemas.microsoft.com/office/drawing/2014/main" id="{A6A9768B-BC47-3C4D-A344-524EE6F833DE}"/>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98">
              <a:extLst>
                <a:ext uri="{FF2B5EF4-FFF2-40B4-BE49-F238E27FC236}">
                  <a16:creationId xmlns:a16="http://schemas.microsoft.com/office/drawing/2014/main" id="{081B3D04-DD82-9743-A6AE-6984178A686F}"/>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99">
              <a:extLst>
                <a:ext uri="{FF2B5EF4-FFF2-40B4-BE49-F238E27FC236}">
                  <a16:creationId xmlns:a16="http://schemas.microsoft.com/office/drawing/2014/main" id="{61910093-5B93-8D49-83E2-DF0313905605}"/>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100">
              <a:extLst>
                <a:ext uri="{FF2B5EF4-FFF2-40B4-BE49-F238E27FC236}">
                  <a16:creationId xmlns:a16="http://schemas.microsoft.com/office/drawing/2014/main" id="{9AB6198C-75F6-8E45-BD4E-0F42ACE67124}"/>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 name="Freeform 101">
              <a:extLst>
                <a:ext uri="{FF2B5EF4-FFF2-40B4-BE49-F238E27FC236}">
                  <a16:creationId xmlns:a16="http://schemas.microsoft.com/office/drawing/2014/main" id="{DCAAFA70-2BDE-C440-B27C-49559D0E5AEC}"/>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 name="Freeform 102">
              <a:extLst>
                <a:ext uri="{FF2B5EF4-FFF2-40B4-BE49-F238E27FC236}">
                  <a16:creationId xmlns:a16="http://schemas.microsoft.com/office/drawing/2014/main" id="{A71BD2D1-8CC2-3E42-8F48-57DA10108B09}"/>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 name="Freeform 103">
              <a:extLst>
                <a:ext uri="{FF2B5EF4-FFF2-40B4-BE49-F238E27FC236}">
                  <a16:creationId xmlns:a16="http://schemas.microsoft.com/office/drawing/2014/main" id="{E660CAD0-9745-2046-830E-3056FAB55260}"/>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 name="Freeform 104">
              <a:extLst>
                <a:ext uri="{FF2B5EF4-FFF2-40B4-BE49-F238E27FC236}">
                  <a16:creationId xmlns:a16="http://schemas.microsoft.com/office/drawing/2014/main" id="{6FD7688D-2290-F949-A753-F0B886FD5E80}"/>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 name="Freeform 105">
              <a:extLst>
                <a:ext uri="{FF2B5EF4-FFF2-40B4-BE49-F238E27FC236}">
                  <a16:creationId xmlns:a16="http://schemas.microsoft.com/office/drawing/2014/main" id="{9919029A-D59B-E940-813F-6B9504542BC7}"/>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Tree>
    <p:extLst>
      <p:ext uri="{BB962C8B-B14F-4D97-AF65-F5344CB8AC3E}">
        <p14:creationId xmlns:p14="http://schemas.microsoft.com/office/powerpoint/2010/main" val="299271958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291">
          <p15:clr>
            <a:srgbClr val="FBAE4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OC">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DC138087-D35E-43A1-BEFE-8F2D0B0F0C3F}"/>
              </a:ext>
            </a:extLst>
          </p:cNvPr>
          <p:cNvGrpSpPr/>
          <p:nvPr userDrawn="1"/>
        </p:nvGrpSpPr>
        <p:grpSpPr>
          <a:xfrm>
            <a:off x="7358173" y="6361974"/>
            <a:ext cx="1382376" cy="297562"/>
            <a:chOff x="6923088" y="4475163"/>
            <a:chExt cx="1873251" cy="403225"/>
          </a:xfrm>
        </p:grpSpPr>
        <p:sp>
          <p:nvSpPr>
            <p:cNvPr id="33" name="AutoShape 4">
              <a:extLst>
                <a:ext uri="{FF2B5EF4-FFF2-40B4-BE49-F238E27FC236}">
                  <a16:creationId xmlns:a16="http://schemas.microsoft.com/office/drawing/2014/main" id="{3D8EF03B-5B23-4ABD-9440-15D1EBC84329}"/>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6">
              <a:extLst>
                <a:ext uri="{FF2B5EF4-FFF2-40B4-BE49-F238E27FC236}">
                  <a16:creationId xmlns:a16="http://schemas.microsoft.com/office/drawing/2014/main" id="{93A04742-FB2D-4533-BDD2-3A08D6F3691A}"/>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7">
              <a:extLst>
                <a:ext uri="{FF2B5EF4-FFF2-40B4-BE49-F238E27FC236}">
                  <a16:creationId xmlns:a16="http://schemas.microsoft.com/office/drawing/2014/main" id="{51BE678F-4430-4FD9-A2A5-1B79173B4E23}"/>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83">
              <a:extLst>
                <a:ext uri="{FF2B5EF4-FFF2-40B4-BE49-F238E27FC236}">
                  <a16:creationId xmlns:a16="http://schemas.microsoft.com/office/drawing/2014/main" id="{F56B0136-29A5-4CC6-94AF-73C81592E4AE}"/>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84">
              <a:extLst>
                <a:ext uri="{FF2B5EF4-FFF2-40B4-BE49-F238E27FC236}">
                  <a16:creationId xmlns:a16="http://schemas.microsoft.com/office/drawing/2014/main" id="{AF2A7FC2-49BE-44A6-8DDE-0C224CC3044D}"/>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85">
              <a:extLst>
                <a:ext uri="{FF2B5EF4-FFF2-40B4-BE49-F238E27FC236}">
                  <a16:creationId xmlns:a16="http://schemas.microsoft.com/office/drawing/2014/main" id="{B87EDB37-3805-4129-9E3F-FF8887C37A2E}"/>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86">
              <a:extLst>
                <a:ext uri="{FF2B5EF4-FFF2-40B4-BE49-F238E27FC236}">
                  <a16:creationId xmlns:a16="http://schemas.microsoft.com/office/drawing/2014/main" id="{8D73AABB-D943-4FB8-A7F3-E99412CF91A9}"/>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87">
              <a:extLst>
                <a:ext uri="{FF2B5EF4-FFF2-40B4-BE49-F238E27FC236}">
                  <a16:creationId xmlns:a16="http://schemas.microsoft.com/office/drawing/2014/main" id="{F6CF7947-801F-4146-8FB6-018CC0071CAB}"/>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88">
              <a:extLst>
                <a:ext uri="{FF2B5EF4-FFF2-40B4-BE49-F238E27FC236}">
                  <a16:creationId xmlns:a16="http://schemas.microsoft.com/office/drawing/2014/main" id="{BCCA673D-6EF3-45F9-910D-F8C059CFCFD9}"/>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89">
              <a:extLst>
                <a:ext uri="{FF2B5EF4-FFF2-40B4-BE49-F238E27FC236}">
                  <a16:creationId xmlns:a16="http://schemas.microsoft.com/office/drawing/2014/main" id="{BB4975A3-6C1B-4B0C-9EEA-5CF277D78CD8}"/>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90">
              <a:extLst>
                <a:ext uri="{FF2B5EF4-FFF2-40B4-BE49-F238E27FC236}">
                  <a16:creationId xmlns:a16="http://schemas.microsoft.com/office/drawing/2014/main" id="{A979E4D1-C6EA-4112-885F-CD66D7AACA2F}"/>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91">
              <a:extLst>
                <a:ext uri="{FF2B5EF4-FFF2-40B4-BE49-F238E27FC236}">
                  <a16:creationId xmlns:a16="http://schemas.microsoft.com/office/drawing/2014/main" id="{CC9144C6-DE8D-4256-9506-58DFA67FE04E}"/>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92">
              <a:extLst>
                <a:ext uri="{FF2B5EF4-FFF2-40B4-BE49-F238E27FC236}">
                  <a16:creationId xmlns:a16="http://schemas.microsoft.com/office/drawing/2014/main" id="{4B2F15AA-5913-4A17-8AC2-36E90932947B}"/>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93">
              <a:extLst>
                <a:ext uri="{FF2B5EF4-FFF2-40B4-BE49-F238E27FC236}">
                  <a16:creationId xmlns:a16="http://schemas.microsoft.com/office/drawing/2014/main" id="{60532004-056D-445B-8AC2-3BFEC07FECA9}"/>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94">
              <a:extLst>
                <a:ext uri="{FF2B5EF4-FFF2-40B4-BE49-F238E27FC236}">
                  <a16:creationId xmlns:a16="http://schemas.microsoft.com/office/drawing/2014/main" id="{56E9A1F1-BC11-4BE9-88EA-2F69BFC0D954}"/>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95">
              <a:extLst>
                <a:ext uri="{FF2B5EF4-FFF2-40B4-BE49-F238E27FC236}">
                  <a16:creationId xmlns:a16="http://schemas.microsoft.com/office/drawing/2014/main" id="{F28E3F43-8922-459B-93CA-713E3528553D}"/>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96">
              <a:extLst>
                <a:ext uri="{FF2B5EF4-FFF2-40B4-BE49-F238E27FC236}">
                  <a16:creationId xmlns:a16="http://schemas.microsoft.com/office/drawing/2014/main" id="{F9690BB1-B165-4E3D-A7DB-B37A268C9D16}"/>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7">
              <a:extLst>
                <a:ext uri="{FF2B5EF4-FFF2-40B4-BE49-F238E27FC236}">
                  <a16:creationId xmlns:a16="http://schemas.microsoft.com/office/drawing/2014/main" id="{ADA2FD01-76B9-404E-82AA-BD0E94C7009D}"/>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8">
              <a:extLst>
                <a:ext uri="{FF2B5EF4-FFF2-40B4-BE49-F238E27FC236}">
                  <a16:creationId xmlns:a16="http://schemas.microsoft.com/office/drawing/2014/main" id="{EBF74C1F-C59C-4BE2-BE43-DC2A7A82C8DC}"/>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9">
              <a:extLst>
                <a:ext uri="{FF2B5EF4-FFF2-40B4-BE49-F238E27FC236}">
                  <a16:creationId xmlns:a16="http://schemas.microsoft.com/office/drawing/2014/main" id="{E245FD61-F79C-4994-B97E-380722096E41}"/>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100">
              <a:extLst>
                <a:ext uri="{FF2B5EF4-FFF2-40B4-BE49-F238E27FC236}">
                  <a16:creationId xmlns:a16="http://schemas.microsoft.com/office/drawing/2014/main" id="{D08EA29F-593F-4FC8-97F0-4629053CC405}"/>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101">
              <a:extLst>
                <a:ext uri="{FF2B5EF4-FFF2-40B4-BE49-F238E27FC236}">
                  <a16:creationId xmlns:a16="http://schemas.microsoft.com/office/drawing/2014/main" id="{E358CBFB-5516-47AF-86F1-97AAE362C09C}"/>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102">
              <a:extLst>
                <a:ext uri="{FF2B5EF4-FFF2-40B4-BE49-F238E27FC236}">
                  <a16:creationId xmlns:a16="http://schemas.microsoft.com/office/drawing/2014/main" id="{98CAD3F8-02DB-4B47-827D-45514D991228}"/>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103">
              <a:extLst>
                <a:ext uri="{FF2B5EF4-FFF2-40B4-BE49-F238E27FC236}">
                  <a16:creationId xmlns:a16="http://schemas.microsoft.com/office/drawing/2014/main" id="{EAE77410-81C0-4B97-B88F-750EF0E3365D}"/>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04">
              <a:extLst>
                <a:ext uri="{FF2B5EF4-FFF2-40B4-BE49-F238E27FC236}">
                  <a16:creationId xmlns:a16="http://schemas.microsoft.com/office/drawing/2014/main" id="{D564E5C2-E42A-4C31-BBCD-B6D3A88B1F88}"/>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105">
              <a:extLst>
                <a:ext uri="{FF2B5EF4-FFF2-40B4-BE49-F238E27FC236}">
                  <a16:creationId xmlns:a16="http://schemas.microsoft.com/office/drawing/2014/main" id="{C3E9A073-6E22-497A-8494-047622B5A67B}"/>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0" name="Slide Number Placeholder 3">
            <a:extLst>
              <a:ext uri="{FF2B5EF4-FFF2-40B4-BE49-F238E27FC236}">
                <a16:creationId xmlns:a16="http://schemas.microsoft.com/office/drawing/2014/main" id="{BCE193F0-C685-4085-9D8A-B79EF54508E4}"/>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a:p>
        </p:txBody>
      </p:sp>
      <p:sp>
        <p:nvSpPr>
          <p:cNvPr id="61" name="Rectangle 155">
            <a:extLst>
              <a:ext uri="{FF2B5EF4-FFF2-40B4-BE49-F238E27FC236}">
                <a16:creationId xmlns:a16="http://schemas.microsoft.com/office/drawing/2014/main" id="{84E06131-FBAA-43EF-B330-B5D9B5D74861}"/>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a:t>Production code #</a:t>
            </a:r>
          </a:p>
        </p:txBody>
      </p:sp>
      <p:sp>
        <p:nvSpPr>
          <p:cNvPr id="62" name="Rectangle 176">
            <a:extLst>
              <a:ext uri="{FF2B5EF4-FFF2-40B4-BE49-F238E27FC236}">
                <a16:creationId xmlns:a16="http://schemas.microsoft.com/office/drawing/2014/main" id="{F5AA948F-B277-4FEC-B9BB-772B7C340B16}"/>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a:t>Page footer, i.e., For institutional use only.</a:t>
            </a:r>
          </a:p>
        </p:txBody>
      </p:sp>
      <p:sp>
        <p:nvSpPr>
          <p:cNvPr id="36" name="TextBox 2">
            <a:extLst>
              <a:ext uri="{FF2B5EF4-FFF2-40B4-BE49-F238E27FC236}">
                <a16:creationId xmlns:a16="http://schemas.microsoft.com/office/drawing/2014/main" id="{98C8E62E-DD4E-904E-AF18-ABC7F0D7EE27}"/>
              </a:ext>
            </a:extLst>
          </p:cNvPr>
          <p:cNvSpPr txBox="1">
            <a:spLocks noChangeArrowheads="1"/>
          </p:cNvSpPr>
          <p:nvPr userDrawn="1"/>
        </p:nvSpPr>
        <p:spPr bwMode="auto">
          <a:xfrm>
            <a:off x="1369105" y="1620138"/>
            <a:ext cx="4419600" cy="461962"/>
          </a:xfrm>
          <a:prstGeom prst="rect">
            <a:avLst/>
          </a:prstGeom>
          <a:noFill/>
          <a:ln w="9525">
            <a:noFill/>
            <a:miter lim="800000"/>
            <a:headEnd/>
            <a:tailEnd/>
          </a:ln>
        </p:spPr>
        <p:txBody>
          <a:bodyPr>
            <a:spAutoFit/>
          </a:bodyPr>
          <a:lstStyle/>
          <a:p>
            <a:pPr marL="342900" indent="-342900">
              <a:spcBef>
                <a:spcPts val="300"/>
              </a:spcBef>
            </a:pPr>
            <a:r>
              <a:rPr lang="en-US" sz="2400">
                <a:solidFill>
                  <a:srgbClr val="172934"/>
                </a:solidFill>
                <a:cs typeface="Arial" charset="0"/>
              </a:rPr>
              <a:t>Table of Contents</a:t>
            </a:r>
            <a:endParaRPr lang="en-US" sz="1400">
              <a:solidFill>
                <a:srgbClr val="172934"/>
              </a:solidFill>
              <a:cs typeface="Arial" charset="0"/>
            </a:endParaRPr>
          </a:p>
        </p:txBody>
      </p:sp>
      <p:sp>
        <p:nvSpPr>
          <p:cNvPr id="63" name="TextBox 69">
            <a:extLst>
              <a:ext uri="{FF2B5EF4-FFF2-40B4-BE49-F238E27FC236}">
                <a16:creationId xmlns:a16="http://schemas.microsoft.com/office/drawing/2014/main" id="{748208CD-BADE-E943-9EEA-6A8BE001B5EC}"/>
              </a:ext>
            </a:extLst>
          </p:cNvPr>
          <p:cNvSpPr txBox="1">
            <a:spLocks noChangeArrowheads="1"/>
          </p:cNvSpPr>
          <p:nvPr userDrawn="1"/>
        </p:nvSpPr>
        <p:spPr bwMode="auto">
          <a:xfrm>
            <a:off x="1655335" y="2123101"/>
            <a:ext cx="5712181" cy="365125"/>
          </a:xfrm>
          <a:prstGeom prst="rect">
            <a:avLst/>
          </a:prstGeom>
          <a:noFill/>
          <a:ln w="9525">
            <a:noFill/>
            <a:miter lim="800000"/>
            <a:headEnd/>
            <a:tailEnd/>
          </a:ln>
        </p:spPr>
        <p:txBody>
          <a:bodyPr lIns="91440" rIns="0" anchor="ctr"/>
          <a:lstStyle/>
          <a:p>
            <a:r>
              <a:rPr lang="en-US" sz="1200">
                <a:solidFill>
                  <a:srgbClr val="7A9A3D"/>
                </a:solidFill>
                <a:cs typeface="Arial" charset="0"/>
              </a:rPr>
              <a:t>Market Summary</a:t>
            </a:r>
          </a:p>
        </p:txBody>
      </p:sp>
      <p:sp>
        <p:nvSpPr>
          <p:cNvPr id="64" name="TextBox 69">
            <a:extLst>
              <a:ext uri="{FF2B5EF4-FFF2-40B4-BE49-F238E27FC236}">
                <a16:creationId xmlns:a16="http://schemas.microsoft.com/office/drawing/2014/main" id="{FFEF1F4C-E264-9341-BDF0-CD142BBC32EC}"/>
              </a:ext>
            </a:extLst>
          </p:cNvPr>
          <p:cNvSpPr txBox="1">
            <a:spLocks noChangeArrowheads="1"/>
          </p:cNvSpPr>
          <p:nvPr userDrawn="1"/>
        </p:nvSpPr>
        <p:spPr bwMode="auto">
          <a:xfrm>
            <a:off x="1655335" y="2754128"/>
            <a:ext cx="5712181" cy="365125"/>
          </a:xfrm>
          <a:prstGeom prst="rect">
            <a:avLst/>
          </a:prstGeom>
          <a:noFill/>
          <a:ln w="9525">
            <a:noFill/>
            <a:miter lim="800000"/>
            <a:headEnd/>
            <a:tailEnd/>
          </a:ln>
        </p:spPr>
        <p:txBody>
          <a:bodyPr lIns="91440" rIns="0" anchor="ctr"/>
          <a:lstStyle/>
          <a:p>
            <a:pPr>
              <a:defRPr/>
            </a:pPr>
            <a:r>
              <a:rPr lang="en-US">
                <a:solidFill>
                  <a:srgbClr val="768692"/>
                </a:solidFill>
              </a:rPr>
              <a:t>Economy/Macro Backdrop</a:t>
            </a:r>
          </a:p>
        </p:txBody>
      </p:sp>
      <p:sp>
        <p:nvSpPr>
          <p:cNvPr id="65" name="TextBox 69">
            <a:extLst>
              <a:ext uri="{FF2B5EF4-FFF2-40B4-BE49-F238E27FC236}">
                <a16:creationId xmlns:a16="http://schemas.microsoft.com/office/drawing/2014/main" id="{4279E1FD-665F-184C-9898-1C83B8B6BBBA}"/>
              </a:ext>
            </a:extLst>
          </p:cNvPr>
          <p:cNvSpPr txBox="1">
            <a:spLocks noChangeArrowheads="1"/>
          </p:cNvSpPr>
          <p:nvPr userDrawn="1"/>
        </p:nvSpPr>
        <p:spPr bwMode="auto">
          <a:xfrm>
            <a:off x="1655335" y="3385155"/>
            <a:ext cx="5712181" cy="365125"/>
          </a:xfrm>
          <a:prstGeom prst="rect">
            <a:avLst/>
          </a:prstGeom>
          <a:noFill/>
          <a:ln w="9525">
            <a:noFill/>
            <a:miter lim="800000"/>
            <a:headEnd/>
            <a:tailEnd/>
          </a:ln>
        </p:spPr>
        <p:txBody>
          <a:bodyPr lIns="91440" rIns="0" anchor="ctr"/>
          <a:lstStyle/>
          <a:p>
            <a:r>
              <a:rPr lang="en-US">
                <a:solidFill>
                  <a:srgbClr val="009681"/>
                </a:solidFill>
                <a:cs typeface="Arial" charset="0"/>
              </a:rPr>
              <a:t>Asset Markets</a:t>
            </a:r>
          </a:p>
        </p:txBody>
      </p:sp>
      <p:sp>
        <p:nvSpPr>
          <p:cNvPr id="66" name="TextBox 69">
            <a:extLst>
              <a:ext uri="{FF2B5EF4-FFF2-40B4-BE49-F238E27FC236}">
                <a16:creationId xmlns:a16="http://schemas.microsoft.com/office/drawing/2014/main" id="{089734BF-C301-024E-89A4-6ACD7B9CE2D8}"/>
              </a:ext>
            </a:extLst>
          </p:cNvPr>
          <p:cNvSpPr txBox="1">
            <a:spLocks noChangeArrowheads="1"/>
          </p:cNvSpPr>
          <p:nvPr userDrawn="1"/>
        </p:nvSpPr>
        <p:spPr bwMode="auto">
          <a:xfrm>
            <a:off x="1655335" y="4010606"/>
            <a:ext cx="5712181" cy="365125"/>
          </a:xfrm>
          <a:prstGeom prst="rect">
            <a:avLst/>
          </a:prstGeom>
          <a:noFill/>
          <a:ln w="9525">
            <a:noFill/>
            <a:miter lim="800000"/>
            <a:headEnd/>
            <a:tailEnd/>
          </a:ln>
        </p:spPr>
        <p:txBody>
          <a:bodyPr lIns="91440" rIns="0" anchor="ctr"/>
          <a:lstStyle/>
          <a:p>
            <a:r>
              <a:rPr lang="en-US">
                <a:solidFill>
                  <a:srgbClr val="00A3D4"/>
                </a:solidFill>
                <a:cs typeface="Arial" charset="0"/>
              </a:rPr>
              <a:t>Long-Term Themes</a:t>
            </a:r>
          </a:p>
        </p:txBody>
      </p:sp>
      <p:cxnSp>
        <p:nvCxnSpPr>
          <p:cNvPr id="67" name="Straight Connector 66">
            <a:extLst>
              <a:ext uri="{FF2B5EF4-FFF2-40B4-BE49-F238E27FC236}">
                <a16:creationId xmlns:a16="http://schemas.microsoft.com/office/drawing/2014/main" id="{97BCA24C-D9B1-F445-91F2-D6630DE9526A}"/>
              </a:ext>
            </a:extLst>
          </p:cNvPr>
          <p:cNvCxnSpPr>
            <a:cxnSpLocks/>
            <a:endCxn id="71" idx="4"/>
          </p:cNvCxnSpPr>
          <p:nvPr userDrawn="1"/>
        </p:nvCxnSpPr>
        <p:spPr bwMode="auto">
          <a:xfrm>
            <a:off x="1544021" y="2275572"/>
            <a:ext cx="1" cy="2000588"/>
          </a:xfrm>
          <a:prstGeom prst="line">
            <a:avLst/>
          </a:prstGeom>
          <a:solidFill>
            <a:schemeClr val="hlink"/>
          </a:solidFill>
          <a:ln w="12700" cap="flat" cmpd="sng" algn="ctr">
            <a:solidFill>
              <a:schemeClr val="bg1">
                <a:lumMod val="75000"/>
              </a:schemeClr>
            </a:solidFill>
            <a:prstDash val="solid"/>
            <a:round/>
            <a:headEnd type="none" w="med" len="med"/>
            <a:tailEnd type="none" w="med" len="med"/>
          </a:ln>
          <a:effectLst/>
        </p:spPr>
      </p:cxnSp>
      <p:sp>
        <p:nvSpPr>
          <p:cNvPr id="68" name="Oval 67">
            <a:extLst>
              <a:ext uri="{FF2B5EF4-FFF2-40B4-BE49-F238E27FC236}">
                <a16:creationId xmlns:a16="http://schemas.microsoft.com/office/drawing/2014/main" id="{C4CB8C8D-DD02-8E46-905D-52B6C32DD821}"/>
              </a:ext>
            </a:extLst>
          </p:cNvPr>
          <p:cNvSpPr/>
          <p:nvPr userDrawn="1"/>
        </p:nvSpPr>
        <p:spPr bwMode="auto">
          <a:xfrm>
            <a:off x="1477691" y="2235605"/>
            <a:ext cx="132661" cy="132661"/>
          </a:xfrm>
          <a:prstGeom prst="ellipse">
            <a:avLst/>
          </a:prstGeom>
          <a:solidFill>
            <a:schemeClr val="bg1"/>
          </a:solidFill>
          <a:ln w="12700"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sp>
        <p:nvSpPr>
          <p:cNvPr id="69" name="Oval 68">
            <a:extLst>
              <a:ext uri="{FF2B5EF4-FFF2-40B4-BE49-F238E27FC236}">
                <a16:creationId xmlns:a16="http://schemas.microsoft.com/office/drawing/2014/main" id="{239A6CA6-E3F4-C14B-B410-DD451C1361B9}"/>
              </a:ext>
            </a:extLst>
          </p:cNvPr>
          <p:cNvSpPr/>
          <p:nvPr userDrawn="1"/>
        </p:nvSpPr>
        <p:spPr bwMode="auto">
          <a:xfrm>
            <a:off x="1477691" y="2861567"/>
            <a:ext cx="132661" cy="132661"/>
          </a:xfrm>
          <a:prstGeom prst="ellipse">
            <a:avLst/>
          </a:prstGeom>
          <a:solidFill>
            <a:schemeClr val="bg1"/>
          </a:solidFill>
          <a:ln w="12700"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sp>
        <p:nvSpPr>
          <p:cNvPr id="70" name="Oval 69">
            <a:extLst>
              <a:ext uri="{FF2B5EF4-FFF2-40B4-BE49-F238E27FC236}">
                <a16:creationId xmlns:a16="http://schemas.microsoft.com/office/drawing/2014/main" id="{68FCD4E0-D465-4E42-A56F-DC85982FBEEC}"/>
              </a:ext>
            </a:extLst>
          </p:cNvPr>
          <p:cNvSpPr/>
          <p:nvPr userDrawn="1"/>
        </p:nvSpPr>
        <p:spPr bwMode="auto">
          <a:xfrm>
            <a:off x="1477691" y="3493120"/>
            <a:ext cx="132661" cy="132661"/>
          </a:xfrm>
          <a:prstGeom prst="ellipse">
            <a:avLst/>
          </a:prstGeom>
          <a:solidFill>
            <a:schemeClr val="bg1"/>
          </a:solidFill>
          <a:ln w="12700"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sp>
        <p:nvSpPr>
          <p:cNvPr id="71" name="Oval 70">
            <a:extLst>
              <a:ext uri="{FF2B5EF4-FFF2-40B4-BE49-F238E27FC236}">
                <a16:creationId xmlns:a16="http://schemas.microsoft.com/office/drawing/2014/main" id="{B378CE54-463D-3345-B9D9-9090E62C80F5}"/>
              </a:ext>
            </a:extLst>
          </p:cNvPr>
          <p:cNvSpPr/>
          <p:nvPr userDrawn="1"/>
        </p:nvSpPr>
        <p:spPr bwMode="auto">
          <a:xfrm>
            <a:off x="1477691" y="4143499"/>
            <a:ext cx="132661" cy="132661"/>
          </a:xfrm>
          <a:prstGeom prst="ellipse">
            <a:avLst/>
          </a:prstGeom>
          <a:solidFill>
            <a:schemeClr val="bg1"/>
          </a:solidFill>
          <a:ln w="12700"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sp>
        <p:nvSpPr>
          <p:cNvPr id="72" name="Oval 71">
            <a:extLst>
              <a:ext uri="{FF2B5EF4-FFF2-40B4-BE49-F238E27FC236}">
                <a16:creationId xmlns:a16="http://schemas.microsoft.com/office/drawing/2014/main" id="{848377BA-BA50-4143-90F4-430102A2845F}"/>
              </a:ext>
            </a:extLst>
          </p:cNvPr>
          <p:cNvSpPr/>
          <p:nvPr userDrawn="1"/>
        </p:nvSpPr>
        <p:spPr bwMode="auto">
          <a:xfrm>
            <a:off x="1512017" y="2269931"/>
            <a:ext cx="64008" cy="64008"/>
          </a:xfrm>
          <a:prstGeom prst="ellipse">
            <a:avLst/>
          </a:prstGeom>
          <a:solidFill>
            <a:srgbClr val="7A9A3D"/>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sp>
        <p:nvSpPr>
          <p:cNvPr id="73" name="Oval 72">
            <a:extLst>
              <a:ext uri="{FF2B5EF4-FFF2-40B4-BE49-F238E27FC236}">
                <a16:creationId xmlns:a16="http://schemas.microsoft.com/office/drawing/2014/main" id="{80401BD5-46A5-5A49-9F1E-C041A3C4856C}"/>
              </a:ext>
            </a:extLst>
          </p:cNvPr>
          <p:cNvSpPr/>
          <p:nvPr userDrawn="1"/>
        </p:nvSpPr>
        <p:spPr bwMode="auto">
          <a:xfrm>
            <a:off x="1512017" y="2895893"/>
            <a:ext cx="64008" cy="64008"/>
          </a:xfrm>
          <a:prstGeom prst="ellipse">
            <a:avLst/>
          </a:prstGeom>
          <a:solidFill>
            <a:srgbClr val="768692"/>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sp>
        <p:nvSpPr>
          <p:cNvPr id="74" name="Oval 73">
            <a:extLst>
              <a:ext uri="{FF2B5EF4-FFF2-40B4-BE49-F238E27FC236}">
                <a16:creationId xmlns:a16="http://schemas.microsoft.com/office/drawing/2014/main" id="{36724151-6DDA-C34B-B7C8-77CD6F7E0443}"/>
              </a:ext>
            </a:extLst>
          </p:cNvPr>
          <p:cNvSpPr/>
          <p:nvPr userDrawn="1"/>
        </p:nvSpPr>
        <p:spPr bwMode="auto">
          <a:xfrm>
            <a:off x="1512017" y="3527446"/>
            <a:ext cx="64008" cy="64008"/>
          </a:xfrm>
          <a:prstGeom prst="ellipse">
            <a:avLst/>
          </a:prstGeom>
          <a:solidFill>
            <a:srgbClr val="009681"/>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sp>
        <p:nvSpPr>
          <p:cNvPr id="75" name="Oval 74">
            <a:extLst>
              <a:ext uri="{FF2B5EF4-FFF2-40B4-BE49-F238E27FC236}">
                <a16:creationId xmlns:a16="http://schemas.microsoft.com/office/drawing/2014/main" id="{B2898E76-2461-CB48-8FB3-E36A2DE89E3D}"/>
              </a:ext>
            </a:extLst>
          </p:cNvPr>
          <p:cNvSpPr/>
          <p:nvPr userDrawn="1"/>
        </p:nvSpPr>
        <p:spPr bwMode="auto">
          <a:xfrm>
            <a:off x="1512017" y="4177825"/>
            <a:ext cx="64008" cy="64008"/>
          </a:xfrm>
          <a:prstGeom prst="ellipse">
            <a:avLst/>
          </a:prstGeom>
          <a:solidFill>
            <a:srgbClr val="00A3D4"/>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spTree>
    <p:extLst>
      <p:ext uri="{BB962C8B-B14F-4D97-AF65-F5344CB8AC3E}">
        <p14:creationId xmlns:p14="http://schemas.microsoft.com/office/powerpoint/2010/main" val="181166368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userDrawn="1">
  <p:cSld name="1. Market Summary Divider">
    <p:spTree>
      <p:nvGrpSpPr>
        <p:cNvPr id="1" name=""/>
        <p:cNvGrpSpPr/>
        <p:nvPr/>
      </p:nvGrpSpPr>
      <p:grpSpPr>
        <a:xfrm>
          <a:off x="0" y="0"/>
          <a:ext cx="0" cy="0"/>
          <a:chOff x="0" y="0"/>
          <a:chExt cx="0" cy="0"/>
        </a:xfrm>
      </p:grpSpPr>
      <p:grpSp>
        <p:nvGrpSpPr>
          <p:cNvPr id="44" name="Group 43">
            <a:extLst>
              <a:ext uri="{FF2B5EF4-FFF2-40B4-BE49-F238E27FC236}">
                <a16:creationId xmlns:a16="http://schemas.microsoft.com/office/drawing/2014/main" id="{7772C258-06F4-F944-87D0-9D3169059BE3}"/>
              </a:ext>
            </a:extLst>
          </p:cNvPr>
          <p:cNvGrpSpPr/>
          <p:nvPr userDrawn="1"/>
        </p:nvGrpSpPr>
        <p:grpSpPr>
          <a:xfrm>
            <a:off x="7358173" y="6361974"/>
            <a:ext cx="1382376" cy="297562"/>
            <a:chOff x="6923088" y="4475163"/>
            <a:chExt cx="1873251" cy="403225"/>
          </a:xfrm>
        </p:grpSpPr>
        <p:sp>
          <p:nvSpPr>
            <p:cNvPr id="45" name="AutoShape 4">
              <a:extLst>
                <a:ext uri="{FF2B5EF4-FFF2-40B4-BE49-F238E27FC236}">
                  <a16:creationId xmlns:a16="http://schemas.microsoft.com/office/drawing/2014/main" id="{6D0ACCF7-FDBA-1B4D-A82B-6652DD736ECD}"/>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6">
              <a:extLst>
                <a:ext uri="{FF2B5EF4-FFF2-40B4-BE49-F238E27FC236}">
                  <a16:creationId xmlns:a16="http://schemas.microsoft.com/office/drawing/2014/main" id="{5B0D1651-0630-CB41-8099-A65C58482F12}"/>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7">
              <a:extLst>
                <a:ext uri="{FF2B5EF4-FFF2-40B4-BE49-F238E27FC236}">
                  <a16:creationId xmlns:a16="http://schemas.microsoft.com/office/drawing/2014/main" id="{F1C1AD18-4112-4642-A787-E773AC33254E}"/>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83">
              <a:extLst>
                <a:ext uri="{FF2B5EF4-FFF2-40B4-BE49-F238E27FC236}">
                  <a16:creationId xmlns:a16="http://schemas.microsoft.com/office/drawing/2014/main" id="{7DFD665C-1313-7040-BE69-2DFEBFA229E2}"/>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84">
              <a:extLst>
                <a:ext uri="{FF2B5EF4-FFF2-40B4-BE49-F238E27FC236}">
                  <a16:creationId xmlns:a16="http://schemas.microsoft.com/office/drawing/2014/main" id="{655F30A6-F2A9-154B-84BF-5F2DEE8A0130}"/>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85">
              <a:extLst>
                <a:ext uri="{FF2B5EF4-FFF2-40B4-BE49-F238E27FC236}">
                  <a16:creationId xmlns:a16="http://schemas.microsoft.com/office/drawing/2014/main" id="{537DF061-61BD-BA4F-BA9C-CFFF22A2A3F4}"/>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86">
              <a:extLst>
                <a:ext uri="{FF2B5EF4-FFF2-40B4-BE49-F238E27FC236}">
                  <a16:creationId xmlns:a16="http://schemas.microsoft.com/office/drawing/2014/main" id="{A19F49A3-E0F8-9647-8D04-A20E35CC17B9}"/>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87">
              <a:extLst>
                <a:ext uri="{FF2B5EF4-FFF2-40B4-BE49-F238E27FC236}">
                  <a16:creationId xmlns:a16="http://schemas.microsoft.com/office/drawing/2014/main" id="{BA1E0055-F6AB-5A4D-99CA-82491CC251BC}"/>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88">
              <a:extLst>
                <a:ext uri="{FF2B5EF4-FFF2-40B4-BE49-F238E27FC236}">
                  <a16:creationId xmlns:a16="http://schemas.microsoft.com/office/drawing/2014/main" id="{535D13AD-CA87-B746-9B34-225524D5A924}"/>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89">
              <a:extLst>
                <a:ext uri="{FF2B5EF4-FFF2-40B4-BE49-F238E27FC236}">
                  <a16:creationId xmlns:a16="http://schemas.microsoft.com/office/drawing/2014/main" id="{D8D41026-7C1F-5843-AC81-5B1F281F747A}"/>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90">
              <a:extLst>
                <a:ext uri="{FF2B5EF4-FFF2-40B4-BE49-F238E27FC236}">
                  <a16:creationId xmlns:a16="http://schemas.microsoft.com/office/drawing/2014/main" id="{117884C9-CAD4-984B-ADB2-62EBBBC5FE88}"/>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91">
              <a:extLst>
                <a:ext uri="{FF2B5EF4-FFF2-40B4-BE49-F238E27FC236}">
                  <a16:creationId xmlns:a16="http://schemas.microsoft.com/office/drawing/2014/main" id="{9333BBF9-B83B-8947-B160-12968561287A}"/>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92">
              <a:extLst>
                <a:ext uri="{FF2B5EF4-FFF2-40B4-BE49-F238E27FC236}">
                  <a16:creationId xmlns:a16="http://schemas.microsoft.com/office/drawing/2014/main" id="{C165D893-4F2C-BF4C-ABD8-9D2D3BB8C8D3}"/>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93">
              <a:extLst>
                <a:ext uri="{FF2B5EF4-FFF2-40B4-BE49-F238E27FC236}">
                  <a16:creationId xmlns:a16="http://schemas.microsoft.com/office/drawing/2014/main" id="{91DD5CC7-6D39-D141-A202-D099BDB36B23}"/>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94">
              <a:extLst>
                <a:ext uri="{FF2B5EF4-FFF2-40B4-BE49-F238E27FC236}">
                  <a16:creationId xmlns:a16="http://schemas.microsoft.com/office/drawing/2014/main" id="{1BDC45A4-C092-B244-B0F5-09F082A258ED}"/>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95">
              <a:extLst>
                <a:ext uri="{FF2B5EF4-FFF2-40B4-BE49-F238E27FC236}">
                  <a16:creationId xmlns:a16="http://schemas.microsoft.com/office/drawing/2014/main" id="{EE87EB39-9A98-8749-8967-3CE3A4C8B5A1}"/>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 name="Freeform 96">
              <a:extLst>
                <a:ext uri="{FF2B5EF4-FFF2-40B4-BE49-F238E27FC236}">
                  <a16:creationId xmlns:a16="http://schemas.microsoft.com/office/drawing/2014/main" id="{396C0F2A-E612-5E47-A355-69C96C339442}"/>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 name="Freeform 97">
              <a:extLst>
                <a:ext uri="{FF2B5EF4-FFF2-40B4-BE49-F238E27FC236}">
                  <a16:creationId xmlns:a16="http://schemas.microsoft.com/office/drawing/2014/main" id="{864A7DE1-613F-D84D-A516-62953BDD4722}"/>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 name="Freeform 98">
              <a:extLst>
                <a:ext uri="{FF2B5EF4-FFF2-40B4-BE49-F238E27FC236}">
                  <a16:creationId xmlns:a16="http://schemas.microsoft.com/office/drawing/2014/main" id="{BBB4C417-4DEA-AC42-9DB0-5405DC30D68A}"/>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 name="Freeform 99">
              <a:extLst>
                <a:ext uri="{FF2B5EF4-FFF2-40B4-BE49-F238E27FC236}">
                  <a16:creationId xmlns:a16="http://schemas.microsoft.com/office/drawing/2014/main" id="{923F088E-1FC2-1E43-A126-F33655E10C4E}"/>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 name="Freeform 100">
              <a:extLst>
                <a:ext uri="{FF2B5EF4-FFF2-40B4-BE49-F238E27FC236}">
                  <a16:creationId xmlns:a16="http://schemas.microsoft.com/office/drawing/2014/main" id="{68F07D4F-CAF9-CB43-8050-38E929C5D2ED}"/>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 name="Freeform 101">
              <a:extLst>
                <a:ext uri="{FF2B5EF4-FFF2-40B4-BE49-F238E27FC236}">
                  <a16:creationId xmlns:a16="http://schemas.microsoft.com/office/drawing/2014/main" id="{8BB992EC-BF0C-5140-8F0F-971B5E75CC88}"/>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 name="Freeform 102">
              <a:extLst>
                <a:ext uri="{FF2B5EF4-FFF2-40B4-BE49-F238E27FC236}">
                  <a16:creationId xmlns:a16="http://schemas.microsoft.com/office/drawing/2014/main" id="{3DA7A8CF-E236-F64E-9770-C52504D36FF0}"/>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 name="Freeform 103">
              <a:extLst>
                <a:ext uri="{FF2B5EF4-FFF2-40B4-BE49-F238E27FC236}">
                  <a16:creationId xmlns:a16="http://schemas.microsoft.com/office/drawing/2014/main" id="{B8A841BE-F8FC-174C-BDD4-A2F9DD7A1E78}"/>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 name="Freeform 104">
              <a:extLst>
                <a:ext uri="{FF2B5EF4-FFF2-40B4-BE49-F238E27FC236}">
                  <a16:creationId xmlns:a16="http://schemas.microsoft.com/office/drawing/2014/main" id="{08564141-EBDB-B349-B90C-A079F8B1BB4E}"/>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 name="Freeform 105">
              <a:extLst>
                <a:ext uri="{FF2B5EF4-FFF2-40B4-BE49-F238E27FC236}">
                  <a16:creationId xmlns:a16="http://schemas.microsoft.com/office/drawing/2014/main" id="{BA7F1E66-A488-9142-87ED-B2BE54121A68}"/>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2" name="Title 1">
            <a:extLst>
              <a:ext uri="{FF2B5EF4-FFF2-40B4-BE49-F238E27FC236}">
                <a16:creationId xmlns:a16="http://schemas.microsoft.com/office/drawing/2014/main" id="{2E6009EC-ADCD-1540-AFF3-975F36871FEE}"/>
              </a:ext>
            </a:extLst>
          </p:cNvPr>
          <p:cNvSpPr>
            <a:spLocks noGrp="1"/>
          </p:cNvSpPr>
          <p:nvPr>
            <p:ph type="title"/>
          </p:nvPr>
        </p:nvSpPr>
        <p:spPr>
          <a:xfrm>
            <a:off x="687295" y="3046413"/>
            <a:ext cx="8229600" cy="1143000"/>
          </a:xfrm>
        </p:spPr>
        <p:txBody>
          <a:bodyPr>
            <a:normAutofit/>
          </a:bodyPr>
          <a:lstStyle>
            <a:lvl1pPr>
              <a:defRPr b="1"/>
            </a:lvl1pPr>
          </a:lstStyle>
          <a:p>
            <a:pPr algn="l"/>
            <a:r>
              <a:rPr lang="en-US">
                <a:solidFill>
                  <a:srgbClr val="7A9A3D"/>
                </a:solidFill>
              </a:rPr>
              <a:t>Market Summary</a:t>
            </a:r>
          </a:p>
        </p:txBody>
      </p:sp>
      <p:sp>
        <p:nvSpPr>
          <p:cNvPr id="33" name="Triangle 40">
            <a:extLst>
              <a:ext uri="{FF2B5EF4-FFF2-40B4-BE49-F238E27FC236}">
                <a16:creationId xmlns:a16="http://schemas.microsoft.com/office/drawing/2014/main" id="{BC08CF5D-7818-3348-B397-6B6C676E194C}"/>
              </a:ext>
            </a:extLst>
          </p:cNvPr>
          <p:cNvSpPr/>
          <p:nvPr userDrawn="1"/>
        </p:nvSpPr>
        <p:spPr bwMode="auto">
          <a:xfrm flipH="1" flipV="1">
            <a:off x="0" y="0"/>
            <a:ext cx="5392615" cy="1348452"/>
          </a:xfrm>
          <a:custGeom>
            <a:avLst/>
            <a:gdLst>
              <a:gd name="connsiteX0" fmla="*/ 0 w 12192000"/>
              <a:gd name="connsiteY0" fmla="*/ 2036323 h 2036323"/>
              <a:gd name="connsiteX1" fmla="*/ 12178955 w 12192000"/>
              <a:gd name="connsiteY1" fmla="*/ 0 h 2036323"/>
              <a:gd name="connsiteX2" fmla="*/ 12192000 w 12192000"/>
              <a:gd name="connsiteY2" fmla="*/ 2036323 h 2036323"/>
              <a:gd name="connsiteX3" fmla="*/ 0 w 12192000"/>
              <a:gd name="connsiteY3" fmla="*/ 2036323 h 2036323"/>
              <a:gd name="connsiteX0" fmla="*/ 0 w 12204970"/>
              <a:gd name="connsiteY0" fmla="*/ 1880680 h 2036323"/>
              <a:gd name="connsiteX1" fmla="*/ 12191925 w 12204970"/>
              <a:gd name="connsiteY1" fmla="*/ 0 h 2036323"/>
              <a:gd name="connsiteX2" fmla="*/ 12204970 w 12204970"/>
              <a:gd name="connsiteY2" fmla="*/ 2036323 h 2036323"/>
              <a:gd name="connsiteX3" fmla="*/ 0 w 12204970"/>
              <a:gd name="connsiteY3" fmla="*/ 1880680 h 2036323"/>
              <a:gd name="connsiteX0" fmla="*/ 0 w 12192096"/>
              <a:gd name="connsiteY0" fmla="*/ 1880680 h 1906621"/>
              <a:gd name="connsiteX1" fmla="*/ 12191925 w 12192096"/>
              <a:gd name="connsiteY1" fmla="*/ 0 h 1906621"/>
              <a:gd name="connsiteX2" fmla="*/ 12120664 w 12192096"/>
              <a:gd name="connsiteY2" fmla="*/ 1906621 h 1906621"/>
              <a:gd name="connsiteX3" fmla="*/ 0 w 12192096"/>
              <a:gd name="connsiteY3" fmla="*/ 1880680 h 1906621"/>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9673"/>
              <a:gd name="connsiteY0" fmla="*/ 1867710 h 2049294"/>
              <a:gd name="connsiteX1" fmla="*/ 12198410 w 12199673"/>
              <a:gd name="connsiteY1" fmla="*/ 0 h 2049294"/>
              <a:gd name="connsiteX2" fmla="*/ 12198485 w 12199673"/>
              <a:gd name="connsiteY2" fmla="*/ 2049294 h 2049294"/>
              <a:gd name="connsiteX3" fmla="*/ 0 w 12199673"/>
              <a:gd name="connsiteY3" fmla="*/ 1867710 h 2049294"/>
              <a:gd name="connsiteX0" fmla="*/ 0 w 12199673"/>
              <a:gd name="connsiteY0" fmla="*/ 1867710 h 2329173"/>
              <a:gd name="connsiteX1" fmla="*/ 12198410 w 12199673"/>
              <a:gd name="connsiteY1" fmla="*/ 0 h 2329173"/>
              <a:gd name="connsiteX2" fmla="*/ 12198485 w 12199673"/>
              <a:gd name="connsiteY2" fmla="*/ 2049294 h 2329173"/>
              <a:gd name="connsiteX3" fmla="*/ 0 w 12199673"/>
              <a:gd name="connsiteY3" fmla="*/ 1867710 h 2329173"/>
              <a:gd name="connsiteX0" fmla="*/ 0 w 12199673"/>
              <a:gd name="connsiteY0" fmla="*/ 1867710 h 2049294"/>
              <a:gd name="connsiteX1" fmla="*/ 12198410 w 12199673"/>
              <a:gd name="connsiteY1" fmla="*/ 0 h 2049294"/>
              <a:gd name="connsiteX2" fmla="*/ 12198485 w 12199673"/>
              <a:gd name="connsiteY2" fmla="*/ 2049294 h 2049294"/>
              <a:gd name="connsiteX3" fmla="*/ 0 w 12199673"/>
              <a:gd name="connsiteY3" fmla="*/ 1867710 h 2049294"/>
              <a:gd name="connsiteX0" fmla="*/ 1 w 12167248"/>
              <a:gd name="connsiteY0" fmla="*/ 1861225 h 2049294"/>
              <a:gd name="connsiteX1" fmla="*/ 12165985 w 12167248"/>
              <a:gd name="connsiteY1" fmla="*/ 0 h 2049294"/>
              <a:gd name="connsiteX2" fmla="*/ 12166060 w 12167248"/>
              <a:gd name="connsiteY2" fmla="*/ 2049294 h 2049294"/>
              <a:gd name="connsiteX3" fmla="*/ 1 w 12167248"/>
              <a:gd name="connsiteY3" fmla="*/ 1861225 h 2049294"/>
              <a:gd name="connsiteX0" fmla="*/ 1 w 12167248"/>
              <a:gd name="connsiteY0" fmla="*/ 1841769 h 2029838"/>
              <a:gd name="connsiteX1" fmla="*/ 12165985 w 12167248"/>
              <a:gd name="connsiteY1" fmla="*/ 0 h 2029838"/>
              <a:gd name="connsiteX2" fmla="*/ 12166060 w 12167248"/>
              <a:gd name="connsiteY2" fmla="*/ 2029838 h 2029838"/>
              <a:gd name="connsiteX3" fmla="*/ 1 w 12167248"/>
              <a:gd name="connsiteY3" fmla="*/ 1841769 h 2029838"/>
              <a:gd name="connsiteX0" fmla="*/ 1 w 12167248"/>
              <a:gd name="connsiteY0" fmla="*/ 1842242 h 2030311"/>
              <a:gd name="connsiteX1" fmla="*/ 12165985 w 12167248"/>
              <a:gd name="connsiteY1" fmla="*/ 473 h 2030311"/>
              <a:gd name="connsiteX2" fmla="*/ 12166060 w 12167248"/>
              <a:gd name="connsiteY2" fmla="*/ 2030311 h 2030311"/>
              <a:gd name="connsiteX3" fmla="*/ 1 w 12167248"/>
              <a:gd name="connsiteY3" fmla="*/ 1842242 h 2030311"/>
              <a:gd name="connsiteX0" fmla="*/ 1 w 12167248"/>
              <a:gd name="connsiteY0" fmla="*/ 1842242 h 2030710"/>
              <a:gd name="connsiteX1" fmla="*/ 12165985 w 12167248"/>
              <a:gd name="connsiteY1" fmla="*/ 473 h 2030710"/>
              <a:gd name="connsiteX2" fmla="*/ 12166060 w 12167248"/>
              <a:gd name="connsiteY2" fmla="*/ 2030311 h 2030710"/>
              <a:gd name="connsiteX3" fmla="*/ 1 w 12167248"/>
              <a:gd name="connsiteY3" fmla="*/ 1842242 h 2030710"/>
              <a:gd name="connsiteX0" fmla="*/ 1 w 12167248"/>
              <a:gd name="connsiteY0" fmla="*/ 1842242 h 2030710"/>
              <a:gd name="connsiteX1" fmla="*/ 12165985 w 12167248"/>
              <a:gd name="connsiteY1" fmla="*/ 473 h 2030710"/>
              <a:gd name="connsiteX2" fmla="*/ 12166060 w 12167248"/>
              <a:gd name="connsiteY2" fmla="*/ 2030311 h 2030710"/>
              <a:gd name="connsiteX3" fmla="*/ 1 w 12167248"/>
              <a:gd name="connsiteY3" fmla="*/ 1842242 h 2030710"/>
              <a:gd name="connsiteX0" fmla="*/ 1 w 12166780"/>
              <a:gd name="connsiteY0" fmla="*/ 1842242 h 2043646"/>
              <a:gd name="connsiteX1" fmla="*/ 12165985 w 12166780"/>
              <a:gd name="connsiteY1" fmla="*/ 473 h 2043646"/>
              <a:gd name="connsiteX2" fmla="*/ 12159575 w 12166780"/>
              <a:gd name="connsiteY2" fmla="*/ 2043281 h 2043646"/>
              <a:gd name="connsiteX3" fmla="*/ 1 w 12166780"/>
              <a:gd name="connsiteY3" fmla="*/ 1842242 h 2043646"/>
              <a:gd name="connsiteX0" fmla="*/ 1 w 12166780"/>
              <a:gd name="connsiteY0" fmla="*/ 1842242 h 2024244"/>
              <a:gd name="connsiteX1" fmla="*/ 12165985 w 12166780"/>
              <a:gd name="connsiteY1" fmla="*/ 473 h 2024244"/>
              <a:gd name="connsiteX2" fmla="*/ 12159575 w 12166780"/>
              <a:gd name="connsiteY2" fmla="*/ 2023826 h 2024244"/>
              <a:gd name="connsiteX3" fmla="*/ 1 w 12166780"/>
              <a:gd name="connsiteY3" fmla="*/ 1842242 h 2024244"/>
              <a:gd name="connsiteX0" fmla="*/ 1 w 12179031"/>
              <a:gd name="connsiteY0" fmla="*/ 1842242 h 2037177"/>
              <a:gd name="connsiteX1" fmla="*/ 12165985 w 12179031"/>
              <a:gd name="connsiteY1" fmla="*/ 473 h 2037177"/>
              <a:gd name="connsiteX2" fmla="*/ 12179030 w 12179031"/>
              <a:gd name="connsiteY2" fmla="*/ 2036796 h 2037177"/>
              <a:gd name="connsiteX3" fmla="*/ 1 w 12179031"/>
              <a:gd name="connsiteY3" fmla="*/ 1842242 h 2037177"/>
              <a:gd name="connsiteX0" fmla="*/ 1 w 12167248"/>
              <a:gd name="connsiteY0" fmla="*/ 1842242 h 2056588"/>
              <a:gd name="connsiteX1" fmla="*/ 12165985 w 12167248"/>
              <a:gd name="connsiteY1" fmla="*/ 473 h 2056588"/>
              <a:gd name="connsiteX2" fmla="*/ 12166060 w 12167248"/>
              <a:gd name="connsiteY2" fmla="*/ 2056251 h 2056588"/>
              <a:gd name="connsiteX3" fmla="*/ 1 w 12167248"/>
              <a:gd name="connsiteY3" fmla="*/ 1842242 h 2056588"/>
              <a:gd name="connsiteX0" fmla="*/ 1 w 12192002"/>
              <a:gd name="connsiteY0" fmla="*/ 1842242 h 2024244"/>
              <a:gd name="connsiteX1" fmla="*/ 12165985 w 12192002"/>
              <a:gd name="connsiteY1" fmla="*/ 473 h 2024244"/>
              <a:gd name="connsiteX2" fmla="*/ 12192001 w 12192002"/>
              <a:gd name="connsiteY2" fmla="*/ 2023826 h 2024244"/>
              <a:gd name="connsiteX3" fmla="*/ 1 w 12192002"/>
              <a:gd name="connsiteY3" fmla="*/ 1842242 h 2024244"/>
              <a:gd name="connsiteX0" fmla="*/ 1 w 12167248"/>
              <a:gd name="connsiteY0" fmla="*/ 1842242 h 2050117"/>
              <a:gd name="connsiteX1" fmla="*/ 12165985 w 12167248"/>
              <a:gd name="connsiteY1" fmla="*/ 473 h 2050117"/>
              <a:gd name="connsiteX2" fmla="*/ 12166061 w 12167248"/>
              <a:gd name="connsiteY2" fmla="*/ 2049767 h 2050117"/>
              <a:gd name="connsiteX3" fmla="*/ 1 w 12167248"/>
              <a:gd name="connsiteY3" fmla="*/ 1842242 h 2050117"/>
              <a:gd name="connsiteX0" fmla="*/ 1 w 12166780"/>
              <a:gd name="connsiteY0" fmla="*/ 1842242 h 2024245"/>
              <a:gd name="connsiteX1" fmla="*/ 12165985 w 12166780"/>
              <a:gd name="connsiteY1" fmla="*/ 473 h 2024245"/>
              <a:gd name="connsiteX2" fmla="*/ 12159576 w 12166780"/>
              <a:gd name="connsiteY2" fmla="*/ 2023827 h 2024245"/>
              <a:gd name="connsiteX3" fmla="*/ 1 w 12166780"/>
              <a:gd name="connsiteY3" fmla="*/ 1842242 h 2024245"/>
              <a:gd name="connsiteX0" fmla="*/ 1 w 12172548"/>
              <a:gd name="connsiteY0" fmla="*/ 1842242 h 2043647"/>
              <a:gd name="connsiteX1" fmla="*/ 12165985 w 12172548"/>
              <a:gd name="connsiteY1" fmla="*/ 473 h 2043647"/>
              <a:gd name="connsiteX2" fmla="*/ 12172547 w 12172548"/>
              <a:gd name="connsiteY2" fmla="*/ 2043282 h 2043647"/>
              <a:gd name="connsiteX3" fmla="*/ 1 w 12172548"/>
              <a:gd name="connsiteY3" fmla="*/ 1842242 h 2043647"/>
              <a:gd name="connsiteX0" fmla="*/ 1 w 12166566"/>
              <a:gd name="connsiteY0" fmla="*/ 1842242 h 2030711"/>
              <a:gd name="connsiteX1" fmla="*/ 12165985 w 12166566"/>
              <a:gd name="connsiteY1" fmla="*/ 473 h 2030711"/>
              <a:gd name="connsiteX2" fmla="*/ 12153091 w 12166566"/>
              <a:gd name="connsiteY2" fmla="*/ 2030312 h 2030711"/>
              <a:gd name="connsiteX3" fmla="*/ 1 w 12166566"/>
              <a:gd name="connsiteY3" fmla="*/ 1842242 h 2030711"/>
              <a:gd name="connsiteX0" fmla="*/ 1 w 12175317"/>
              <a:gd name="connsiteY0" fmla="*/ 1842242 h 2037043"/>
              <a:gd name="connsiteX1" fmla="*/ 12165985 w 12175317"/>
              <a:gd name="connsiteY1" fmla="*/ 473 h 2037043"/>
              <a:gd name="connsiteX2" fmla="*/ 12175316 w 12175317"/>
              <a:gd name="connsiteY2" fmla="*/ 2036662 h 2037043"/>
              <a:gd name="connsiteX3" fmla="*/ 1 w 12175317"/>
              <a:gd name="connsiteY3" fmla="*/ 1842242 h 2037043"/>
              <a:gd name="connsiteX0" fmla="*/ 1 w 12184842"/>
              <a:gd name="connsiteY0" fmla="*/ 1842242 h 2027545"/>
              <a:gd name="connsiteX1" fmla="*/ 12165985 w 12184842"/>
              <a:gd name="connsiteY1" fmla="*/ 473 h 2027545"/>
              <a:gd name="connsiteX2" fmla="*/ 12184841 w 12184842"/>
              <a:gd name="connsiteY2" fmla="*/ 2027137 h 2027545"/>
              <a:gd name="connsiteX3" fmla="*/ 1 w 12184842"/>
              <a:gd name="connsiteY3" fmla="*/ 1842242 h 2027545"/>
              <a:gd name="connsiteX0" fmla="*/ 1 w 12184842"/>
              <a:gd name="connsiteY0" fmla="*/ 1851765 h 2037068"/>
              <a:gd name="connsiteX1" fmla="*/ 12172335 w 12184842"/>
              <a:gd name="connsiteY1" fmla="*/ 471 h 2037068"/>
              <a:gd name="connsiteX2" fmla="*/ 12184841 w 12184842"/>
              <a:gd name="connsiteY2" fmla="*/ 2036660 h 2037068"/>
              <a:gd name="connsiteX3" fmla="*/ 1 w 12184842"/>
              <a:gd name="connsiteY3" fmla="*/ 1851765 h 2037068"/>
              <a:gd name="connsiteX0" fmla="*/ 1 w 12184842"/>
              <a:gd name="connsiteY0" fmla="*/ 1858113 h 2043416"/>
              <a:gd name="connsiteX1" fmla="*/ 12172335 w 12184842"/>
              <a:gd name="connsiteY1" fmla="*/ 469 h 2043416"/>
              <a:gd name="connsiteX2" fmla="*/ 12184841 w 12184842"/>
              <a:gd name="connsiteY2" fmla="*/ 2043008 h 2043416"/>
              <a:gd name="connsiteX3" fmla="*/ 1 w 12184842"/>
              <a:gd name="connsiteY3" fmla="*/ 1858113 h 2043416"/>
              <a:gd name="connsiteX0" fmla="*/ 1 w 12205863"/>
              <a:gd name="connsiteY0" fmla="*/ 1858113 h 1923107"/>
              <a:gd name="connsiteX1" fmla="*/ 12172335 w 12205863"/>
              <a:gd name="connsiteY1" fmla="*/ 469 h 1923107"/>
              <a:gd name="connsiteX2" fmla="*/ 12205862 w 12205863"/>
              <a:gd name="connsiteY2" fmla="*/ 1920222 h 1923107"/>
              <a:gd name="connsiteX3" fmla="*/ 1 w 12205863"/>
              <a:gd name="connsiteY3" fmla="*/ 1858113 h 1923107"/>
              <a:gd name="connsiteX0" fmla="*/ 1 w 12206057"/>
              <a:gd name="connsiteY0" fmla="*/ 1858113 h 1920221"/>
              <a:gd name="connsiteX1" fmla="*/ 12172335 w 12206057"/>
              <a:gd name="connsiteY1" fmla="*/ 469 h 1920221"/>
              <a:gd name="connsiteX2" fmla="*/ 12205862 w 12206057"/>
              <a:gd name="connsiteY2" fmla="*/ 1920222 h 1920221"/>
              <a:gd name="connsiteX3" fmla="*/ 1 w 12206057"/>
              <a:gd name="connsiteY3" fmla="*/ 1858113 h 1920221"/>
              <a:gd name="connsiteX0" fmla="*/ 1 w 12227078"/>
              <a:gd name="connsiteY0" fmla="*/ 1858113 h 1870508"/>
              <a:gd name="connsiteX1" fmla="*/ 12172335 w 12227078"/>
              <a:gd name="connsiteY1" fmla="*/ 469 h 1870508"/>
              <a:gd name="connsiteX2" fmla="*/ 12226883 w 12227078"/>
              <a:gd name="connsiteY2" fmla="*/ 1821993 h 1870508"/>
              <a:gd name="connsiteX3" fmla="*/ 1 w 12227078"/>
              <a:gd name="connsiteY3" fmla="*/ 1858113 h 1870508"/>
              <a:gd name="connsiteX0" fmla="*/ 1 w 12227078"/>
              <a:gd name="connsiteY0" fmla="*/ 1919492 h 1931888"/>
              <a:gd name="connsiteX1" fmla="*/ 12193355 w 12227078"/>
              <a:gd name="connsiteY1" fmla="*/ 454 h 1931888"/>
              <a:gd name="connsiteX2" fmla="*/ 12226883 w 12227078"/>
              <a:gd name="connsiteY2" fmla="*/ 1883372 h 1931888"/>
              <a:gd name="connsiteX3" fmla="*/ 1 w 12227078"/>
              <a:gd name="connsiteY3" fmla="*/ 1919492 h 1931888"/>
              <a:gd name="connsiteX0" fmla="*/ 1 w 12258608"/>
              <a:gd name="connsiteY0" fmla="*/ 1919492 h 1930198"/>
              <a:gd name="connsiteX1" fmla="*/ 12193355 w 12258608"/>
              <a:gd name="connsiteY1" fmla="*/ 454 h 1930198"/>
              <a:gd name="connsiteX2" fmla="*/ 12258414 w 12258608"/>
              <a:gd name="connsiteY2" fmla="*/ 1846536 h 1930198"/>
              <a:gd name="connsiteX3" fmla="*/ 1 w 12258608"/>
              <a:gd name="connsiteY3" fmla="*/ 1919492 h 1930198"/>
              <a:gd name="connsiteX0" fmla="*/ 1 w 12193819"/>
              <a:gd name="connsiteY0" fmla="*/ 1919492 h 1932582"/>
              <a:gd name="connsiteX1" fmla="*/ 12193355 w 12193819"/>
              <a:gd name="connsiteY1" fmla="*/ 454 h 1932582"/>
              <a:gd name="connsiteX2" fmla="*/ 12174331 w 12193819"/>
              <a:gd name="connsiteY2" fmla="*/ 1895651 h 1932582"/>
              <a:gd name="connsiteX3" fmla="*/ 1 w 12193819"/>
              <a:gd name="connsiteY3" fmla="*/ 1919492 h 1932582"/>
              <a:gd name="connsiteX0" fmla="*/ 1 w 12193526"/>
              <a:gd name="connsiteY0" fmla="*/ 1919492 h 1932582"/>
              <a:gd name="connsiteX1" fmla="*/ 12193355 w 12193526"/>
              <a:gd name="connsiteY1" fmla="*/ 454 h 1932582"/>
              <a:gd name="connsiteX2" fmla="*/ 12174331 w 12193526"/>
              <a:gd name="connsiteY2" fmla="*/ 1895651 h 1932582"/>
              <a:gd name="connsiteX3" fmla="*/ 1 w 12193526"/>
              <a:gd name="connsiteY3" fmla="*/ 1919492 h 1932582"/>
              <a:gd name="connsiteX0" fmla="*/ 1 w 12193526"/>
              <a:gd name="connsiteY0" fmla="*/ 1919492 h 1938518"/>
              <a:gd name="connsiteX1" fmla="*/ 12193355 w 12193526"/>
              <a:gd name="connsiteY1" fmla="*/ 454 h 1938518"/>
              <a:gd name="connsiteX2" fmla="*/ 12174331 w 12193526"/>
              <a:gd name="connsiteY2" fmla="*/ 1895651 h 1938518"/>
              <a:gd name="connsiteX3" fmla="*/ 1 w 12193526"/>
              <a:gd name="connsiteY3" fmla="*/ 1919492 h 1938518"/>
              <a:gd name="connsiteX0" fmla="*/ 1 w 12193584"/>
              <a:gd name="connsiteY0" fmla="*/ 1919492 h 1938518"/>
              <a:gd name="connsiteX1" fmla="*/ 12193355 w 12193584"/>
              <a:gd name="connsiteY1" fmla="*/ 454 h 1938518"/>
              <a:gd name="connsiteX2" fmla="*/ 12174331 w 12193584"/>
              <a:gd name="connsiteY2" fmla="*/ 1895651 h 1938518"/>
              <a:gd name="connsiteX3" fmla="*/ 1 w 12193584"/>
              <a:gd name="connsiteY3" fmla="*/ 1919492 h 1938518"/>
              <a:gd name="connsiteX0" fmla="*/ 1 w 12193468"/>
              <a:gd name="connsiteY0" fmla="*/ 1919492 h 1933905"/>
              <a:gd name="connsiteX1" fmla="*/ 12193355 w 12193468"/>
              <a:gd name="connsiteY1" fmla="*/ 454 h 1933905"/>
              <a:gd name="connsiteX2" fmla="*/ 12111269 w 12193468"/>
              <a:gd name="connsiteY2" fmla="*/ 1846537 h 1933905"/>
              <a:gd name="connsiteX3" fmla="*/ 1 w 12193468"/>
              <a:gd name="connsiteY3" fmla="*/ 1919492 h 1933905"/>
              <a:gd name="connsiteX0" fmla="*/ 1 w 12193632"/>
              <a:gd name="connsiteY0" fmla="*/ 1919492 h 1940184"/>
              <a:gd name="connsiteX1" fmla="*/ 12193355 w 12193632"/>
              <a:gd name="connsiteY1" fmla="*/ 454 h 1940184"/>
              <a:gd name="connsiteX2" fmla="*/ 12184841 w 12193632"/>
              <a:gd name="connsiteY2" fmla="*/ 1907931 h 1940184"/>
              <a:gd name="connsiteX3" fmla="*/ 1 w 12193632"/>
              <a:gd name="connsiteY3" fmla="*/ 1919492 h 1940184"/>
              <a:gd name="connsiteX0" fmla="*/ 1 w 12193376"/>
              <a:gd name="connsiteY0" fmla="*/ 1919492 h 1923285"/>
              <a:gd name="connsiteX1" fmla="*/ 12193355 w 12193376"/>
              <a:gd name="connsiteY1" fmla="*/ 454 h 1923285"/>
              <a:gd name="connsiteX2" fmla="*/ 11586288 w 12193376"/>
              <a:gd name="connsiteY2" fmla="*/ 1274881 h 1923285"/>
              <a:gd name="connsiteX3" fmla="*/ 1 w 12193376"/>
              <a:gd name="connsiteY3" fmla="*/ 1919492 h 1923285"/>
              <a:gd name="connsiteX0" fmla="*/ 1 w 12211564"/>
              <a:gd name="connsiteY0" fmla="*/ 1919492 h 1940184"/>
              <a:gd name="connsiteX1" fmla="*/ 12193355 w 12211564"/>
              <a:gd name="connsiteY1" fmla="*/ 454 h 1940184"/>
              <a:gd name="connsiteX2" fmla="*/ 12211564 w 12211564"/>
              <a:gd name="connsiteY2" fmla="*/ 1907932 h 1940184"/>
              <a:gd name="connsiteX3" fmla="*/ 1 w 12211564"/>
              <a:gd name="connsiteY3" fmla="*/ 1919492 h 1940184"/>
              <a:gd name="connsiteX0" fmla="*/ 1 w 12142089"/>
              <a:gd name="connsiteY0" fmla="*/ 1913227 h 1934891"/>
              <a:gd name="connsiteX1" fmla="*/ 12123880 w 12142089"/>
              <a:gd name="connsiteY1" fmla="*/ 456 h 1934891"/>
              <a:gd name="connsiteX2" fmla="*/ 12142089 w 12142089"/>
              <a:gd name="connsiteY2" fmla="*/ 1907934 h 1934891"/>
              <a:gd name="connsiteX3" fmla="*/ 1 w 12142089"/>
              <a:gd name="connsiteY3" fmla="*/ 1913227 h 1934891"/>
              <a:gd name="connsiteX0" fmla="*/ 2 w 12142090"/>
              <a:gd name="connsiteY0" fmla="*/ 1913227 h 1913226"/>
              <a:gd name="connsiteX1" fmla="*/ 12123881 w 12142090"/>
              <a:gd name="connsiteY1" fmla="*/ 456 h 1913226"/>
              <a:gd name="connsiteX2" fmla="*/ 12142090 w 12142090"/>
              <a:gd name="connsiteY2" fmla="*/ 1907934 h 1913226"/>
              <a:gd name="connsiteX3" fmla="*/ 2 w 12142090"/>
              <a:gd name="connsiteY3" fmla="*/ 1913227 h 1913226"/>
              <a:gd name="connsiteX0" fmla="*/ 3 w 12093993"/>
              <a:gd name="connsiteY0" fmla="*/ 1919495 h 1919495"/>
              <a:gd name="connsiteX1" fmla="*/ 12075784 w 12093993"/>
              <a:gd name="connsiteY1" fmla="*/ 455 h 1919495"/>
              <a:gd name="connsiteX2" fmla="*/ 12093993 w 12093993"/>
              <a:gd name="connsiteY2" fmla="*/ 1907933 h 1919495"/>
              <a:gd name="connsiteX3" fmla="*/ 3 w 12093993"/>
              <a:gd name="connsiteY3" fmla="*/ 1919495 h 1919495"/>
              <a:gd name="connsiteX0" fmla="*/ 3 w 12126172"/>
              <a:gd name="connsiteY0" fmla="*/ 1919495 h 1919495"/>
              <a:gd name="connsiteX1" fmla="*/ 12075784 w 12126172"/>
              <a:gd name="connsiteY1" fmla="*/ 455 h 1919495"/>
              <a:gd name="connsiteX2" fmla="*/ 12126172 w 12126172"/>
              <a:gd name="connsiteY2" fmla="*/ 1895062 h 1919495"/>
              <a:gd name="connsiteX3" fmla="*/ 3 w 12126172"/>
              <a:gd name="connsiteY3" fmla="*/ 1919495 h 1919495"/>
              <a:gd name="connsiteX0" fmla="*/ 3 w 12088629"/>
              <a:gd name="connsiteY0" fmla="*/ 1919495 h 1919495"/>
              <a:gd name="connsiteX1" fmla="*/ 12075784 w 12088629"/>
              <a:gd name="connsiteY1" fmla="*/ 455 h 1919495"/>
              <a:gd name="connsiteX2" fmla="*/ 12088629 w 12088629"/>
              <a:gd name="connsiteY2" fmla="*/ 1907935 h 1919495"/>
              <a:gd name="connsiteX3" fmla="*/ 3 w 12088629"/>
              <a:gd name="connsiteY3" fmla="*/ 1919495 h 1919495"/>
              <a:gd name="connsiteX0" fmla="*/ 3 w 12088645"/>
              <a:gd name="connsiteY0" fmla="*/ 1919495 h 1920291"/>
              <a:gd name="connsiteX1" fmla="*/ 12075784 w 12088645"/>
              <a:gd name="connsiteY1" fmla="*/ 455 h 1920291"/>
              <a:gd name="connsiteX2" fmla="*/ 12088629 w 12088645"/>
              <a:gd name="connsiteY2" fmla="*/ 1907935 h 1920291"/>
              <a:gd name="connsiteX3" fmla="*/ 3 w 12088645"/>
              <a:gd name="connsiteY3" fmla="*/ 1919495 h 1920291"/>
              <a:gd name="connsiteX0" fmla="*/ 3 w 12088645"/>
              <a:gd name="connsiteY0" fmla="*/ 1919495 h 1920290"/>
              <a:gd name="connsiteX1" fmla="*/ 12075784 w 12088645"/>
              <a:gd name="connsiteY1" fmla="*/ 455 h 1920290"/>
              <a:gd name="connsiteX2" fmla="*/ 12088629 w 12088645"/>
              <a:gd name="connsiteY2" fmla="*/ 1907935 h 1920290"/>
              <a:gd name="connsiteX3" fmla="*/ 3 w 12088645"/>
              <a:gd name="connsiteY3" fmla="*/ 1919495 h 1920290"/>
              <a:gd name="connsiteX0" fmla="*/ 3 w 12094009"/>
              <a:gd name="connsiteY0" fmla="*/ 1919495 h 1919494"/>
              <a:gd name="connsiteX1" fmla="*/ 12075784 w 12094009"/>
              <a:gd name="connsiteY1" fmla="*/ 455 h 1919494"/>
              <a:gd name="connsiteX2" fmla="*/ 12093993 w 12094009"/>
              <a:gd name="connsiteY2" fmla="*/ 1882192 h 1919494"/>
              <a:gd name="connsiteX3" fmla="*/ 3 w 12094009"/>
              <a:gd name="connsiteY3" fmla="*/ 1919495 h 1919494"/>
              <a:gd name="connsiteX0" fmla="*/ 3 w 12099372"/>
              <a:gd name="connsiteY0" fmla="*/ 1919495 h 1920290"/>
              <a:gd name="connsiteX1" fmla="*/ 12075784 w 12099372"/>
              <a:gd name="connsiteY1" fmla="*/ 455 h 1920290"/>
              <a:gd name="connsiteX2" fmla="*/ 12099356 w 12099372"/>
              <a:gd name="connsiteY2" fmla="*/ 1907935 h 1920290"/>
              <a:gd name="connsiteX3" fmla="*/ 3 w 12099372"/>
              <a:gd name="connsiteY3" fmla="*/ 1919495 h 1920290"/>
              <a:gd name="connsiteX0" fmla="*/ 3 w 12099372"/>
              <a:gd name="connsiteY0" fmla="*/ 1919495 h 1920290"/>
              <a:gd name="connsiteX1" fmla="*/ 12075784 w 12099372"/>
              <a:gd name="connsiteY1" fmla="*/ 455 h 1920290"/>
              <a:gd name="connsiteX2" fmla="*/ 12099356 w 12099372"/>
              <a:gd name="connsiteY2" fmla="*/ 1907935 h 1920290"/>
              <a:gd name="connsiteX3" fmla="*/ 3 w 12099372"/>
              <a:gd name="connsiteY3" fmla="*/ 1919495 h 1920290"/>
              <a:gd name="connsiteX0" fmla="*/ 3 w 12075784"/>
              <a:gd name="connsiteY0" fmla="*/ 1919495 h 1919494"/>
              <a:gd name="connsiteX1" fmla="*/ 12075784 w 12075784"/>
              <a:gd name="connsiteY1" fmla="*/ 455 h 1919494"/>
              <a:gd name="connsiteX2" fmla="*/ 11874101 w 12075784"/>
              <a:gd name="connsiteY2" fmla="*/ 1901500 h 1919494"/>
              <a:gd name="connsiteX3" fmla="*/ 3 w 12075784"/>
              <a:gd name="connsiteY3" fmla="*/ 1919495 h 1919494"/>
              <a:gd name="connsiteX0" fmla="*/ 3 w 12083281"/>
              <a:gd name="connsiteY0" fmla="*/ 1919495 h 1920290"/>
              <a:gd name="connsiteX1" fmla="*/ 12075784 w 12083281"/>
              <a:gd name="connsiteY1" fmla="*/ 455 h 1920290"/>
              <a:gd name="connsiteX2" fmla="*/ 12083265 w 12083281"/>
              <a:gd name="connsiteY2" fmla="*/ 1907937 h 1920290"/>
              <a:gd name="connsiteX3" fmla="*/ 3 w 12083281"/>
              <a:gd name="connsiteY3" fmla="*/ 1919495 h 1920290"/>
              <a:gd name="connsiteX0" fmla="*/ 3 w 12083281"/>
              <a:gd name="connsiteY0" fmla="*/ 1919495 h 1920290"/>
              <a:gd name="connsiteX1" fmla="*/ 12075784 w 12083281"/>
              <a:gd name="connsiteY1" fmla="*/ 455 h 1920290"/>
              <a:gd name="connsiteX2" fmla="*/ 12083265 w 12083281"/>
              <a:gd name="connsiteY2" fmla="*/ 1907937 h 1920290"/>
              <a:gd name="connsiteX3" fmla="*/ 3 w 12083281"/>
              <a:gd name="connsiteY3" fmla="*/ 1919495 h 1920290"/>
              <a:gd name="connsiteX0" fmla="*/ 3 w 12083281"/>
              <a:gd name="connsiteY0" fmla="*/ 1911291 h 1912086"/>
              <a:gd name="connsiteX1" fmla="*/ 12075784 w 12083281"/>
              <a:gd name="connsiteY1" fmla="*/ 457 h 1912086"/>
              <a:gd name="connsiteX2" fmla="*/ 12083265 w 12083281"/>
              <a:gd name="connsiteY2" fmla="*/ 1899733 h 1912086"/>
              <a:gd name="connsiteX3" fmla="*/ 3 w 12083281"/>
              <a:gd name="connsiteY3" fmla="*/ 1911291 h 1912086"/>
            </a:gdLst>
            <a:ahLst/>
            <a:cxnLst>
              <a:cxn ang="0">
                <a:pos x="connsiteX0" y="connsiteY0"/>
              </a:cxn>
              <a:cxn ang="0">
                <a:pos x="connsiteX1" y="connsiteY1"/>
              </a:cxn>
              <a:cxn ang="0">
                <a:pos x="connsiteX2" y="connsiteY2"/>
              </a:cxn>
              <a:cxn ang="0">
                <a:pos x="connsiteX3" y="connsiteY3"/>
              </a:cxn>
            </a:cxnLst>
            <a:rect l="l" t="t" r="r" b="b"/>
            <a:pathLst>
              <a:path w="12083281" h="1912086">
                <a:moveTo>
                  <a:pt x="3" y="1911291"/>
                </a:moveTo>
                <a:cubicBezTo>
                  <a:pt x="-21" y="1906968"/>
                  <a:pt x="12056353" y="-34130"/>
                  <a:pt x="12075784" y="457"/>
                </a:cubicBezTo>
                <a:cubicBezTo>
                  <a:pt x="12064042" y="35635"/>
                  <a:pt x="12074201" y="1918487"/>
                  <a:pt x="12083265" y="1899733"/>
                </a:cubicBezTo>
                <a:cubicBezTo>
                  <a:pt x="12099828" y="1916595"/>
                  <a:pt x="-6259" y="1911302"/>
                  <a:pt x="3" y="1911291"/>
                </a:cubicBezTo>
                <a:close/>
              </a:path>
            </a:pathLst>
          </a:custGeom>
          <a:solidFill>
            <a:srgbClr val="95AE3C"/>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cxnSp>
        <p:nvCxnSpPr>
          <p:cNvPr id="34" name="Straight Connector 33">
            <a:extLst>
              <a:ext uri="{FF2B5EF4-FFF2-40B4-BE49-F238E27FC236}">
                <a16:creationId xmlns:a16="http://schemas.microsoft.com/office/drawing/2014/main" id="{449A330A-41AA-7A4F-99F4-71D013D58A04}"/>
              </a:ext>
            </a:extLst>
          </p:cNvPr>
          <p:cNvCxnSpPr>
            <a:cxnSpLocks/>
          </p:cNvCxnSpPr>
          <p:nvPr userDrawn="1"/>
        </p:nvCxnSpPr>
        <p:spPr bwMode="auto">
          <a:xfrm flipV="1">
            <a:off x="4192367" y="5486401"/>
            <a:ext cx="4951633" cy="1371599"/>
          </a:xfrm>
          <a:prstGeom prst="line">
            <a:avLst/>
          </a:prstGeom>
          <a:solidFill>
            <a:schemeClr val="hlink"/>
          </a:solidFill>
          <a:ln w="12700" cap="flat" cmpd="sng" algn="ctr">
            <a:solidFill>
              <a:schemeClr val="bg1">
                <a:lumMod val="85000"/>
              </a:schemeClr>
            </a:solidFill>
            <a:prstDash val="solid"/>
            <a:round/>
            <a:headEnd type="none" w="med" len="med"/>
            <a:tailEnd type="none" w="med" len="med"/>
          </a:ln>
          <a:effectLst/>
        </p:spPr>
      </p:cxnSp>
      <p:sp>
        <p:nvSpPr>
          <p:cNvPr id="35" name="Triangle 40">
            <a:extLst>
              <a:ext uri="{FF2B5EF4-FFF2-40B4-BE49-F238E27FC236}">
                <a16:creationId xmlns:a16="http://schemas.microsoft.com/office/drawing/2014/main" id="{A33614E0-BB91-5F44-8FB2-4B2B37CB9EB6}"/>
              </a:ext>
            </a:extLst>
          </p:cNvPr>
          <p:cNvSpPr/>
          <p:nvPr userDrawn="1"/>
        </p:nvSpPr>
        <p:spPr bwMode="auto">
          <a:xfrm rot="8472601" flipH="1" flipV="1">
            <a:off x="6172249" y="4963974"/>
            <a:ext cx="3771331" cy="1230334"/>
          </a:xfrm>
          <a:custGeom>
            <a:avLst/>
            <a:gdLst>
              <a:gd name="connsiteX0" fmla="*/ 0 w 12192000"/>
              <a:gd name="connsiteY0" fmla="*/ 2036323 h 2036323"/>
              <a:gd name="connsiteX1" fmla="*/ 12178955 w 12192000"/>
              <a:gd name="connsiteY1" fmla="*/ 0 h 2036323"/>
              <a:gd name="connsiteX2" fmla="*/ 12192000 w 12192000"/>
              <a:gd name="connsiteY2" fmla="*/ 2036323 h 2036323"/>
              <a:gd name="connsiteX3" fmla="*/ 0 w 12192000"/>
              <a:gd name="connsiteY3" fmla="*/ 2036323 h 2036323"/>
              <a:gd name="connsiteX0" fmla="*/ 0 w 12204970"/>
              <a:gd name="connsiteY0" fmla="*/ 1880680 h 2036323"/>
              <a:gd name="connsiteX1" fmla="*/ 12191925 w 12204970"/>
              <a:gd name="connsiteY1" fmla="*/ 0 h 2036323"/>
              <a:gd name="connsiteX2" fmla="*/ 12204970 w 12204970"/>
              <a:gd name="connsiteY2" fmla="*/ 2036323 h 2036323"/>
              <a:gd name="connsiteX3" fmla="*/ 0 w 12204970"/>
              <a:gd name="connsiteY3" fmla="*/ 1880680 h 2036323"/>
              <a:gd name="connsiteX0" fmla="*/ 0 w 12192096"/>
              <a:gd name="connsiteY0" fmla="*/ 1880680 h 1906621"/>
              <a:gd name="connsiteX1" fmla="*/ 12191925 w 12192096"/>
              <a:gd name="connsiteY1" fmla="*/ 0 h 1906621"/>
              <a:gd name="connsiteX2" fmla="*/ 12120664 w 12192096"/>
              <a:gd name="connsiteY2" fmla="*/ 1906621 h 1906621"/>
              <a:gd name="connsiteX3" fmla="*/ 0 w 12192096"/>
              <a:gd name="connsiteY3" fmla="*/ 1880680 h 1906621"/>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9673"/>
              <a:gd name="connsiteY0" fmla="*/ 1867710 h 2049294"/>
              <a:gd name="connsiteX1" fmla="*/ 12198410 w 12199673"/>
              <a:gd name="connsiteY1" fmla="*/ 0 h 2049294"/>
              <a:gd name="connsiteX2" fmla="*/ 12198485 w 12199673"/>
              <a:gd name="connsiteY2" fmla="*/ 2049294 h 2049294"/>
              <a:gd name="connsiteX3" fmla="*/ 0 w 12199673"/>
              <a:gd name="connsiteY3" fmla="*/ 1867710 h 2049294"/>
              <a:gd name="connsiteX0" fmla="*/ 0 w 12199673"/>
              <a:gd name="connsiteY0" fmla="*/ 1867710 h 2329173"/>
              <a:gd name="connsiteX1" fmla="*/ 12198410 w 12199673"/>
              <a:gd name="connsiteY1" fmla="*/ 0 h 2329173"/>
              <a:gd name="connsiteX2" fmla="*/ 12198485 w 12199673"/>
              <a:gd name="connsiteY2" fmla="*/ 2049294 h 2329173"/>
              <a:gd name="connsiteX3" fmla="*/ 0 w 12199673"/>
              <a:gd name="connsiteY3" fmla="*/ 1867710 h 2329173"/>
              <a:gd name="connsiteX0" fmla="*/ 0 w 12199673"/>
              <a:gd name="connsiteY0" fmla="*/ 1867710 h 2049294"/>
              <a:gd name="connsiteX1" fmla="*/ 12198410 w 12199673"/>
              <a:gd name="connsiteY1" fmla="*/ 0 h 2049294"/>
              <a:gd name="connsiteX2" fmla="*/ 12198485 w 12199673"/>
              <a:gd name="connsiteY2" fmla="*/ 2049294 h 2049294"/>
              <a:gd name="connsiteX3" fmla="*/ 0 w 12199673"/>
              <a:gd name="connsiteY3" fmla="*/ 1867710 h 2049294"/>
              <a:gd name="connsiteX0" fmla="*/ 1 w 12167248"/>
              <a:gd name="connsiteY0" fmla="*/ 1861225 h 2049294"/>
              <a:gd name="connsiteX1" fmla="*/ 12165985 w 12167248"/>
              <a:gd name="connsiteY1" fmla="*/ 0 h 2049294"/>
              <a:gd name="connsiteX2" fmla="*/ 12166060 w 12167248"/>
              <a:gd name="connsiteY2" fmla="*/ 2049294 h 2049294"/>
              <a:gd name="connsiteX3" fmla="*/ 1 w 12167248"/>
              <a:gd name="connsiteY3" fmla="*/ 1861225 h 2049294"/>
              <a:gd name="connsiteX0" fmla="*/ 1 w 12167248"/>
              <a:gd name="connsiteY0" fmla="*/ 1841769 h 2029838"/>
              <a:gd name="connsiteX1" fmla="*/ 12165985 w 12167248"/>
              <a:gd name="connsiteY1" fmla="*/ 0 h 2029838"/>
              <a:gd name="connsiteX2" fmla="*/ 12166060 w 12167248"/>
              <a:gd name="connsiteY2" fmla="*/ 2029838 h 2029838"/>
              <a:gd name="connsiteX3" fmla="*/ 1 w 12167248"/>
              <a:gd name="connsiteY3" fmla="*/ 1841769 h 2029838"/>
              <a:gd name="connsiteX0" fmla="*/ 1 w 12167248"/>
              <a:gd name="connsiteY0" fmla="*/ 1842242 h 2030311"/>
              <a:gd name="connsiteX1" fmla="*/ 12165985 w 12167248"/>
              <a:gd name="connsiteY1" fmla="*/ 473 h 2030311"/>
              <a:gd name="connsiteX2" fmla="*/ 12166060 w 12167248"/>
              <a:gd name="connsiteY2" fmla="*/ 2030311 h 2030311"/>
              <a:gd name="connsiteX3" fmla="*/ 1 w 12167248"/>
              <a:gd name="connsiteY3" fmla="*/ 1842242 h 2030311"/>
              <a:gd name="connsiteX0" fmla="*/ 1 w 12167248"/>
              <a:gd name="connsiteY0" fmla="*/ 1842242 h 2030710"/>
              <a:gd name="connsiteX1" fmla="*/ 12165985 w 12167248"/>
              <a:gd name="connsiteY1" fmla="*/ 473 h 2030710"/>
              <a:gd name="connsiteX2" fmla="*/ 12166060 w 12167248"/>
              <a:gd name="connsiteY2" fmla="*/ 2030311 h 2030710"/>
              <a:gd name="connsiteX3" fmla="*/ 1 w 12167248"/>
              <a:gd name="connsiteY3" fmla="*/ 1842242 h 2030710"/>
              <a:gd name="connsiteX0" fmla="*/ 1 w 12167248"/>
              <a:gd name="connsiteY0" fmla="*/ 1842242 h 2030710"/>
              <a:gd name="connsiteX1" fmla="*/ 12165985 w 12167248"/>
              <a:gd name="connsiteY1" fmla="*/ 473 h 2030710"/>
              <a:gd name="connsiteX2" fmla="*/ 12166060 w 12167248"/>
              <a:gd name="connsiteY2" fmla="*/ 2030311 h 2030710"/>
              <a:gd name="connsiteX3" fmla="*/ 1 w 12167248"/>
              <a:gd name="connsiteY3" fmla="*/ 1842242 h 2030710"/>
              <a:gd name="connsiteX0" fmla="*/ 1 w 12166780"/>
              <a:gd name="connsiteY0" fmla="*/ 1842242 h 2043646"/>
              <a:gd name="connsiteX1" fmla="*/ 12165985 w 12166780"/>
              <a:gd name="connsiteY1" fmla="*/ 473 h 2043646"/>
              <a:gd name="connsiteX2" fmla="*/ 12159575 w 12166780"/>
              <a:gd name="connsiteY2" fmla="*/ 2043281 h 2043646"/>
              <a:gd name="connsiteX3" fmla="*/ 1 w 12166780"/>
              <a:gd name="connsiteY3" fmla="*/ 1842242 h 2043646"/>
              <a:gd name="connsiteX0" fmla="*/ 1 w 12166780"/>
              <a:gd name="connsiteY0" fmla="*/ 1842242 h 2024244"/>
              <a:gd name="connsiteX1" fmla="*/ 12165985 w 12166780"/>
              <a:gd name="connsiteY1" fmla="*/ 473 h 2024244"/>
              <a:gd name="connsiteX2" fmla="*/ 12159575 w 12166780"/>
              <a:gd name="connsiteY2" fmla="*/ 2023826 h 2024244"/>
              <a:gd name="connsiteX3" fmla="*/ 1 w 12166780"/>
              <a:gd name="connsiteY3" fmla="*/ 1842242 h 2024244"/>
              <a:gd name="connsiteX0" fmla="*/ 1 w 12179031"/>
              <a:gd name="connsiteY0" fmla="*/ 1842242 h 2037177"/>
              <a:gd name="connsiteX1" fmla="*/ 12165985 w 12179031"/>
              <a:gd name="connsiteY1" fmla="*/ 473 h 2037177"/>
              <a:gd name="connsiteX2" fmla="*/ 12179030 w 12179031"/>
              <a:gd name="connsiteY2" fmla="*/ 2036796 h 2037177"/>
              <a:gd name="connsiteX3" fmla="*/ 1 w 12179031"/>
              <a:gd name="connsiteY3" fmla="*/ 1842242 h 2037177"/>
              <a:gd name="connsiteX0" fmla="*/ 1 w 12167248"/>
              <a:gd name="connsiteY0" fmla="*/ 1842242 h 2056588"/>
              <a:gd name="connsiteX1" fmla="*/ 12165985 w 12167248"/>
              <a:gd name="connsiteY1" fmla="*/ 473 h 2056588"/>
              <a:gd name="connsiteX2" fmla="*/ 12166060 w 12167248"/>
              <a:gd name="connsiteY2" fmla="*/ 2056251 h 2056588"/>
              <a:gd name="connsiteX3" fmla="*/ 1 w 12167248"/>
              <a:gd name="connsiteY3" fmla="*/ 1842242 h 2056588"/>
              <a:gd name="connsiteX0" fmla="*/ 1 w 12192002"/>
              <a:gd name="connsiteY0" fmla="*/ 1842242 h 2024244"/>
              <a:gd name="connsiteX1" fmla="*/ 12165985 w 12192002"/>
              <a:gd name="connsiteY1" fmla="*/ 473 h 2024244"/>
              <a:gd name="connsiteX2" fmla="*/ 12192001 w 12192002"/>
              <a:gd name="connsiteY2" fmla="*/ 2023826 h 2024244"/>
              <a:gd name="connsiteX3" fmla="*/ 1 w 12192002"/>
              <a:gd name="connsiteY3" fmla="*/ 1842242 h 2024244"/>
              <a:gd name="connsiteX0" fmla="*/ 1 w 12167248"/>
              <a:gd name="connsiteY0" fmla="*/ 1842242 h 2050117"/>
              <a:gd name="connsiteX1" fmla="*/ 12165985 w 12167248"/>
              <a:gd name="connsiteY1" fmla="*/ 473 h 2050117"/>
              <a:gd name="connsiteX2" fmla="*/ 12166061 w 12167248"/>
              <a:gd name="connsiteY2" fmla="*/ 2049767 h 2050117"/>
              <a:gd name="connsiteX3" fmla="*/ 1 w 12167248"/>
              <a:gd name="connsiteY3" fmla="*/ 1842242 h 2050117"/>
              <a:gd name="connsiteX0" fmla="*/ 1 w 12166780"/>
              <a:gd name="connsiteY0" fmla="*/ 1842242 h 2024245"/>
              <a:gd name="connsiteX1" fmla="*/ 12165985 w 12166780"/>
              <a:gd name="connsiteY1" fmla="*/ 473 h 2024245"/>
              <a:gd name="connsiteX2" fmla="*/ 12159576 w 12166780"/>
              <a:gd name="connsiteY2" fmla="*/ 2023827 h 2024245"/>
              <a:gd name="connsiteX3" fmla="*/ 1 w 12166780"/>
              <a:gd name="connsiteY3" fmla="*/ 1842242 h 2024245"/>
              <a:gd name="connsiteX0" fmla="*/ 1 w 12172548"/>
              <a:gd name="connsiteY0" fmla="*/ 1842242 h 2043647"/>
              <a:gd name="connsiteX1" fmla="*/ 12165985 w 12172548"/>
              <a:gd name="connsiteY1" fmla="*/ 473 h 2043647"/>
              <a:gd name="connsiteX2" fmla="*/ 12172547 w 12172548"/>
              <a:gd name="connsiteY2" fmla="*/ 2043282 h 2043647"/>
              <a:gd name="connsiteX3" fmla="*/ 1 w 12172548"/>
              <a:gd name="connsiteY3" fmla="*/ 1842242 h 2043647"/>
              <a:gd name="connsiteX0" fmla="*/ 1 w 12166566"/>
              <a:gd name="connsiteY0" fmla="*/ 1842242 h 2030711"/>
              <a:gd name="connsiteX1" fmla="*/ 12165985 w 12166566"/>
              <a:gd name="connsiteY1" fmla="*/ 473 h 2030711"/>
              <a:gd name="connsiteX2" fmla="*/ 12153091 w 12166566"/>
              <a:gd name="connsiteY2" fmla="*/ 2030312 h 2030711"/>
              <a:gd name="connsiteX3" fmla="*/ 1 w 12166566"/>
              <a:gd name="connsiteY3" fmla="*/ 1842242 h 2030711"/>
              <a:gd name="connsiteX0" fmla="*/ 1 w 12175317"/>
              <a:gd name="connsiteY0" fmla="*/ 1842242 h 2037043"/>
              <a:gd name="connsiteX1" fmla="*/ 12165985 w 12175317"/>
              <a:gd name="connsiteY1" fmla="*/ 473 h 2037043"/>
              <a:gd name="connsiteX2" fmla="*/ 12175316 w 12175317"/>
              <a:gd name="connsiteY2" fmla="*/ 2036662 h 2037043"/>
              <a:gd name="connsiteX3" fmla="*/ 1 w 12175317"/>
              <a:gd name="connsiteY3" fmla="*/ 1842242 h 2037043"/>
              <a:gd name="connsiteX0" fmla="*/ 1 w 12184842"/>
              <a:gd name="connsiteY0" fmla="*/ 1842242 h 2027545"/>
              <a:gd name="connsiteX1" fmla="*/ 12165985 w 12184842"/>
              <a:gd name="connsiteY1" fmla="*/ 473 h 2027545"/>
              <a:gd name="connsiteX2" fmla="*/ 12184841 w 12184842"/>
              <a:gd name="connsiteY2" fmla="*/ 2027137 h 2027545"/>
              <a:gd name="connsiteX3" fmla="*/ 1 w 12184842"/>
              <a:gd name="connsiteY3" fmla="*/ 1842242 h 2027545"/>
              <a:gd name="connsiteX0" fmla="*/ 1 w 12184842"/>
              <a:gd name="connsiteY0" fmla="*/ 1851765 h 2037068"/>
              <a:gd name="connsiteX1" fmla="*/ 12172335 w 12184842"/>
              <a:gd name="connsiteY1" fmla="*/ 471 h 2037068"/>
              <a:gd name="connsiteX2" fmla="*/ 12184841 w 12184842"/>
              <a:gd name="connsiteY2" fmla="*/ 2036660 h 2037068"/>
              <a:gd name="connsiteX3" fmla="*/ 1 w 12184842"/>
              <a:gd name="connsiteY3" fmla="*/ 1851765 h 2037068"/>
              <a:gd name="connsiteX0" fmla="*/ 1 w 12184842"/>
              <a:gd name="connsiteY0" fmla="*/ 1858113 h 2043416"/>
              <a:gd name="connsiteX1" fmla="*/ 12172335 w 12184842"/>
              <a:gd name="connsiteY1" fmla="*/ 469 h 2043416"/>
              <a:gd name="connsiteX2" fmla="*/ 12184841 w 12184842"/>
              <a:gd name="connsiteY2" fmla="*/ 2043008 h 2043416"/>
              <a:gd name="connsiteX3" fmla="*/ 1 w 12184842"/>
              <a:gd name="connsiteY3" fmla="*/ 1858113 h 2043416"/>
              <a:gd name="connsiteX0" fmla="*/ 1 w 12205863"/>
              <a:gd name="connsiteY0" fmla="*/ 1858113 h 1923107"/>
              <a:gd name="connsiteX1" fmla="*/ 12172335 w 12205863"/>
              <a:gd name="connsiteY1" fmla="*/ 469 h 1923107"/>
              <a:gd name="connsiteX2" fmla="*/ 12205862 w 12205863"/>
              <a:gd name="connsiteY2" fmla="*/ 1920222 h 1923107"/>
              <a:gd name="connsiteX3" fmla="*/ 1 w 12205863"/>
              <a:gd name="connsiteY3" fmla="*/ 1858113 h 1923107"/>
              <a:gd name="connsiteX0" fmla="*/ 1 w 12206057"/>
              <a:gd name="connsiteY0" fmla="*/ 1858113 h 1920221"/>
              <a:gd name="connsiteX1" fmla="*/ 12172335 w 12206057"/>
              <a:gd name="connsiteY1" fmla="*/ 469 h 1920221"/>
              <a:gd name="connsiteX2" fmla="*/ 12205862 w 12206057"/>
              <a:gd name="connsiteY2" fmla="*/ 1920222 h 1920221"/>
              <a:gd name="connsiteX3" fmla="*/ 1 w 12206057"/>
              <a:gd name="connsiteY3" fmla="*/ 1858113 h 1920221"/>
              <a:gd name="connsiteX0" fmla="*/ 1 w 12227078"/>
              <a:gd name="connsiteY0" fmla="*/ 1858113 h 1870508"/>
              <a:gd name="connsiteX1" fmla="*/ 12172335 w 12227078"/>
              <a:gd name="connsiteY1" fmla="*/ 469 h 1870508"/>
              <a:gd name="connsiteX2" fmla="*/ 12226883 w 12227078"/>
              <a:gd name="connsiteY2" fmla="*/ 1821993 h 1870508"/>
              <a:gd name="connsiteX3" fmla="*/ 1 w 12227078"/>
              <a:gd name="connsiteY3" fmla="*/ 1858113 h 1870508"/>
              <a:gd name="connsiteX0" fmla="*/ 1 w 12227078"/>
              <a:gd name="connsiteY0" fmla="*/ 1919492 h 1931888"/>
              <a:gd name="connsiteX1" fmla="*/ 12193355 w 12227078"/>
              <a:gd name="connsiteY1" fmla="*/ 454 h 1931888"/>
              <a:gd name="connsiteX2" fmla="*/ 12226883 w 12227078"/>
              <a:gd name="connsiteY2" fmla="*/ 1883372 h 1931888"/>
              <a:gd name="connsiteX3" fmla="*/ 1 w 12227078"/>
              <a:gd name="connsiteY3" fmla="*/ 1919492 h 1931888"/>
              <a:gd name="connsiteX0" fmla="*/ 1 w 12258608"/>
              <a:gd name="connsiteY0" fmla="*/ 1919492 h 1930198"/>
              <a:gd name="connsiteX1" fmla="*/ 12193355 w 12258608"/>
              <a:gd name="connsiteY1" fmla="*/ 454 h 1930198"/>
              <a:gd name="connsiteX2" fmla="*/ 12258414 w 12258608"/>
              <a:gd name="connsiteY2" fmla="*/ 1846536 h 1930198"/>
              <a:gd name="connsiteX3" fmla="*/ 1 w 12258608"/>
              <a:gd name="connsiteY3" fmla="*/ 1919492 h 1930198"/>
              <a:gd name="connsiteX0" fmla="*/ 1 w 12193819"/>
              <a:gd name="connsiteY0" fmla="*/ 1919492 h 1932582"/>
              <a:gd name="connsiteX1" fmla="*/ 12193355 w 12193819"/>
              <a:gd name="connsiteY1" fmla="*/ 454 h 1932582"/>
              <a:gd name="connsiteX2" fmla="*/ 12174331 w 12193819"/>
              <a:gd name="connsiteY2" fmla="*/ 1895651 h 1932582"/>
              <a:gd name="connsiteX3" fmla="*/ 1 w 12193819"/>
              <a:gd name="connsiteY3" fmla="*/ 1919492 h 1932582"/>
              <a:gd name="connsiteX0" fmla="*/ 1 w 12193526"/>
              <a:gd name="connsiteY0" fmla="*/ 1919492 h 1932582"/>
              <a:gd name="connsiteX1" fmla="*/ 12193355 w 12193526"/>
              <a:gd name="connsiteY1" fmla="*/ 454 h 1932582"/>
              <a:gd name="connsiteX2" fmla="*/ 12174331 w 12193526"/>
              <a:gd name="connsiteY2" fmla="*/ 1895651 h 1932582"/>
              <a:gd name="connsiteX3" fmla="*/ 1 w 12193526"/>
              <a:gd name="connsiteY3" fmla="*/ 1919492 h 1932582"/>
              <a:gd name="connsiteX0" fmla="*/ 1 w 12193526"/>
              <a:gd name="connsiteY0" fmla="*/ 1919492 h 1938518"/>
              <a:gd name="connsiteX1" fmla="*/ 12193355 w 12193526"/>
              <a:gd name="connsiteY1" fmla="*/ 454 h 1938518"/>
              <a:gd name="connsiteX2" fmla="*/ 12174331 w 12193526"/>
              <a:gd name="connsiteY2" fmla="*/ 1895651 h 1938518"/>
              <a:gd name="connsiteX3" fmla="*/ 1 w 12193526"/>
              <a:gd name="connsiteY3" fmla="*/ 1919492 h 1938518"/>
              <a:gd name="connsiteX0" fmla="*/ 1 w 12193584"/>
              <a:gd name="connsiteY0" fmla="*/ 1919492 h 1938518"/>
              <a:gd name="connsiteX1" fmla="*/ 12193355 w 12193584"/>
              <a:gd name="connsiteY1" fmla="*/ 454 h 1938518"/>
              <a:gd name="connsiteX2" fmla="*/ 12174331 w 12193584"/>
              <a:gd name="connsiteY2" fmla="*/ 1895651 h 1938518"/>
              <a:gd name="connsiteX3" fmla="*/ 1 w 12193584"/>
              <a:gd name="connsiteY3" fmla="*/ 1919492 h 1938518"/>
              <a:gd name="connsiteX0" fmla="*/ 1 w 12193468"/>
              <a:gd name="connsiteY0" fmla="*/ 1919492 h 1933905"/>
              <a:gd name="connsiteX1" fmla="*/ 12193355 w 12193468"/>
              <a:gd name="connsiteY1" fmla="*/ 454 h 1933905"/>
              <a:gd name="connsiteX2" fmla="*/ 12111269 w 12193468"/>
              <a:gd name="connsiteY2" fmla="*/ 1846537 h 1933905"/>
              <a:gd name="connsiteX3" fmla="*/ 1 w 12193468"/>
              <a:gd name="connsiteY3" fmla="*/ 1919492 h 1933905"/>
              <a:gd name="connsiteX0" fmla="*/ 1 w 12193632"/>
              <a:gd name="connsiteY0" fmla="*/ 1919492 h 1940184"/>
              <a:gd name="connsiteX1" fmla="*/ 12193355 w 12193632"/>
              <a:gd name="connsiteY1" fmla="*/ 454 h 1940184"/>
              <a:gd name="connsiteX2" fmla="*/ 12184841 w 12193632"/>
              <a:gd name="connsiteY2" fmla="*/ 1907931 h 1940184"/>
              <a:gd name="connsiteX3" fmla="*/ 1 w 12193632"/>
              <a:gd name="connsiteY3" fmla="*/ 1919492 h 1940184"/>
              <a:gd name="connsiteX0" fmla="*/ 1 w 12193376"/>
              <a:gd name="connsiteY0" fmla="*/ 1919492 h 1923285"/>
              <a:gd name="connsiteX1" fmla="*/ 12193355 w 12193376"/>
              <a:gd name="connsiteY1" fmla="*/ 454 h 1923285"/>
              <a:gd name="connsiteX2" fmla="*/ 11586288 w 12193376"/>
              <a:gd name="connsiteY2" fmla="*/ 1274881 h 1923285"/>
              <a:gd name="connsiteX3" fmla="*/ 1 w 12193376"/>
              <a:gd name="connsiteY3" fmla="*/ 1919492 h 1923285"/>
              <a:gd name="connsiteX0" fmla="*/ 1 w 12211564"/>
              <a:gd name="connsiteY0" fmla="*/ 1919492 h 1940184"/>
              <a:gd name="connsiteX1" fmla="*/ 12193355 w 12211564"/>
              <a:gd name="connsiteY1" fmla="*/ 454 h 1940184"/>
              <a:gd name="connsiteX2" fmla="*/ 12211564 w 12211564"/>
              <a:gd name="connsiteY2" fmla="*/ 1907932 h 1940184"/>
              <a:gd name="connsiteX3" fmla="*/ 1 w 12211564"/>
              <a:gd name="connsiteY3" fmla="*/ 1919492 h 1940184"/>
              <a:gd name="connsiteX0" fmla="*/ 1 w 12142089"/>
              <a:gd name="connsiteY0" fmla="*/ 1913227 h 1934891"/>
              <a:gd name="connsiteX1" fmla="*/ 12123880 w 12142089"/>
              <a:gd name="connsiteY1" fmla="*/ 456 h 1934891"/>
              <a:gd name="connsiteX2" fmla="*/ 12142089 w 12142089"/>
              <a:gd name="connsiteY2" fmla="*/ 1907934 h 1934891"/>
              <a:gd name="connsiteX3" fmla="*/ 1 w 12142089"/>
              <a:gd name="connsiteY3" fmla="*/ 1913227 h 1934891"/>
              <a:gd name="connsiteX0" fmla="*/ 2 w 12142090"/>
              <a:gd name="connsiteY0" fmla="*/ 1913227 h 1913226"/>
              <a:gd name="connsiteX1" fmla="*/ 12123881 w 12142090"/>
              <a:gd name="connsiteY1" fmla="*/ 456 h 1913226"/>
              <a:gd name="connsiteX2" fmla="*/ 12142090 w 12142090"/>
              <a:gd name="connsiteY2" fmla="*/ 1907934 h 1913226"/>
              <a:gd name="connsiteX3" fmla="*/ 2 w 12142090"/>
              <a:gd name="connsiteY3" fmla="*/ 1913227 h 1913226"/>
              <a:gd name="connsiteX0" fmla="*/ 3 w 12093993"/>
              <a:gd name="connsiteY0" fmla="*/ 1919495 h 1919495"/>
              <a:gd name="connsiteX1" fmla="*/ 12075784 w 12093993"/>
              <a:gd name="connsiteY1" fmla="*/ 455 h 1919495"/>
              <a:gd name="connsiteX2" fmla="*/ 12093993 w 12093993"/>
              <a:gd name="connsiteY2" fmla="*/ 1907933 h 1919495"/>
              <a:gd name="connsiteX3" fmla="*/ 3 w 12093993"/>
              <a:gd name="connsiteY3" fmla="*/ 1919495 h 1919495"/>
              <a:gd name="connsiteX0" fmla="*/ 3 w 12126172"/>
              <a:gd name="connsiteY0" fmla="*/ 1919495 h 1919495"/>
              <a:gd name="connsiteX1" fmla="*/ 12075784 w 12126172"/>
              <a:gd name="connsiteY1" fmla="*/ 455 h 1919495"/>
              <a:gd name="connsiteX2" fmla="*/ 12126172 w 12126172"/>
              <a:gd name="connsiteY2" fmla="*/ 1895062 h 1919495"/>
              <a:gd name="connsiteX3" fmla="*/ 3 w 12126172"/>
              <a:gd name="connsiteY3" fmla="*/ 1919495 h 1919495"/>
              <a:gd name="connsiteX0" fmla="*/ 3 w 12088629"/>
              <a:gd name="connsiteY0" fmla="*/ 1919495 h 1919495"/>
              <a:gd name="connsiteX1" fmla="*/ 12075784 w 12088629"/>
              <a:gd name="connsiteY1" fmla="*/ 455 h 1919495"/>
              <a:gd name="connsiteX2" fmla="*/ 12088629 w 12088629"/>
              <a:gd name="connsiteY2" fmla="*/ 1907935 h 1919495"/>
              <a:gd name="connsiteX3" fmla="*/ 3 w 12088629"/>
              <a:gd name="connsiteY3" fmla="*/ 1919495 h 1919495"/>
              <a:gd name="connsiteX0" fmla="*/ 3 w 12088645"/>
              <a:gd name="connsiteY0" fmla="*/ 1919495 h 1920291"/>
              <a:gd name="connsiteX1" fmla="*/ 12075784 w 12088645"/>
              <a:gd name="connsiteY1" fmla="*/ 455 h 1920291"/>
              <a:gd name="connsiteX2" fmla="*/ 12088629 w 12088645"/>
              <a:gd name="connsiteY2" fmla="*/ 1907935 h 1920291"/>
              <a:gd name="connsiteX3" fmla="*/ 3 w 12088645"/>
              <a:gd name="connsiteY3" fmla="*/ 1919495 h 1920291"/>
              <a:gd name="connsiteX0" fmla="*/ 3 w 12088645"/>
              <a:gd name="connsiteY0" fmla="*/ 1919495 h 1920290"/>
              <a:gd name="connsiteX1" fmla="*/ 12075784 w 12088645"/>
              <a:gd name="connsiteY1" fmla="*/ 455 h 1920290"/>
              <a:gd name="connsiteX2" fmla="*/ 12088629 w 12088645"/>
              <a:gd name="connsiteY2" fmla="*/ 1907935 h 1920290"/>
              <a:gd name="connsiteX3" fmla="*/ 3 w 12088645"/>
              <a:gd name="connsiteY3" fmla="*/ 1919495 h 1920290"/>
              <a:gd name="connsiteX0" fmla="*/ 3 w 12094009"/>
              <a:gd name="connsiteY0" fmla="*/ 1919495 h 1919494"/>
              <a:gd name="connsiteX1" fmla="*/ 12075784 w 12094009"/>
              <a:gd name="connsiteY1" fmla="*/ 455 h 1919494"/>
              <a:gd name="connsiteX2" fmla="*/ 12093993 w 12094009"/>
              <a:gd name="connsiteY2" fmla="*/ 1882192 h 1919494"/>
              <a:gd name="connsiteX3" fmla="*/ 3 w 12094009"/>
              <a:gd name="connsiteY3" fmla="*/ 1919495 h 1919494"/>
              <a:gd name="connsiteX0" fmla="*/ 3 w 12099372"/>
              <a:gd name="connsiteY0" fmla="*/ 1919495 h 1920290"/>
              <a:gd name="connsiteX1" fmla="*/ 12075784 w 12099372"/>
              <a:gd name="connsiteY1" fmla="*/ 455 h 1920290"/>
              <a:gd name="connsiteX2" fmla="*/ 12099356 w 12099372"/>
              <a:gd name="connsiteY2" fmla="*/ 1907935 h 1920290"/>
              <a:gd name="connsiteX3" fmla="*/ 3 w 12099372"/>
              <a:gd name="connsiteY3" fmla="*/ 1919495 h 1920290"/>
              <a:gd name="connsiteX0" fmla="*/ 3 w 12099372"/>
              <a:gd name="connsiteY0" fmla="*/ 1919495 h 1920290"/>
              <a:gd name="connsiteX1" fmla="*/ 12075784 w 12099372"/>
              <a:gd name="connsiteY1" fmla="*/ 455 h 1920290"/>
              <a:gd name="connsiteX2" fmla="*/ 12099356 w 12099372"/>
              <a:gd name="connsiteY2" fmla="*/ 1907935 h 1920290"/>
              <a:gd name="connsiteX3" fmla="*/ 3 w 12099372"/>
              <a:gd name="connsiteY3" fmla="*/ 1919495 h 1920290"/>
              <a:gd name="connsiteX0" fmla="*/ 3 w 12075784"/>
              <a:gd name="connsiteY0" fmla="*/ 1919495 h 1919494"/>
              <a:gd name="connsiteX1" fmla="*/ 12075784 w 12075784"/>
              <a:gd name="connsiteY1" fmla="*/ 455 h 1919494"/>
              <a:gd name="connsiteX2" fmla="*/ 11874101 w 12075784"/>
              <a:gd name="connsiteY2" fmla="*/ 1901500 h 1919494"/>
              <a:gd name="connsiteX3" fmla="*/ 3 w 12075784"/>
              <a:gd name="connsiteY3" fmla="*/ 1919495 h 1919494"/>
              <a:gd name="connsiteX0" fmla="*/ 3 w 12083281"/>
              <a:gd name="connsiteY0" fmla="*/ 1919495 h 1920290"/>
              <a:gd name="connsiteX1" fmla="*/ 12075784 w 12083281"/>
              <a:gd name="connsiteY1" fmla="*/ 455 h 1920290"/>
              <a:gd name="connsiteX2" fmla="*/ 12083265 w 12083281"/>
              <a:gd name="connsiteY2" fmla="*/ 1907937 h 1920290"/>
              <a:gd name="connsiteX3" fmla="*/ 3 w 12083281"/>
              <a:gd name="connsiteY3" fmla="*/ 1919495 h 1920290"/>
              <a:gd name="connsiteX0" fmla="*/ 3 w 12083281"/>
              <a:gd name="connsiteY0" fmla="*/ 1919495 h 1920290"/>
              <a:gd name="connsiteX1" fmla="*/ 12075784 w 12083281"/>
              <a:gd name="connsiteY1" fmla="*/ 455 h 1920290"/>
              <a:gd name="connsiteX2" fmla="*/ 12083265 w 12083281"/>
              <a:gd name="connsiteY2" fmla="*/ 1907937 h 1920290"/>
              <a:gd name="connsiteX3" fmla="*/ 3 w 12083281"/>
              <a:gd name="connsiteY3" fmla="*/ 1919495 h 1920290"/>
              <a:gd name="connsiteX0" fmla="*/ 3 w 12083281"/>
              <a:gd name="connsiteY0" fmla="*/ 2019472 h 2020267"/>
              <a:gd name="connsiteX1" fmla="*/ 11464601 w 12083281"/>
              <a:gd name="connsiteY1" fmla="*/ 432 h 2020267"/>
              <a:gd name="connsiteX2" fmla="*/ 12083265 w 12083281"/>
              <a:gd name="connsiteY2" fmla="*/ 2007914 h 2020267"/>
              <a:gd name="connsiteX3" fmla="*/ 3 w 12083281"/>
              <a:gd name="connsiteY3" fmla="*/ 2019472 h 2020267"/>
              <a:gd name="connsiteX0" fmla="*/ 3 w 11464601"/>
              <a:gd name="connsiteY0" fmla="*/ 2019472 h 2083880"/>
              <a:gd name="connsiteX1" fmla="*/ 11464601 w 11464601"/>
              <a:gd name="connsiteY1" fmla="*/ 432 h 2083880"/>
              <a:gd name="connsiteX2" fmla="*/ 8243116 w 11464601"/>
              <a:gd name="connsiteY2" fmla="*/ 2081517 h 2083880"/>
              <a:gd name="connsiteX3" fmla="*/ 3 w 11464601"/>
              <a:gd name="connsiteY3" fmla="*/ 2019472 h 2083880"/>
              <a:gd name="connsiteX0" fmla="*/ 3 w 11464601"/>
              <a:gd name="connsiteY0" fmla="*/ 2019472 h 3424835"/>
              <a:gd name="connsiteX1" fmla="*/ 11464601 w 11464601"/>
              <a:gd name="connsiteY1" fmla="*/ 432 h 3424835"/>
              <a:gd name="connsiteX2" fmla="*/ 6272794 w 11464601"/>
              <a:gd name="connsiteY2" fmla="*/ 3424687 h 3424835"/>
              <a:gd name="connsiteX3" fmla="*/ 3 w 11464601"/>
              <a:gd name="connsiteY3" fmla="*/ 2019472 h 3424835"/>
              <a:gd name="connsiteX0" fmla="*/ 3 w 8450455"/>
              <a:gd name="connsiteY0" fmla="*/ 32240 h 1437641"/>
              <a:gd name="connsiteX1" fmla="*/ 8450455 w 8450455"/>
              <a:gd name="connsiteY1" fmla="*/ 12045 h 1437641"/>
              <a:gd name="connsiteX2" fmla="*/ 6272794 w 8450455"/>
              <a:gd name="connsiteY2" fmla="*/ 1437455 h 1437641"/>
              <a:gd name="connsiteX3" fmla="*/ 3 w 8450455"/>
              <a:gd name="connsiteY3" fmla="*/ 32240 h 1437641"/>
            </a:gdLst>
            <a:ahLst/>
            <a:cxnLst>
              <a:cxn ang="0">
                <a:pos x="connsiteX0" y="connsiteY0"/>
              </a:cxn>
              <a:cxn ang="0">
                <a:pos x="connsiteX1" y="connsiteY1"/>
              </a:cxn>
              <a:cxn ang="0">
                <a:pos x="connsiteX2" y="connsiteY2"/>
              </a:cxn>
              <a:cxn ang="0">
                <a:pos x="connsiteX3" y="connsiteY3"/>
              </a:cxn>
            </a:cxnLst>
            <a:rect l="l" t="t" r="r" b="b"/>
            <a:pathLst>
              <a:path w="8450455" h="1437641">
                <a:moveTo>
                  <a:pt x="3" y="32240"/>
                </a:moveTo>
                <a:cubicBezTo>
                  <a:pt x="-21" y="27917"/>
                  <a:pt x="8431024" y="-22542"/>
                  <a:pt x="8450455" y="12045"/>
                </a:cubicBezTo>
                <a:cubicBezTo>
                  <a:pt x="8438713" y="47223"/>
                  <a:pt x="6263730" y="1456209"/>
                  <a:pt x="6272794" y="1437455"/>
                </a:cubicBezTo>
                <a:cubicBezTo>
                  <a:pt x="6289357" y="1454317"/>
                  <a:pt x="-6259" y="32251"/>
                  <a:pt x="3" y="32240"/>
                </a:cubicBezTo>
                <a:close/>
              </a:path>
            </a:pathLst>
          </a:custGeom>
          <a:solidFill>
            <a:srgbClr val="CBD799">
              <a:alpha val="50196"/>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cxnSp>
        <p:nvCxnSpPr>
          <p:cNvPr id="36" name="Straight Connector 35">
            <a:extLst>
              <a:ext uri="{FF2B5EF4-FFF2-40B4-BE49-F238E27FC236}">
                <a16:creationId xmlns:a16="http://schemas.microsoft.com/office/drawing/2014/main" id="{A77CFD1A-B99D-F546-8297-4F2CB4D31F97}"/>
              </a:ext>
            </a:extLst>
          </p:cNvPr>
          <p:cNvCxnSpPr>
            <a:cxnSpLocks/>
          </p:cNvCxnSpPr>
          <p:nvPr userDrawn="1"/>
        </p:nvCxnSpPr>
        <p:spPr bwMode="auto">
          <a:xfrm flipV="1">
            <a:off x="0" y="1"/>
            <a:ext cx="2453833" cy="2338085"/>
          </a:xfrm>
          <a:prstGeom prst="line">
            <a:avLst/>
          </a:prstGeom>
          <a:solidFill>
            <a:schemeClr val="hlink"/>
          </a:solidFill>
          <a:ln w="12700" cap="flat" cmpd="sng" algn="ctr">
            <a:solidFill>
              <a:schemeClr val="bg1">
                <a:lumMod val="85000"/>
              </a:schemeClr>
            </a:solidFill>
            <a:prstDash val="solid"/>
            <a:round/>
            <a:headEnd type="none" w="med" len="med"/>
            <a:tailEnd type="none" w="med" len="med"/>
          </a:ln>
          <a:effectLst/>
        </p:spPr>
      </p:cxnSp>
    </p:spTree>
    <p:extLst>
      <p:ext uri="{BB962C8B-B14F-4D97-AF65-F5344CB8AC3E}">
        <p14:creationId xmlns:p14="http://schemas.microsoft.com/office/powerpoint/2010/main" val="288451320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1. Market Summary">
    <p:spTree>
      <p:nvGrpSpPr>
        <p:cNvPr id="1" name=""/>
        <p:cNvGrpSpPr/>
        <p:nvPr/>
      </p:nvGrpSpPr>
      <p:grpSpPr>
        <a:xfrm>
          <a:off x="0" y="0"/>
          <a:ext cx="0" cy="0"/>
          <a:chOff x="0" y="0"/>
          <a:chExt cx="0" cy="0"/>
        </a:xfrm>
      </p:grpSpPr>
      <p:sp>
        <p:nvSpPr>
          <p:cNvPr id="47" name="Footer Placeholder 2"/>
          <p:cNvSpPr>
            <a:spLocks noGrp="1"/>
          </p:cNvSpPr>
          <p:nvPr>
            <p:ph type="ftr" sz="quarter" idx="3"/>
          </p:nvPr>
        </p:nvSpPr>
        <p:spPr>
          <a:xfrm>
            <a:off x="319053" y="6414084"/>
            <a:ext cx="3781425" cy="365125"/>
          </a:xfrm>
          <a:prstGeom prst="rect">
            <a:avLst/>
          </a:prstGeom>
        </p:spPr>
        <p:txBody>
          <a:bodyPr vert="horz" lIns="91440" tIns="45720" rIns="91440" bIns="45720" rtlCol="0" anchor="ctr"/>
          <a:lstStyle>
            <a:lvl1pPr algn="l">
              <a:defRPr sz="800">
                <a:solidFill>
                  <a:srgbClr val="000000"/>
                </a:solidFill>
              </a:defRPr>
            </a:lvl1pPr>
          </a:lstStyle>
          <a:p>
            <a:pPr>
              <a:spcBef>
                <a:spcPts val="300"/>
              </a:spcBef>
            </a:pPr>
            <a:r>
              <a:rPr lang="en-US"/>
              <a:t>For Institutional Use Only.</a:t>
            </a:r>
          </a:p>
        </p:txBody>
      </p:sp>
      <p:sp>
        <p:nvSpPr>
          <p:cNvPr id="48" name="Slide Number Placeholder 3"/>
          <p:cNvSpPr>
            <a:spLocks noGrp="1"/>
          </p:cNvSpPr>
          <p:nvPr>
            <p:ph type="sldNum" sz="quarter" idx="4"/>
          </p:nvPr>
        </p:nvSpPr>
        <p:spPr>
          <a:xfrm>
            <a:off x="112394" y="6408909"/>
            <a:ext cx="382906" cy="365125"/>
          </a:xfrm>
          <a:prstGeom prst="rect">
            <a:avLst/>
          </a:prstGeom>
        </p:spPr>
        <p:txBody>
          <a:bodyPr vert="horz" lIns="91440" tIns="45720" rIns="91440" bIns="45720" rtlCol="0" anchor="ctr"/>
          <a:lstStyle>
            <a:lvl1pPr algn="l">
              <a:defRPr sz="800" b="1">
                <a:solidFill>
                  <a:srgbClr val="000000"/>
                </a:solidFill>
              </a:defRPr>
            </a:lvl1pPr>
          </a:lstStyle>
          <a:p>
            <a:fld id="{B42A7A4B-1474-47B8-8215-FC88D0AD55CE}" type="slidenum">
              <a:rPr lang="en-US" smtClean="0"/>
              <a:pPr/>
              <a:t>‹#›</a:t>
            </a:fld>
            <a:endParaRPr lang="en-US"/>
          </a:p>
        </p:txBody>
      </p:sp>
      <p:sp>
        <p:nvSpPr>
          <p:cNvPr id="12" name="Title Placeholder 1"/>
          <p:cNvSpPr>
            <a:spLocks noGrp="1"/>
          </p:cNvSpPr>
          <p:nvPr>
            <p:ph type="title"/>
          </p:nvPr>
        </p:nvSpPr>
        <p:spPr>
          <a:xfrm>
            <a:off x="315669" y="227013"/>
            <a:ext cx="8229600" cy="1143000"/>
          </a:xfrm>
          <a:prstGeom prst="rect">
            <a:avLst/>
          </a:prstGeom>
        </p:spPr>
        <p:txBody>
          <a:bodyPr vert="horz" lIns="91440" tIns="45720" rIns="91440" bIns="45720" rtlCol="0" anchor="t">
            <a:normAutofit/>
          </a:bodyPr>
          <a:lstStyle>
            <a:lvl1pPr algn="l">
              <a:defRPr sz="2400"/>
            </a:lvl1pPr>
          </a:lstStyle>
          <a:p>
            <a:r>
              <a:rPr lang="en-US"/>
              <a:t>Click to edit Master title style</a:t>
            </a:r>
          </a:p>
        </p:txBody>
      </p:sp>
      <p:grpSp>
        <p:nvGrpSpPr>
          <p:cNvPr id="7" name="Group 6">
            <a:extLst>
              <a:ext uri="{FF2B5EF4-FFF2-40B4-BE49-F238E27FC236}">
                <a16:creationId xmlns:a16="http://schemas.microsoft.com/office/drawing/2014/main" id="{E90A65D8-B146-A944-B72D-6C457FBD4779}"/>
              </a:ext>
            </a:extLst>
          </p:cNvPr>
          <p:cNvGrpSpPr/>
          <p:nvPr userDrawn="1"/>
        </p:nvGrpSpPr>
        <p:grpSpPr>
          <a:xfrm>
            <a:off x="7358173" y="6361974"/>
            <a:ext cx="1382376" cy="297562"/>
            <a:chOff x="6923088" y="4475163"/>
            <a:chExt cx="1873251" cy="403225"/>
          </a:xfrm>
        </p:grpSpPr>
        <p:sp>
          <p:nvSpPr>
            <p:cNvPr id="9" name="AutoShape 4">
              <a:extLst>
                <a:ext uri="{FF2B5EF4-FFF2-40B4-BE49-F238E27FC236}">
                  <a16:creationId xmlns:a16="http://schemas.microsoft.com/office/drawing/2014/main" id="{CB891575-19EC-8045-AE2F-FF0A8C397666}"/>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 name="Freeform 6">
              <a:extLst>
                <a:ext uri="{FF2B5EF4-FFF2-40B4-BE49-F238E27FC236}">
                  <a16:creationId xmlns:a16="http://schemas.microsoft.com/office/drawing/2014/main" id="{BE1EC3D0-47FC-CA4C-988E-5C5AF6D7BD87}"/>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Freeform 7">
              <a:extLst>
                <a:ext uri="{FF2B5EF4-FFF2-40B4-BE49-F238E27FC236}">
                  <a16:creationId xmlns:a16="http://schemas.microsoft.com/office/drawing/2014/main" id="{F2718B14-7585-0343-934E-3EFA526239F5}"/>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Freeform 83">
              <a:extLst>
                <a:ext uri="{FF2B5EF4-FFF2-40B4-BE49-F238E27FC236}">
                  <a16:creationId xmlns:a16="http://schemas.microsoft.com/office/drawing/2014/main" id="{CBD14EBC-B299-9142-9172-8456DD2B40E7}"/>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84">
              <a:extLst>
                <a:ext uri="{FF2B5EF4-FFF2-40B4-BE49-F238E27FC236}">
                  <a16:creationId xmlns:a16="http://schemas.microsoft.com/office/drawing/2014/main" id="{B490E619-92E1-8942-9F79-B17C6662A31C}"/>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85">
              <a:extLst>
                <a:ext uri="{FF2B5EF4-FFF2-40B4-BE49-F238E27FC236}">
                  <a16:creationId xmlns:a16="http://schemas.microsoft.com/office/drawing/2014/main" id="{DE2B2421-E180-944C-ADEE-81423098D24D}"/>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86">
              <a:extLst>
                <a:ext uri="{FF2B5EF4-FFF2-40B4-BE49-F238E27FC236}">
                  <a16:creationId xmlns:a16="http://schemas.microsoft.com/office/drawing/2014/main" id="{0EBFC715-4DF9-D741-A7D9-D5FAD06B3ABD}"/>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Freeform 87">
              <a:extLst>
                <a:ext uri="{FF2B5EF4-FFF2-40B4-BE49-F238E27FC236}">
                  <a16:creationId xmlns:a16="http://schemas.microsoft.com/office/drawing/2014/main" id="{18BEED0B-82B2-2B40-AABC-A757B767B765}"/>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Freeform 88">
              <a:extLst>
                <a:ext uri="{FF2B5EF4-FFF2-40B4-BE49-F238E27FC236}">
                  <a16:creationId xmlns:a16="http://schemas.microsoft.com/office/drawing/2014/main" id="{583CC96B-A51F-0744-BEF8-800B9B25F3AD}"/>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89">
              <a:extLst>
                <a:ext uri="{FF2B5EF4-FFF2-40B4-BE49-F238E27FC236}">
                  <a16:creationId xmlns:a16="http://schemas.microsoft.com/office/drawing/2014/main" id="{07BEF7B5-B4F7-5D48-9444-A89593092FBE}"/>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90">
              <a:extLst>
                <a:ext uri="{FF2B5EF4-FFF2-40B4-BE49-F238E27FC236}">
                  <a16:creationId xmlns:a16="http://schemas.microsoft.com/office/drawing/2014/main" id="{74A602D0-F0D4-7448-B1DB-7B742AAE1ACE}"/>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91">
              <a:extLst>
                <a:ext uri="{FF2B5EF4-FFF2-40B4-BE49-F238E27FC236}">
                  <a16:creationId xmlns:a16="http://schemas.microsoft.com/office/drawing/2014/main" id="{E158812D-2365-AF4B-9B26-8475E4D37B33}"/>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92">
              <a:extLst>
                <a:ext uri="{FF2B5EF4-FFF2-40B4-BE49-F238E27FC236}">
                  <a16:creationId xmlns:a16="http://schemas.microsoft.com/office/drawing/2014/main" id="{F848480E-7F33-B74F-8ADE-AE284B64EE4C}"/>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 name="Freeform 93">
              <a:extLst>
                <a:ext uri="{FF2B5EF4-FFF2-40B4-BE49-F238E27FC236}">
                  <a16:creationId xmlns:a16="http://schemas.microsoft.com/office/drawing/2014/main" id="{E5B50AF9-C987-FA49-A3F2-27829B931852}"/>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94">
              <a:extLst>
                <a:ext uri="{FF2B5EF4-FFF2-40B4-BE49-F238E27FC236}">
                  <a16:creationId xmlns:a16="http://schemas.microsoft.com/office/drawing/2014/main" id="{60F00664-02D3-D744-8F9D-5A3BBB735CED}"/>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 name="Freeform 95">
              <a:extLst>
                <a:ext uri="{FF2B5EF4-FFF2-40B4-BE49-F238E27FC236}">
                  <a16:creationId xmlns:a16="http://schemas.microsoft.com/office/drawing/2014/main" id="{07937D8B-D652-7140-8A82-EB2755DB000C}"/>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Freeform 96">
              <a:extLst>
                <a:ext uri="{FF2B5EF4-FFF2-40B4-BE49-F238E27FC236}">
                  <a16:creationId xmlns:a16="http://schemas.microsoft.com/office/drawing/2014/main" id="{BAAED08A-0670-B645-81EB-706D04A409FE}"/>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97">
              <a:extLst>
                <a:ext uri="{FF2B5EF4-FFF2-40B4-BE49-F238E27FC236}">
                  <a16:creationId xmlns:a16="http://schemas.microsoft.com/office/drawing/2014/main" id="{916D331C-6D4D-434A-8DD9-1E2D614AA316}"/>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98">
              <a:extLst>
                <a:ext uri="{FF2B5EF4-FFF2-40B4-BE49-F238E27FC236}">
                  <a16:creationId xmlns:a16="http://schemas.microsoft.com/office/drawing/2014/main" id="{A6129526-50A4-544C-85F5-6374CF46F2EF}"/>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99">
              <a:extLst>
                <a:ext uri="{FF2B5EF4-FFF2-40B4-BE49-F238E27FC236}">
                  <a16:creationId xmlns:a16="http://schemas.microsoft.com/office/drawing/2014/main" id="{31BA52F1-58D0-0C48-82E7-558311EBD7E6}"/>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100">
              <a:extLst>
                <a:ext uri="{FF2B5EF4-FFF2-40B4-BE49-F238E27FC236}">
                  <a16:creationId xmlns:a16="http://schemas.microsoft.com/office/drawing/2014/main" id="{7DD774B3-E888-A74C-A219-4F640273DFC6}"/>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101">
              <a:extLst>
                <a:ext uri="{FF2B5EF4-FFF2-40B4-BE49-F238E27FC236}">
                  <a16:creationId xmlns:a16="http://schemas.microsoft.com/office/drawing/2014/main" id="{2C3C013C-5649-ED42-B931-01CBB368DC94}"/>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102">
              <a:extLst>
                <a:ext uri="{FF2B5EF4-FFF2-40B4-BE49-F238E27FC236}">
                  <a16:creationId xmlns:a16="http://schemas.microsoft.com/office/drawing/2014/main" id="{3486B62D-070E-8346-BB3F-BEC1BAE04F85}"/>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103">
              <a:extLst>
                <a:ext uri="{FF2B5EF4-FFF2-40B4-BE49-F238E27FC236}">
                  <a16:creationId xmlns:a16="http://schemas.microsoft.com/office/drawing/2014/main" id="{40855D8E-F387-0D4D-8FCA-1B8951194F87}"/>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104">
              <a:extLst>
                <a:ext uri="{FF2B5EF4-FFF2-40B4-BE49-F238E27FC236}">
                  <a16:creationId xmlns:a16="http://schemas.microsoft.com/office/drawing/2014/main" id="{DD29EA6B-86A9-7447-8982-AD98E60D3147}"/>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105">
              <a:extLst>
                <a:ext uri="{FF2B5EF4-FFF2-40B4-BE49-F238E27FC236}">
                  <a16:creationId xmlns:a16="http://schemas.microsoft.com/office/drawing/2014/main" id="{05E93FA0-03E7-4640-A345-FDA6B749B668}"/>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7" name="TextBox 69">
            <a:extLst>
              <a:ext uri="{FF2B5EF4-FFF2-40B4-BE49-F238E27FC236}">
                <a16:creationId xmlns:a16="http://schemas.microsoft.com/office/drawing/2014/main" id="{97F9DF75-ACD6-EB4C-B604-4724ADF3449B}"/>
              </a:ext>
            </a:extLst>
          </p:cNvPr>
          <p:cNvSpPr txBox="1">
            <a:spLocks noChangeArrowheads="1"/>
          </p:cNvSpPr>
          <p:nvPr userDrawn="1"/>
        </p:nvSpPr>
        <p:spPr bwMode="auto">
          <a:xfrm rot="16200000">
            <a:off x="8221240" y="617250"/>
            <a:ext cx="1338265" cy="284693"/>
          </a:xfrm>
          <a:prstGeom prst="rect">
            <a:avLst/>
          </a:prstGeom>
          <a:noFill/>
          <a:ln w="9525">
            <a:noFill/>
            <a:miter lim="800000"/>
            <a:headEnd/>
            <a:tailEnd/>
          </a:ln>
        </p:spPr>
        <p:txBody>
          <a:bodyPr wrap="square" tIns="91440" rIns="0">
            <a:spAutoFit/>
          </a:bodyPr>
          <a:lstStyle/>
          <a:p>
            <a:pPr>
              <a:defRPr/>
            </a:pPr>
            <a:r>
              <a:rPr lang="en-US" sz="900">
                <a:solidFill>
                  <a:srgbClr val="7A9A3D"/>
                </a:solidFill>
                <a:cs typeface="Arial" charset="0"/>
              </a:rPr>
              <a:t>SUMMARY</a:t>
            </a:r>
          </a:p>
        </p:txBody>
      </p:sp>
      <p:grpSp>
        <p:nvGrpSpPr>
          <p:cNvPr id="38" name="Group 37">
            <a:extLst>
              <a:ext uri="{FF2B5EF4-FFF2-40B4-BE49-F238E27FC236}">
                <a16:creationId xmlns:a16="http://schemas.microsoft.com/office/drawing/2014/main" id="{0508FCF6-240B-8445-A5FE-16B3E3208173}"/>
              </a:ext>
            </a:extLst>
          </p:cNvPr>
          <p:cNvGrpSpPr/>
          <p:nvPr userDrawn="1"/>
        </p:nvGrpSpPr>
        <p:grpSpPr>
          <a:xfrm>
            <a:off x="8834955" y="-8348"/>
            <a:ext cx="132661" cy="609866"/>
            <a:chOff x="8876279" y="49059"/>
            <a:chExt cx="132661" cy="609866"/>
          </a:xfrm>
        </p:grpSpPr>
        <p:cxnSp>
          <p:nvCxnSpPr>
            <p:cNvPr id="39" name="Straight Connector 38">
              <a:extLst>
                <a:ext uri="{FF2B5EF4-FFF2-40B4-BE49-F238E27FC236}">
                  <a16:creationId xmlns:a16="http://schemas.microsoft.com/office/drawing/2014/main" id="{CF5E42DE-D351-D34B-9804-3DCAD12EFB79}"/>
                </a:ext>
              </a:extLst>
            </p:cNvPr>
            <p:cNvCxnSpPr>
              <a:cxnSpLocks/>
              <a:endCxn id="41" idx="4"/>
            </p:cNvCxnSpPr>
            <p:nvPr/>
          </p:nvCxnSpPr>
          <p:spPr bwMode="auto">
            <a:xfrm>
              <a:off x="8942609" y="49059"/>
              <a:ext cx="0" cy="575539"/>
            </a:xfrm>
            <a:prstGeom prst="line">
              <a:avLst/>
            </a:prstGeom>
            <a:solidFill>
              <a:schemeClr val="hlink"/>
            </a:solidFill>
            <a:ln w="12700" cap="flat" cmpd="sng" algn="ctr">
              <a:solidFill>
                <a:schemeClr val="bg1">
                  <a:lumMod val="75000"/>
                </a:schemeClr>
              </a:solidFill>
              <a:prstDash val="solid"/>
              <a:round/>
              <a:headEnd type="none" w="med" len="med"/>
              <a:tailEnd type="none" w="med" len="med"/>
            </a:ln>
            <a:effectLst/>
          </p:spPr>
        </p:cxnSp>
        <p:sp>
          <p:nvSpPr>
            <p:cNvPr id="40" name="Oval 39">
              <a:extLst>
                <a:ext uri="{FF2B5EF4-FFF2-40B4-BE49-F238E27FC236}">
                  <a16:creationId xmlns:a16="http://schemas.microsoft.com/office/drawing/2014/main" id="{F9146854-D326-514B-81C6-E802CFD6D577}"/>
                </a:ext>
              </a:extLst>
            </p:cNvPr>
            <p:cNvSpPr/>
            <p:nvPr/>
          </p:nvSpPr>
          <p:spPr bwMode="auto">
            <a:xfrm>
              <a:off x="8876279" y="526264"/>
              <a:ext cx="132661" cy="132661"/>
            </a:xfrm>
            <a:prstGeom prst="ellipse">
              <a:avLst/>
            </a:prstGeom>
            <a:solidFill>
              <a:schemeClr val="bg1"/>
            </a:solidFill>
            <a:ln w="12700"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sp>
          <p:nvSpPr>
            <p:cNvPr id="41" name="Oval 40">
              <a:extLst>
                <a:ext uri="{FF2B5EF4-FFF2-40B4-BE49-F238E27FC236}">
                  <a16:creationId xmlns:a16="http://schemas.microsoft.com/office/drawing/2014/main" id="{F306A6E0-07E4-1B42-B56A-599BA5F3F82C}"/>
                </a:ext>
              </a:extLst>
            </p:cNvPr>
            <p:cNvSpPr/>
            <p:nvPr/>
          </p:nvSpPr>
          <p:spPr bwMode="auto">
            <a:xfrm>
              <a:off x="8910605" y="560590"/>
              <a:ext cx="64008" cy="64008"/>
            </a:xfrm>
            <a:prstGeom prst="ellipse">
              <a:avLst/>
            </a:prstGeom>
            <a:solidFill>
              <a:srgbClr val="7A9A3D"/>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grpSp>
    </p:spTree>
    <p:extLst>
      <p:ext uri="{BB962C8B-B14F-4D97-AF65-F5344CB8AC3E}">
        <p14:creationId xmlns:p14="http://schemas.microsoft.com/office/powerpoint/2010/main" val="193098191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userDrawn="1">
  <p:cSld name="3. Theme Divider">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64A8CD47-94FB-5F4E-B7D5-06208189A8D3}"/>
              </a:ext>
            </a:extLst>
          </p:cNvPr>
          <p:cNvGrpSpPr/>
          <p:nvPr userDrawn="1"/>
        </p:nvGrpSpPr>
        <p:grpSpPr>
          <a:xfrm>
            <a:off x="7358173" y="6361974"/>
            <a:ext cx="1382376" cy="297562"/>
            <a:chOff x="6923088" y="4475163"/>
            <a:chExt cx="1873251" cy="403225"/>
          </a:xfrm>
        </p:grpSpPr>
        <p:sp>
          <p:nvSpPr>
            <p:cNvPr id="33" name="AutoShape 4">
              <a:extLst>
                <a:ext uri="{FF2B5EF4-FFF2-40B4-BE49-F238E27FC236}">
                  <a16:creationId xmlns:a16="http://schemas.microsoft.com/office/drawing/2014/main" id="{296AE685-BAFC-B54E-AC72-34EEA4D04BF2}"/>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6">
              <a:extLst>
                <a:ext uri="{FF2B5EF4-FFF2-40B4-BE49-F238E27FC236}">
                  <a16:creationId xmlns:a16="http://schemas.microsoft.com/office/drawing/2014/main" id="{A61049F1-AC19-1B4F-82B1-A3BE11E6FBE5}"/>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7">
              <a:extLst>
                <a:ext uri="{FF2B5EF4-FFF2-40B4-BE49-F238E27FC236}">
                  <a16:creationId xmlns:a16="http://schemas.microsoft.com/office/drawing/2014/main" id="{C71833E1-DBF3-BB42-898E-99BAE03713D5}"/>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83">
              <a:extLst>
                <a:ext uri="{FF2B5EF4-FFF2-40B4-BE49-F238E27FC236}">
                  <a16:creationId xmlns:a16="http://schemas.microsoft.com/office/drawing/2014/main" id="{2E4DF13C-02DE-A44A-AECC-4AED085156E8}"/>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84">
              <a:extLst>
                <a:ext uri="{FF2B5EF4-FFF2-40B4-BE49-F238E27FC236}">
                  <a16:creationId xmlns:a16="http://schemas.microsoft.com/office/drawing/2014/main" id="{CAD44C14-3CCE-FB44-A5A9-6621B9E3FD5B}"/>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85">
              <a:extLst>
                <a:ext uri="{FF2B5EF4-FFF2-40B4-BE49-F238E27FC236}">
                  <a16:creationId xmlns:a16="http://schemas.microsoft.com/office/drawing/2014/main" id="{9D5D6D50-9DA9-3543-AE32-3050A264B387}"/>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86">
              <a:extLst>
                <a:ext uri="{FF2B5EF4-FFF2-40B4-BE49-F238E27FC236}">
                  <a16:creationId xmlns:a16="http://schemas.microsoft.com/office/drawing/2014/main" id="{3F7C366F-F0AF-4A44-9BE4-07B371FD62C9}"/>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87">
              <a:extLst>
                <a:ext uri="{FF2B5EF4-FFF2-40B4-BE49-F238E27FC236}">
                  <a16:creationId xmlns:a16="http://schemas.microsoft.com/office/drawing/2014/main" id="{8092C44A-03F1-4B4F-BBDB-D4123DD9800F}"/>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 name="Freeform 88">
              <a:extLst>
                <a:ext uri="{FF2B5EF4-FFF2-40B4-BE49-F238E27FC236}">
                  <a16:creationId xmlns:a16="http://schemas.microsoft.com/office/drawing/2014/main" id="{466EF551-620E-1B41-81E8-D6A2AA77C0D2}"/>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 name="Freeform 89">
              <a:extLst>
                <a:ext uri="{FF2B5EF4-FFF2-40B4-BE49-F238E27FC236}">
                  <a16:creationId xmlns:a16="http://schemas.microsoft.com/office/drawing/2014/main" id="{31C108AE-CACC-D84D-AB21-B1EEA1616A2C}"/>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 name="Freeform 90">
              <a:extLst>
                <a:ext uri="{FF2B5EF4-FFF2-40B4-BE49-F238E27FC236}">
                  <a16:creationId xmlns:a16="http://schemas.microsoft.com/office/drawing/2014/main" id="{8643E4F4-F7D5-BE43-BE1F-20FCCD03F18E}"/>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 name="Freeform 91">
              <a:extLst>
                <a:ext uri="{FF2B5EF4-FFF2-40B4-BE49-F238E27FC236}">
                  <a16:creationId xmlns:a16="http://schemas.microsoft.com/office/drawing/2014/main" id="{52DBA438-42D9-0C4A-97EC-ADF956553B11}"/>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 name="Freeform 92">
              <a:extLst>
                <a:ext uri="{FF2B5EF4-FFF2-40B4-BE49-F238E27FC236}">
                  <a16:creationId xmlns:a16="http://schemas.microsoft.com/office/drawing/2014/main" id="{35E41E64-6687-F84F-939A-8DEF7FF114B0}"/>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 name="Freeform 93">
              <a:extLst>
                <a:ext uri="{FF2B5EF4-FFF2-40B4-BE49-F238E27FC236}">
                  <a16:creationId xmlns:a16="http://schemas.microsoft.com/office/drawing/2014/main" id="{437054FC-422C-C94B-8AA5-7A7E311C965A}"/>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 name="Freeform 94">
              <a:extLst>
                <a:ext uri="{FF2B5EF4-FFF2-40B4-BE49-F238E27FC236}">
                  <a16:creationId xmlns:a16="http://schemas.microsoft.com/office/drawing/2014/main" id="{C37BAE0A-6F2A-5240-B2C7-93B9A520602D}"/>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 name="Freeform 95">
              <a:extLst>
                <a:ext uri="{FF2B5EF4-FFF2-40B4-BE49-F238E27FC236}">
                  <a16:creationId xmlns:a16="http://schemas.microsoft.com/office/drawing/2014/main" id="{BC17080B-DD8F-0048-ACC9-C578FD1523C5}"/>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 name="Freeform 96">
              <a:extLst>
                <a:ext uri="{FF2B5EF4-FFF2-40B4-BE49-F238E27FC236}">
                  <a16:creationId xmlns:a16="http://schemas.microsoft.com/office/drawing/2014/main" id="{8FD3CC3D-3AE7-1741-8BFC-6182155C9DEC}"/>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 name="Freeform 97">
              <a:extLst>
                <a:ext uri="{FF2B5EF4-FFF2-40B4-BE49-F238E27FC236}">
                  <a16:creationId xmlns:a16="http://schemas.microsoft.com/office/drawing/2014/main" id="{21267EAA-2C1F-734B-A3A5-186CA5411B62}"/>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 name="Freeform 98">
              <a:extLst>
                <a:ext uri="{FF2B5EF4-FFF2-40B4-BE49-F238E27FC236}">
                  <a16:creationId xmlns:a16="http://schemas.microsoft.com/office/drawing/2014/main" id="{4DD7A084-329D-F544-8EE8-18B0A0951C79}"/>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 name="Freeform 99">
              <a:extLst>
                <a:ext uri="{FF2B5EF4-FFF2-40B4-BE49-F238E27FC236}">
                  <a16:creationId xmlns:a16="http://schemas.microsoft.com/office/drawing/2014/main" id="{F745AE99-9E55-DE4C-9977-273624DF18E0}"/>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 name="Freeform 100">
              <a:extLst>
                <a:ext uri="{FF2B5EF4-FFF2-40B4-BE49-F238E27FC236}">
                  <a16:creationId xmlns:a16="http://schemas.microsoft.com/office/drawing/2014/main" id="{872652CD-FFB2-EA42-97B1-3D500E4F8F2E}"/>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 name="Freeform 101">
              <a:extLst>
                <a:ext uri="{FF2B5EF4-FFF2-40B4-BE49-F238E27FC236}">
                  <a16:creationId xmlns:a16="http://schemas.microsoft.com/office/drawing/2014/main" id="{304FCB44-4171-A247-9113-EB4E3EB704B3}"/>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 name="Freeform 102">
              <a:extLst>
                <a:ext uri="{FF2B5EF4-FFF2-40B4-BE49-F238E27FC236}">
                  <a16:creationId xmlns:a16="http://schemas.microsoft.com/office/drawing/2014/main" id="{DFB8E857-AD95-0C49-8249-62D3A463A357}"/>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 name="Freeform 103">
              <a:extLst>
                <a:ext uri="{FF2B5EF4-FFF2-40B4-BE49-F238E27FC236}">
                  <a16:creationId xmlns:a16="http://schemas.microsoft.com/office/drawing/2014/main" id="{052DB0C6-8685-D04E-852A-B4E37B671C31}"/>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 name="Freeform 104">
              <a:extLst>
                <a:ext uri="{FF2B5EF4-FFF2-40B4-BE49-F238E27FC236}">
                  <a16:creationId xmlns:a16="http://schemas.microsoft.com/office/drawing/2014/main" id="{E1EC3870-4A06-6C41-B1DE-6E42C8CCCAB0}"/>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 name="Freeform 105">
              <a:extLst>
                <a:ext uri="{FF2B5EF4-FFF2-40B4-BE49-F238E27FC236}">
                  <a16:creationId xmlns:a16="http://schemas.microsoft.com/office/drawing/2014/main" id="{B2FC9EE0-7EAE-6C4D-A241-D2633EEE13AB}"/>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40" name="Triangle 40">
            <a:extLst>
              <a:ext uri="{FF2B5EF4-FFF2-40B4-BE49-F238E27FC236}">
                <a16:creationId xmlns:a16="http://schemas.microsoft.com/office/drawing/2014/main" id="{166D518E-5243-2E4E-8C32-29E3532C6E9A}"/>
              </a:ext>
            </a:extLst>
          </p:cNvPr>
          <p:cNvSpPr/>
          <p:nvPr userDrawn="1"/>
        </p:nvSpPr>
        <p:spPr bwMode="auto">
          <a:xfrm flipH="1" flipV="1">
            <a:off x="0" y="0"/>
            <a:ext cx="5392615" cy="1348452"/>
          </a:xfrm>
          <a:custGeom>
            <a:avLst/>
            <a:gdLst>
              <a:gd name="connsiteX0" fmla="*/ 0 w 12192000"/>
              <a:gd name="connsiteY0" fmla="*/ 2036323 h 2036323"/>
              <a:gd name="connsiteX1" fmla="*/ 12178955 w 12192000"/>
              <a:gd name="connsiteY1" fmla="*/ 0 h 2036323"/>
              <a:gd name="connsiteX2" fmla="*/ 12192000 w 12192000"/>
              <a:gd name="connsiteY2" fmla="*/ 2036323 h 2036323"/>
              <a:gd name="connsiteX3" fmla="*/ 0 w 12192000"/>
              <a:gd name="connsiteY3" fmla="*/ 2036323 h 2036323"/>
              <a:gd name="connsiteX0" fmla="*/ 0 w 12204970"/>
              <a:gd name="connsiteY0" fmla="*/ 1880680 h 2036323"/>
              <a:gd name="connsiteX1" fmla="*/ 12191925 w 12204970"/>
              <a:gd name="connsiteY1" fmla="*/ 0 h 2036323"/>
              <a:gd name="connsiteX2" fmla="*/ 12204970 w 12204970"/>
              <a:gd name="connsiteY2" fmla="*/ 2036323 h 2036323"/>
              <a:gd name="connsiteX3" fmla="*/ 0 w 12204970"/>
              <a:gd name="connsiteY3" fmla="*/ 1880680 h 2036323"/>
              <a:gd name="connsiteX0" fmla="*/ 0 w 12192096"/>
              <a:gd name="connsiteY0" fmla="*/ 1880680 h 1906621"/>
              <a:gd name="connsiteX1" fmla="*/ 12191925 w 12192096"/>
              <a:gd name="connsiteY1" fmla="*/ 0 h 1906621"/>
              <a:gd name="connsiteX2" fmla="*/ 12120664 w 12192096"/>
              <a:gd name="connsiteY2" fmla="*/ 1906621 h 1906621"/>
              <a:gd name="connsiteX3" fmla="*/ 0 w 12192096"/>
              <a:gd name="connsiteY3" fmla="*/ 1880680 h 1906621"/>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9673"/>
              <a:gd name="connsiteY0" fmla="*/ 1867710 h 2049294"/>
              <a:gd name="connsiteX1" fmla="*/ 12198410 w 12199673"/>
              <a:gd name="connsiteY1" fmla="*/ 0 h 2049294"/>
              <a:gd name="connsiteX2" fmla="*/ 12198485 w 12199673"/>
              <a:gd name="connsiteY2" fmla="*/ 2049294 h 2049294"/>
              <a:gd name="connsiteX3" fmla="*/ 0 w 12199673"/>
              <a:gd name="connsiteY3" fmla="*/ 1867710 h 2049294"/>
              <a:gd name="connsiteX0" fmla="*/ 0 w 12199673"/>
              <a:gd name="connsiteY0" fmla="*/ 1867710 h 2329173"/>
              <a:gd name="connsiteX1" fmla="*/ 12198410 w 12199673"/>
              <a:gd name="connsiteY1" fmla="*/ 0 h 2329173"/>
              <a:gd name="connsiteX2" fmla="*/ 12198485 w 12199673"/>
              <a:gd name="connsiteY2" fmla="*/ 2049294 h 2329173"/>
              <a:gd name="connsiteX3" fmla="*/ 0 w 12199673"/>
              <a:gd name="connsiteY3" fmla="*/ 1867710 h 2329173"/>
              <a:gd name="connsiteX0" fmla="*/ 0 w 12199673"/>
              <a:gd name="connsiteY0" fmla="*/ 1867710 h 2049294"/>
              <a:gd name="connsiteX1" fmla="*/ 12198410 w 12199673"/>
              <a:gd name="connsiteY1" fmla="*/ 0 h 2049294"/>
              <a:gd name="connsiteX2" fmla="*/ 12198485 w 12199673"/>
              <a:gd name="connsiteY2" fmla="*/ 2049294 h 2049294"/>
              <a:gd name="connsiteX3" fmla="*/ 0 w 12199673"/>
              <a:gd name="connsiteY3" fmla="*/ 1867710 h 2049294"/>
              <a:gd name="connsiteX0" fmla="*/ 1 w 12167248"/>
              <a:gd name="connsiteY0" fmla="*/ 1861225 h 2049294"/>
              <a:gd name="connsiteX1" fmla="*/ 12165985 w 12167248"/>
              <a:gd name="connsiteY1" fmla="*/ 0 h 2049294"/>
              <a:gd name="connsiteX2" fmla="*/ 12166060 w 12167248"/>
              <a:gd name="connsiteY2" fmla="*/ 2049294 h 2049294"/>
              <a:gd name="connsiteX3" fmla="*/ 1 w 12167248"/>
              <a:gd name="connsiteY3" fmla="*/ 1861225 h 2049294"/>
              <a:gd name="connsiteX0" fmla="*/ 1 w 12167248"/>
              <a:gd name="connsiteY0" fmla="*/ 1841769 h 2029838"/>
              <a:gd name="connsiteX1" fmla="*/ 12165985 w 12167248"/>
              <a:gd name="connsiteY1" fmla="*/ 0 h 2029838"/>
              <a:gd name="connsiteX2" fmla="*/ 12166060 w 12167248"/>
              <a:gd name="connsiteY2" fmla="*/ 2029838 h 2029838"/>
              <a:gd name="connsiteX3" fmla="*/ 1 w 12167248"/>
              <a:gd name="connsiteY3" fmla="*/ 1841769 h 2029838"/>
              <a:gd name="connsiteX0" fmla="*/ 1 w 12167248"/>
              <a:gd name="connsiteY0" fmla="*/ 1842242 h 2030311"/>
              <a:gd name="connsiteX1" fmla="*/ 12165985 w 12167248"/>
              <a:gd name="connsiteY1" fmla="*/ 473 h 2030311"/>
              <a:gd name="connsiteX2" fmla="*/ 12166060 w 12167248"/>
              <a:gd name="connsiteY2" fmla="*/ 2030311 h 2030311"/>
              <a:gd name="connsiteX3" fmla="*/ 1 w 12167248"/>
              <a:gd name="connsiteY3" fmla="*/ 1842242 h 2030311"/>
              <a:gd name="connsiteX0" fmla="*/ 1 w 12167248"/>
              <a:gd name="connsiteY0" fmla="*/ 1842242 h 2030710"/>
              <a:gd name="connsiteX1" fmla="*/ 12165985 w 12167248"/>
              <a:gd name="connsiteY1" fmla="*/ 473 h 2030710"/>
              <a:gd name="connsiteX2" fmla="*/ 12166060 w 12167248"/>
              <a:gd name="connsiteY2" fmla="*/ 2030311 h 2030710"/>
              <a:gd name="connsiteX3" fmla="*/ 1 w 12167248"/>
              <a:gd name="connsiteY3" fmla="*/ 1842242 h 2030710"/>
              <a:gd name="connsiteX0" fmla="*/ 1 w 12167248"/>
              <a:gd name="connsiteY0" fmla="*/ 1842242 h 2030710"/>
              <a:gd name="connsiteX1" fmla="*/ 12165985 w 12167248"/>
              <a:gd name="connsiteY1" fmla="*/ 473 h 2030710"/>
              <a:gd name="connsiteX2" fmla="*/ 12166060 w 12167248"/>
              <a:gd name="connsiteY2" fmla="*/ 2030311 h 2030710"/>
              <a:gd name="connsiteX3" fmla="*/ 1 w 12167248"/>
              <a:gd name="connsiteY3" fmla="*/ 1842242 h 2030710"/>
              <a:gd name="connsiteX0" fmla="*/ 1 w 12166780"/>
              <a:gd name="connsiteY0" fmla="*/ 1842242 h 2043646"/>
              <a:gd name="connsiteX1" fmla="*/ 12165985 w 12166780"/>
              <a:gd name="connsiteY1" fmla="*/ 473 h 2043646"/>
              <a:gd name="connsiteX2" fmla="*/ 12159575 w 12166780"/>
              <a:gd name="connsiteY2" fmla="*/ 2043281 h 2043646"/>
              <a:gd name="connsiteX3" fmla="*/ 1 w 12166780"/>
              <a:gd name="connsiteY3" fmla="*/ 1842242 h 2043646"/>
              <a:gd name="connsiteX0" fmla="*/ 1 w 12166780"/>
              <a:gd name="connsiteY0" fmla="*/ 1842242 h 2024244"/>
              <a:gd name="connsiteX1" fmla="*/ 12165985 w 12166780"/>
              <a:gd name="connsiteY1" fmla="*/ 473 h 2024244"/>
              <a:gd name="connsiteX2" fmla="*/ 12159575 w 12166780"/>
              <a:gd name="connsiteY2" fmla="*/ 2023826 h 2024244"/>
              <a:gd name="connsiteX3" fmla="*/ 1 w 12166780"/>
              <a:gd name="connsiteY3" fmla="*/ 1842242 h 2024244"/>
              <a:gd name="connsiteX0" fmla="*/ 1 w 12179031"/>
              <a:gd name="connsiteY0" fmla="*/ 1842242 h 2037177"/>
              <a:gd name="connsiteX1" fmla="*/ 12165985 w 12179031"/>
              <a:gd name="connsiteY1" fmla="*/ 473 h 2037177"/>
              <a:gd name="connsiteX2" fmla="*/ 12179030 w 12179031"/>
              <a:gd name="connsiteY2" fmla="*/ 2036796 h 2037177"/>
              <a:gd name="connsiteX3" fmla="*/ 1 w 12179031"/>
              <a:gd name="connsiteY3" fmla="*/ 1842242 h 2037177"/>
              <a:gd name="connsiteX0" fmla="*/ 1 w 12167248"/>
              <a:gd name="connsiteY0" fmla="*/ 1842242 h 2056588"/>
              <a:gd name="connsiteX1" fmla="*/ 12165985 w 12167248"/>
              <a:gd name="connsiteY1" fmla="*/ 473 h 2056588"/>
              <a:gd name="connsiteX2" fmla="*/ 12166060 w 12167248"/>
              <a:gd name="connsiteY2" fmla="*/ 2056251 h 2056588"/>
              <a:gd name="connsiteX3" fmla="*/ 1 w 12167248"/>
              <a:gd name="connsiteY3" fmla="*/ 1842242 h 2056588"/>
              <a:gd name="connsiteX0" fmla="*/ 1 w 12192002"/>
              <a:gd name="connsiteY0" fmla="*/ 1842242 h 2024244"/>
              <a:gd name="connsiteX1" fmla="*/ 12165985 w 12192002"/>
              <a:gd name="connsiteY1" fmla="*/ 473 h 2024244"/>
              <a:gd name="connsiteX2" fmla="*/ 12192001 w 12192002"/>
              <a:gd name="connsiteY2" fmla="*/ 2023826 h 2024244"/>
              <a:gd name="connsiteX3" fmla="*/ 1 w 12192002"/>
              <a:gd name="connsiteY3" fmla="*/ 1842242 h 2024244"/>
              <a:gd name="connsiteX0" fmla="*/ 1 w 12167248"/>
              <a:gd name="connsiteY0" fmla="*/ 1842242 h 2050117"/>
              <a:gd name="connsiteX1" fmla="*/ 12165985 w 12167248"/>
              <a:gd name="connsiteY1" fmla="*/ 473 h 2050117"/>
              <a:gd name="connsiteX2" fmla="*/ 12166061 w 12167248"/>
              <a:gd name="connsiteY2" fmla="*/ 2049767 h 2050117"/>
              <a:gd name="connsiteX3" fmla="*/ 1 w 12167248"/>
              <a:gd name="connsiteY3" fmla="*/ 1842242 h 2050117"/>
              <a:gd name="connsiteX0" fmla="*/ 1 w 12166780"/>
              <a:gd name="connsiteY0" fmla="*/ 1842242 h 2024245"/>
              <a:gd name="connsiteX1" fmla="*/ 12165985 w 12166780"/>
              <a:gd name="connsiteY1" fmla="*/ 473 h 2024245"/>
              <a:gd name="connsiteX2" fmla="*/ 12159576 w 12166780"/>
              <a:gd name="connsiteY2" fmla="*/ 2023827 h 2024245"/>
              <a:gd name="connsiteX3" fmla="*/ 1 w 12166780"/>
              <a:gd name="connsiteY3" fmla="*/ 1842242 h 2024245"/>
              <a:gd name="connsiteX0" fmla="*/ 1 w 12172548"/>
              <a:gd name="connsiteY0" fmla="*/ 1842242 h 2043647"/>
              <a:gd name="connsiteX1" fmla="*/ 12165985 w 12172548"/>
              <a:gd name="connsiteY1" fmla="*/ 473 h 2043647"/>
              <a:gd name="connsiteX2" fmla="*/ 12172547 w 12172548"/>
              <a:gd name="connsiteY2" fmla="*/ 2043282 h 2043647"/>
              <a:gd name="connsiteX3" fmla="*/ 1 w 12172548"/>
              <a:gd name="connsiteY3" fmla="*/ 1842242 h 2043647"/>
              <a:gd name="connsiteX0" fmla="*/ 1 w 12166566"/>
              <a:gd name="connsiteY0" fmla="*/ 1842242 h 2030711"/>
              <a:gd name="connsiteX1" fmla="*/ 12165985 w 12166566"/>
              <a:gd name="connsiteY1" fmla="*/ 473 h 2030711"/>
              <a:gd name="connsiteX2" fmla="*/ 12153091 w 12166566"/>
              <a:gd name="connsiteY2" fmla="*/ 2030312 h 2030711"/>
              <a:gd name="connsiteX3" fmla="*/ 1 w 12166566"/>
              <a:gd name="connsiteY3" fmla="*/ 1842242 h 2030711"/>
              <a:gd name="connsiteX0" fmla="*/ 1 w 12175317"/>
              <a:gd name="connsiteY0" fmla="*/ 1842242 h 2037043"/>
              <a:gd name="connsiteX1" fmla="*/ 12165985 w 12175317"/>
              <a:gd name="connsiteY1" fmla="*/ 473 h 2037043"/>
              <a:gd name="connsiteX2" fmla="*/ 12175316 w 12175317"/>
              <a:gd name="connsiteY2" fmla="*/ 2036662 h 2037043"/>
              <a:gd name="connsiteX3" fmla="*/ 1 w 12175317"/>
              <a:gd name="connsiteY3" fmla="*/ 1842242 h 2037043"/>
              <a:gd name="connsiteX0" fmla="*/ 1 w 12184842"/>
              <a:gd name="connsiteY0" fmla="*/ 1842242 h 2027545"/>
              <a:gd name="connsiteX1" fmla="*/ 12165985 w 12184842"/>
              <a:gd name="connsiteY1" fmla="*/ 473 h 2027545"/>
              <a:gd name="connsiteX2" fmla="*/ 12184841 w 12184842"/>
              <a:gd name="connsiteY2" fmla="*/ 2027137 h 2027545"/>
              <a:gd name="connsiteX3" fmla="*/ 1 w 12184842"/>
              <a:gd name="connsiteY3" fmla="*/ 1842242 h 2027545"/>
              <a:gd name="connsiteX0" fmla="*/ 1 w 12184842"/>
              <a:gd name="connsiteY0" fmla="*/ 1851765 h 2037068"/>
              <a:gd name="connsiteX1" fmla="*/ 12172335 w 12184842"/>
              <a:gd name="connsiteY1" fmla="*/ 471 h 2037068"/>
              <a:gd name="connsiteX2" fmla="*/ 12184841 w 12184842"/>
              <a:gd name="connsiteY2" fmla="*/ 2036660 h 2037068"/>
              <a:gd name="connsiteX3" fmla="*/ 1 w 12184842"/>
              <a:gd name="connsiteY3" fmla="*/ 1851765 h 2037068"/>
              <a:gd name="connsiteX0" fmla="*/ 1 w 12184842"/>
              <a:gd name="connsiteY0" fmla="*/ 1858113 h 2043416"/>
              <a:gd name="connsiteX1" fmla="*/ 12172335 w 12184842"/>
              <a:gd name="connsiteY1" fmla="*/ 469 h 2043416"/>
              <a:gd name="connsiteX2" fmla="*/ 12184841 w 12184842"/>
              <a:gd name="connsiteY2" fmla="*/ 2043008 h 2043416"/>
              <a:gd name="connsiteX3" fmla="*/ 1 w 12184842"/>
              <a:gd name="connsiteY3" fmla="*/ 1858113 h 2043416"/>
              <a:gd name="connsiteX0" fmla="*/ 1 w 12205863"/>
              <a:gd name="connsiteY0" fmla="*/ 1858113 h 1923107"/>
              <a:gd name="connsiteX1" fmla="*/ 12172335 w 12205863"/>
              <a:gd name="connsiteY1" fmla="*/ 469 h 1923107"/>
              <a:gd name="connsiteX2" fmla="*/ 12205862 w 12205863"/>
              <a:gd name="connsiteY2" fmla="*/ 1920222 h 1923107"/>
              <a:gd name="connsiteX3" fmla="*/ 1 w 12205863"/>
              <a:gd name="connsiteY3" fmla="*/ 1858113 h 1923107"/>
              <a:gd name="connsiteX0" fmla="*/ 1 w 12206057"/>
              <a:gd name="connsiteY0" fmla="*/ 1858113 h 1920221"/>
              <a:gd name="connsiteX1" fmla="*/ 12172335 w 12206057"/>
              <a:gd name="connsiteY1" fmla="*/ 469 h 1920221"/>
              <a:gd name="connsiteX2" fmla="*/ 12205862 w 12206057"/>
              <a:gd name="connsiteY2" fmla="*/ 1920222 h 1920221"/>
              <a:gd name="connsiteX3" fmla="*/ 1 w 12206057"/>
              <a:gd name="connsiteY3" fmla="*/ 1858113 h 1920221"/>
              <a:gd name="connsiteX0" fmla="*/ 1 w 12227078"/>
              <a:gd name="connsiteY0" fmla="*/ 1858113 h 1870508"/>
              <a:gd name="connsiteX1" fmla="*/ 12172335 w 12227078"/>
              <a:gd name="connsiteY1" fmla="*/ 469 h 1870508"/>
              <a:gd name="connsiteX2" fmla="*/ 12226883 w 12227078"/>
              <a:gd name="connsiteY2" fmla="*/ 1821993 h 1870508"/>
              <a:gd name="connsiteX3" fmla="*/ 1 w 12227078"/>
              <a:gd name="connsiteY3" fmla="*/ 1858113 h 1870508"/>
              <a:gd name="connsiteX0" fmla="*/ 1 w 12227078"/>
              <a:gd name="connsiteY0" fmla="*/ 1919492 h 1931888"/>
              <a:gd name="connsiteX1" fmla="*/ 12193355 w 12227078"/>
              <a:gd name="connsiteY1" fmla="*/ 454 h 1931888"/>
              <a:gd name="connsiteX2" fmla="*/ 12226883 w 12227078"/>
              <a:gd name="connsiteY2" fmla="*/ 1883372 h 1931888"/>
              <a:gd name="connsiteX3" fmla="*/ 1 w 12227078"/>
              <a:gd name="connsiteY3" fmla="*/ 1919492 h 1931888"/>
              <a:gd name="connsiteX0" fmla="*/ 1 w 12258608"/>
              <a:gd name="connsiteY0" fmla="*/ 1919492 h 1930198"/>
              <a:gd name="connsiteX1" fmla="*/ 12193355 w 12258608"/>
              <a:gd name="connsiteY1" fmla="*/ 454 h 1930198"/>
              <a:gd name="connsiteX2" fmla="*/ 12258414 w 12258608"/>
              <a:gd name="connsiteY2" fmla="*/ 1846536 h 1930198"/>
              <a:gd name="connsiteX3" fmla="*/ 1 w 12258608"/>
              <a:gd name="connsiteY3" fmla="*/ 1919492 h 1930198"/>
              <a:gd name="connsiteX0" fmla="*/ 1 w 12193819"/>
              <a:gd name="connsiteY0" fmla="*/ 1919492 h 1932582"/>
              <a:gd name="connsiteX1" fmla="*/ 12193355 w 12193819"/>
              <a:gd name="connsiteY1" fmla="*/ 454 h 1932582"/>
              <a:gd name="connsiteX2" fmla="*/ 12174331 w 12193819"/>
              <a:gd name="connsiteY2" fmla="*/ 1895651 h 1932582"/>
              <a:gd name="connsiteX3" fmla="*/ 1 w 12193819"/>
              <a:gd name="connsiteY3" fmla="*/ 1919492 h 1932582"/>
              <a:gd name="connsiteX0" fmla="*/ 1 w 12193526"/>
              <a:gd name="connsiteY0" fmla="*/ 1919492 h 1932582"/>
              <a:gd name="connsiteX1" fmla="*/ 12193355 w 12193526"/>
              <a:gd name="connsiteY1" fmla="*/ 454 h 1932582"/>
              <a:gd name="connsiteX2" fmla="*/ 12174331 w 12193526"/>
              <a:gd name="connsiteY2" fmla="*/ 1895651 h 1932582"/>
              <a:gd name="connsiteX3" fmla="*/ 1 w 12193526"/>
              <a:gd name="connsiteY3" fmla="*/ 1919492 h 1932582"/>
              <a:gd name="connsiteX0" fmla="*/ 1 w 12193526"/>
              <a:gd name="connsiteY0" fmla="*/ 1919492 h 1938518"/>
              <a:gd name="connsiteX1" fmla="*/ 12193355 w 12193526"/>
              <a:gd name="connsiteY1" fmla="*/ 454 h 1938518"/>
              <a:gd name="connsiteX2" fmla="*/ 12174331 w 12193526"/>
              <a:gd name="connsiteY2" fmla="*/ 1895651 h 1938518"/>
              <a:gd name="connsiteX3" fmla="*/ 1 w 12193526"/>
              <a:gd name="connsiteY3" fmla="*/ 1919492 h 1938518"/>
              <a:gd name="connsiteX0" fmla="*/ 1 w 12193584"/>
              <a:gd name="connsiteY0" fmla="*/ 1919492 h 1938518"/>
              <a:gd name="connsiteX1" fmla="*/ 12193355 w 12193584"/>
              <a:gd name="connsiteY1" fmla="*/ 454 h 1938518"/>
              <a:gd name="connsiteX2" fmla="*/ 12174331 w 12193584"/>
              <a:gd name="connsiteY2" fmla="*/ 1895651 h 1938518"/>
              <a:gd name="connsiteX3" fmla="*/ 1 w 12193584"/>
              <a:gd name="connsiteY3" fmla="*/ 1919492 h 1938518"/>
              <a:gd name="connsiteX0" fmla="*/ 1 w 12193468"/>
              <a:gd name="connsiteY0" fmla="*/ 1919492 h 1933905"/>
              <a:gd name="connsiteX1" fmla="*/ 12193355 w 12193468"/>
              <a:gd name="connsiteY1" fmla="*/ 454 h 1933905"/>
              <a:gd name="connsiteX2" fmla="*/ 12111269 w 12193468"/>
              <a:gd name="connsiteY2" fmla="*/ 1846537 h 1933905"/>
              <a:gd name="connsiteX3" fmla="*/ 1 w 12193468"/>
              <a:gd name="connsiteY3" fmla="*/ 1919492 h 1933905"/>
              <a:gd name="connsiteX0" fmla="*/ 1 w 12193632"/>
              <a:gd name="connsiteY0" fmla="*/ 1919492 h 1940184"/>
              <a:gd name="connsiteX1" fmla="*/ 12193355 w 12193632"/>
              <a:gd name="connsiteY1" fmla="*/ 454 h 1940184"/>
              <a:gd name="connsiteX2" fmla="*/ 12184841 w 12193632"/>
              <a:gd name="connsiteY2" fmla="*/ 1907931 h 1940184"/>
              <a:gd name="connsiteX3" fmla="*/ 1 w 12193632"/>
              <a:gd name="connsiteY3" fmla="*/ 1919492 h 1940184"/>
              <a:gd name="connsiteX0" fmla="*/ 1 w 12193376"/>
              <a:gd name="connsiteY0" fmla="*/ 1919492 h 1923285"/>
              <a:gd name="connsiteX1" fmla="*/ 12193355 w 12193376"/>
              <a:gd name="connsiteY1" fmla="*/ 454 h 1923285"/>
              <a:gd name="connsiteX2" fmla="*/ 11586288 w 12193376"/>
              <a:gd name="connsiteY2" fmla="*/ 1274881 h 1923285"/>
              <a:gd name="connsiteX3" fmla="*/ 1 w 12193376"/>
              <a:gd name="connsiteY3" fmla="*/ 1919492 h 1923285"/>
              <a:gd name="connsiteX0" fmla="*/ 1 w 12211564"/>
              <a:gd name="connsiteY0" fmla="*/ 1919492 h 1940184"/>
              <a:gd name="connsiteX1" fmla="*/ 12193355 w 12211564"/>
              <a:gd name="connsiteY1" fmla="*/ 454 h 1940184"/>
              <a:gd name="connsiteX2" fmla="*/ 12211564 w 12211564"/>
              <a:gd name="connsiteY2" fmla="*/ 1907932 h 1940184"/>
              <a:gd name="connsiteX3" fmla="*/ 1 w 12211564"/>
              <a:gd name="connsiteY3" fmla="*/ 1919492 h 1940184"/>
              <a:gd name="connsiteX0" fmla="*/ 1 w 12142089"/>
              <a:gd name="connsiteY0" fmla="*/ 1913227 h 1934891"/>
              <a:gd name="connsiteX1" fmla="*/ 12123880 w 12142089"/>
              <a:gd name="connsiteY1" fmla="*/ 456 h 1934891"/>
              <a:gd name="connsiteX2" fmla="*/ 12142089 w 12142089"/>
              <a:gd name="connsiteY2" fmla="*/ 1907934 h 1934891"/>
              <a:gd name="connsiteX3" fmla="*/ 1 w 12142089"/>
              <a:gd name="connsiteY3" fmla="*/ 1913227 h 1934891"/>
              <a:gd name="connsiteX0" fmla="*/ 2 w 12142090"/>
              <a:gd name="connsiteY0" fmla="*/ 1913227 h 1913226"/>
              <a:gd name="connsiteX1" fmla="*/ 12123881 w 12142090"/>
              <a:gd name="connsiteY1" fmla="*/ 456 h 1913226"/>
              <a:gd name="connsiteX2" fmla="*/ 12142090 w 12142090"/>
              <a:gd name="connsiteY2" fmla="*/ 1907934 h 1913226"/>
              <a:gd name="connsiteX3" fmla="*/ 2 w 12142090"/>
              <a:gd name="connsiteY3" fmla="*/ 1913227 h 1913226"/>
              <a:gd name="connsiteX0" fmla="*/ 3 w 12093993"/>
              <a:gd name="connsiteY0" fmla="*/ 1919495 h 1919495"/>
              <a:gd name="connsiteX1" fmla="*/ 12075784 w 12093993"/>
              <a:gd name="connsiteY1" fmla="*/ 455 h 1919495"/>
              <a:gd name="connsiteX2" fmla="*/ 12093993 w 12093993"/>
              <a:gd name="connsiteY2" fmla="*/ 1907933 h 1919495"/>
              <a:gd name="connsiteX3" fmla="*/ 3 w 12093993"/>
              <a:gd name="connsiteY3" fmla="*/ 1919495 h 1919495"/>
              <a:gd name="connsiteX0" fmla="*/ 3 w 12126172"/>
              <a:gd name="connsiteY0" fmla="*/ 1919495 h 1919495"/>
              <a:gd name="connsiteX1" fmla="*/ 12075784 w 12126172"/>
              <a:gd name="connsiteY1" fmla="*/ 455 h 1919495"/>
              <a:gd name="connsiteX2" fmla="*/ 12126172 w 12126172"/>
              <a:gd name="connsiteY2" fmla="*/ 1895062 h 1919495"/>
              <a:gd name="connsiteX3" fmla="*/ 3 w 12126172"/>
              <a:gd name="connsiteY3" fmla="*/ 1919495 h 1919495"/>
              <a:gd name="connsiteX0" fmla="*/ 3 w 12088629"/>
              <a:gd name="connsiteY0" fmla="*/ 1919495 h 1919495"/>
              <a:gd name="connsiteX1" fmla="*/ 12075784 w 12088629"/>
              <a:gd name="connsiteY1" fmla="*/ 455 h 1919495"/>
              <a:gd name="connsiteX2" fmla="*/ 12088629 w 12088629"/>
              <a:gd name="connsiteY2" fmla="*/ 1907935 h 1919495"/>
              <a:gd name="connsiteX3" fmla="*/ 3 w 12088629"/>
              <a:gd name="connsiteY3" fmla="*/ 1919495 h 1919495"/>
              <a:gd name="connsiteX0" fmla="*/ 3 w 12088645"/>
              <a:gd name="connsiteY0" fmla="*/ 1919495 h 1920291"/>
              <a:gd name="connsiteX1" fmla="*/ 12075784 w 12088645"/>
              <a:gd name="connsiteY1" fmla="*/ 455 h 1920291"/>
              <a:gd name="connsiteX2" fmla="*/ 12088629 w 12088645"/>
              <a:gd name="connsiteY2" fmla="*/ 1907935 h 1920291"/>
              <a:gd name="connsiteX3" fmla="*/ 3 w 12088645"/>
              <a:gd name="connsiteY3" fmla="*/ 1919495 h 1920291"/>
              <a:gd name="connsiteX0" fmla="*/ 3 w 12088645"/>
              <a:gd name="connsiteY0" fmla="*/ 1919495 h 1920290"/>
              <a:gd name="connsiteX1" fmla="*/ 12075784 w 12088645"/>
              <a:gd name="connsiteY1" fmla="*/ 455 h 1920290"/>
              <a:gd name="connsiteX2" fmla="*/ 12088629 w 12088645"/>
              <a:gd name="connsiteY2" fmla="*/ 1907935 h 1920290"/>
              <a:gd name="connsiteX3" fmla="*/ 3 w 12088645"/>
              <a:gd name="connsiteY3" fmla="*/ 1919495 h 1920290"/>
              <a:gd name="connsiteX0" fmla="*/ 3 w 12094009"/>
              <a:gd name="connsiteY0" fmla="*/ 1919495 h 1919494"/>
              <a:gd name="connsiteX1" fmla="*/ 12075784 w 12094009"/>
              <a:gd name="connsiteY1" fmla="*/ 455 h 1919494"/>
              <a:gd name="connsiteX2" fmla="*/ 12093993 w 12094009"/>
              <a:gd name="connsiteY2" fmla="*/ 1882192 h 1919494"/>
              <a:gd name="connsiteX3" fmla="*/ 3 w 12094009"/>
              <a:gd name="connsiteY3" fmla="*/ 1919495 h 1919494"/>
              <a:gd name="connsiteX0" fmla="*/ 3 w 12099372"/>
              <a:gd name="connsiteY0" fmla="*/ 1919495 h 1920290"/>
              <a:gd name="connsiteX1" fmla="*/ 12075784 w 12099372"/>
              <a:gd name="connsiteY1" fmla="*/ 455 h 1920290"/>
              <a:gd name="connsiteX2" fmla="*/ 12099356 w 12099372"/>
              <a:gd name="connsiteY2" fmla="*/ 1907935 h 1920290"/>
              <a:gd name="connsiteX3" fmla="*/ 3 w 12099372"/>
              <a:gd name="connsiteY3" fmla="*/ 1919495 h 1920290"/>
              <a:gd name="connsiteX0" fmla="*/ 3 w 12099372"/>
              <a:gd name="connsiteY0" fmla="*/ 1919495 h 1920290"/>
              <a:gd name="connsiteX1" fmla="*/ 12075784 w 12099372"/>
              <a:gd name="connsiteY1" fmla="*/ 455 h 1920290"/>
              <a:gd name="connsiteX2" fmla="*/ 12099356 w 12099372"/>
              <a:gd name="connsiteY2" fmla="*/ 1907935 h 1920290"/>
              <a:gd name="connsiteX3" fmla="*/ 3 w 12099372"/>
              <a:gd name="connsiteY3" fmla="*/ 1919495 h 1920290"/>
              <a:gd name="connsiteX0" fmla="*/ 3 w 12075784"/>
              <a:gd name="connsiteY0" fmla="*/ 1919495 h 1919494"/>
              <a:gd name="connsiteX1" fmla="*/ 12075784 w 12075784"/>
              <a:gd name="connsiteY1" fmla="*/ 455 h 1919494"/>
              <a:gd name="connsiteX2" fmla="*/ 11874101 w 12075784"/>
              <a:gd name="connsiteY2" fmla="*/ 1901500 h 1919494"/>
              <a:gd name="connsiteX3" fmla="*/ 3 w 12075784"/>
              <a:gd name="connsiteY3" fmla="*/ 1919495 h 1919494"/>
              <a:gd name="connsiteX0" fmla="*/ 3 w 12083281"/>
              <a:gd name="connsiteY0" fmla="*/ 1919495 h 1920290"/>
              <a:gd name="connsiteX1" fmla="*/ 12075784 w 12083281"/>
              <a:gd name="connsiteY1" fmla="*/ 455 h 1920290"/>
              <a:gd name="connsiteX2" fmla="*/ 12083265 w 12083281"/>
              <a:gd name="connsiteY2" fmla="*/ 1907937 h 1920290"/>
              <a:gd name="connsiteX3" fmla="*/ 3 w 12083281"/>
              <a:gd name="connsiteY3" fmla="*/ 1919495 h 1920290"/>
              <a:gd name="connsiteX0" fmla="*/ 3 w 12083281"/>
              <a:gd name="connsiteY0" fmla="*/ 1919495 h 1920290"/>
              <a:gd name="connsiteX1" fmla="*/ 12075784 w 12083281"/>
              <a:gd name="connsiteY1" fmla="*/ 455 h 1920290"/>
              <a:gd name="connsiteX2" fmla="*/ 12083265 w 12083281"/>
              <a:gd name="connsiteY2" fmla="*/ 1907937 h 1920290"/>
              <a:gd name="connsiteX3" fmla="*/ 3 w 12083281"/>
              <a:gd name="connsiteY3" fmla="*/ 1919495 h 1920290"/>
              <a:gd name="connsiteX0" fmla="*/ 3 w 12083281"/>
              <a:gd name="connsiteY0" fmla="*/ 1911291 h 1912086"/>
              <a:gd name="connsiteX1" fmla="*/ 12075784 w 12083281"/>
              <a:gd name="connsiteY1" fmla="*/ 457 h 1912086"/>
              <a:gd name="connsiteX2" fmla="*/ 12083265 w 12083281"/>
              <a:gd name="connsiteY2" fmla="*/ 1899733 h 1912086"/>
              <a:gd name="connsiteX3" fmla="*/ 3 w 12083281"/>
              <a:gd name="connsiteY3" fmla="*/ 1911291 h 1912086"/>
            </a:gdLst>
            <a:ahLst/>
            <a:cxnLst>
              <a:cxn ang="0">
                <a:pos x="connsiteX0" y="connsiteY0"/>
              </a:cxn>
              <a:cxn ang="0">
                <a:pos x="connsiteX1" y="connsiteY1"/>
              </a:cxn>
              <a:cxn ang="0">
                <a:pos x="connsiteX2" y="connsiteY2"/>
              </a:cxn>
              <a:cxn ang="0">
                <a:pos x="connsiteX3" y="connsiteY3"/>
              </a:cxn>
            </a:cxnLst>
            <a:rect l="l" t="t" r="r" b="b"/>
            <a:pathLst>
              <a:path w="12083281" h="1912086">
                <a:moveTo>
                  <a:pt x="3" y="1911291"/>
                </a:moveTo>
                <a:cubicBezTo>
                  <a:pt x="-21" y="1906968"/>
                  <a:pt x="12056353" y="-34130"/>
                  <a:pt x="12075784" y="457"/>
                </a:cubicBezTo>
                <a:cubicBezTo>
                  <a:pt x="12064042" y="35635"/>
                  <a:pt x="12074201" y="1918487"/>
                  <a:pt x="12083265" y="1899733"/>
                </a:cubicBezTo>
                <a:cubicBezTo>
                  <a:pt x="12099828" y="1916595"/>
                  <a:pt x="-6259" y="1911302"/>
                  <a:pt x="3" y="1911291"/>
                </a:cubicBezTo>
                <a:close/>
              </a:path>
            </a:pathLst>
          </a:custGeom>
          <a:solidFill>
            <a:srgbClr val="919EA8"/>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sp>
        <p:nvSpPr>
          <p:cNvPr id="41" name="Title 1">
            <a:extLst>
              <a:ext uri="{FF2B5EF4-FFF2-40B4-BE49-F238E27FC236}">
                <a16:creationId xmlns:a16="http://schemas.microsoft.com/office/drawing/2014/main" id="{60466C34-DD70-7342-899B-03985C4FB462}"/>
              </a:ext>
            </a:extLst>
          </p:cNvPr>
          <p:cNvSpPr>
            <a:spLocks noGrp="1"/>
          </p:cNvSpPr>
          <p:nvPr>
            <p:ph type="title"/>
          </p:nvPr>
        </p:nvSpPr>
        <p:spPr>
          <a:xfrm>
            <a:off x="687295" y="3046413"/>
            <a:ext cx="8229600" cy="1143000"/>
          </a:xfrm>
        </p:spPr>
        <p:txBody>
          <a:bodyPr>
            <a:normAutofit/>
          </a:bodyPr>
          <a:lstStyle>
            <a:lvl1pPr>
              <a:defRPr b="1"/>
            </a:lvl1pPr>
          </a:lstStyle>
          <a:p>
            <a:r>
              <a:rPr lang="en-US">
                <a:solidFill>
                  <a:srgbClr val="768692"/>
                </a:solidFill>
              </a:rPr>
              <a:t>Economy/Macro Backdrop</a:t>
            </a:r>
          </a:p>
        </p:txBody>
      </p:sp>
      <p:cxnSp>
        <p:nvCxnSpPr>
          <p:cNvPr id="42" name="Straight Connector 41">
            <a:extLst>
              <a:ext uri="{FF2B5EF4-FFF2-40B4-BE49-F238E27FC236}">
                <a16:creationId xmlns:a16="http://schemas.microsoft.com/office/drawing/2014/main" id="{E033CB19-BC28-F347-B528-C302BDFD551F}"/>
              </a:ext>
            </a:extLst>
          </p:cNvPr>
          <p:cNvCxnSpPr>
            <a:cxnSpLocks/>
          </p:cNvCxnSpPr>
          <p:nvPr userDrawn="1"/>
        </p:nvCxnSpPr>
        <p:spPr bwMode="auto">
          <a:xfrm flipV="1">
            <a:off x="4192367" y="5486401"/>
            <a:ext cx="4951633" cy="1371599"/>
          </a:xfrm>
          <a:prstGeom prst="line">
            <a:avLst/>
          </a:prstGeom>
          <a:solidFill>
            <a:schemeClr val="hlink"/>
          </a:solidFill>
          <a:ln w="12700" cap="flat" cmpd="sng" algn="ctr">
            <a:solidFill>
              <a:schemeClr val="bg1">
                <a:lumMod val="85000"/>
              </a:schemeClr>
            </a:solidFill>
            <a:prstDash val="solid"/>
            <a:round/>
            <a:headEnd type="none" w="med" len="med"/>
            <a:tailEnd type="none" w="med" len="med"/>
          </a:ln>
          <a:effectLst/>
        </p:spPr>
      </p:cxnSp>
      <p:sp>
        <p:nvSpPr>
          <p:cNvPr id="43" name="Triangle 40">
            <a:extLst>
              <a:ext uri="{FF2B5EF4-FFF2-40B4-BE49-F238E27FC236}">
                <a16:creationId xmlns:a16="http://schemas.microsoft.com/office/drawing/2014/main" id="{09211CB5-1C87-0848-B20C-FBE2C017C9B6}"/>
              </a:ext>
            </a:extLst>
          </p:cNvPr>
          <p:cNvSpPr/>
          <p:nvPr userDrawn="1"/>
        </p:nvSpPr>
        <p:spPr bwMode="auto">
          <a:xfrm rot="8472601" flipH="1" flipV="1">
            <a:off x="6172249" y="4956023"/>
            <a:ext cx="3771331" cy="1230334"/>
          </a:xfrm>
          <a:custGeom>
            <a:avLst/>
            <a:gdLst>
              <a:gd name="connsiteX0" fmla="*/ 0 w 12192000"/>
              <a:gd name="connsiteY0" fmla="*/ 2036323 h 2036323"/>
              <a:gd name="connsiteX1" fmla="*/ 12178955 w 12192000"/>
              <a:gd name="connsiteY1" fmla="*/ 0 h 2036323"/>
              <a:gd name="connsiteX2" fmla="*/ 12192000 w 12192000"/>
              <a:gd name="connsiteY2" fmla="*/ 2036323 h 2036323"/>
              <a:gd name="connsiteX3" fmla="*/ 0 w 12192000"/>
              <a:gd name="connsiteY3" fmla="*/ 2036323 h 2036323"/>
              <a:gd name="connsiteX0" fmla="*/ 0 w 12204970"/>
              <a:gd name="connsiteY0" fmla="*/ 1880680 h 2036323"/>
              <a:gd name="connsiteX1" fmla="*/ 12191925 w 12204970"/>
              <a:gd name="connsiteY1" fmla="*/ 0 h 2036323"/>
              <a:gd name="connsiteX2" fmla="*/ 12204970 w 12204970"/>
              <a:gd name="connsiteY2" fmla="*/ 2036323 h 2036323"/>
              <a:gd name="connsiteX3" fmla="*/ 0 w 12204970"/>
              <a:gd name="connsiteY3" fmla="*/ 1880680 h 2036323"/>
              <a:gd name="connsiteX0" fmla="*/ 0 w 12192096"/>
              <a:gd name="connsiteY0" fmla="*/ 1880680 h 1906621"/>
              <a:gd name="connsiteX1" fmla="*/ 12191925 w 12192096"/>
              <a:gd name="connsiteY1" fmla="*/ 0 h 1906621"/>
              <a:gd name="connsiteX2" fmla="*/ 12120664 w 12192096"/>
              <a:gd name="connsiteY2" fmla="*/ 1906621 h 1906621"/>
              <a:gd name="connsiteX3" fmla="*/ 0 w 12192096"/>
              <a:gd name="connsiteY3" fmla="*/ 1880680 h 1906621"/>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9673"/>
              <a:gd name="connsiteY0" fmla="*/ 1867710 h 2049294"/>
              <a:gd name="connsiteX1" fmla="*/ 12198410 w 12199673"/>
              <a:gd name="connsiteY1" fmla="*/ 0 h 2049294"/>
              <a:gd name="connsiteX2" fmla="*/ 12198485 w 12199673"/>
              <a:gd name="connsiteY2" fmla="*/ 2049294 h 2049294"/>
              <a:gd name="connsiteX3" fmla="*/ 0 w 12199673"/>
              <a:gd name="connsiteY3" fmla="*/ 1867710 h 2049294"/>
              <a:gd name="connsiteX0" fmla="*/ 0 w 12199673"/>
              <a:gd name="connsiteY0" fmla="*/ 1867710 h 2329173"/>
              <a:gd name="connsiteX1" fmla="*/ 12198410 w 12199673"/>
              <a:gd name="connsiteY1" fmla="*/ 0 h 2329173"/>
              <a:gd name="connsiteX2" fmla="*/ 12198485 w 12199673"/>
              <a:gd name="connsiteY2" fmla="*/ 2049294 h 2329173"/>
              <a:gd name="connsiteX3" fmla="*/ 0 w 12199673"/>
              <a:gd name="connsiteY3" fmla="*/ 1867710 h 2329173"/>
              <a:gd name="connsiteX0" fmla="*/ 0 w 12199673"/>
              <a:gd name="connsiteY0" fmla="*/ 1867710 h 2049294"/>
              <a:gd name="connsiteX1" fmla="*/ 12198410 w 12199673"/>
              <a:gd name="connsiteY1" fmla="*/ 0 h 2049294"/>
              <a:gd name="connsiteX2" fmla="*/ 12198485 w 12199673"/>
              <a:gd name="connsiteY2" fmla="*/ 2049294 h 2049294"/>
              <a:gd name="connsiteX3" fmla="*/ 0 w 12199673"/>
              <a:gd name="connsiteY3" fmla="*/ 1867710 h 2049294"/>
              <a:gd name="connsiteX0" fmla="*/ 1 w 12167248"/>
              <a:gd name="connsiteY0" fmla="*/ 1861225 h 2049294"/>
              <a:gd name="connsiteX1" fmla="*/ 12165985 w 12167248"/>
              <a:gd name="connsiteY1" fmla="*/ 0 h 2049294"/>
              <a:gd name="connsiteX2" fmla="*/ 12166060 w 12167248"/>
              <a:gd name="connsiteY2" fmla="*/ 2049294 h 2049294"/>
              <a:gd name="connsiteX3" fmla="*/ 1 w 12167248"/>
              <a:gd name="connsiteY3" fmla="*/ 1861225 h 2049294"/>
              <a:gd name="connsiteX0" fmla="*/ 1 w 12167248"/>
              <a:gd name="connsiteY0" fmla="*/ 1841769 h 2029838"/>
              <a:gd name="connsiteX1" fmla="*/ 12165985 w 12167248"/>
              <a:gd name="connsiteY1" fmla="*/ 0 h 2029838"/>
              <a:gd name="connsiteX2" fmla="*/ 12166060 w 12167248"/>
              <a:gd name="connsiteY2" fmla="*/ 2029838 h 2029838"/>
              <a:gd name="connsiteX3" fmla="*/ 1 w 12167248"/>
              <a:gd name="connsiteY3" fmla="*/ 1841769 h 2029838"/>
              <a:gd name="connsiteX0" fmla="*/ 1 w 12167248"/>
              <a:gd name="connsiteY0" fmla="*/ 1842242 h 2030311"/>
              <a:gd name="connsiteX1" fmla="*/ 12165985 w 12167248"/>
              <a:gd name="connsiteY1" fmla="*/ 473 h 2030311"/>
              <a:gd name="connsiteX2" fmla="*/ 12166060 w 12167248"/>
              <a:gd name="connsiteY2" fmla="*/ 2030311 h 2030311"/>
              <a:gd name="connsiteX3" fmla="*/ 1 w 12167248"/>
              <a:gd name="connsiteY3" fmla="*/ 1842242 h 2030311"/>
              <a:gd name="connsiteX0" fmla="*/ 1 w 12167248"/>
              <a:gd name="connsiteY0" fmla="*/ 1842242 h 2030710"/>
              <a:gd name="connsiteX1" fmla="*/ 12165985 w 12167248"/>
              <a:gd name="connsiteY1" fmla="*/ 473 h 2030710"/>
              <a:gd name="connsiteX2" fmla="*/ 12166060 w 12167248"/>
              <a:gd name="connsiteY2" fmla="*/ 2030311 h 2030710"/>
              <a:gd name="connsiteX3" fmla="*/ 1 w 12167248"/>
              <a:gd name="connsiteY3" fmla="*/ 1842242 h 2030710"/>
              <a:gd name="connsiteX0" fmla="*/ 1 w 12167248"/>
              <a:gd name="connsiteY0" fmla="*/ 1842242 h 2030710"/>
              <a:gd name="connsiteX1" fmla="*/ 12165985 w 12167248"/>
              <a:gd name="connsiteY1" fmla="*/ 473 h 2030710"/>
              <a:gd name="connsiteX2" fmla="*/ 12166060 w 12167248"/>
              <a:gd name="connsiteY2" fmla="*/ 2030311 h 2030710"/>
              <a:gd name="connsiteX3" fmla="*/ 1 w 12167248"/>
              <a:gd name="connsiteY3" fmla="*/ 1842242 h 2030710"/>
              <a:gd name="connsiteX0" fmla="*/ 1 w 12166780"/>
              <a:gd name="connsiteY0" fmla="*/ 1842242 h 2043646"/>
              <a:gd name="connsiteX1" fmla="*/ 12165985 w 12166780"/>
              <a:gd name="connsiteY1" fmla="*/ 473 h 2043646"/>
              <a:gd name="connsiteX2" fmla="*/ 12159575 w 12166780"/>
              <a:gd name="connsiteY2" fmla="*/ 2043281 h 2043646"/>
              <a:gd name="connsiteX3" fmla="*/ 1 w 12166780"/>
              <a:gd name="connsiteY3" fmla="*/ 1842242 h 2043646"/>
              <a:gd name="connsiteX0" fmla="*/ 1 w 12166780"/>
              <a:gd name="connsiteY0" fmla="*/ 1842242 h 2024244"/>
              <a:gd name="connsiteX1" fmla="*/ 12165985 w 12166780"/>
              <a:gd name="connsiteY1" fmla="*/ 473 h 2024244"/>
              <a:gd name="connsiteX2" fmla="*/ 12159575 w 12166780"/>
              <a:gd name="connsiteY2" fmla="*/ 2023826 h 2024244"/>
              <a:gd name="connsiteX3" fmla="*/ 1 w 12166780"/>
              <a:gd name="connsiteY3" fmla="*/ 1842242 h 2024244"/>
              <a:gd name="connsiteX0" fmla="*/ 1 w 12179031"/>
              <a:gd name="connsiteY0" fmla="*/ 1842242 h 2037177"/>
              <a:gd name="connsiteX1" fmla="*/ 12165985 w 12179031"/>
              <a:gd name="connsiteY1" fmla="*/ 473 h 2037177"/>
              <a:gd name="connsiteX2" fmla="*/ 12179030 w 12179031"/>
              <a:gd name="connsiteY2" fmla="*/ 2036796 h 2037177"/>
              <a:gd name="connsiteX3" fmla="*/ 1 w 12179031"/>
              <a:gd name="connsiteY3" fmla="*/ 1842242 h 2037177"/>
              <a:gd name="connsiteX0" fmla="*/ 1 w 12167248"/>
              <a:gd name="connsiteY0" fmla="*/ 1842242 h 2056588"/>
              <a:gd name="connsiteX1" fmla="*/ 12165985 w 12167248"/>
              <a:gd name="connsiteY1" fmla="*/ 473 h 2056588"/>
              <a:gd name="connsiteX2" fmla="*/ 12166060 w 12167248"/>
              <a:gd name="connsiteY2" fmla="*/ 2056251 h 2056588"/>
              <a:gd name="connsiteX3" fmla="*/ 1 w 12167248"/>
              <a:gd name="connsiteY3" fmla="*/ 1842242 h 2056588"/>
              <a:gd name="connsiteX0" fmla="*/ 1 w 12192002"/>
              <a:gd name="connsiteY0" fmla="*/ 1842242 h 2024244"/>
              <a:gd name="connsiteX1" fmla="*/ 12165985 w 12192002"/>
              <a:gd name="connsiteY1" fmla="*/ 473 h 2024244"/>
              <a:gd name="connsiteX2" fmla="*/ 12192001 w 12192002"/>
              <a:gd name="connsiteY2" fmla="*/ 2023826 h 2024244"/>
              <a:gd name="connsiteX3" fmla="*/ 1 w 12192002"/>
              <a:gd name="connsiteY3" fmla="*/ 1842242 h 2024244"/>
              <a:gd name="connsiteX0" fmla="*/ 1 w 12167248"/>
              <a:gd name="connsiteY0" fmla="*/ 1842242 h 2050117"/>
              <a:gd name="connsiteX1" fmla="*/ 12165985 w 12167248"/>
              <a:gd name="connsiteY1" fmla="*/ 473 h 2050117"/>
              <a:gd name="connsiteX2" fmla="*/ 12166061 w 12167248"/>
              <a:gd name="connsiteY2" fmla="*/ 2049767 h 2050117"/>
              <a:gd name="connsiteX3" fmla="*/ 1 w 12167248"/>
              <a:gd name="connsiteY3" fmla="*/ 1842242 h 2050117"/>
              <a:gd name="connsiteX0" fmla="*/ 1 w 12166780"/>
              <a:gd name="connsiteY0" fmla="*/ 1842242 h 2024245"/>
              <a:gd name="connsiteX1" fmla="*/ 12165985 w 12166780"/>
              <a:gd name="connsiteY1" fmla="*/ 473 h 2024245"/>
              <a:gd name="connsiteX2" fmla="*/ 12159576 w 12166780"/>
              <a:gd name="connsiteY2" fmla="*/ 2023827 h 2024245"/>
              <a:gd name="connsiteX3" fmla="*/ 1 w 12166780"/>
              <a:gd name="connsiteY3" fmla="*/ 1842242 h 2024245"/>
              <a:gd name="connsiteX0" fmla="*/ 1 w 12172548"/>
              <a:gd name="connsiteY0" fmla="*/ 1842242 h 2043647"/>
              <a:gd name="connsiteX1" fmla="*/ 12165985 w 12172548"/>
              <a:gd name="connsiteY1" fmla="*/ 473 h 2043647"/>
              <a:gd name="connsiteX2" fmla="*/ 12172547 w 12172548"/>
              <a:gd name="connsiteY2" fmla="*/ 2043282 h 2043647"/>
              <a:gd name="connsiteX3" fmla="*/ 1 w 12172548"/>
              <a:gd name="connsiteY3" fmla="*/ 1842242 h 2043647"/>
              <a:gd name="connsiteX0" fmla="*/ 1 w 12166566"/>
              <a:gd name="connsiteY0" fmla="*/ 1842242 h 2030711"/>
              <a:gd name="connsiteX1" fmla="*/ 12165985 w 12166566"/>
              <a:gd name="connsiteY1" fmla="*/ 473 h 2030711"/>
              <a:gd name="connsiteX2" fmla="*/ 12153091 w 12166566"/>
              <a:gd name="connsiteY2" fmla="*/ 2030312 h 2030711"/>
              <a:gd name="connsiteX3" fmla="*/ 1 w 12166566"/>
              <a:gd name="connsiteY3" fmla="*/ 1842242 h 2030711"/>
              <a:gd name="connsiteX0" fmla="*/ 1 w 12175317"/>
              <a:gd name="connsiteY0" fmla="*/ 1842242 h 2037043"/>
              <a:gd name="connsiteX1" fmla="*/ 12165985 w 12175317"/>
              <a:gd name="connsiteY1" fmla="*/ 473 h 2037043"/>
              <a:gd name="connsiteX2" fmla="*/ 12175316 w 12175317"/>
              <a:gd name="connsiteY2" fmla="*/ 2036662 h 2037043"/>
              <a:gd name="connsiteX3" fmla="*/ 1 w 12175317"/>
              <a:gd name="connsiteY3" fmla="*/ 1842242 h 2037043"/>
              <a:gd name="connsiteX0" fmla="*/ 1 w 12184842"/>
              <a:gd name="connsiteY0" fmla="*/ 1842242 h 2027545"/>
              <a:gd name="connsiteX1" fmla="*/ 12165985 w 12184842"/>
              <a:gd name="connsiteY1" fmla="*/ 473 h 2027545"/>
              <a:gd name="connsiteX2" fmla="*/ 12184841 w 12184842"/>
              <a:gd name="connsiteY2" fmla="*/ 2027137 h 2027545"/>
              <a:gd name="connsiteX3" fmla="*/ 1 w 12184842"/>
              <a:gd name="connsiteY3" fmla="*/ 1842242 h 2027545"/>
              <a:gd name="connsiteX0" fmla="*/ 1 w 12184842"/>
              <a:gd name="connsiteY0" fmla="*/ 1851765 h 2037068"/>
              <a:gd name="connsiteX1" fmla="*/ 12172335 w 12184842"/>
              <a:gd name="connsiteY1" fmla="*/ 471 h 2037068"/>
              <a:gd name="connsiteX2" fmla="*/ 12184841 w 12184842"/>
              <a:gd name="connsiteY2" fmla="*/ 2036660 h 2037068"/>
              <a:gd name="connsiteX3" fmla="*/ 1 w 12184842"/>
              <a:gd name="connsiteY3" fmla="*/ 1851765 h 2037068"/>
              <a:gd name="connsiteX0" fmla="*/ 1 w 12184842"/>
              <a:gd name="connsiteY0" fmla="*/ 1858113 h 2043416"/>
              <a:gd name="connsiteX1" fmla="*/ 12172335 w 12184842"/>
              <a:gd name="connsiteY1" fmla="*/ 469 h 2043416"/>
              <a:gd name="connsiteX2" fmla="*/ 12184841 w 12184842"/>
              <a:gd name="connsiteY2" fmla="*/ 2043008 h 2043416"/>
              <a:gd name="connsiteX3" fmla="*/ 1 w 12184842"/>
              <a:gd name="connsiteY3" fmla="*/ 1858113 h 2043416"/>
              <a:gd name="connsiteX0" fmla="*/ 1 w 12205863"/>
              <a:gd name="connsiteY0" fmla="*/ 1858113 h 1923107"/>
              <a:gd name="connsiteX1" fmla="*/ 12172335 w 12205863"/>
              <a:gd name="connsiteY1" fmla="*/ 469 h 1923107"/>
              <a:gd name="connsiteX2" fmla="*/ 12205862 w 12205863"/>
              <a:gd name="connsiteY2" fmla="*/ 1920222 h 1923107"/>
              <a:gd name="connsiteX3" fmla="*/ 1 w 12205863"/>
              <a:gd name="connsiteY3" fmla="*/ 1858113 h 1923107"/>
              <a:gd name="connsiteX0" fmla="*/ 1 w 12206057"/>
              <a:gd name="connsiteY0" fmla="*/ 1858113 h 1920221"/>
              <a:gd name="connsiteX1" fmla="*/ 12172335 w 12206057"/>
              <a:gd name="connsiteY1" fmla="*/ 469 h 1920221"/>
              <a:gd name="connsiteX2" fmla="*/ 12205862 w 12206057"/>
              <a:gd name="connsiteY2" fmla="*/ 1920222 h 1920221"/>
              <a:gd name="connsiteX3" fmla="*/ 1 w 12206057"/>
              <a:gd name="connsiteY3" fmla="*/ 1858113 h 1920221"/>
              <a:gd name="connsiteX0" fmla="*/ 1 w 12227078"/>
              <a:gd name="connsiteY0" fmla="*/ 1858113 h 1870508"/>
              <a:gd name="connsiteX1" fmla="*/ 12172335 w 12227078"/>
              <a:gd name="connsiteY1" fmla="*/ 469 h 1870508"/>
              <a:gd name="connsiteX2" fmla="*/ 12226883 w 12227078"/>
              <a:gd name="connsiteY2" fmla="*/ 1821993 h 1870508"/>
              <a:gd name="connsiteX3" fmla="*/ 1 w 12227078"/>
              <a:gd name="connsiteY3" fmla="*/ 1858113 h 1870508"/>
              <a:gd name="connsiteX0" fmla="*/ 1 w 12227078"/>
              <a:gd name="connsiteY0" fmla="*/ 1919492 h 1931888"/>
              <a:gd name="connsiteX1" fmla="*/ 12193355 w 12227078"/>
              <a:gd name="connsiteY1" fmla="*/ 454 h 1931888"/>
              <a:gd name="connsiteX2" fmla="*/ 12226883 w 12227078"/>
              <a:gd name="connsiteY2" fmla="*/ 1883372 h 1931888"/>
              <a:gd name="connsiteX3" fmla="*/ 1 w 12227078"/>
              <a:gd name="connsiteY3" fmla="*/ 1919492 h 1931888"/>
              <a:gd name="connsiteX0" fmla="*/ 1 w 12258608"/>
              <a:gd name="connsiteY0" fmla="*/ 1919492 h 1930198"/>
              <a:gd name="connsiteX1" fmla="*/ 12193355 w 12258608"/>
              <a:gd name="connsiteY1" fmla="*/ 454 h 1930198"/>
              <a:gd name="connsiteX2" fmla="*/ 12258414 w 12258608"/>
              <a:gd name="connsiteY2" fmla="*/ 1846536 h 1930198"/>
              <a:gd name="connsiteX3" fmla="*/ 1 w 12258608"/>
              <a:gd name="connsiteY3" fmla="*/ 1919492 h 1930198"/>
              <a:gd name="connsiteX0" fmla="*/ 1 w 12193819"/>
              <a:gd name="connsiteY0" fmla="*/ 1919492 h 1932582"/>
              <a:gd name="connsiteX1" fmla="*/ 12193355 w 12193819"/>
              <a:gd name="connsiteY1" fmla="*/ 454 h 1932582"/>
              <a:gd name="connsiteX2" fmla="*/ 12174331 w 12193819"/>
              <a:gd name="connsiteY2" fmla="*/ 1895651 h 1932582"/>
              <a:gd name="connsiteX3" fmla="*/ 1 w 12193819"/>
              <a:gd name="connsiteY3" fmla="*/ 1919492 h 1932582"/>
              <a:gd name="connsiteX0" fmla="*/ 1 w 12193526"/>
              <a:gd name="connsiteY0" fmla="*/ 1919492 h 1932582"/>
              <a:gd name="connsiteX1" fmla="*/ 12193355 w 12193526"/>
              <a:gd name="connsiteY1" fmla="*/ 454 h 1932582"/>
              <a:gd name="connsiteX2" fmla="*/ 12174331 w 12193526"/>
              <a:gd name="connsiteY2" fmla="*/ 1895651 h 1932582"/>
              <a:gd name="connsiteX3" fmla="*/ 1 w 12193526"/>
              <a:gd name="connsiteY3" fmla="*/ 1919492 h 1932582"/>
              <a:gd name="connsiteX0" fmla="*/ 1 w 12193526"/>
              <a:gd name="connsiteY0" fmla="*/ 1919492 h 1938518"/>
              <a:gd name="connsiteX1" fmla="*/ 12193355 w 12193526"/>
              <a:gd name="connsiteY1" fmla="*/ 454 h 1938518"/>
              <a:gd name="connsiteX2" fmla="*/ 12174331 w 12193526"/>
              <a:gd name="connsiteY2" fmla="*/ 1895651 h 1938518"/>
              <a:gd name="connsiteX3" fmla="*/ 1 w 12193526"/>
              <a:gd name="connsiteY3" fmla="*/ 1919492 h 1938518"/>
              <a:gd name="connsiteX0" fmla="*/ 1 w 12193584"/>
              <a:gd name="connsiteY0" fmla="*/ 1919492 h 1938518"/>
              <a:gd name="connsiteX1" fmla="*/ 12193355 w 12193584"/>
              <a:gd name="connsiteY1" fmla="*/ 454 h 1938518"/>
              <a:gd name="connsiteX2" fmla="*/ 12174331 w 12193584"/>
              <a:gd name="connsiteY2" fmla="*/ 1895651 h 1938518"/>
              <a:gd name="connsiteX3" fmla="*/ 1 w 12193584"/>
              <a:gd name="connsiteY3" fmla="*/ 1919492 h 1938518"/>
              <a:gd name="connsiteX0" fmla="*/ 1 w 12193468"/>
              <a:gd name="connsiteY0" fmla="*/ 1919492 h 1933905"/>
              <a:gd name="connsiteX1" fmla="*/ 12193355 w 12193468"/>
              <a:gd name="connsiteY1" fmla="*/ 454 h 1933905"/>
              <a:gd name="connsiteX2" fmla="*/ 12111269 w 12193468"/>
              <a:gd name="connsiteY2" fmla="*/ 1846537 h 1933905"/>
              <a:gd name="connsiteX3" fmla="*/ 1 w 12193468"/>
              <a:gd name="connsiteY3" fmla="*/ 1919492 h 1933905"/>
              <a:gd name="connsiteX0" fmla="*/ 1 w 12193632"/>
              <a:gd name="connsiteY0" fmla="*/ 1919492 h 1940184"/>
              <a:gd name="connsiteX1" fmla="*/ 12193355 w 12193632"/>
              <a:gd name="connsiteY1" fmla="*/ 454 h 1940184"/>
              <a:gd name="connsiteX2" fmla="*/ 12184841 w 12193632"/>
              <a:gd name="connsiteY2" fmla="*/ 1907931 h 1940184"/>
              <a:gd name="connsiteX3" fmla="*/ 1 w 12193632"/>
              <a:gd name="connsiteY3" fmla="*/ 1919492 h 1940184"/>
              <a:gd name="connsiteX0" fmla="*/ 1 w 12193376"/>
              <a:gd name="connsiteY0" fmla="*/ 1919492 h 1923285"/>
              <a:gd name="connsiteX1" fmla="*/ 12193355 w 12193376"/>
              <a:gd name="connsiteY1" fmla="*/ 454 h 1923285"/>
              <a:gd name="connsiteX2" fmla="*/ 11586288 w 12193376"/>
              <a:gd name="connsiteY2" fmla="*/ 1274881 h 1923285"/>
              <a:gd name="connsiteX3" fmla="*/ 1 w 12193376"/>
              <a:gd name="connsiteY3" fmla="*/ 1919492 h 1923285"/>
              <a:gd name="connsiteX0" fmla="*/ 1 w 12211564"/>
              <a:gd name="connsiteY0" fmla="*/ 1919492 h 1940184"/>
              <a:gd name="connsiteX1" fmla="*/ 12193355 w 12211564"/>
              <a:gd name="connsiteY1" fmla="*/ 454 h 1940184"/>
              <a:gd name="connsiteX2" fmla="*/ 12211564 w 12211564"/>
              <a:gd name="connsiteY2" fmla="*/ 1907932 h 1940184"/>
              <a:gd name="connsiteX3" fmla="*/ 1 w 12211564"/>
              <a:gd name="connsiteY3" fmla="*/ 1919492 h 1940184"/>
              <a:gd name="connsiteX0" fmla="*/ 1 w 12142089"/>
              <a:gd name="connsiteY0" fmla="*/ 1913227 h 1934891"/>
              <a:gd name="connsiteX1" fmla="*/ 12123880 w 12142089"/>
              <a:gd name="connsiteY1" fmla="*/ 456 h 1934891"/>
              <a:gd name="connsiteX2" fmla="*/ 12142089 w 12142089"/>
              <a:gd name="connsiteY2" fmla="*/ 1907934 h 1934891"/>
              <a:gd name="connsiteX3" fmla="*/ 1 w 12142089"/>
              <a:gd name="connsiteY3" fmla="*/ 1913227 h 1934891"/>
              <a:gd name="connsiteX0" fmla="*/ 2 w 12142090"/>
              <a:gd name="connsiteY0" fmla="*/ 1913227 h 1913226"/>
              <a:gd name="connsiteX1" fmla="*/ 12123881 w 12142090"/>
              <a:gd name="connsiteY1" fmla="*/ 456 h 1913226"/>
              <a:gd name="connsiteX2" fmla="*/ 12142090 w 12142090"/>
              <a:gd name="connsiteY2" fmla="*/ 1907934 h 1913226"/>
              <a:gd name="connsiteX3" fmla="*/ 2 w 12142090"/>
              <a:gd name="connsiteY3" fmla="*/ 1913227 h 1913226"/>
              <a:gd name="connsiteX0" fmla="*/ 3 w 12093993"/>
              <a:gd name="connsiteY0" fmla="*/ 1919495 h 1919495"/>
              <a:gd name="connsiteX1" fmla="*/ 12075784 w 12093993"/>
              <a:gd name="connsiteY1" fmla="*/ 455 h 1919495"/>
              <a:gd name="connsiteX2" fmla="*/ 12093993 w 12093993"/>
              <a:gd name="connsiteY2" fmla="*/ 1907933 h 1919495"/>
              <a:gd name="connsiteX3" fmla="*/ 3 w 12093993"/>
              <a:gd name="connsiteY3" fmla="*/ 1919495 h 1919495"/>
              <a:gd name="connsiteX0" fmla="*/ 3 w 12126172"/>
              <a:gd name="connsiteY0" fmla="*/ 1919495 h 1919495"/>
              <a:gd name="connsiteX1" fmla="*/ 12075784 w 12126172"/>
              <a:gd name="connsiteY1" fmla="*/ 455 h 1919495"/>
              <a:gd name="connsiteX2" fmla="*/ 12126172 w 12126172"/>
              <a:gd name="connsiteY2" fmla="*/ 1895062 h 1919495"/>
              <a:gd name="connsiteX3" fmla="*/ 3 w 12126172"/>
              <a:gd name="connsiteY3" fmla="*/ 1919495 h 1919495"/>
              <a:gd name="connsiteX0" fmla="*/ 3 w 12088629"/>
              <a:gd name="connsiteY0" fmla="*/ 1919495 h 1919495"/>
              <a:gd name="connsiteX1" fmla="*/ 12075784 w 12088629"/>
              <a:gd name="connsiteY1" fmla="*/ 455 h 1919495"/>
              <a:gd name="connsiteX2" fmla="*/ 12088629 w 12088629"/>
              <a:gd name="connsiteY2" fmla="*/ 1907935 h 1919495"/>
              <a:gd name="connsiteX3" fmla="*/ 3 w 12088629"/>
              <a:gd name="connsiteY3" fmla="*/ 1919495 h 1919495"/>
              <a:gd name="connsiteX0" fmla="*/ 3 w 12088645"/>
              <a:gd name="connsiteY0" fmla="*/ 1919495 h 1920291"/>
              <a:gd name="connsiteX1" fmla="*/ 12075784 w 12088645"/>
              <a:gd name="connsiteY1" fmla="*/ 455 h 1920291"/>
              <a:gd name="connsiteX2" fmla="*/ 12088629 w 12088645"/>
              <a:gd name="connsiteY2" fmla="*/ 1907935 h 1920291"/>
              <a:gd name="connsiteX3" fmla="*/ 3 w 12088645"/>
              <a:gd name="connsiteY3" fmla="*/ 1919495 h 1920291"/>
              <a:gd name="connsiteX0" fmla="*/ 3 w 12088645"/>
              <a:gd name="connsiteY0" fmla="*/ 1919495 h 1920290"/>
              <a:gd name="connsiteX1" fmla="*/ 12075784 w 12088645"/>
              <a:gd name="connsiteY1" fmla="*/ 455 h 1920290"/>
              <a:gd name="connsiteX2" fmla="*/ 12088629 w 12088645"/>
              <a:gd name="connsiteY2" fmla="*/ 1907935 h 1920290"/>
              <a:gd name="connsiteX3" fmla="*/ 3 w 12088645"/>
              <a:gd name="connsiteY3" fmla="*/ 1919495 h 1920290"/>
              <a:gd name="connsiteX0" fmla="*/ 3 w 12094009"/>
              <a:gd name="connsiteY0" fmla="*/ 1919495 h 1919494"/>
              <a:gd name="connsiteX1" fmla="*/ 12075784 w 12094009"/>
              <a:gd name="connsiteY1" fmla="*/ 455 h 1919494"/>
              <a:gd name="connsiteX2" fmla="*/ 12093993 w 12094009"/>
              <a:gd name="connsiteY2" fmla="*/ 1882192 h 1919494"/>
              <a:gd name="connsiteX3" fmla="*/ 3 w 12094009"/>
              <a:gd name="connsiteY3" fmla="*/ 1919495 h 1919494"/>
              <a:gd name="connsiteX0" fmla="*/ 3 w 12099372"/>
              <a:gd name="connsiteY0" fmla="*/ 1919495 h 1920290"/>
              <a:gd name="connsiteX1" fmla="*/ 12075784 w 12099372"/>
              <a:gd name="connsiteY1" fmla="*/ 455 h 1920290"/>
              <a:gd name="connsiteX2" fmla="*/ 12099356 w 12099372"/>
              <a:gd name="connsiteY2" fmla="*/ 1907935 h 1920290"/>
              <a:gd name="connsiteX3" fmla="*/ 3 w 12099372"/>
              <a:gd name="connsiteY3" fmla="*/ 1919495 h 1920290"/>
              <a:gd name="connsiteX0" fmla="*/ 3 w 12099372"/>
              <a:gd name="connsiteY0" fmla="*/ 1919495 h 1920290"/>
              <a:gd name="connsiteX1" fmla="*/ 12075784 w 12099372"/>
              <a:gd name="connsiteY1" fmla="*/ 455 h 1920290"/>
              <a:gd name="connsiteX2" fmla="*/ 12099356 w 12099372"/>
              <a:gd name="connsiteY2" fmla="*/ 1907935 h 1920290"/>
              <a:gd name="connsiteX3" fmla="*/ 3 w 12099372"/>
              <a:gd name="connsiteY3" fmla="*/ 1919495 h 1920290"/>
              <a:gd name="connsiteX0" fmla="*/ 3 w 12075784"/>
              <a:gd name="connsiteY0" fmla="*/ 1919495 h 1919494"/>
              <a:gd name="connsiteX1" fmla="*/ 12075784 w 12075784"/>
              <a:gd name="connsiteY1" fmla="*/ 455 h 1919494"/>
              <a:gd name="connsiteX2" fmla="*/ 11874101 w 12075784"/>
              <a:gd name="connsiteY2" fmla="*/ 1901500 h 1919494"/>
              <a:gd name="connsiteX3" fmla="*/ 3 w 12075784"/>
              <a:gd name="connsiteY3" fmla="*/ 1919495 h 1919494"/>
              <a:gd name="connsiteX0" fmla="*/ 3 w 12083281"/>
              <a:gd name="connsiteY0" fmla="*/ 1919495 h 1920290"/>
              <a:gd name="connsiteX1" fmla="*/ 12075784 w 12083281"/>
              <a:gd name="connsiteY1" fmla="*/ 455 h 1920290"/>
              <a:gd name="connsiteX2" fmla="*/ 12083265 w 12083281"/>
              <a:gd name="connsiteY2" fmla="*/ 1907937 h 1920290"/>
              <a:gd name="connsiteX3" fmla="*/ 3 w 12083281"/>
              <a:gd name="connsiteY3" fmla="*/ 1919495 h 1920290"/>
              <a:gd name="connsiteX0" fmla="*/ 3 w 12083281"/>
              <a:gd name="connsiteY0" fmla="*/ 1919495 h 1920290"/>
              <a:gd name="connsiteX1" fmla="*/ 12075784 w 12083281"/>
              <a:gd name="connsiteY1" fmla="*/ 455 h 1920290"/>
              <a:gd name="connsiteX2" fmla="*/ 12083265 w 12083281"/>
              <a:gd name="connsiteY2" fmla="*/ 1907937 h 1920290"/>
              <a:gd name="connsiteX3" fmla="*/ 3 w 12083281"/>
              <a:gd name="connsiteY3" fmla="*/ 1919495 h 1920290"/>
              <a:gd name="connsiteX0" fmla="*/ 3 w 12083281"/>
              <a:gd name="connsiteY0" fmla="*/ 2019472 h 2020267"/>
              <a:gd name="connsiteX1" fmla="*/ 11464601 w 12083281"/>
              <a:gd name="connsiteY1" fmla="*/ 432 h 2020267"/>
              <a:gd name="connsiteX2" fmla="*/ 12083265 w 12083281"/>
              <a:gd name="connsiteY2" fmla="*/ 2007914 h 2020267"/>
              <a:gd name="connsiteX3" fmla="*/ 3 w 12083281"/>
              <a:gd name="connsiteY3" fmla="*/ 2019472 h 2020267"/>
              <a:gd name="connsiteX0" fmla="*/ 3 w 11464601"/>
              <a:gd name="connsiteY0" fmla="*/ 2019472 h 2083880"/>
              <a:gd name="connsiteX1" fmla="*/ 11464601 w 11464601"/>
              <a:gd name="connsiteY1" fmla="*/ 432 h 2083880"/>
              <a:gd name="connsiteX2" fmla="*/ 8243116 w 11464601"/>
              <a:gd name="connsiteY2" fmla="*/ 2081517 h 2083880"/>
              <a:gd name="connsiteX3" fmla="*/ 3 w 11464601"/>
              <a:gd name="connsiteY3" fmla="*/ 2019472 h 2083880"/>
              <a:gd name="connsiteX0" fmla="*/ 3 w 11464601"/>
              <a:gd name="connsiteY0" fmla="*/ 2019472 h 3424835"/>
              <a:gd name="connsiteX1" fmla="*/ 11464601 w 11464601"/>
              <a:gd name="connsiteY1" fmla="*/ 432 h 3424835"/>
              <a:gd name="connsiteX2" fmla="*/ 6272794 w 11464601"/>
              <a:gd name="connsiteY2" fmla="*/ 3424687 h 3424835"/>
              <a:gd name="connsiteX3" fmla="*/ 3 w 11464601"/>
              <a:gd name="connsiteY3" fmla="*/ 2019472 h 3424835"/>
              <a:gd name="connsiteX0" fmla="*/ 3 w 8450455"/>
              <a:gd name="connsiteY0" fmla="*/ 32240 h 1437641"/>
              <a:gd name="connsiteX1" fmla="*/ 8450455 w 8450455"/>
              <a:gd name="connsiteY1" fmla="*/ 12045 h 1437641"/>
              <a:gd name="connsiteX2" fmla="*/ 6272794 w 8450455"/>
              <a:gd name="connsiteY2" fmla="*/ 1437455 h 1437641"/>
              <a:gd name="connsiteX3" fmla="*/ 3 w 8450455"/>
              <a:gd name="connsiteY3" fmla="*/ 32240 h 1437641"/>
            </a:gdLst>
            <a:ahLst/>
            <a:cxnLst>
              <a:cxn ang="0">
                <a:pos x="connsiteX0" y="connsiteY0"/>
              </a:cxn>
              <a:cxn ang="0">
                <a:pos x="connsiteX1" y="connsiteY1"/>
              </a:cxn>
              <a:cxn ang="0">
                <a:pos x="connsiteX2" y="connsiteY2"/>
              </a:cxn>
              <a:cxn ang="0">
                <a:pos x="connsiteX3" y="connsiteY3"/>
              </a:cxn>
            </a:cxnLst>
            <a:rect l="l" t="t" r="r" b="b"/>
            <a:pathLst>
              <a:path w="8450455" h="1437641">
                <a:moveTo>
                  <a:pt x="3" y="32240"/>
                </a:moveTo>
                <a:cubicBezTo>
                  <a:pt x="-21" y="27917"/>
                  <a:pt x="8431024" y="-22542"/>
                  <a:pt x="8450455" y="12045"/>
                </a:cubicBezTo>
                <a:cubicBezTo>
                  <a:pt x="8438713" y="47223"/>
                  <a:pt x="6263730" y="1456209"/>
                  <a:pt x="6272794" y="1437455"/>
                </a:cubicBezTo>
                <a:cubicBezTo>
                  <a:pt x="6289357" y="1454317"/>
                  <a:pt x="-6259" y="32251"/>
                  <a:pt x="3" y="32240"/>
                </a:cubicBezTo>
                <a:close/>
              </a:path>
            </a:pathLst>
          </a:custGeom>
          <a:solidFill>
            <a:srgbClr val="C8CFD3">
              <a:alpha val="50196"/>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cxnSp>
        <p:nvCxnSpPr>
          <p:cNvPr id="44" name="Straight Connector 43">
            <a:extLst>
              <a:ext uri="{FF2B5EF4-FFF2-40B4-BE49-F238E27FC236}">
                <a16:creationId xmlns:a16="http://schemas.microsoft.com/office/drawing/2014/main" id="{B0EB9379-49A0-924B-A01A-4D9A5E4809F6}"/>
              </a:ext>
            </a:extLst>
          </p:cNvPr>
          <p:cNvCxnSpPr>
            <a:cxnSpLocks/>
          </p:cNvCxnSpPr>
          <p:nvPr userDrawn="1"/>
        </p:nvCxnSpPr>
        <p:spPr bwMode="auto">
          <a:xfrm flipV="1">
            <a:off x="0" y="1"/>
            <a:ext cx="2453833" cy="2338085"/>
          </a:xfrm>
          <a:prstGeom prst="line">
            <a:avLst/>
          </a:prstGeom>
          <a:solidFill>
            <a:schemeClr val="hlink"/>
          </a:solidFill>
          <a:ln w="12700" cap="flat" cmpd="sng" algn="ctr">
            <a:solidFill>
              <a:schemeClr val="bg1">
                <a:lumMod val="85000"/>
              </a:schemeClr>
            </a:solidFill>
            <a:prstDash val="solid"/>
            <a:round/>
            <a:headEnd type="none" w="med" len="med"/>
            <a:tailEnd type="none" w="med" len="med"/>
          </a:ln>
          <a:effectLst/>
        </p:spPr>
      </p:cxnSp>
    </p:spTree>
    <p:extLst>
      <p:ext uri="{BB962C8B-B14F-4D97-AF65-F5344CB8AC3E}">
        <p14:creationId xmlns:p14="http://schemas.microsoft.com/office/powerpoint/2010/main" val="1672414696"/>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3. Economy">
    <p:spTree>
      <p:nvGrpSpPr>
        <p:cNvPr id="1" name=""/>
        <p:cNvGrpSpPr/>
        <p:nvPr/>
      </p:nvGrpSpPr>
      <p:grpSpPr>
        <a:xfrm>
          <a:off x="0" y="0"/>
          <a:ext cx="0" cy="0"/>
          <a:chOff x="0" y="0"/>
          <a:chExt cx="0" cy="0"/>
        </a:xfrm>
      </p:grpSpPr>
      <p:sp>
        <p:nvSpPr>
          <p:cNvPr id="48" name="Footer Placeholder 2"/>
          <p:cNvSpPr>
            <a:spLocks noGrp="1"/>
          </p:cNvSpPr>
          <p:nvPr>
            <p:ph type="ftr" sz="quarter" idx="3"/>
          </p:nvPr>
        </p:nvSpPr>
        <p:spPr>
          <a:xfrm>
            <a:off x="319053" y="6414084"/>
            <a:ext cx="3781425" cy="365125"/>
          </a:xfrm>
          <a:prstGeom prst="rect">
            <a:avLst/>
          </a:prstGeom>
        </p:spPr>
        <p:txBody>
          <a:bodyPr vert="horz" lIns="91440" tIns="45720" rIns="91440" bIns="45720" rtlCol="0" anchor="ctr"/>
          <a:lstStyle>
            <a:lvl1pPr algn="l">
              <a:defRPr sz="800">
                <a:solidFill>
                  <a:srgbClr val="000000"/>
                </a:solidFill>
              </a:defRPr>
            </a:lvl1pPr>
          </a:lstStyle>
          <a:p>
            <a:pPr>
              <a:spcBef>
                <a:spcPts val="300"/>
              </a:spcBef>
            </a:pPr>
            <a:r>
              <a:rPr lang="en-US"/>
              <a:t>Footnotes/disclosures. </a:t>
            </a:r>
          </a:p>
        </p:txBody>
      </p:sp>
      <p:sp>
        <p:nvSpPr>
          <p:cNvPr id="49" name="Slide Number Placeholder 3"/>
          <p:cNvSpPr>
            <a:spLocks noGrp="1"/>
          </p:cNvSpPr>
          <p:nvPr>
            <p:ph type="sldNum" sz="quarter" idx="4"/>
          </p:nvPr>
        </p:nvSpPr>
        <p:spPr>
          <a:xfrm>
            <a:off x="112394" y="6408909"/>
            <a:ext cx="382906" cy="365125"/>
          </a:xfrm>
          <a:prstGeom prst="rect">
            <a:avLst/>
          </a:prstGeom>
        </p:spPr>
        <p:txBody>
          <a:bodyPr vert="horz" lIns="91440" tIns="45720" rIns="91440" bIns="45720" rtlCol="0" anchor="ctr"/>
          <a:lstStyle>
            <a:lvl1pPr algn="l">
              <a:defRPr sz="800" b="1">
                <a:solidFill>
                  <a:srgbClr val="000000"/>
                </a:solidFill>
              </a:defRPr>
            </a:lvl1pPr>
          </a:lstStyle>
          <a:p>
            <a:fld id="{B42A7A4B-1474-47B8-8215-FC88D0AD55CE}" type="slidenum">
              <a:rPr lang="en-US" smtClean="0"/>
              <a:pPr/>
              <a:t>‹#›</a:t>
            </a:fld>
            <a:endParaRPr lang="en-US"/>
          </a:p>
        </p:txBody>
      </p:sp>
      <p:sp>
        <p:nvSpPr>
          <p:cNvPr id="50" name="Title Placeholder 1"/>
          <p:cNvSpPr>
            <a:spLocks noGrp="1"/>
          </p:cNvSpPr>
          <p:nvPr>
            <p:ph type="title"/>
          </p:nvPr>
        </p:nvSpPr>
        <p:spPr>
          <a:xfrm>
            <a:off x="315669" y="227013"/>
            <a:ext cx="8229600" cy="1143000"/>
          </a:xfrm>
          <a:prstGeom prst="rect">
            <a:avLst/>
          </a:prstGeom>
        </p:spPr>
        <p:txBody>
          <a:bodyPr vert="horz" lIns="91440" tIns="45720" rIns="91440" bIns="45720" rtlCol="0" anchor="t">
            <a:normAutofit/>
          </a:bodyPr>
          <a:lstStyle>
            <a:lvl1pPr algn="l">
              <a:defRPr sz="2400"/>
            </a:lvl1pPr>
          </a:lstStyle>
          <a:p>
            <a:r>
              <a:rPr lang="en-US"/>
              <a:t>Click to edit Master title style</a:t>
            </a:r>
          </a:p>
        </p:txBody>
      </p:sp>
      <p:grpSp>
        <p:nvGrpSpPr>
          <p:cNvPr id="46" name="Group 45">
            <a:extLst>
              <a:ext uri="{FF2B5EF4-FFF2-40B4-BE49-F238E27FC236}">
                <a16:creationId xmlns:a16="http://schemas.microsoft.com/office/drawing/2014/main" id="{4F575CC3-393C-0647-BE9E-83DCD65CF4FF}"/>
              </a:ext>
            </a:extLst>
          </p:cNvPr>
          <p:cNvGrpSpPr/>
          <p:nvPr userDrawn="1"/>
        </p:nvGrpSpPr>
        <p:grpSpPr>
          <a:xfrm>
            <a:off x="7358173" y="6361974"/>
            <a:ext cx="1382376" cy="297562"/>
            <a:chOff x="6923088" y="4475163"/>
            <a:chExt cx="1873251" cy="403225"/>
          </a:xfrm>
        </p:grpSpPr>
        <p:sp>
          <p:nvSpPr>
            <p:cNvPr id="47" name="AutoShape 4">
              <a:extLst>
                <a:ext uri="{FF2B5EF4-FFF2-40B4-BE49-F238E27FC236}">
                  <a16:creationId xmlns:a16="http://schemas.microsoft.com/office/drawing/2014/main" id="{6C369995-96AD-A641-925E-E69A3BA9707A}"/>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6">
              <a:extLst>
                <a:ext uri="{FF2B5EF4-FFF2-40B4-BE49-F238E27FC236}">
                  <a16:creationId xmlns:a16="http://schemas.microsoft.com/office/drawing/2014/main" id="{5C874250-EEAB-2F47-8CDC-DED5EEC8E001}"/>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7">
              <a:extLst>
                <a:ext uri="{FF2B5EF4-FFF2-40B4-BE49-F238E27FC236}">
                  <a16:creationId xmlns:a16="http://schemas.microsoft.com/office/drawing/2014/main" id="{D73E3670-6639-BE4C-9917-7195E6568841}"/>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83">
              <a:extLst>
                <a:ext uri="{FF2B5EF4-FFF2-40B4-BE49-F238E27FC236}">
                  <a16:creationId xmlns:a16="http://schemas.microsoft.com/office/drawing/2014/main" id="{71466D60-B25E-C740-B898-CD011E2969A1}"/>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84">
              <a:extLst>
                <a:ext uri="{FF2B5EF4-FFF2-40B4-BE49-F238E27FC236}">
                  <a16:creationId xmlns:a16="http://schemas.microsoft.com/office/drawing/2014/main" id="{5E4325CD-E2D3-394B-98D5-41155C352276}"/>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85">
              <a:extLst>
                <a:ext uri="{FF2B5EF4-FFF2-40B4-BE49-F238E27FC236}">
                  <a16:creationId xmlns:a16="http://schemas.microsoft.com/office/drawing/2014/main" id="{785844EE-0CF7-6143-8825-4501A204DE95}"/>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86">
              <a:extLst>
                <a:ext uri="{FF2B5EF4-FFF2-40B4-BE49-F238E27FC236}">
                  <a16:creationId xmlns:a16="http://schemas.microsoft.com/office/drawing/2014/main" id="{C4390793-4DDB-4740-8D60-285F8B4B0C34}"/>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87">
              <a:extLst>
                <a:ext uri="{FF2B5EF4-FFF2-40B4-BE49-F238E27FC236}">
                  <a16:creationId xmlns:a16="http://schemas.microsoft.com/office/drawing/2014/main" id="{5F80EA26-A299-3644-8457-A5653F1DCD1C}"/>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88">
              <a:extLst>
                <a:ext uri="{FF2B5EF4-FFF2-40B4-BE49-F238E27FC236}">
                  <a16:creationId xmlns:a16="http://schemas.microsoft.com/office/drawing/2014/main" id="{EA7A7B0D-C322-164A-9280-F3916BAFBB34}"/>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89">
              <a:extLst>
                <a:ext uri="{FF2B5EF4-FFF2-40B4-BE49-F238E27FC236}">
                  <a16:creationId xmlns:a16="http://schemas.microsoft.com/office/drawing/2014/main" id="{115A605F-282C-EA47-8447-7D30B8A8A5A5}"/>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90">
              <a:extLst>
                <a:ext uri="{FF2B5EF4-FFF2-40B4-BE49-F238E27FC236}">
                  <a16:creationId xmlns:a16="http://schemas.microsoft.com/office/drawing/2014/main" id="{FC0AAA5D-A017-1E47-996E-AD1B7FA53BC3}"/>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91">
              <a:extLst>
                <a:ext uri="{FF2B5EF4-FFF2-40B4-BE49-F238E27FC236}">
                  <a16:creationId xmlns:a16="http://schemas.microsoft.com/office/drawing/2014/main" id="{49170DEE-077A-EF4A-B9DC-B8972034232B}"/>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 name="Freeform 92">
              <a:extLst>
                <a:ext uri="{FF2B5EF4-FFF2-40B4-BE49-F238E27FC236}">
                  <a16:creationId xmlns:a16="http://schemas.microsoft.com/office/drawing/2014/main" id="{77BC3356-1A82-3B4E-A9A7-653BAF0FEAB6}"/>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 name="Freeform 93">
              <a:extLst>
                <a:ext uri="{FF2B5EF4-FFF2-40B4-BE49-F238E27FC236}">
                  <a16:creationId xmlns:a16="http://schemas.microsoft.com/office/drawing/2014/main" id="{C3D2FF1C-024E-CD4F-B7AD-DFEFAC4C0036}"/>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 name="Freeform 94">
              <a:extLst>
                <a:ext uri="{FF2B5EF4-FFF2-40B4-BE49-F238E27FC236}">
                  <a16:creationId xmlns:a16="http://schemas.microsoft.com/office/drawing/2014/main" id="{D4E8B162-C2EB-5E4E-B69D-17714EC7A73A}"/>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 name="Freeform 95">
              <a:extLst>
                <a:ext uri="{FF2B5EF4-FFF2-40B4-BE49-F238E27FC236}">
                  <a16:creationId xmlns:a16="http://schemas.microsoft.com/office/drawing/2014/main" id="{93AB935F-8B90-BC42-8F91-0C602388FA1E}"/>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 name="Freeform 96">
              <a:extLst>
                <a:ext uri="{FF2B5EF4-FFF2-40B4-BE49-F238E27FC236}">
                  <a16:creationId xmlns:a16="http://schemas.microsoft.com/office/drawing/2014/main" id="{7386FE2B-7175-8647-8AB3-0E4429CBA2BE}"/>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 name="Freeform 97">
              <a:extLst>
                <a:ext uri="{FF2B5EF4-FFF2-40B4-BE49-F238E27FC236}">
                  <a16:creationId xmlns:a16="http://schemas.microsoft.com/office/drawing/2014/main" id="{A51B1BE7-1A86-AD4E-B0A8-BB09A9A20B57}"/>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 name="Freeform 98">
              <a:extLst>
                <a:ext uri="{FF2B5EF4-FFF2-40B4-BE49-F238E27FC236}">
                  <a16:creationId xmlns:a16="http://schemas.microsoft.com/office/drawing/2014/main" id="{2ABB0A66-4262-3040-A162-51C0D3545F34}"/>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 name="Freeform 99">
              <a:extLst>
                <a:ext uri="{FF2B5EF4-FFF2-40B4-BE49-F238E27FC236}">
                  <a16:creationId xmlns:a16="http://schemas.microsoft.com/office/drawing/2014/main" id="{7C6C53A4-64A8-7B47-967C-1C1DA1F0CCA2}"/>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 name="Freeform 100">
              <a:extLst>
                <a:ext uri="{FF2B5EF4-FFF2-40B4-BE49-F238E27FC236}">
                  <a16:creationId xmlns:a16="http://schemas.microsoft.com/office/drawing/2014/main" id="{065B854D-13FA-374C-8A09-52E4648397E1}"/>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 name="Freeform 101">
              <a:extLst>
                <a:ext uri="{FF2B5EF4-FFF2-40B4-BE49-F238E27FC236}">
                  <a16:creationId xmlns:a16="http://schemas.microsoft.com/office/drawing/2014/main" id="{A1C1A119-080D-7549-AD8D-2563AB9740CD}"/>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 name="Freeform 102">
              <a:extLst>
                <a:ext uri="{FF2B5EF4-FFF2-40B4-BE49-F238E27FC236}">
                  <a16:creationId xmlns:a16="http://schemas.microsoft.com/office/drawing/2014/main" id="{D675A767-8E05-1A4A-A9C5-25F51895359D}"/>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 name="Freeform 103">
              <a:extLst>
                <a:ext uri="{FF2B5EF4-FFF2-40B4-BE49-F238E27FC236}">
                  <a16:creationId xmlns:a16="http://schemas.microsoft.com/office/drawing/2014/main" id="{F8775C11-8806-2249-B50B-F0E49E89CBCD}"/>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 name="Freeform 104">
              <a:extLst>
                <a:ext uri="{FF2B5EF4-FFF2-40B4-BE49-F238E27FC236}">
                  <a16:creationId xmlns:a16="http://schemas.microsoft.com/office/drawing/2014/main" id="{BD457856-65BB-6240-A799-E360206643B3}"/>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 name="Freeform 105">
              <a:extLst>
                <a:ext uri="{FF2B5EF4-FFF2-40B4-BE49-F238E27FC236}">
                  <a16:creationId xmlns:a16="http://schemas.microsoft.com/office/drawing/2014/main" id="{D172A0B6-8E86-A446-BBB8-366BEDD908B5}"/>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4" name="TextBox 69">
            <a:extLst>
              <a:ext uri="{FF2B5EF4-FFF2-40B4-BE49-F238E27FC236}">
                <a16:creationId xmlns:a16="http://schemas.microsoft.com/office/drawing/2014/main" id="{6C28D605-0560-4446-A86C-C6205692ADD4}"/>
              </a:ext>
            </a:extLst>
          </p:cNvPr>
          <p:cNvSpPr txBox="1">
            <a:spLocks noChangeArrowheads="1"/>
          </p:cNvSpPr>
          <p:nvPr userDrawn="1"/>
        </p:nvSpPr>
        <p:spPr bwMode="auto">
          <a:xfrm rot="16200000">
            <a:off x="8221240" y="617250"/>
            <a:ext cx="1338265" cy="284693"/>
          </a:xfrm>
          <a:prstGeom prst="rect">
            <a:avLst/>
          </a:prstGeom>
          <a:noFill/>
          <a:ln w="9525">
            <a:noFill/>
            <a:miter lim="800000"/>
            <a:headEnd/>
            <a:tailEnd/>
          </a:ln>
        </p:spPr>
        <p:txBody>
          <a:bodyPr wrap="square" tIns="91440" rIns="0">
            <a:spAutoFit/>
          </a:bodyPr>
          <a:lstStyle/>
          <a:p>
            <a:pPr>
              <a:defRPr/>
            </a:pPr>
            <a:r>
              <a:rPr lang="en-US" sz="900">
                <a:solidFill>
                  <a:srgbClr val="768692"/>
                </a:solidFill>
                <a:cs typeface="Arial" charset="0"/>
              </a:rPr>
              <a:t>ECONOMY</a:t>
            </a:r>
          </a:p>
        </p:txBody>
      </p:sp>
      <p:grpSp>
        <p:nvGrpSpPr>
          <p:cNvPr id="35" name="Group 34">
            <a:extLst>
              <a:ext uri="{FF2B5EF4-FFF2-40B4-BE49-F238E27FC236}">
                <a16:creationId xmlns:a16="http://schemas.microsoft.com/office/drawing/2014/main" id="{E36B5ECB-1887-7E49-8220-1D4B66F784E9}"/>
              </a:ext>
            </a:extLst>
          </p:cNvPr>
          <p:cNvGrpSpPr/>
          <p:nvPr userDrawn="1"/>
        </p:nvGrpSpPr>
        <p:grpSpPr>
          <a:xfrm>
            <a:off x="8834955" y="-8348"/>
            <a:ext cx="132661" cy="609866"/>
            <a:chOff x="8876279" y="49059"/>
            <a:chExt cx="132661" cy="609866"/>
          </a:xfrm>
        </p:grpSpPr>
        <p:cxnSp>
          <p:nvCxnSpPr>
            <p:cNvPr id="36" name="Straight Connector 35">
              <a:extLst>
                <a:ext uri="{FF2B5EF4-FFF2-40B4-BE49-F238E27FC236}">
                  <a16:creationId xmlns:a16="http://schemas.microsoft.com/office/drawing/2014/main" id="{90D613A7-5AF7-0947-901D-4A860F073A80}"/>
                </a:ext>
              </a:extLst>
            </p:cNvPr>
            <p:cNvCxnSpPr>
              <a:cxnSpLocks/>
              <a:endCxn id="38" idx="4"/>
            </p:cNvCxnSpPr>
            <p:nvPr/>
          </p:nvCxnSpPr>
          <p:spPr bwMode="auto">
            <a:xfrm>
              <a:off x="8942609" y="49059"/>
              <a:ext cx="0" cy="575539"/>
            </a:xfrm>
            <a:prstGeom prst="line">
              <a:avLst/>
            </a:prstGeom>
            <a:solidFill>
              <a:schemeClr val="hlink"/>
            </a:solidFill>
            <a:ln w="12700" cap="flat" cmpd="sng" algn="ctr">
              <a:solidFill>
                <a:schemeClr val="bg1">
                  <a:lumMod val="75000"/>
                </a:schemeClr>
              </a:solidFill>
              <a:prstDash val="solid"/>
              <a:round/>
              <a:headEnd type="none" w="med" len="med"/>
              <a:tailEnd type="none" w="med" len="med"/>
            </a:ln>
            <a:effectLst/>
          </p:spPr>
        </p:cxnSp>
        <p:sp>
          <p:nvSpPr>
            <p:cNvPr id="37" name="Oval 36">
              <a:extLst>
                <a:ext uri="{FF2B5EF4-FFF2-40B4-BE49-F238E27FC236}">
                  <a16:creationId xmlns:a16="http://schemas.microsoft.com/office/drawing/2014/main" id="{258C9009-54C1-0A49-9DB2-B39159430AC6}"/>
                </a:ext>
              </a:extLst>
            </p:cNvPr>
            <p:cNvSpPr/>
            <p:nvPr/>
          </p:nvSpPr>
          <p:spPr bwMode="auto">
            <a:xfrm>
              <a:off x="8876279" y="526264"/>
              <a:ext cx="132661" cy="132661"/>
            </a:xfrm>
            <a:prstGeom prst="ellipse">
              <a:avLst/>
            </a:prstGeom>
            <a:solidFill>
              <a:schemeClr val="bg1"/>
            </a:solidFill>
            <a:ln w="12700"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sp>
          <p:nvSpPr>
            <p:cNvPr id="38" name="Oval 37">
              <a:extLst>
                <a:ext uri="{FF2B5EF4-FFF2-40B4-BE49-F238E27FC236}">
                  <a16:creationId xmlns:a16="http://schemas.microsoft.com/office/drawing/2014/main" id="{EC6EE8F6-CB08-7349-9443-AD7FA1CD74CA}"/>
                </a:ext>
              </a:extLst>
            </p:cNvPr>
            <p:cNvSpPr/>
            <p:nvPr/>
          </p:nvSpPr>
          <p:spPr bwMode="auto">
            <a:xfrm>
              <a:off x="8910605" y="560590"/>
              <a:ext cx="64008" cy="64008"/>
            </a:xfrm>
            <a:prstGeom prst="ellipse">
              <a:avLst/>
            </a:prstGeom>
            <a:solidFill>
              <a:srgbClr val="768692"/>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grpSp>
    </p:spTree>
    <p:extLst>
      <p:ext uri="{BB962C8B-B14F-4D97-AF65-F5344CB8AC3E}">
        <p14:creationId xmlns:p14="http://schemas.microsoft.com/office/powerpoint/2010/main" val="200761022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Print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58488" name="Rectangle 56"/>
          <p:cNvSpPr>
            <a:spLocks noGrp="1" noChangeArrowheads="1"/>
          </p:cNvSpPr>
          <p:nvPr>
            <p:ph type="ctrTitle"/>
          </p:nvPr>
        </p:nvSpPr>
        <p:spPr>
          <a:xfrm>
            <a:off x="679879" y="2040360"/>
            <a:ext cx="7825945" cy="608013"/>
          </a:xfrm>
          <a:ln algn="ctr"/>
        </p:spPr>
        <p:txBody>
          <a:bodyPr lIns="91440" tIns="45720" anchor="b"/>
          <a:lstStyle>
            <a:lvl1pPr>
              <a:defRPr sz="2800">
                <a:solidFill>
                  <a:srgbClr val="333F48"/>
                </a:solidFill>
              </a:defRPr>
            </a:lvl1pPr>
          </a:lstStyle>
          <a:p>
            <a:r>
              <a:rPr lang="en-US"/>
              <a:t>Click to edit Master title style</a:t>
            </a:r>
            <a:endParaRPr lang="en-US" dirty="0"/>
          </a:p>
        </p:txBody>
      </p:sp>
      <p:sp>
        <p:nvSpPr>
          <p:cNvPr id="658489" name="Rectangle 57"/>
          <p:cNvSpPr>
            <a:spLocks noGrp="1" noChangeArrowheads="1"/>
          </p:cNvSpPr>
          <p:nvPr>
            <p:ph type="subTitle" idx="1"/>
          </p:nvPr>
        </p:nvSpPr>
        <p:spPr>
          <a:xfrm>
            <a:off x="679880" y="2752344"/>
            <a:ext cx="7825946" cy="283464"/>
          </a:xfrm>
          <a:ln algn="ctr"/>
        </p:spPr>
        <p:txBody>
          <a:bodyPr tIns="0"/>
          <a:lstStyle>
            <a:lvl1pPr marL="0" indent="0" algn="l" rtl="0" fontAlgn="base">
              <a:lnSpc>
                <a:spcPct val="100000"/>
              </a:lnSpc>
              <a:spcBef>
                <a:spcPct val="0"/>
              </a:spcBef>
              <a:spcAft>
                <a:spcPct val="0"/>
              </a:spcAft>
              <a:defRPr lang="en-US" sz="2000" b="0" kern="1200" dirty="0">
                <a:solidFill>
                  <a:srgbClr val="768692"/>
                </a:solidFill>
                <a:latin typeface="Arial"/>
                <a:ea typeface="ＭＳ Ｐゴシック" pitchFamily="34" charset="-128"/>
                <a:cs typeface="+mn-cs"/>
              </a:defRPr>
            </a:lvl1pPr>
          </a:lstStyle>
          <a:p>
            <a:r>
              <a:rPr lang="en-US"/>
              <a:t>Click to edit Master subtitle style</a:t>
            </a:r>
            <a:endParaRPr lang="en-US" dirty="0"/>
          </a:p>
        </p:txBody>
      </p:sp>
      <p:sp>
        <p:nvSpPr>
          <p:cNvPr id="60" name="Rectangle 176"/>
          <p:cNvSpPr>
            <a:spLocks noGrp="1" noChangeArrowheads="1"/>
          </p:cNvSpPr>
          <p:nvPr>
            <p:ph type="ftr" sz="quarter" idx="13"/>
          </p:nvPr>
        </p:nvSpPr>
        <p:spPr>
          <a:xfrm>
            <a:off x="320040" y="6483096"/>
            <a:ext cx="3931920" cy="173736"/>
          </a:xfrm>
        </p:spPr>
        <p:txBody>
          <a:bodyPr/>
          <a:lstStyle>
            <a:lvl1pPr algn="l">
              <a:defRPr sz="800" b="0" smtClean="0">
                <a:solidFill>
                  <a:srgbClr val="000000"/>
                </a:solidFill>
              </a:defRPr>
            </a:lvl1pPr>
          </a:lstStyle>
          <a:p>
            <a:pPr>
              <a:defRPr/>
            </a:pPr>
            <a:r>
              <a:rPr lang="en-US"/>
              <a:t>For institutional use only</a:t>
            </a:r>
            <a:endParaRPr lang="en-US" dirty="0"/>
          </a:p>
        </p:txBody>
      </p:sp>
      <p:cxnSp>
        <p:nvCxnSpPr>
          <p:cNvPr id="6" name="Straight Connector 5"/>
          <p:cNvCxnSpPr/>
          <p:nvPr userDrawn="1"/>
        </p:nvCxnSpPr>
        <p:spPr bwMode="auto">
          <a:xfrm>
            <a:off x="791746" y="2642460"/>
            <a:ext cx="8352254" cy="0"/>
          </a:xfrm>
          <a:prstGeom prst="line">
            <a:avLst/>
          </a:prstGeom>
          <a:solidFill>
            <a:srgbClr val="009681"/>
          </a:solidFill>
          <a:ln w="9525" cap="flat" cmpd="sng" algn="ctr">
            <a:solidFill>
              <a:srgbClr val="768692"/>
            </a:solidFill>
            <a:prstDash val="solid"/>
            <a:round/>
            <a:headEnd type="none" w="med" len="med"/>
            <a:tailEnd type="none" w="med" len="med"/>
          </a:ln>
          <a:effectLst/>
        </p:spPr>
      </p:cxnSp>
      <p:grpSp>
        <p:nvGrpSpPr>
          <p:cNvPr id="7" name="Group 6"/>
          <p:cNvGrpSpPr/>
          <p:nvPr userDrawn="1"/>
        </p:nvGrpSpPr>
        <p:grpSpPr>
          <a:xfrm>
            <a:off x="7364320" y="6412511"/>
            <a:ext cx="1371600" cy="283464"/>
            <a:chOff x="4291013" y="3178175"/>
            <a:chExt cx="3197225" cy="688975"/>
          </a:xfrm>
        </p:grpSpPr>
        <p:sp>
          <p:nvSpPr>
            <p:cNvPr id="8"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Tree>
    <p:extLst>
      <p:ext uri="{BB962C8B-B14F-4D97-AF65-F5344CB8AC3E}">
        <p14:creationId xmlns:p14="http://schemas.microsoft.com/office/powerpoint/2010/main" val="37583015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73742" cy="838200"/>
          </a:xfrm>
        </p:spPr>
        <p:txBody>
          <a:bodyPr/>
          <a:lstStyle/>
          <a:p>
            <a:r>
              <a:rPr lang="en-US"/>
              <a:t>Click to edit Master title style</a:t>
            </a:r>
            <a:endParaRPr lang="en-US" dirty="0"/>
          </a:p>
        </p:txBody>
      </p:sp>
      <p:sp>
        <p:nvSpPr>
          <p:cNvPr id="3" name="Content Placeholder 2"/>
          <p:cNvSpPr>
            <a:spLocks noGrp="1"/>
          </p:cNvSpPr>
          <p:nvPr>
            <p:ph sz="half" idx="1"/>
          </p:nvPr>
        </p:nvSpPr>
        <p:spPr>
          <a:xfrm>
            <a:off x="325661" y="1339850"/>
            <a:ext cx="3878262" cy="4878388"/>
          </a:xfrm>
        </p:spPr>
        <p:txBody>
          <a:bodyPr lIns="91440"/>
          <a:lstStyle>
            <a:lvl1pPr>
              <a:spcBef>
                <a:spcPts val="600"/>
              </a:spcBef>
              <a:defRPr sz="1400">
                <a:solidFill>
                  <a:srgbClr val="7A9A3D"/>
                </a:solidFill>
              </a:defRPr>
            </a:lvl1pPr>
            <a:lvl2pPr marL="114300" indent="-114300">
              <a:spcBef>
                <a:spcPts val="600"/>
              </a:spcBef>
              <a:buClr>
                <a:srgbClr val="7A9A3D"/>
              </a:buClr>
              <a:defRPr sz="1200">
                <a:solidFill>
                  <a:srgbClr val="000000"/>
                </a:solidFill>
              </a:defRPr>
            </a:lvl2pPr>
            <a:lvl3pPr marL="228600" indent="-114300">
              <a:spcBef>
                <a:spcPts val="600"/>
              </a:spcBef>
              <a:buClr>
                <a:srgbClr val="7A9A3D"/>
              </a:buClr>
              <a:defRPr sz="1100">
                <a:solidFill>
                  <a:srgbClr val="000000"/>
                </a:solidFill>
              </a:defRPr>
            </a:lvl3pPr>
            <a:lvl4pPr marL="342900" indent="-114300">
              <a:spcBef>
                <a:spcPts val="600"/>
              </a:spcBef>
              <a:buClr>
                <a:srgbClr val="7A9A3D"/>
              </a:buClr>
              <a:defRPr sz="1100">
                <a:solidFill>
                  <a:srgbClr val="000000"/>
                </a:solidFill>
              </a:defRPr>
            </a:lvl4pPr>
            <a:lvl5pPr>
              <a:defRPr sz="105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Content Placeholder 2"/>
          <p:cNvSpPr>
            <a:spLocks noGrp="1"/>
          </p:cNvSpPr>
          <p:nvPr>
            <p:ph sz="half" idx="13"/>
          </p:nvPr>
        </p:nvSpPr>
        <p:spPr>
          <a:xfrm>
            <a:off x="4611450" y="1339850"/>
            <a:ext cx="3878262" cy="4878388"/>
          </a:xfrm>
        </p:spPr>
        <p:txBody>
          <a:bodyPr lIns="91440"/>
          <a:lstStyle>
            <a:lvl1pPr>
              <a:spcBef>
                <a:spcPts val="600"/>
              </a:spcBef>
              <a:defRPr sz="1400">
                <a:solidFill>
                  <a:srgbClr val="7A9A3D"/>
                </a:solidFill>
              </a:defRPr>
            </a:lvl1pPr>
            <a:lvl2pPr marL="114300" indent="-114300">
              <a:spcBef>
                <a:spcPts val="600"/>
              </a:spcBef>
              <a:buClr>
                <a:srgbClr val="7A9A3D"/>
              </a:buClr>
              <a:defRPr sz="1200">
                <a:solidFill>
                  <a:srgbClr val="000000"/>
                </a:solidFill>
              </a:defRPr>
            </a:lvl2pPr>
            <a:lvl3pPr marL="228600" indent="-114300">
              <a:spcBef>
                <a:spcPts val="600"/>
              </a:spcBef>
              <a:buClr>
                <a:srgbClr val="7A9A3D"/>
              </a:buClr>
              <a:defRPr sz="1100">
                <a:solidFill>
                  <a:srgbClr val="000000"/>
                </a:solidFill>
              </a:defRPr>
            </a:lvl3pPr>
            <a:lvl4pPr marL="342900" indent="-114300">
              <a:spcBef>
                <a:spcPts val="600"/>
              </a:spcBef>
              <a:buClr>
                <a:srgbClr val="7A9A3D"/>
              </a:buClr>
              <a:defRPr sz="1100">
                <a:solidFill>
                  <a:srgbClr val="000000"/>
                </a:solidFill>
              </a:defRPr>
            </a:lvl4pPr>
            <a:lvl5pPr>
              <a:defRPr sz="105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grpSp>
        <p:nvGrpSpPr>
          <p:cNvPr id="35" name="Group 34">
            <a:extLst>
              <a:ext uri="{FF2B5EF4-FFF2-40B4-BE49-F238E27FC236}">
                <a16:creationId xmlns:a16="http://schemas.microsoft.com/office/drawing/2014/main" id="{2AFCA40D-8F58-429B-B9CC-8837A21EB90D}"/>
              </a:ext>
            </a:extLst>
          </p:cNvPr>
          <p:cNvGrpSpPr/>
          <p:nvPr userDrawn="1"/>
        </p:nvGrpSpPr>
        <p:grpSpPr>
          <a:xfrm>
            <a:off x="7358173" y="6361974"/>
            <a:ext cx="1382376" cy="297562"/>
            <a:chOff x="6923088" y="4475163"/>
            <a:chExt cx="1873251" cy="403225"/>
          </a:xfrm>
        </p:grpSpPr>
        <p:sp>
          <p:nvSpPr>
            <p:cNvPr id="36" name="AutoShape 4">
              <a:extLst>
                <a:ext uri="{FF2B5EF4-FFF2-40B4-BE49-F238E27FC236}">
                  <a16:creationId xmlns:a16="http://schemas.microsoft.com/office/drawing/2014/main" id="{8DFB9938-63A0-4A34-8449-BE002E9AF923}"/>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6">
              <a:extLst>
                <a:ext uri="{FF2B5EF4-FFF2-40B4-BE49-F238E27FC236}">
                  <a16:creationId xmlns:a16="http://schemas.microsoft.com/office/drawing/2014/main" id="{A28F1350-5F1B-44AA-821E-44CCD813CA02}"/>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7">
              <a:extLst>
                <a:ext uri="{FF2B5EF4-FFF2-40B4-BE49-F238E27FC236}">
                  <a16:creationId xmlns:a16="http://schemas.microsoft.com/office/drawing/2014/main" id="{FCCB5549-4BD4-4157-837C-79C5F090E2AB}"/>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83">
              <a:extLst>
                <a:ext uri="{FF2B5EF4-FFF2-40B4-BE49-F238E27FC236}">
                  <a16:creationId xmlns:a16="http://schemas.microsoft.com/office/drawing/2014/main" id="{E66A0397-0D9A-454D-B863-45119AA30F0A}"/>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84">
              <a:extLst>
                <a:ext uri="{FF2B5EF4-FFF2-40B4-BE49-F238E27FC236}">
                  <a16:creationId xmlns:a16="http://schemas.microsoft.com/office/drawing/2014/main" id="{1159932D-D4AA-4554-80A3-C5953FD235BD}"/>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85">
              <a:extLst>
                <a:ext uri="{FF2B5EF4-FFF2-40B4-BE49-F238E27FC236}">
                  <a16:creationId xmlns:a16="http://schemas.microsoft.com/office/drawing/2014/main" id="{99EA43E4-E207-4DE8-86BD-FE173B0D11B7}"/>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86">
              <a:extLst>
                <a:ext uri="{FF2B5EF4-FFF2-40B4-BE49-F238E27FC236}">
                  <a16:creationId xmlns:a16="http://schemas.microsoft.com/office/drawing/2014/main" id="{3D5E77D7-98DF-4F64-8E1D-556C5538EF71}"/>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87">
              <a:extLst>
                <a:ext uri="{FF2B5EF4-FFF2-40B4-BE49-F238E27FC236}">
                  <a16:creationId xmlns:a16="http://schemas.microsoft.com/office/drawing/2014/main" id="{1A7515BE-7CAE-4A11-A11B-4B99A5C9E2AC}"/>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88">
              <a:extLst>
                <a:ext uri="{FF2B5EF4-FFF2-40B4-BE49-F238E27FC236}">
                  <a16:creationId xmlns:a16="http://schemas.microsoft.com/office/drawing/2014/main" id="{D694EEF5-E4E7-45C7-8B2C-0BC6FA89E172}"/>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89">
              <a:extLst>
                <a:ext uri="{FF2B5EF4-FFF2-40B4-BE49-F238E27FC236}">
                  <a16:creationId xmlns:a16="http://schemas.microsoft.com/office/drawing/2014/main" id="{9F7A167B-7471-440D-A0ED-79CAA455AA23}"/>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90">
              <a:extLst>
                <a:ext uri="{FF2B5EF4-FFF2-40B4-BE49-F238E27FC236}">
                  <a16:creationId xmlns:a16="http://schemas.microsoft.com/office/drawing/2014/main" id="{FC6AE01D-51AE-4B9E-BEFD-19330091AB5D}"/>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91">
              <a:extLst>
                <a:ext uri="{FF2B5EF4-FFF2-40B4-BE49-F238E27FC236}">
                  <a16:creationId xmlns:a16="http://schemas.microsoft.com/office/drawing/2014/main" id="{B726AD82-47C6-47F3-9CE2-4A8F4DDCBDF9}"/>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92">
              <a:extLst>
                <a:ext uri="{FF2B5EF4-FFF2-40B4-BE49-F238E27FC236}">
                  <a16:creationId xmlns:a16="http://schemas.microsoft.com/office/drawing/2014/main" id="{214E2653-82A5-43E3-B666-1B0E9D70D71F}"/>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93">
              <a:extLst>
                <a:ext uri="{FF2B5EF4-FFF2-40B4-BE49-F238E27FC236}">
                  <a16:creationId xmlns:a16="http://schemas.microsoft.com/office/drawing/2014/main" id="{60F840A2-381E-4048-8295-88F95AC524FF}"/>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4">
              <a:extLst>
                <a:ext uri="{FF2B5EF4-FFF2-40B4-BE49-F238E27FC236}">
                  <a16:creationId xmlns:a16="http://schemas.microsoft.com/office/drawing/2014/main" id="{DFA6C402-3CCD-4FC6-A518-DE487141DAD7}"/>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5">
              <a:extLst>
                <a:ext uri="{FF2B5EF4-FFF2-40B4-BE49-F238E27FC236}">
                  <a16:creationId xmlns:a16="http://schemas.microsoft.com/office/drawing/2014/main" id="{6BCE0A60-59BA-4A31-84DF-83EF81C96B9E}"/>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6">
              <a:extLst>
                <a:ext uri="{FF2B5EF4-FFF2-40B4-BE49-F238E27FC236}">
                  <a16:creationId xmlns:a16="http://schemas.microsoft.com/office/drawing/2014/main" id="{64F2B275-69D4-4CE0-B768-F5AEE48D8E75}"/>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97">
              <a:extLst>
                <a:ext uri="{FF2B5EF4-FFF2-40B4-BE49-F238E27FC236}">
                  <a16:creationId xmlns:a16="http://schemas.microsoft.com/office/drawing/2014/main" id="{62B10CCD-9C7A-4E26-B43B-D74312D407B5}"/>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98">
              <a:extLst>
                <a:ext uri="{FF2B5EF4-FFF2-40B4-BE49-F238E27FC236}">
                  <a16:creationId xmlns:a16="http://schemas.microsoft.com/office/drawing/2014/main" id="{96F83C84-C17B-4B94-ACA5-05431674C481}"/>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99">
              <a:extLst>
                <a:ext uri="{FF2B5EF4-FFF2-40B4-BE49-F238E27FC236}">
                  <a16:creationId xmlns:a16="http://schemas.microsoft.com/office/drawing/2014/main" id="{1E05D619-B8D6-4805-A3F9-780F60543EB6}"/>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100">
              <a:extLst>
                <a:ext uri="{FF2B5EF4-FFF2-40B4-BE49-F238E27FC236}">
                  <a16:creationId xmlns:a16="http://schemas.microsoft.com/office/drawing/2014/main" id="{A0103845-613F-45A7-B66E-688FD3E3246E}"/>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01">
              <a:extLst>
                <a:ext uri="{FF2B5EF4-FFF2-40B4-BE49-F238E27FC236}">
                  <a16:creationId xmlns:a16="http://schemas.microsoft.com/office/drawing/2014/main" id="{DE8DA4D6-B281-47E4-A7BF-F95430547F0B}"/>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102">
              <a:extLst>
                <a:ext uri="{FF2B5EF4-FFF2-40B4-BE49-F238E27FC236}">
                  <a16:creationId xmlns:a16="http://schemas.microsoft.com/office/drawing/2014/main" id="{897DEA63-F6D7-489B-A9E8-1D2F3B2898E7}"/>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103">
              <a:extLst>
                <a:ext uri="{FF2B5EF4-FFF2-40B4-BE49-F238E27FC236}">
                  <a16:creationId xmlns:a16="http://schemas.microsoft.com/office/drawing/2014/main" id="{54874F82-9013-46F0-A138-0F6D2E53904F}"/>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104">
              <a:extLst>
                <a:ext uri="{FF2B5EF4-FFF2-40B4-BE49-F238E27FC236}">
                  <a16:creationId xmlns:a16="http://schemas.microsoft.com/office/drawing/2014/main" id="{7934340A-F61F-4A9C-BB0A-9854348706BB}"/>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 name="Freeform 105">
              <a:extLst>
                <a:ext uri="{FF2B5EF4-FFF2-40B4-BE49-F238E27FC236}">
                  <a16:creationId xmlns:a16="http://schemas.microsoft.com/office/drawing/2014/main" id="{5289D484-713A-4780-8642-C297A02968CC}"/>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3" name="Slide Number Placeholder 3">
            <a:extLst>
              <a:ext uri="{FF2B5EF4-FFF2-40B4-BE49-F238E27FC236}">
                <a16:creationId xmlns:a16="http://schemas.microsoft.com/office/drawing/2014/main" id="{962933B9-4871-4551-B211-283BF78E4B31}"/>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4" name="Rectangle 155">
            <a:extLst>
              <a:ext uri="{FF2B5EF4-FFF2-40B4-BE49-F238E27FC236}">
                <a16:creationId xmlns:a16="http://schemas.microsoft.com/office/drawing/2014/main" id="{B7058636-AC71-4357-A634-03DF107B85A4}"/>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dirty="0"/>
              <a:t>Production code #</a:t>
            </a:r>
          </a:p>
        </p:txBody>
      </p:sp>
      <p:sp>
        <p:nvSpPr>
          <p:cNvPr id="65" name="Rectangle 176">
            <a:extLst>
              <a:ext uri="{FF2B5EF4-FFF2-40B4-BE49-F238E27FC236}">
                <a16:creationId xmlns:a16="http://schemas.microsoft.com/office/drawing/2014/main" id="{6160F30A-F128-4555-90DE-A89193F5A54B}"/>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82480158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64" userDrawn="1">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userDrawn="1">
  <p:cSld name="7. Asset Allocation Divider">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76A6BEAB-44D3-A048-A879-7CA09F71C705}"/>
              </a:ext>
            </a:extLst>
          </p:cNvPr>
          <p:cNvGrpSpPr/>
          <p:nvPr userDrawn="1"/>
        </p:nvGrpSpPr>
        <p:grpSpPr>
          <a:xfrm>
            <a:off x="7358173" y="6361974"/>
            <a:ext cx="1382376" cy="297562"/>
            <a:chOff x="6923088" y="4475163"/>
            <a:chExt cx="1873251" cy="403225"/>
          </a:xfrm>
        </p:grpSpPr>
        <p:sp>
          <p:nvSpPr>
            <p:cNvPr id="59" name="AutoShape 4">
              <a:extLst>
                <a:ext uri="{FF2B5EF4-FFF2-40B4-BE49-F238E27FC236}">
                  <a16:creationId xmlns:a16="http://schemas.microsoft.com/office/drawing/2014/main" id="{A44E9BA6-EB41-B145-9F0F-66E217CEFFCD}"/>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6">
              <a:extLst>
                <a:ext uri="{FF2B5EF4-FFF2-40B4-BE49-F238E27FC236}">
                  <a16:creationId xmlns:a16="http://schemas.microsoft.com/office/drawing/2014/main" id="{790B3060-F2BB-A14C-9529-390F94C2D6F3}"/>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7">
              <a:extLst>
                <a:ext uri="{FF2B5EF4-FFF2-40B4-BE49-F238E27FC236}">
                  <a16:creationId xmlns:a16="http://schemas.microsoft.com/office/drawing/2014/main" id="{6ABE23DF-D129-E548-B5EE-F5CCB56CA631}"/>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 name="Freeform 83">
              <a:extLst>
                <a:ext uri="{FF2B5EF4-FFF2-40B4-BE49-F238E27FC236}">
                  <a16:creationId xmlns:a16="http://schemas.microsoft.com/office/drawing/2014/main" id="{067EC436-4618-0046-AA36-F51FDBC749AD}"/>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 name="Freeform 84">
              <a:extLst>
                <a:ext uri="{FF2B5EF4-FFF2-40B4-BE49-F238E27FC236}">
                  <a16:creationId xmlns:a16="http://schemas.microsoft.com/office/drawing/2014/main" id="{FF7362E9-C576-6343-AE0E-C71200BD8472}"/>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 name="Freeform 85">
              <a:extLst>
                <a:ext uri="{FF2B5EF4-FFF2-40B4-BE49-F238E27FC236}">
                  <a16:creationId xmlns:a16="http://schemas.microsoft.com/office/drawing/2014/main" id="{621BEB4B-CF5D-D441-ABAF-2C4EC65FC627}"/>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 name="Freeform 86">
              <a:extLst>
                <a:ext uri="{FF2B5EF4-FFF2-40B4-BE49-F238E27FC236}">
                  <a16:creationId xmlns:a16="http://schemas.microsoft.com/office/drawing/2014/main" id="{AAAB862B-A936-0347-AA0E-E65C1DAFCBE2}"/>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 name="Freeform 87">
              <a:extLst>
                <a:ext uri="{FF2B5EF4-FFF2-40B4-BE49-F238E27FC236}">
                  <a16:creationId xmlns:a16="http://schemas.microsoft.com/office/drawing/2014/main" id="{2B2DFCCB-4B53-BF43-A71A-879E02ACA1E3}"/>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 name="Freeform 88">
              <a:extLst>
                <a:ext uri="{FF2B5EF4-FFF2-40B4-BE49-F238E27FC236}">
                  <a16:creationId xmlns:a16="http://schemas.microsoft.com/office/drawing/2014/main" id="{C3FEC15A-47AE-FB44-BF56-15515C23395C}"/>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 name="Freeform 89">
              <a:extLst>
                <a:ext uri="{FF2B5EF4-FFF2-40B4-BE49-F238E27FC236}">
                  <a16:creationId xmlns:a16="http://schemas.microsoft.com/office/drawing/2014/main" id="{9317EEFD-84C9-6844-AFBB-4B9D60F975FE}"/>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 name="Freeform 90">
              <a:extLst>
                <a:ext uri="{FF2B5EF4-FFF2-40B4-BE49-F238E27FC236}">
                  <a16:creationId xmlns:a16="http://schemas.microsoft.com/office/drawing/2014/main" id="{DDC5DE7D-4437-AF41-94EC-3FC35B6769AF}"/>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 name="Freeform 91">
              <a:extLst>
                <a:ext uri="{FF2B5EF4-FFF2-40B4-BE49-F238E27FC236}">
                  <a16:creationId xmlns:a16="http://schemas.microsoft.com/office/drawing/2014/main" id="{0EC075AA-DAF5-7C4E-8063-4B41B4704AAE}"/>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 name="Freeform 92">
              <a:extLst>
                <a:ext uri="{FF2B5EF4-FFF2-40B4-BE49-F238E27FC236}">
                  <a16:creationId xmlns:a16="http://schemas.microsoft.com/office/drawing/2014/main" id="{8DA51A1F-066B-3D4E-8D1E-16BEACF7F02C}"/>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 name="Freeform 93">
              <a:extLst>
                <a:ext uri="{FF2B5EF4-FFF2-40B4-BE49-F238E27FC236}">
                  <a16:creationId xmlns:a16="http://schemas.microsoft.com/office/drawing/2014/main" id="{A75D15DA-BD32-9A4B-8DF7-EBC8EDCF4112}"/>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 name="Freeform 94">
              <a:extLst>
                <a:ext uri="{FF2B5EF4-FFF2-40B4-BE49-F238E27FC236}">
                  <a16:creationId xmlns:a16="http://schemas.microsoft.com/office/drawing/2014/main" id="{13882C4F-27A4-2D40-A6A4-E3FC45864867}"/>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 name="Freeform 95">
              <a:extLst>
                <a:ext uri="{FF2B5EF4-FFF2-40B4-BE49-F238E27FC236}">
                  <a16:creationId xmlns:a16="http://schemas.microsoft.com/office/drawing/2014/main" id="{DE023627-F5E9-3047-8258-25AECA52319A}"/>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 name="Freeform 96">
              <a:extLst>
                <a:ext uri="{FF2B5EF4-FFF2-40B4-BE49-F238E27FC236}">
                  <a16:creationId xmlns:a16="http://schemas.microsoft.com/office/drawing/2014/main" id="{BE57EA71-EFF3-164C-8120-645261578CFE}"/>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 name="Freeform 97">
              <a:extLst>
                <a:ext uri="{FF2B5EF4-FFF2-40B4-BE49-F238E27FC236}">
                  <a16:creationId xmlns:a16="http://schemas.microsoft.com/office/drawing/2014/main" id="{25050EE9-2BFB-EA44-B796-23BFE7F4837A}"/>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 name="Freeform 98">
              <a:extLst>
                <a:ext uri="{FF2B5EF4-FFF2-40B4-BE49-F238E27FC236}">
                  <a16:creationId xmlns:a16="http://schemas.microsoft.com/office/drawing/2014/main" id="{E903CDB3-E4F6-F94A-BC75-A28B09493323}"/>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 name="Freeform 99">
              <a:extLst>
                <a:ext uri="{FF2B5EF4-FFF2-40B4-BE49-F238E27FC236}">
                  <a16:creationId xmlns:a16="http://schemas.microsoft.com/office/drawing/2014/main" id="{8D7BD037-1D2F-B341-A114-B73E3DB7AD7D}"/>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 name="Freeform 100">
              <a:extLst>
                <a:ext uri="{FF2B5EF4-FFF2-40B4-BE49-F238E27FC236}">
                  <a16:creationId xmlns:a16="http://schemas.microsoft.com/office/drawing/2014/main" id="{3E91F9A1-6224-314A-B907-76EBB11430F1}"/>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 name="Freeform 101">
              <a:extLst>
                <a:ext uri="{FF2B5EF4-FFF2-40B4-BE49-F238E27FC236}">
                  <a16:creationId xmlns:a16="http://schemas.microsoft.com/office/drawing/2014/main" id="{F89262C7-C863-0944-B70D-B610CAE5E351}"/>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 name="Freeform 102">
              <a:extLst>
                <a:ext uri="{FF2B5EF4-FFF2-40B4-BE49-F238E27FC236}">
                  <a16:creationId xmlns:a16="http://schemas.microsoft.com/office/drawing/2014/main" id="{BC1892E5-78EA-404F-9849-247E331C6BDE}"/>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 name="Freeform 103">
              <a:extLst>
                <a:ext uri="{FF2B5EF4-FFF2-40B4-BE49-F238E27FC236}">
                  <a16:creationId xmlns:a16="http://schemas.microsoft.com/office/drawing/2014/main" id="{61B9AB6E-1A59-F241-A79A-727DEF62957A}"/>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 name="Freeform 104">
              <a:extLst>
                <a:ext uri="{FF2B5EF4-FFF2-40B4-BE49-F238E27FC236}">
                  <a16:creationId xmlns:a16="http://schemas.microsoft.com/office/drawing/2014/main" id="{7FBC6B33-341B-A243-9711-C3166D9604D0}"/>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 name="Freeform 105">
              <a:extLst>
                <a:ext uri="{FF2B5EF4-FFF2-40B4-BE49-F238E27FC236}">
                  <a16:creationId xmlns:a16="http://schemas.microsoft.com/office/drawing/2014/main" id="{70E31DE5-3FEE-3D4F-BEBF-DDDDE070DB5B}"/>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3" name="Title 1">
            <a:extLst>
              <a:ext uri="{FF2B5EF4-FFF2-40B4-BE49-F238E27FC236}">
                <a16:creationId xmlns:a16="http://schemas.microsoft.com/office/drawing/2014/main" id="{3951CBEA-00B0-2B44-BC3D-FC6428B9DB61}"/>
              </a:ext>
            </a:extLst>
          </p:cNvPr>
          <p:cNvSpPr>
            <a:spLocks noGrp="1"/>
          </p:cNvSpPr>
          <p:nvPr>
            <p:ph type="title"/>
          </p:nvPr>
        </p:nvSpPr>
        <p:spPr>
          <a:xfrm>
            <a:off x="687295" y="3046413"/>
            <a:ext cx="8229600" cy="1143000"/>
          </a:xfrm>
        </p:spPr>
        <p:txBody>
          <a:bodyPr>
            <a:normAutofit/>
          </a:bodyPr>
          <a:lstStyle>
            <a:lvl1pPr>
              <a:defRPr b="1">
                <a:solidFill>
                  <a:srgbClr val="009681"/>
                </a:solidFill>
              </a:defRPr>
            </a:lvl1pPr>
          </a:lstStyle>
          <a:p>
            <a:r>
              <a:rPr lang="en-US">
                <a:solidFill>
                  <a:srgbClr val="C8982C"/>
                </a:solidFill>
              </a:rPr>
              <a:t>Asset Markets</a:t>
            </a:r>
          </a:p>
        </p:txBody>
      </p:sp>
      <p:sp>
        <p:nvSpPr>
          <p:cNvPr id="34" name="Triangle 40">
            <a:extLst>
              <a:ext uri="{FF2B5EF4-FFF2-40B4-BE49-F238E27FC236}">
                <a16:creationId xmlns:a16="http://schemas.microsoft.com/office/drawing/2014/main" id="{85F8C2D6-08F1-2D4D-B6B1-0FEF2770F256}"/>
              </a:ext>
            </a:extLst>
          </p:cNvPr>
          <p:cNvSpPr/>
          <p:nvPr userDrawn="1"/>
        </p:nvSpPr>
        <p:spPr bwMode="auto">
          <a:xfrm flipH="1" flipV="1">
            <a:off x="-1" y="0"/>
            <a:ext cx="5392615" cy="1354238"/>
          </a:xfrm>
          <a:custGeom>
            <a:avLst/>
            <a:gdLst>
              <a:gd name="connsiteX0" fmla="*/ 0 w 12192000"/>
              <a:gd name="connsiteY0" fmla="*/ 2036323 h 2036323"/>
              <a:gd name="connsiteX1" fmla="*/ 12178955 w 12192000"/>
              <a:gd name="connsiteY1" fmla="*/ 0 h 2036323"/>
              <a:gd name="connsiteX2" fmla="*/ 12192000 w 12192000"/>
              <a:gd name="connsiteY2" fmla="*/ 2036323 h 2036323"/>
              <a:gd name="connsiteX3" fmla="*/ 0 w 12192000"/>
              <a:gd name="connsiteY3" fmla="*/ 2036323 h 2036323"/>
              <a:gd name="connsiteX0" fmla="*/ 0 w 12204970"/>
              <a:gd name="connsiteY0" fmla="*/ 1880680 h 2036323"/>
              <a:gd name="connsiteX1" fmla="*/ 12191925 w 12204970"/>
              <a:gd name="connsiteY1" fmla="*/ 0 h 2036323"/>
              <a:gd name="connsiteX2" fmla="*/ 12204970 w 12204970"/>
              <a:gd name="connsiteY2" fmla="*/ 2036323 h 2036323"/>
              <a:gd name="connsiteX3" fmla="*/ 0 w 12204970"/>
              <a:gd name="connsiteY3" fmla="*/ 1880680 h 2036323"/>
              <a:gd name="connsiteX0" fmla="*/ 0 w 12192096"/>
              <a:gd name="connsiteY0" fmla="*/ 1880680 h 1906621"/>
              <a:gd name="connsiteX1" fmla="*/ 12191925 w 12192096"/>
              <a:gd name="connsiteY1" fmla="*/ 0 h 1906621"/>
              <a:gd name="connsiteX2" fmla="*/ 12120664 w 12192096"/>
              <a:gd name="connsiteY2" fmla="*/ 1906621 h 1906621"/>
              <a:gd name="connsiteX3" fmla="*/ 0 w 12192096"/>
              <a:gd name="connsiteY3" fmla="*/ 1880680 h 1906621"/>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9673"/>
              <a:gd name="connsiteY0" fmla="*/ 1867710 h 2049294"/>
              <a:gd name="connsiteX1" fmla="*/ 12198410 w 12199673"/>
              <a:gd name="connsiteY1" fmla="*/ 0 h 2049294"/>
              <a:gd name="connsiteX2" fmla="*/ 12198485 w 12199673"/>
              <a:gd name="connsiteY2" fmla="*/ 2049294 h 2049294"/>
              <a:gd name="connsiteX3" fmla="*/ 0 w 12199673"/>
              <a:gd name="connsiteY3" fmla="*/ 1867710 h 2049294"/>
              <a:gd name="connsiteX0" fmla="*/ 0 w 12199673"/>
              <a:gd name="connsiteY0" fmla="*/ 1867710 h 2329173"/>
              <a:gd name="connsiteX1" fmla="*/ 12198410 w 12199673"/>
              <a:gd name="connsiteY1" fmla="*/ 0 h 2329173"/>
              <a:gd name="connsiteX2" fmla="*/ 12198485 w 12199673"/>
              <a:gd name="connsiteY2" fmla="*/ 2049294 h 2329173"/>
              <a:gd name="connsiteX3" fmla="*/ 0 w 12199673"/>
              <a:gd name="connsiteY3" fmla="*/ 1867710 h 2329173"/>
              <a:gd name="connsiteX0" fmla="*/ 0 w 12199673"/>
              <a:gd name="connsiteY0" fmla="*/ 1867710 h 2049294"/>
              <a:gd name="connsiteX1" fmla="*/ 12198410 w 12199673"/>
              <a:gd name="connsiteY1" fmla="*/ 0 h 2049294"/>
              <a:gd name="connsiteX2" fmla="*/ 12198485 w 12199673"/>
              <a:gd name="connsiteY2" fmla="*/ 2049294 h 2049294"/>
              <a:gd name="connsiteX3" fmla="*/ 0 w 12199673"/>
              <a:gd name="connsiteY3" fmla="*/ 1867710 h 2049294"/>
              <a:gd name="connsiteX0" fmla="*/ 1 w 12167248"/>
              <a:gd name="connsiteY0" fmla="*/ 1861225 h 2049294"/>
              <a:gd name="connsiteX1" fmla="*/ 12165985 w 12167248"/>
              <a:gd name="connsiteY1" fmla="*/ 0 h 2049294"/>
              <a:gd name="connsiteX2" fmla="*/ 12166060 w 12167248"/>
              <a:gd name="connsiteY2" fmla="*/ 2049294 h 2049294"/>
              <a:gd name="connsiteX3" fmla="*/ 1 w 12167248"/>
              <a:gd name="connsiteY3" fmla="*/ 1861225 h 2049294"/>
              <a:gd name="connsiteX0" fmla="*/ 1 w 12167248"/>
              <a:gd name="connsiteY0" fmla="*/ 1841769 h 2029838"/>
              <a:gd name="connsiteX1" fmla="*/ 12165985 w 12167248"/>
              <a:gd name="connsiteY1" fmla="*/ 0 h 2029838"/>
              <a:gd name="connsiteX2" fmla="*/ 12166060 w 12167248"/>
              <a:gd name="connsiteY2" fmla="*/ 2029838 h 2029838"/>
              <a:gd name="connsiteX3" fmla="*/ 1 w 12167248"/>
              <a:gd name="connsiteY3" fmla="*/ 1841769 h 2029838"/>
              <a:gd name="connsiteX0" fmla="*/ 1 w 12167248"/>
              <a:gd name="connsiteY0" fmla="*/ 1842242 h 2030311"/>
              <a:gd name="connsiteX1" fmla="*/ 12165985 w 12167248"/>
              <a:gd name="connsiteY1" fmla="*/ 473 h 2030311"/>
              <a:gd name="connsiteX2" fmla="*/ 12166060 w 12167248"/>
              <a:gd name="connsiteY2" fmla="*/ 2030311 h 2030311"/>
              <a:gd name="connsiteX3" fmla="*/ 1 w 12167248"/>
              <a:gd name="connsiteY3" fmla="*/ 1842242 h 2030311"/>
              <a:gd name="connsiteX0" fmla="*/ 1 w 12167248"/>
              <a:gd name="connsiteY0" fmla="*/ 1842242 h 2030710"/>
              <a:gd name="connsiteX1" fmla="*/ 12165985 w 12167248"/>
              <a:gd name="connsiteY1" fmla="*/ 473 h 2030710"/>
              <a:gd name="connsiteX2" fmla="*/ 12166060 w 12167248"/>
              <a:gd name="connsiteY2" fmla="*/ 2030311 h 2030710"/>
              <a:gd name="connsiteX3" fmla="*/ 1 w 12167248"/>
              <a:gd name="connsiteY3" fmla="*/ 1842242 h 2030710"/>
              <a:gd name="connsiteX0" fmla="*/ 1 w 12167248"/>
              <a:gd name="connsiteY0" fmla="*/ 1842242 h 2030710"/>
              <a:gd name="connsiteX1" fmla="*/ 12165985 w 12167248"/>
              <a:gd name="connsiteY1" fmla="*/ 473 h 2030710"/>
              <a:gd name="connsiteX2" fmla="*/ 12166060 w 12167248"/>
              <a:gd name="connsiteY2" fmla="*/ 2030311 h 2030710"/>
              <a:gd name="connsiteX3" fmla="*/ 1 w 12167248"/>
              <a:gd name="connsiteY3" fmla="*/ 1842242 h 2030710"/>
              <a:gd name="connsiteX0" fmla="*/ 1 w 12166780"/>
              <a:gd name="connsiteY0" fmla="*/ 1842242 h 2043646"/>
              <a:gd name="connsiteX1" fmla="*/ 12165985 w 12166780"/>
              <a:gd name="connsiteY1" fmla="*/ 473 h 2043646"/>
              <a:gd name="connsiteX2" fmla="*/ 12159575 w 12166780"/>
              <a:gd name="connsiteY2" fmla="*/ 2043281 h 2043646"/>
              <a:gd name="connsiteX3" fmla="*/ 1 w 12166780"/>
              <a:gd name="connsiteY3" fmla="*/ 1842242 h 2043646"/>
              <a:gd name="connsiteX0" fmla="*/ 1 w 12166780"/>
              <a:gd name="connsiteY0" fmla="*/ 1842242 h 2024244"/>
              <a:gd name="connsiteX1" fmla="*/ 12165985 w 12166780"/>
              <a:gd name="connsiteY1" fmla="*/ 473 h 2024244"/>
              <a:gd name="connsiteX2" fmla="*/ 12159575 w 12166780"/>
              <a:gd name="connsiteY2" fmla="*/ 2023826 h 2024244"/>
              <a:gd name="connsiteX3" fmla="*/ 1 w 12166780"/>
              <a:gd name="connsiteY3" fmla="*/ 1842242 h 2024244"/>
              <a:gd name="connsiteX0" fmla="*/ 1 w 12179031"/>
              <a:gd name="connsiteY0" fmla="*/ 1842242 h 2037177"/>
              <a:gd name="connsiteX1" fmla="*/ 12165985 w 12179031"/>
              <a:gd name="connsiteY1" fmla="*/ 473 h 2037177"/>
              <a:gd name="connsiteX2" fmla="*/ 12179030 w 12179031"/>
              <a:gd name="connsiteY2" fmla="*/ 2036796 h 2037177"/>
              <a:gd name="connsiteX3" fmla="*/ 1 w 12179031"/>
              <a:gd name="connsiteY3" fmla="*/ 1842242 h 2037177"/>
              <a:gd name="connsiteX0" fmla="*/ 1 w 12167248"/>
              <a:gd name="connsiteY0" fmla="*/ 1842242 h 2056588"/>
              <a:gd name="connsiteX1" fmla="*/ 12165985 w 12167248"/>
              <a:gd name="connsiteY1" fmla="*/ 473 h 2056588"/>
              <a:gd name="connsiteX2" fmla="*/ 12166060 w 12167248"/>
              <a:gd name="connsiteY2" fmla="*/ 2056251 h 2056588"/>
              <a:gd name="connsiteX3" fmla="*/ 1 w 12167248"/>
              <a:gd name="connsiteY3" fmla="*/ 1842242 h 2056588"/>
              <a:gd name="connsiteX0" fmla="*/ 1 w 12192002"/>
              <a:gd name="connsiteY0" fmla="*/ 1842242 h 2024244"/>
              <a:gd name="connsiteX1" fmla="*/ 12165985 w 12192002"/>
              <a:gd name="connsiteY1" fmla="*/ 473 h 2024244"/>
              <a:gd name="connsiteX2" fmla="*/ 12192001 w 12192002"/>
              <a:gd name="connsiteY2" fmla="*/ 2023826 h 2024244"/>
              <a:gd name="connsiteX3" fmla="*/ 1 w 12192002"/>
              <a:gd name="connsiteY3" fmla="*/ 1842242 h 2024244"/>
              <a:gd name="connsiteX0" fmla="*/ 1 w 12167248"/>
              <a:gd name="connsiteY0" fmla="*/ 1842242 h 2050117"/>
              <a:gd name="connsiteX1" fmla="*/ 12165985 w 12167248"/>
              <a:gd name="connsiteY1" fmla="*/ 473 h 2050117"/>
              <a:gd name="connsiteX2" fmla="*/ 12166061 w 12167248"/>
              <a:gd name="connsiteY2" fmla="*/ 2049767 h 2050117"/>
              <a:gd name="connsiteX3" fmla="*/ 1 w 12167248"/>
              <a:gd name="connsiteY3" fmla="*/ 1842242 h 2050117"/>
              <a:gd name="connsiteX0" fmla="*/ 1 w 12166780"/>
              <a:gd name="connsiteY0" fmla="*/ 1842242 h 2024245"/>
              <a:gd name="connsiteX1" fmla="*/ 12165985 w 12166780"/>
              <a:gd name="connsiteY1" fmla="*/ 473 h 2024245"/>
              <a:gd name="connsiteX2" fmla="*/ 12159576 w 12166780"/>
              <a:gd name="connsiteY2" fmla="*/ 2023827 h 2024245"/>
              <a:gd name="connsiteX3" fmla="*/ 1 w 12166780"/>
              <a:gd name="connsiteY3" fmla="*/ 1842242 h 2024245"/>
              <a:gd name="connsiteX0" fmla="*/ 1 w 12172548"/>
              <a:gd name="connsiteY0" fmla="*/ 1842242 h 2043647"/>
              <a:gd name="connsiteX1" fmla="*/ 12165985 w 12172548"/>
              <a:gd name="connsiteY1" fmla="*/ 473 h 2043647"/>
              <a:gd name="connsiteX2" fmla="*/ 12172547 w 12172548"/>
              <a:gd name="connsiteY2" fmla="*/ 2043282 h 2043647"/>
              <a:gd name="connsiteX3" fmla="*/ 1 w 12172548"/>
              <a:gd name="connsiteY3" fmla="*/ 1842242 h 2043647"/>
              <a:gd name="connsiteX0" fmla="*/ 1 w 12166566"/>
              <a:gd name="connsiteY0" fmla="*/ 1842242 h 2030711"/>
              <a:gd name="connsiteX1" fmla="*/ 12165985 w 12166566"/>
              <a:gd name="connsiteY1" fmla="*/ 473 h 2030711"/>
              <a:gd name="connsiteX2" fmla="*/ 12153091 w 12166566"/>
              <a:gd name="connsiteY2" fmla="*/ 2030312 h 2030711"/>
              <a:gd name="connsiteX3" fmla="*/ 1 w 12166566"/>
              <a:gd name="connsiteY3" fmla="*/ 1842242 h 2030711"/>
              <a:gd name="connsiteX0" fmla="*/ 1 w 12175317"/>
              <a:gd name="connsiteY0" fmla="*/ 1842242 h 2037043"/>
              <a:gd name="connsiteX1" fmla="*/ 12165985 w 12175317"/>
              <a:gd name="connsiteY1" fmla="*/ 473 h 2037043"/>
              <a:gd name="connsiteX2" fmla="*/ 12175316 w 12175317"/>
              <a:gd name="connsiteY2" fmla="*/ 2036662 h 2037043"/>
              <a:gd name="connsiteX3" fmla="*/ 1 w 12175317"/>
              <a:gd name="connsiteY3" fmla="*/ 1842242 h 2037043"/>
              <a:gd name="connsiteX0" fmla="*/ 1 w 12184842"/>
              <a:gd name="connsiteY0" fmla="*/ 1842242 h 2027545"/>
              <a:gd name="connsiteX1" fmla="*/ 12165985 w 12184842"/>
              <a:gd name="connsiteY1" fmla="*/ 473 h 2027545"/>
              <a:gd name="connsiteX2" fmla="*/ 12184841 w 12184842"/>
              <a:gd name="connsiteY2" fmla="*/ 2027137 h 2027545"/>
              <a:gd name="connsiteX3" fmla="*/ 1 w 12184842"/>
              <a:gd name="connsiteY3" fmla="*/ 1842242 h 2027545"/>
              <a:gd name="connsiteX0" fmla="*/ 1 w 12184842"/>
              <a:gd name="connsiteY0" fmla="*/ 1851765 h 2037068"/>
              <a:gd name="connsiteX1" fmla="*/ 12172335 w 12184842"/>
              <a:gd name="connsiteY1" fmla="*/ 471 h 2037068"/>
              <a:gd name="connsiteX2" fmla="*/ 12184841 w 12184842"/>
              <a:gd name="connsiteY2" fmla="*/ 2036660 h 2037068"/>
              <a:gd name="connsiteX3" fmla="*/ 1 w 12184842"/>
              <a:gd name="connsiteY3" fmla="*/ 1851765 h 2037068"/>
              <a:gd name="connsiteX0" fmla="*/ 1 w 12184842"/>
              <a:gd name="connsiteY0" fmla="*/ 1858113 h 2043416"/>
              <a:gd name="connsiteX1" fmla="*/ 12172335 w 12184842"/>
              <a:gd name="connsiteY1" fmla="*/ 469 h 2043416"/>
              <a:gd name="connsiteX2" fmla="*/ 12184841 w 12184842"/>
              <a:gd name="connsiteY2" fmla="*/ 2043008 h 2043416"/>
              <a:gd name="connsiteX3" fmla="*/ 1 w 12184842"/>
              <a:gd name="connsiteY3" fmla="*/ 1858113 h 2043416"/>
              <a:gd name="connsiteX0" fmla="*/ 1 w 12205863"/>
              <a:gd name="connsiteY0" fmla="*/ 1858113 h 1923107"/>
              <a:gd name="connsiteX1" fmla="*/ 12172335 w 12205863"/>
              <a:gd name="connsiteY1" fmla="*/ 469 h 1923107"/>
              <a:gd name="connsiteX2" fmla="*/ 12205862 w 12205863"/>
              <a:gd name="connsiteY2" fmla="*/ 1920222 h 1923107"/>
              <a:gd name="connsiteX3" fmla="*/ 1 w 12205863"/>
              <a:gd name="connsiteY3" fmla="*/ 1858113 h 1923107"/>
              <a:gd name="connsiteX0" fmla="*/ 1 w 12206057"/>
              <a:gd name="connsiteY0" fmla="*/ 1858113 h 1920221"/>
              <a:gd name="connsiteX1" fmla="*/ 12172335 w 12206057"/>
              <a:gd name="connsiteY1" fmla="*/ 469 h 1920221"/>
              <a:gd name="connsiteX2" fmla="*/ 12205862 w 12206057"/>
              <a:gd name="connsiteY2" fmla="*/ 1920222 h 1920221"/>
              <a:gd name="connsiteX3" fmla="*/ 1 w 12206057"/>
              <a:gd name="connsiteY3" fmla="*/ 1858113 h 1920221"/>
              <a:gd name="connsiteX0" fmla="*/ 1 w 12227078"/>
              <a:gd name="connsiteY0" fmla="*/ 1858113 h 1870508"/>
              <a:gd name="connsiteX1" fmla="*/ 12172335 w 12227078"/>
              <a:gd name="connsiteY1" fmla="*/ 469 h 1870508"/>
              <a:gd name="connsiteX2" fmla="*/ 12226883 w 12227078"/>
              <a:gd name="connsiteY2" fmla="*/ 1821993 h 1870508"/>
              <a:gd name="connsiteX3" fmla="*/ 1 w 12227078"/>
              <a:gd name="connsiteY3" fmla="*/ 1858113 h 1870508"/>
              <a:gd name="connsiteX0" fmla="*/ 1 w 12227078"/>
              <a:gd name="connsiteY0" fmla="*/ 1919492 h 1931888"/>
              <a:gd name="connsiteX1" fmla="*/ 12193355 w 12227078"/>
              <a:gd name="connsiteY1" fmla="*/ 454 h 1931888"/>
              <a:gd name="connsiteX2" fmla="*/ 12226883 w 12227078"/>
              <a:gd name="connsiteY2" fmla="*/ 1883372 h 1931888"/>
              <a:gd name="connsiteX3" fmla="*/ 1 w 12227078"/>
              <a:gd name="connsiteY3" fmla="*/ 1919492 h 1931888"/>
              <a:gd name="connsiteX0" fmla="*/ 1 w 12258608"/>
              <a:gd name="connsiteY0" fmla="*/ 1919492 h 1930198"/>
              <a:gd name="connsiteX1" fmla="*/ 12193355 w 12258608"/>
              <a:gd name="connsiteY1" fmla="*/ 454 h 1930198"/>
              <a:gd name="connsiteX2" fmla="*/ 12258414 w 12258608"/>
              <a:gd name="connsiteY2" fmla="*/ 1846536 h 1930198"/>
              <a:gd name="connsiteX3" fmla="*/ 1 w 12258608"/>
              <a:gd name="connsiteY3" fmla="*/ 1919492 h 1930198"/>
              <a:gd name="connsiteX0" fmla="*/ 1 w 12193819"/>
              <a:gd name="connsiteY0" fmla="*/ 1919492 h 1932582"/>
              <a:gd name="connsiteX1" fmla="*/ 12193355 w 12193819"/>
              <a:gd name="connsiteY1" fmla="*/ 454 h 1932582"/>
              <a:gd name="connsiteX2" fmla="*/ 12174331 w 12193819"/>
              <a:gd name="connsiteY2" fmla="*/ 1895651 h 1932582"/>
              <a:gd name="connsiteX3" fmla="*/ 1 w 12193819"/>
              <a:gd name="connsiteY3" fmla="*/ 1919492 h 1932582"/>
              <a:gd name="connsiteX0" fmla="*/ 1 w 12193526"/>
              <a:gd name="connsiteY0" fmla="*/ 1919492 h 1932582"/>
              <a:gd name="connsiteX1" fmla="*/ 12193355 w 12193526"/>
              <a:gd name="connsiteY1" fmla="*/ 454 h 1932582"/>
              <a:gd name="connsiteX2" fmla="*/ 12174331 w 12193526"/>
              <a:gd name="connsiteY2" fmla="*/ 1895651 h 1932582"/>
              <a:gd name="connsiteX3" fmla="*/ 1 w 12193526"/>
              <a:gd name="connsiteY3" fmla="*/ 1919492 h 1932582"/>
              <a:gd name="connsiteX0" fmla="*/ 1 w 12193526"/>
              <a:gd name="connsiteY0" fmla="*/ 1919492 h 1938518"/>
              <a:gd name="connsiteX1" fmla="*/ 12193355 w 12193526"/>
              <a:gd name="connsiteY1" fmla="*/ 454 h 1938518"/>
              <a:gd name="connsiteX2" fmla="*/ 12174331 w 12193526"/>
              <a:gd name="connsiteY2" fmla="*/ 1895651 h 1938518"/>
              <a:gd name="connsiteX3" fmla="*/ 1 w 12193526"/>
              <a:gd name="connsiteY3" fmla="*/ 1919492 h 1938518"/>
              <a:gd name="connsiteX0" fmla="*/ 1 w 12193584"/>
              <a:gd name="connsiteY0" fmla="*/ 1919492 h 1938518"/>
              <a:gd name="connsiteX1" fmla="*/ 12193355 w 12193584"/>
              <a:gd name="connsiteY1" fmla="*/ 454 h 1938518"/>
              <a:gd name="connsiteX2" fmla="*/ 12174331 w 12193584"/>
              <a:gd name="connsiteY2" fmla="*/ 1895651 h 1938518"/>
              <a:gd name="connsiteX3" fmla="*/ 1 w 12193584"/>
              <a:gd name="connsiteY3" fmla="*/ 1919492 h 1938518"/>
              <a:gd name="connsiteX0" fmla="*/ 1 w 12193468"/>
              <a:gd name="connsiteY0" fmla="*/ 1919492 h 1933905"/>
              <a:gd name="connsiteX1" fmla="*/ 12193355 w 12193468"/>
              <a:gd name="connsiteY1" fmla="*/ 454 h 1933905"/>
              <a:gd name="connsiteX2" fmla="*/ 12111269 w 12193468"/>
              <a:gd name="connsiteY2" fmla="*/ 1846537 h 1933905"/>
              <a:gd name="connsiteX3" fmla="*/ 1 w 12193468"/>
              <a:gd name="connsiteY3" fmla="*/ 1919492 h 1933905"/>
              <a:gd name="connsiteX0" fmla="*/ 1 w 12193632"/>
              <a:gd name="connsiteY0" fmla="*/ 1919492 h 1940184"/>
              <a:gd name="connsiteX1" fmla="*/ 12193355 w 12193632"/>
              <a:gd name="connsiteY1" fmla="*/ 454 h 1940184"/>
              <a:gd name="connsiteX2" fmla="*/ 12184841 w 12193632"/>
              <a:gd name="connsiteY2" fmla="*/ 1907931 h 1940184"/>
              <a:gd name="connsiteX3" fmla="*/ 1 w 12193632"/>
              <a:gd name="connsiteY3" fmla="*/ 1919492 h 1940184"/>
              <a:gd name="connsiteX0" fmla="*/ 1 w 12193376"/>
              <a:gd name="connsiteY0" fmla="*/ 1919492 h 1923285"/>
              <a:gd name="connsiteX1" fmla="*/ 12193355 w 12193376"/>
              <a:gd name="connsiteY1" fmla="*/ 454 h 1923285"/>
              <a:gd name="connsiteX2" fmla="*/ 11586288 w 12193376"/>
              <a:gd name="connsiteY2" fmla="*/ 1274881 h 1923285"/>
              <a:gd name="connsiteX3" fmla="*/ 1 w 12193376"/>
              <a:gd name="connsiteY3" fmla="*/ 1919492 h 1923285"/>
              <a:gd name="connsiteX0" fmla="*/ 1 w 12211564"/>
              <a:gd name="connsiteY0" fmla="*/ 1919492 h 1940184"/>
              <a:gd name="connsiteX1" fmla="*/ 12193355 w 12211564"/>
              <a:gd name="connsiteY1" fmla="*/ 454 h 1940184"/>
              <a:gd name="connsiteX2" fmla="*/ 12211564 w 12211564"/>
              <a:gd name="connsiteY2" fmla="*/ 1907932 h 1940184"/>
              <a:gd name="connsiteX3" fmla="*/ 1 w 12211564"/>
              <a:gd name="connsiteY3" fmla="*/ 1919492 h 1940184"/>
              <a:gd name="connsiteX0" fmla="*/ 1 w 12142089"/>
              <a:gd name="connsiteY0" fmla="*/ 1913227 h 1934891"/>
              <a:gd name="connsiteX1" fmla="*/ 12123880 w 12142089"/>
              <a:gd name="connsiteY1" fmla="*/ 456 h 1934891"/>
              <a:gd name="connsiteX2" fmla="*/ 12142089 w 12142089"/>
              <a:gd name="connsiteY2" fmla="*/ 1907934 h 1934891"/>
              <a:gd name="connsiteX3" fmla="*/ 1 w 12142089"/>
              <a:gd name="connsiteY3" fmla="*/ 1913227 h 1934891"/>
              <a:gd name="connsiteX0" fmla="*/ 2 w 12142090"/>
              <a:gd name="connsiteY0" fmla="*/ 1913227 h 1913226"/>
              <a:gd name="connsiteX1" fmla="*/ 12123881 w 12142090"/>
              <a:gd name="connsiteY1" fmla="*/ 456 h 1913226"/>
              <a:gd name="connsiteX2" fmla="*/ 12142090 w 12142090"/>
              <a:gd name="connsiteY2" fmla="*/ 1907934 h 1913226"/>
              <a:gd name="connsiteX3" fmla="*/ 2 w 12142090"/>
              <a:gd name="connsiteY3" fmla="*/ 1913227 h 1913226"/>
              <a:gd name="connsiteX0" fmla="*/ 3 w 12093993"/>
              <a:gd name="connsiteY0" fmla="*/ 1919495 h 1919495"/>
              <a:gd name="connsiteX1" fmla="*/ 12075784 w 12093993"/>
              <a:gd name="connsiteY1" fmla="*/ 455 h 1919495"/>
              <a:gd name="connsiteX2" fmla="*/ 12093993 w 12093993"/>
              <a:gd name="connsiteY2" fmla="*/ 1907933 h 1919495"/>
              <a:gd name="connsiteX3" fmla="*/ 3 w 12093993"/>
              <a:gd name="connsiteY3" fmla="*/ 1919495 h 1919495"/>
              <a:gd name="connsiteX0" fmla="*/ 3 w 12126172"/>
              <a:gd name="connsiteY0" fmla="*/ 1919495 h 1919495"/>
              <a:gd name="connsiteX1" fmla="*/ 12075784 w 12126172"/>
              <a:gd name="connsiteY1" fmla="*/ 455 h 1919495"/>
              <a:gd name="connsiteX2" fmla="*/ 12126172 w 12126172"/>
              <a:gd name="connsiteY2" fmla="*/ 1895062 h 1919495"/>
              <a:gd name="connsiteX3" fmla="*/ 3 w 12126172"/>
              <a:gd name="connsiteY3" fmla="*/ 1919495 h 1919495"/>
              <a:gd name="connsiteX0" fmla="*/ 3 w 12088629"/>
              <a:gd name="connsiteY0" fmla="*/ 1919495 h 1919495"/>
              <a:gd name="connsiteX1" fmla="*/ 12075784 w 12088629"/>
              <a:gd name="connsiteY1" fmla="*/ 455 h 1919495"/>
              <a:gd name="connsiteX2" fmla="*/ 12088629 w 12088629"/>
              <a:gd name="connsiteY2" fmla="*/ 1907935 h 1919495"/>
              <a:gd name="connsiteX3" fmla="*/ 3 w 12088629"/>
              <a:gd name="connsiteY3" fmla="*/ 1919495 h 1919495"/>
              <a:gd name="connsiteX0" fmla="*/ 3 w 12088645"/>
              <a:gd name="connsiteY0" fmla="*/ 1919495 h 1920291"/>
              <a:gd name="connsiteX1" fmla="*/ 12075784 w 12088645"/>
              <a:gd name="connsiteY1" fmla="*/ 455 h 1920291"/>
              <a:gd name="connsiteX2" fmla="*/ 12088629 w 12088645"/>
              <a:gd name="connsiteY2" fmla="*/ 1907935 h 1920291"/>
              <a:gd name="connsiteX3" fmla="*/ 3 w 12088645"/>
              <a:gd name="connsiteY3" fmla="*/ 1919495 h 1920291"/>
              <a:gd name="connsiteX0" fmla="*/ 3 w 12088645"/>
              <a:gd name="connsiteY0" fmla="*/ 1919495 h 1920290"/>
              <a:gd name="connsiteX1" fmla="*/ 12075784 w 12088645"/>
              <a:gd name="connsiteY1" fmla="*/ 455 h 1920290"/>
              <a:gd name="connsiteX2" fmla="*/ 12088629 w 12088645"/>
              <a:gd name="connsiteY2" fmla="*/ 1907935 h 1920290"/>
              <a:gd name="connsiteX3" fmla="*/ 3 w 12088645"/>
              <a:gd name="connsiteY3" fmla="*/ 1919495 h 1920290"/>
              <a:gd name="connsiteX0" fmla="*/ 3 w 12094009"/>
              <a:gd name="connsiteY0" fmla="*/ 1919495 h 1919494"/>
              <a:gd name="connsiteX1" fmla="*/ 12075784 w 12094009"/>
              <a:gd name="connsiteY1" fmla="*/ 455 h 1919494"/>
              <a:gd name="connsiteX2" fmla="*/ 12093993 w 12094009"/>
              <a:gd name="connsiteY2" fmla="*/ 1882192 h 1919494"/>
              <a:gd name="connsiteX3" fmla="*/ 3 w 12094009"/>
              <a:gd name="connsiteY3" fmla="*/ 1919495 h 1919494"/>
              <a:gd name="connsiteX0" fmla="*/ 3 w 12099372"/>
              <a:gd name="connsiteY0" fmla="*/ 1919495 h 1920290"/>
              <a:gd name="connsiteX1" fmla="*/ 12075784 w 12099372"/>
              <a:gd name="connsiteY1" fmla="*/ 455 h 1920290"/>
              <a:gd name="connsiteX2" fmla="*/ 12099356 w 12099372"/>
              <a:gd name="connsiteY2" fmla="*/ 1907935 h 1920290"/>
              <a:gd name="connsiteX3" fmla="*/ 3 w 12099372"/>
              <a:gd name="connsiteY3" fmla="*/ 1919495 h 1920290"/>
              <a:gd name="connsiteX0" fmla="*/ 3 w 12099372"/>
              <a:gd name="connsiteY0" fmla="*/ 1919495 h 1920290"/>
              <a:gd name="connsiteX1" fmla="*/ 12075784 w 12099372"/>
              <a:gd name="connsiteY1" fmla="*/ 455 h 1920290"/>
              <a:gd name="connsiteX2" fmla="*/ 12099356 w 12099372"/>
              <a:gd name="connsiteY2" fmla="*/ 1907935 h 1920290"/>
              <a:gd name="connsiteX3" fmla="*/ 3 w 12099372"/>
              <a:gd name="connsiteY3" fmla="*/ 1919495 h 1920290"/>
              <a:gd name="connsiteX0" fmla="*/ 3 w 12075784"/>
              <a:gd name="connsiteY0" fmla="*/ 1919495 h 1919494"/>
              <a:gd name="connsiteX1" fmla="*/ 12075784 w 12075784"/>
              <a:gd name="connsiteY1" fmla="*/ 455 h 1919494"/>
              <a:gd name="connsiteX2" fmla="*/ 11874101 w 12075784"/>
              <a:gd name="connsiteY2" fmla="*/ 1901500 h 1919494"/>
              <a:gd name="connsiteX3" fmla="*/ 3 w 12075784"/>
              <a:gd name="connsiteY3" fmla="*/ 1919495 h 1919494"/>
              <a:gd name="connsiteX0" fmla="*/ 3 w 12083281"/>
              <a:gd name="connsiteY0" fmla="*/ 1919495 h 1920290"/>
              <a:gd name="connsiteX1" fmla="*/ 12075784 w 12083281"/>
              <a:gd name="connsiteY1" fmla="*/ 455 h 1920290"/>
              <a:gd name="connsiteX2" fmla="*/ 12083265 w 12083281"/>
              <a:gd name="connsiteY2" fmla="*/ 1907937 h 1920290"/>
              <a:gd name="connsiteX3" fmla="*/ 3 w 12083281"/>
              <a:gd name="connsiteY3" fmla="*/ 1919495 h 1920290"/>
              <a:gd name="connsiteX0" fmla="*/ 3 w 12083281"/>
              <a:gd name="connsiteY0" fmla="*/ 1919495 h 1920290"/>
              <a:gd name="connsiteX1" fmla="*/ 12075784 w 12083281"/>
              <a:gd name="connsiteY1" fmla="*/ 455 h 1920290"/>
              <a:gd name="connsiteX2" fmla="*/ 12083265 w 12083281"/>
              <a:gd name="connsiteY2" fmla="*/ 1907937 h 1920290"/>
              <a:gd name="connsiteX3" fmla="*/ 3 w 12083281"/>
              <a:gd name="connsiteY3" fmla="*/ 1919495 h 1920290"/>
            </a:gdLst>
            <a:ahLst/>
            <a:cxnLst>
              <a:cxn ang="0">
                <a:pos x="connsiteX0" y="connsiteY0"/>
              </a:cxn>
              <a:cxn ang="0">
                <a:pos x="connsiteX1" y="connsiteY1"/>
              </a:cxn>
              <a:cxn ang="0">
                <a:pos x="connsiteX2" y="connsiteY2"/>
              </a:cxn>
              <a:cxn ang="0">
                <a:pos x="connsiteX3" y="connsiteY3"/>
              </a:cxn>
            </a:cxnLst>
            <a:rect l="l" t="t" r="r" b="b"/>
            <a:pathLst>
              <a:path w="12083281" h="1920290">
                <a:moveTo>
                  <a:pt x="3" y="1919495"/>
                </a:moveTo>
                <a:cubicBezTo>
                  <a:pt x="-21" y="1915172"/>
                  <a:pt x="12056353" y="-34132"/>
                  <a:pt x="12075784" y="455"/>
                </a:cubicBezTo>
                <a:cubicBezTo>
                  <a:pt x="12064042" y="35633"/>
                  <a:pt x="12074201" y="1926691"/>
                  <a:pt x="12083265" y="1907937"/>
                </a:cubicBezTo>
                <a:cubicBezTo>
                  <a:pt x="12099828" y="1924799"/>
                  <a:pt x="-6259" y="1919506"/>
                  <a:pt x="3" y="1919495"/>
                </a:cubicBezTo>
                <a:close/>
              </a:path>
            </a:pathLst>
          </a:custGeom>
          <a:solidFill>
            <a:srgbClr val="00968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cxnSp>
        <p:nvCxnSpPr>
          <p:cNvPr id="35" name="Straight Connector 34">
            <a:extLst>
              <a:ext uri="{FF2B5EF4-FFF2-40B4-BE49-F238E27FC236}">
                <a16:creationId xmlns:a16="http://schemas.microsoft.com/office/drawing/2014/main" id="{31A2A7CD-F928-B346-9944-3D1E3B257157}"/>
              </a:ext>
            </a:extLst>
          </p:cNvPr>
          <p:cNvCxnSpPr>
            <a:cxnSpLocks/>
          </p:cNvCxnSpPr>
          <p:nvPr userDrawn="1"/>
        </p:nvCxnSpPr>
        <p:spPr bwMode="auto">
          <a:xfrm flipV="1">
            <a:off x="4192367" y="5486401"/>
            <a:ext cx="4951633" cy="1371599"/>
          </a:xfrm>
          <a:prstGeom prst="line">
            <a:avLst/>
          </a:prstGeom>
          <a:solidFill>
            <a:schemeClr val="hlink"/>
          </a:solidFill>
          <a:ln w="12700" cap="flat" cmpd="sng" algn="ctr">
            <a:solidFill>
              <a:schemeClr val="bg1">
                <a:lumMod val="85000"/>
              </a:schemeClr>
            </a:solidFill>
            <a:prstDash val="solid"/>
            <a:round/>
            <a:headEnd type="none" w="med" len="med"/>
            <a:tailEnd type="none" w="med" len="med"/>
          </a:ln>
          <a:effectLst/>
        </p:spPr>
      </p:cxnSp>
      <p:sp>
        <p:nvSpPr>
          <p:cNvPr id="36" name="Triangle 40">
            <a:extLst>
              <a:ext uri="{FF2B5EF4-FFF2-40B4-BE49-F238E27FC236}">
                <a16:creationId xmlns:a16="http://schemas.microsoft.com/office/drawing/2014/main" id="{E534579F-EAD0-B342-AD52-071BF6F40DEA}"/>
              </a:ext>
            </a:extLst>
          </p:cNvPr>
          <p:cNvSpPr/>
          <p:nvPr userDrawn="1"/>
        </p:nvSpPr>
        <p:spPr bwMode="auto">
          <a:xfrm rot="8472601" flipH="1" flipV="1">
            <a:off x="6172249" y="4956023"/>
            <a:ext cx="3771331" cy="1230334"/>
          </a:xfrm>
          <a:custGeom>
            <a:avLst/>
            <a:gdLst>
              <a:gd name="connsiteX0" fmla="*/ 0 w 12192000"/>
              <a:gd name="connsiteY0" fmla="*/ 2036323 h 2036323"/>
              <a:gd name="connsiteX1" fmla="*/ 12178955 w 12192000"/>
              <a:gd name="connsiteY1" fmla="*/ 0 h 2036323"/>
              <a:gd name="connsiteX2" fmla="*/ 12192000 w 12192000"/>
              <a:gd name="connsiteY2" fmla="*/ 2036323 h 2036323"/>
              <a:gd name="connsiteX3" fmla="*/ 0 w 12192000"/>
              <a:gd name="connsiteY3" fmla="*/ 2036323 h 2036323"/>
              <a:gd name="connsiteX0" fmla="*/ 0 w 12204970"/>
              <a:gd name="connsiteY0" fmla="*/ 1880680 h 2036323"/>
              <a:gd name="connsiteX1" fmla="*/ 12191925 w 12204970"/>
              <a:gd name="connsiteY1" fmla="*/ 0 h 2036323"/>
              <a:gd name="connsiteX2" fmla="*/ 12204970 w 12204970"/>
              <a:gd name="connsiteY2" fmla="*/ 2036323 h 2036323"/>
              <a:gd name="connsiteX3" fmla="*/ 0 w 12204970"/>
              <a:gd name="connsiteY3" fmla="*/ 1880680 h 2036323"/>
              <a:gd name="connsiteX0" fmla="*/ 0 w 12192096"/>
              <a:gd name="connsiteY0" fmla="*/ 1880680 h 1906621"/>
              <a:gd name="connsiteX1" fmla="*/ 12191925 w 12192096"/>
              <a:gd name="connsiteY1" fmla="*/ 0 h 1906621"/>
              <a:gd name="connsiteX2" fmla="*/ 12120664 w 12192096"/>
              <a:gd name="connsiteY2" fmla="*/ 1906621 h 1906621"/>
              <a:gd name="connsiteX3" fmla="*/ 0 w 12192096"/>
              <a:gd name="connsiteY3" fmla="*/ 1880680 h 1906621"/>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9673"/>
              <a:gd name="connsiteY0" fmla="*/ 1867710 h 2049294"/>
              <a:gd name="connsiteX1" fmla="*/ 12198410 w 12199673"/>
              <a:gd name="connsiteY1" fmla="*/ 0 h 2049294"/>
              <a:gd name="connsiteX2" fmla="*/ 12198485 w 12199673"/>
              <a:gd name="connsiteY2" fmla="*/ 2049294 h 2049294"/>
              <a:gd name="connsiteX3" fmla="*/ 0 w 12199673"/>
              <a:gd name="connsiteY3" fmla="*/ 1867710 h 2049294"/>
              <a:gd name="connsiteX0" fmla="*/ 0 w 12199673"/>
              <a:gd name="connsiteY0" fmla="*/ 1867710 h 2329173"/>
              <a:gd name="connsiteX1" fmla="*/ 12198410 w 12199673"/>
              <a:gd name="connsiteY1" fmla="*/ 0 h 2329173"/>
              <a:gd name="connsiteX2" fmla="*/ 12198485 w 12199673"/>
              <a:gd name="connsiteY2" fmla="*/ 2049294 h 2329173"/>
              <a:gd name="connsiteX3" fmla="*/ 0 w 12199673"/>
              <a:gd name="connsiteY3" fmla="*/ 1867710 h 2329173"/>
              <a:gd name="connsiteX0" fmla="*/ 0 w 12199673"/>
              <a:gd name="connsiteY0" fmla="*/ 1867710 h 2049294"/>
              <a:gd name="connsiteX1" fmla="*/ 12198410 w 12199673"/>
              <a:gd name="connsiteY1" fmla="*/ 0 h 2049294"/>
              <a:gd name="connsiteX2" fmla="*/ 12198485 w 12199673"/>
              <a:gd name="connsiteY2" fmla="*/ 2049294 h 2049294"/>
              <a:gd name="connsiteX3" fmla="*/ 0 w 12199673"/>
              <a:gd name="connsiteY3" fmla="*/ 1867710 h 2049294"/>
              <a:gd name="connsiteX0" fmla="*/ 1 w 12167248"/>
              <a:gd name="connsiteY0" fmla="*/ 1861225 h 2049294"/>
              <a:gd name="connsiteX1" fmla="*/ 12165985 w 12167248"/>
              <a:gd name="connsiteY1" fmla="*/ 0 h 2049294"/>
              <a:gd name="connsiteX2" fmla="*/ 12166060 w 12167248"/>
              <a:gd name="connsiteY2" fmla="*/ 2049294 h 2049294"/>
              <a:gd name="connsiteX3" fmla="*/ 1 w 12167248"/>
              <a:gd name="connsiteY3" fmla="*/ 1861225 h 2049294"/>
              <a:gd name="connsiteX0" fmla="*/ 1 w 12167248"/>
              <a:gd name="connsiteY0" fmla="*/ 1841769 h 2029838"/>
              <a:gd name="connsiteX1" fmla="*/ 12165985 w 12167248"/>
              <a:gd name="connsiteY1" fmla="*/ 0 h 2029838"/>
              <a:gd name="connsiteX2" fmla="*/ 12166060 w 12167248"/>
              <a:gd name="connsiteY2" fmla="*/ 2029838 h 2029838"/>
              <a:gd name="connsiteX3" fmla="*/ 1 w 12167248"/>
              <a:gd name="connsiteY3" fmla="*/ 1841769 h 2029838"/>
              <a:gd name="connsiteX0" fmla="*/ 1 w 12167248"/>
              <a:gd name="connsiteY0" fmla="*/ 1842242 h 2030311"/>
              <a:gd name="connsiteX1" fmla="*/ 12165985 w 12167248"/>
              <a:gd name="connsiteY1" fmla="*/ 473 h 2030311"/>
              <a:gd name="connsiteX2" fmla="*/ 12166060 w 12167248"/>
              <a:gd name="connsiteY2" fmla="*/ 2030311 h 2030311"/>
              <a:gd name="connsiteX3" fmla="*/ 1 w 12167248"/>
              <a:gd name="connsiteY3" fmla="*/ 1842242 h 2030311"/>
              <a:gd name="connsiteX0" fmla="*/ 1 w 12167248"/>
              <a:gd name="connsiteY0" fmla="*/ 1842242 h 2030710"/>
              <a:gd name="connsiteX1" fmla="*/ 12165985 w 12167248"/>
              <a:gd name="connsiteY1" fmla="*/ 473 h 2030710"/>
              <a:gd name="connsiteX2" fmla="*/ 12166060 w 12167248"/>
              <a:gd name="connsiteY2" fmla="*/ 2030311 h 2030710"/>
              <a:gd name="connsiteX3" fmla="*/ 1 w 12167248"/>
              <a:gd name="connsiteY3" fmla="*/ 1842242 h 2030710"/>
              <a:gd name="connsiteX0" fmla="*/ 1 w 12167248"/>
              <a:gd name="connsiteY0" fmla="*/ 1842242 h 2030710"/>
              <a:gd name="connsiteX1" fmla="*/ 12165985 w 12167248"/>
              <a:gd name="connsiteY1" fmla="*/ 473 h 2030710"/>
              <a:gd name="connsiteX2" fmla="*/ 12166060 w 12167248"/>
              <a:gd name="connsiteY2" fmla="*/ 2030311 h 2030710"/>
              <a:gd name="connsiteX3" fmla="*/ 1 w 12167248"/>
              <a:gd name="connsiteY3" fmla="*/ 1842242 h 2030710"/>
              <a:gd name="connsiteX0" fmla="*/ 1 w 12166780"/>
              <a:gd name="connsiteY0" fmla="*/ 1842242 h 2043646"/>
              <a:gd name="connsiteX1" fmla="*/ 12165985 w 12166780"/>
              <a:gd name="connsiteY1" fmla="*/ 473 h 2043646"/>
              <a:gd name="connsiteX2" fmla="*/ 12159575 w 12166780"/>
              <a:gd name="connsiteY2" fmla="*/ 2043281 h 2043646"/>
              <a:gd name="connsiteX3" fmla="*/ 1 w 12166780"/>
              <a:gd name="connsiteY3" fmla="*/ 1842242 h 2043646"/>
              <a:gd name="connsiteX0" fmla="*/ 1 w 12166780"/>
              <a:gd name="connsiteY0" fmla="*/ 1842242 h 2024244"/>
              <a:gd name="connsiteX1" fmla="*/ 12165985 w 12166780"/>
              <a:gd name="connsiteY1" fmla="*/ 473 h 2024244"/>
              <a:gd name="connsiteX2" fmla="*/ 12159575 w 12166780"/>
              <a:gd name="connsiteY2" fmla="*/ 2023826 h 2024244"/>
              <a:gd name="connsiteX3" fmla="*/ 1 w 12166780"/>
              <a:gd name="connsiteY3" fmla="*/ 1842242 h 2024244"/>
              <a:gd name="connsiteX0" fmla="*/ 1 w 12179031"/>
              <a:gd name="connsiteY0" fmla="*/ 1842242 h 2037177"/>
              <a:gd name="connsiteX1" fmla="*/ 12165985 w 12179031"/>
              <a:gd name="connsiteY1" fmla="*/ 473 h 2037177"/>
              <a:gd name="connsiteX2" fmla="*/ 12179030 w 12179031"/>
              <a:gd name="connsiteY2" fmla="*/ 2036796 h 2037177"/>
              <a:gd name="connsiteX3" fmla="*/ 1 w 12179031"/>
              <a:gd name="connsiteY3" fmla="*/ 1842242 h 2037177"/>
              <a:gd name="connsiteX0" fmla="*/ 1 w 12167248"/>
              <a:gd name="connsiteY0" fmla="*/ 1842242 h 2056588"/>
              <a:gd name="connsiteX1" fmla="*/ 12165985 w 12167248"/>
              <a:gd name="connsiteY1" fmla="*/ 473 h 2056588"/>
              <a:gd name="connsiteX2" fmla="*/ 12166060 w 12167248"/>
              <a:gd name="connsiteY2" fmla="*/ 2056251 h 2056588"/>
              <a:gd name="connsiteX3" fmla="*/ 1 w 12167248"/>
              <a:gd name="connsiteY3" fmla="*/ 1842242 h 2056588"/>
              <a:gd name="connsiteX0" fmla="*/ 1 w 12192002"/>
              <a:gd name="connsiteY0" fmla="*/ 1842242 h 2024244"/>
              <a:gd name="connsiteX1" fmla="*/ 12165985 w 12192002"/>
              <a:gd name="connsiteY1" fmla="*/ 473 h 2024244"/>
              <a:gd name="connsiteX2" fmla="*/ 12192001 w 12192002"/>
              <a:gd name="connsiteY2" fmla="*/ 2023826 h 2024244"/>
              <a:gd name="connsiteX3" fmla="*/ 1 w 12192002"/>
              <a:gd name="connsiteY3" fmla="*/ 1842242 h 2024244"/>
              <a:gd name="connsiteX0" fmla="*/ 1 w 12167248"/>
              <a:gd name="connsiteY0" fmla="*/ 1842242 h 2050117"/>
              <a:gd name="connsiteX1" fmla="*/ 12165985 w 12167248"/>
              <a:gd name="connsiteY1" fmla="*/ 473 h 2050117"/>
              <a:gd name="connsiteX2" fmla="*/ 12166061 w 12167248"/>
              <a:gd name="connsiteY2" fmla="*/ 2049767 h 2050117"/>
              <a:gd name="connsiteX3" fmla="*/ 1 w 12167248"/>
              <a:gd name="connsiteY3" fmla="*/ 1842242 h 2050117"/>
              <a:gd name="connsiteX0" fmla="*/ 1 w 12166780"/>
              <a:gd name="connsiteY0" fmla="*/ 1842242 h 2024245"/>
              <a:gd name="connsiteX1" fmla="*/ 12165985 w 12166780"/>
              <a:gd name="connsiteY1" fmla="*/ 473 h 2024245"/>
              <a:gd name="connsiteX2" fmla="*/ 12159576 w 12166780"/>
              <a:gd name="connsiteY2" fmla="*/ 2023827 h 2024245"/>
              <a:gd name="connsiteX3" fmla="*/ 1 w 12166780"/>
              <a:gd name="connsiteY3" fmla="*/ 1842242 h 2024245"/>
              <a:gd name="connsiteX0" fmla="*/ 1 w 12172548"/>
              <a:gd name="connsiteY0" fmla="*/ 1842242 h 2043647"/>
              <a:gd name="connsiteX1" fmla="*/ 12165985 w 12172548"/>
              <a:gd name="connsiteY1" fmla="*/ 473 h 2043647"/>
              <a:gd name="connsiteX2" fmla="*/ 12172547 w 12172548"/>
              <a:gd name="connsiteY2" fmla="*/ 2043282 h 2043647"/>
              <a:gd name="connsiteX3" fmla="*/ 1 w 12172548"/>
              <a:gd name="connsiteY3" fmla="*/ 1842242 h 2043647"/>
              <a:gd name="connsiteX0" fmla="*/ 1 w 12166566"/>
              <a:gd name="connsiteY0" fmla="*/ 1842242 h 2030711"/>
              <a:gd name="connsiteX1" fmla="*/ 12165985 w 12166566"/>
              <a:gd name="connsiteY1" fmla="*/ 473 h 2030711"/>
              <a:gd name="connsiteX2" fmla="*/ 12153091 w 12166566"/>
              <a:gd name="connsiteY2" fmla="*/ 2030312 h 2030711"/>
              <a:gd name="connsiteX3" fmla="*/ 1 w 12166566"/>
              <a:gd name="connsiteY3" fmla="*/ 1842242 h 2030711"/>
              <a:gd name="connsiteX0" fmla="*/ 1 w 12175317"/>
              <a:gd name="connsiteY0" fmla="*/ 1842242 h 2037043"/>
              <a:gd name="connsiteX1" fmla="*/ 12165985 w 12175317"/>
              <a:gd name="connsiteY1" fmla="*/ 473 h 2037043"/>
              <a:gd name="connsiteX2" fmla="*/ 12175316 w 12175317"/>
              <a:gd name="connsiteY2" fmla="*/ 2036662 h 2037043"/>
              <a:gd name="connsiteX3" fmla="*/ 1 w 12175317"/>
              <a:gd name="connsiteY3" fmla="*/ 1842242 h 2037043"/>
              <a:gd name="connsiteX0" fmla="*/ 1 w 12184842"/>
              <a:gd name="connsiteY0" fmla="*/ 1842242 h 2027545"/>
              <a:gd name="connsiteX1" fmla="*/ 12165985 w 12184842"/>
              <a:gd name="connsiteY1" fmla="*/ 473 h 2027545"/>
              <a:gd name="connsiteX2" fmla="*/ 12184841 w 12184842"/>
              <a:gd name="connsiteY2" fmla="*/ 2027137 h 2027545"/>
              <a:gd name="connsiteX3" fmla="*/ 1 w 12184842"/>
              <a:gd name="connsiteY3" fmla="*/ 1842242 h 2027545"/>
              <a:gd name="connsiteX0" fmla="*/ 1 w 12184842"/>
              <a:gd name="connsiteY0" fmla="*/ 1851765 h 2037068"/>
              <a:gd name="connsiteX1" fmla="*/ 12172335 w 12184842"/>
              <a:gd name="connsiteY1" fmla="*/ 471 h 2037068"/>
              <a:gd name="connsiteX2" fmla="*/ 12184841 w 12184842"/>
              <a:gd name="connsiteY2" fmla="*/ 2036660 h 2037068"/>
              <a:gd name="connsiteX3" fmla="*/ 1 w 12184842"/>
              <a:gd name="connsiteY3" fmla="*/ 1851765 h 2037068"/>
              <a:gd name="connsiteX0" fmla="*/ 1 w 12184842"/>
              <a:gd name="connsiteY0" fmla="*/ 1858113 h 2043416"/>
              <a:gd name="connsiteX1" fmla="*/ 12172335 w 12184842"/>
              <a:gd name="connsiteY1" fmla="*/ 469 h 2043416"/>
              <a:gd name="connsiteX2" fmla="*/ 12184841 w 12184842"/>
              <a:gd name="connsiteY2" fmla="*/ 2043008 h 2043416"/>
              <a:gd name="connsiteX3" fmla="*/ 1 w 12184842"/>
              <a:gd name="connsiteY3" fmla="*/ 1858113 h 2043416"/>
              <a:gd name="connsiteX0" fmla="*/ 1 w 12205863"/>
              <a:gd name="connsiteY0" fmla="*/ 1858113 h 1923107"/>
              <a:gd name="connsiteX1" fmla="*/ 12172335 w 12205863"/>
              <a:gd name="connsiteY1" fmla="*/ 469 h 1923107"/>
              <a:gd name="connsiteX2" fmla="*/ 12205862 w 12205863"/>
              <a:gd name="connsiteY2" fmla="*/ 1920222 h 1923107"/>
              <a:gd name="connsiteX3" fmla="*/ 1 w 12205863"/>
              <a:gd name="connsiteY3" fmla="*/ 1858113 h 1923107"/>
              <a:gd name="connsiteX0" fmla="*/ 1 w 12206057"/>
              <a:gd name="connsiteY0" fmla="*/ 1858113 h 1920221"/>
              <a:gd name="connsiteX1" fmla="*/ 12172335 w 12206057"/>
              <a:gd name="connsiteY1" fmla="*/ 469 h 1920221"/>
              <a:gd name="connsiteX2" fmla="*/ 12205862 w 12206057"/>
              <a:gd name="connsiteY2" fmla="*/ 1920222 h 1920221"/>
              <a:gd name="connsiteX3" fmla="*/ 1 w 12206057"/>
              <a:gd name="connsiteY3" fmla="*/ 1858113 h 1920221"/>
              <a:gd name="connsiteX0" fmla="*/ 1 w 12227078"/>
              <a:gd name="connsiteY0" fmla="*/ 1858113 h 1870508"/>
              <a:gd name="connsiteX1" fmla="*/ 12172335 w 12227078"/>
              <a:gd name="connsiteY1" fmla="*/ 469 h 1870508"/>
              <a:gd name="connsiteX2" fmla="*/ 12226883 w 12227078"/>
              <a:gd name="connsiteY2" fmla="*/ 1821993 h 1870508"/>
              <a:gd name="connsiteX3" fmla="*/ 1 w 12227078"/>
              <a:gd name="connsiteY3" fmla="*/ 1858113 h 1870508"/>
              <a:gd name="connsiteX0" fmla="*/ 1 w 12227078"/>
              <a:gd name="connsiteY0" fmla="*/ 1919492 h 1931888"/>
              <a:gd name="connsiteX1" fmla="*/ 12193355 w 12227078"/>
              <a:gd name="connsiteY1" fmla="*/ 454 h 1931888"/>
              <a:gd name="connsiteX2" fmla="*/ 12226883 w 12227078"/>
              <a:gd name="connsiteY2" fmla="*/ 1883372 h 1931888"/>
              <a:gd name="connsiteX3" fmla="*/ 1 w 12227078"/>
              <a:gd name="connsiteY3" fmla="*/ 1919492 h 1931888"/>
              <a:gd name="connsiteX0" fmla="*/ 1 w 12258608"/>
              <a:gd name="connsiteY0" fmla="*/ 1919492 h 1930198"/>
              <a:gd name="connsiteX1" fmla="*/ 12193355 w 12258608"/>
              <a:gd name="connsiteY1" fmla="*/ 454 h 1930198"/>
              <a:gd name="connsiteX2" fmla="*/ 12258414 w 12258608"/>
              <a:gd name="connsiteY2" fmla="*/ 1846536 h 1930198"/>
              <a:gd name="connsiteX3" fmla="*/ 1 w 12258608"/>
              <a:gd name="connsiteY3" fmla="*/ 1919492 h 1930198"/>
              <a:gd name="connsiteX0" fmla="*/ 1 w 12193819"/>
              <a:gd name="connsiteY0" fmla="*/ 1919492 h 1932582"/>
              <a:gd name="connsiteX1" fmla="*/ 12193355 w 12193819"/>
              <a:gd name="connsiteY1" fmla="*/ 454 h 1932582"/>
              <a:gd name="connsiteX2" fmla="*/ 12174331 w 12193819"/>
              <a:gd name="connsiteY2" fmla="*/ 1895651 h 1932582"/>
              <a:gd name="connsiteX3" fmla="*/ 1 w 12193819"/>
              <a:gd name="connsiteY3" fmla="*/ 1919492 h 1932582"/>
              <a:gd name="connsiteX0" fmla="*/ 1 w 12193526"/>
              <a:gd name="connsiteY0" fmla="*/ 1919492 h 1932582"/>
              <a:gd name="connsiteX1" fmla="*/ 12193355 w 12193526"/>
              <a:gd name="connsiteY1" fmla="*/ 454 h 1932582"/>
              <a:gd name="connsiteX2" fmla="*/ 12174331 w 12193526"/>
              <a:gd name="connsiteY2" fmla="*/ 1895651 h 1932582"/>
              <a:gd name="connsiteX3" fmla="*/ 1 w 12193526"/>
              <a:gd name="connsiteY3" fmla="*/ 1919492 h 1932582"/>
              <a:gd name="connsiteX0" fmla="*/ 1 w 12193526"/>
              <a:gd name="connsiteY0" fmla="*/ 1919492 h 1938518"/>
              <a:gd name="connsiteX1" fmla="*/ 12193355 w 12193526"/>
              <a:gd name="connsiteY1" fmla="*/ 454 h 1938518"/>
              <a:gd name="connsiteX2" fmla="*/ 12174331 w 12193526"/>
              <a:gd name="connsiteY2" fmla="*/ 1895651 h 1938518"/>
              <a:gd name="connsiteX3" fmla="*/ 1 w 12193526"/>
              <a:gd name="connsiteY3" fmla="*/ 1919492 h 1938518"/>
              <a:gd name="connsiteX0" fmla="*/ 1 w 12193584"/>
              <a:gd name="connsiteY0" fmla="*/ 1919492 h 1938518"/>
              <a:gd name="connsiteX1" fmla="*/ 12193355 w 12193584"/>
              <a:gd name="connsiteY1" fmla="*/ 454 h 1938518"/>
              <a:gd name="connsiteX2" fmla="*/ 12174331 w 12193584"/>
              <a:gd name="connsiteY2" fmla="*/ 1895651 h 1938518"/>
              <a:gd name="connsiteX3" fmla="*/ 1 w 12193584"/>
              <a:gd name="connsiteY3" fmla="*/ 1919492 h 1938518"/>
              <a:gd name="connsiteX0" fmla="*/ 1 w 12193468"/>
              <a:gd name="connsiteY0" fmla="*/ 1919492 h 1933905"/>
              <a:gd name="connsiteX1" fmla="*/ 12193355 w 12193468"/>
              <a:gd name="connsiteY1" fmla="*/ 454 h 1933905"/>
              <a:gd name="connsiteX2" fmla="*/ 12111269 w 12193468"/>
              <a:gd name="connsiteY2" fmla="*/ 1846537 h 1933905"/>
              <a:gd name="connsiteX3" fmla="*/ 1 w 12193468"/>
              <a:gd name="connsiteY3" fmla="*/ 1919492 h 1933905"/>
              <a:gd name="connsiteX0" fmla="*/ 1 w 12193632"/>
              <a:gd name="connsiteY0" fmla="*/ 1919492 h 1940184"/>
              <a:gd name="connsiteX1" fmla="*/ 12193355 w 12193632"/>
              <a:gd name="connsiteY1" fmla="*/ 454 h 1940184"/>
              <a:gd name="connsiteX2" fmla="*/ 12184841 w 12193632"/>
              <a:gd name="connsiteY2" fmla="*/ 1907931 h 1940184"/>
              <a:gd name="connsiteX3" fmla="*/ 1 w 12193632"/>
              <a:gd name="connsiteY3" fmla="*/ 1919492 h 1940184"/>
              <a:gd name="connsiteX0" fmla="*/ 1 w 12193376"/>
              <a:gd name="connsiteY0" fmla="*/ 1919492 h 1923285"/>
              <a:gd name="connsiteX1" fmla="*/ 12193355 w 12193376"/>
              <a:gd name="connsiteY1" fmla="*/ 454 h 1923285"/>
              <a:gd name="connsiteX2" fmla="*/ 11586288 w 12193376"/>
              <a:gd name="connsiteY2" fmla="*/ 1274881 h 1923285"/>
              <a:gd name="connsiteX3" fmla="*/ 1 w 12193376"/>
              <a:gd name="connsiteY3" fmla="*/ 1919492 h 1923285"/>
              <a:gd name="connsiteX0" fmla="*/ 1 w 12211564"/>
              <a:gd name="connsiteY0" fmla="*/ 1919492 h 1940184"/>
              <a:gd name="connsiteX1" fmla="*/ 12193355 w 12211564"/>
              <a:gd name="connsiteY1" fmla="*/ 454 h 1940184"/>
              <a:gd name="connsiteX2" fmla="*/ 12211564 w 12211564"/>
              <a:gd name="connsiteY2" fmla="*/ 1907932 h 1940184"/>
              <a:gd name="connsiteX3" fmla="*/ 1 w 12211564"/>
              <a:gd name="connsiteY3" fmla="*/ 1919492 h 1940184"/>
              <a:gd name="connsiteX0" fmla="*/ 1 w 12142089"/>
              <a:gd name="connsiteY0" fmla="*/ 1913227 h 1934891"/>
              <a:gd name="connsiteX1" fmla="*/ 12123880 w 12142089"/>
              <a:gd name="connsiteY1" fmla="*/ 456 h 1934891"/>
              <a:gd name="connsiteX2" fmla="*/ 12142089 w 12142089"/>
              <a:gd name="connsiteY2" fmla="*/ 1907934 h 1934891"/>
              <a:gd name="connsiteX3" fmla="*/ 1 w 12142089"/>
              <a:gd name="connsiteY3" fmla="*/ 1913227 h 1934891"/>
              <a:gd name="connsiteX0" fmla="*/ 2 w 12142090"/>
              <a:gd name="connsiteY0" fmla="*/ 1913227 h 1913226"/>
              <a:gd name="connsiteX1" fmla="*/ 12123881 w 12142090"/>
              <a:gd name="connsiteY1" fmla="*/ 456 h 1913226"/>
              <a:gd name="connsiteX2" fmla="*/ 12142090 w 12142090"/>
              <a:gd name="connsiteY2" fmla="*/ 1907934 h 1913226"/>
              <a:gd name="connsiteX3" fmla="*/ 2 w 12142090"/>
              <a:gd name="connsiteY3" fmla="*/ 1913227 h 1913226"/>
              <a:gd name="connsiteX0" fmla="*/ 3 w 12093993"/>
              <a:gd name="connsiteY0" fmla="*/ 1919495 h 1919495"/>
              <a:gd name="connsiteX1" fmla="*/ 12075784 w 12093993"/>
              <a:gd name="connsiteY1" fmla="*/ 455 h 1919495"/>
              <a:gd name="connsiteX2" fmla="*/ 12093993 w 12093993"/>
              <a:gd name="connsiteY2" fmla="*/ 1907933 h 1919495"/>
              <a:gd name="connsiteX3" fmla="*/ 3 w 12093993"/>
              <a:gd name="connsiteY3" fmla="*/ 1919495 h 1919495"/>
              <a:gd name="connsiteX0" fmla="*/ 3 w 12126172"/>
              <a:gd name="connsiteY0" fmla="*/ 1919495 h 1919495"/>
              <a:gd name="connsiteX1" fmla="*/ 12075784 w 12126172"/>
              <a:gd name="connsiteY1" fmla="*/ 455 h 1919495"/>
              <a:gd name="connsiteX2" fmla="*/ 12126172 w 12126172"/>
              <a:gd name="connsiteY2" fmla="*/ 1895062 h 1919495"/>
              <a:gd name="connsiteX3" fmla="*/ 3 w 12126172"/>
              <a:gd name="connsiteY3" fmla="*/ 1919495 h 1919495"/>
              <a:gd name="connsiteX0" fmla="*/ 3 w 12088629"/>
              <a:gd name="connsiteY0" fmla="*/ 1919495 h 1919495"/>
              <a:gd name="connsiteX1" fmla="*/ 12075784 w 12088629"/>
              <a:gd name="connsiteY1" fmla="*/ 455 h 1919495"/>
              <a:gd name="connsiteX2" fmla="*/ 12088629 w 12088629"/>
              <a:gd name="connsiteY2" fmla="*/ 1907935 h 1919495"/>
              <a:gd name="connsiteX3" fmla="*/ 3 w 12088629"/>
              <a:gd name="connsiteY3" fmla="*/ 1919495 h 1919495"/>
              <a:gd name="connsiteX0" fmla="*/ 3 w 12088645"/>
              <a:gd name="connsiteY0" fmla="*/ 1919495 h 1920291"/>
              <a:gd name="connsiteX1" fmla="*/ 12075784 w 12088645"/>
              <a:gd name="connsiteY1" fmla="*/ 455 h 1920291"/>
              <a:gd name="connsiteX2" fmla="*/ 12088629 w 12088645"/>
              <a:gd name="connsiteY2" fmla="*/ 1907935 h 1920291"/>
              <a:gd name="connsiteX3" fmla="*/ 3 w 12088645"/>
              <a:gd name="connsiteY3" fmla="*/ 1919495 h 1920291"/>
              <a:gd name="connsiteX0" fmla="*/ 3 w 12088645"/>
              <a:gd name="connsiteY0" fmla="*/ 1919495 h 1920290"/>
              <a:gd name="connsiteX1" fmla="*/ 12075784 w 12088645"/>
              <a:gd name="connsiteY1" fmla="*/ 455 h 1920290"/>
              <a:gd name="connsiteX2" fmla="*/ 12088629 w 12088645"/>
              <a:gd name="connsiteY2" fmla="*/ 1907935 h 1920290"/>
              <a:gd name="connsiteX3" fmla="*/ 3 w 12088645"/>
              <a:gd name="connsiteY3" fmla="*/ 1919495 h 1920290"/>
              <a:gd name="connsiteX0" fmla="*/ 3 w 12094009"/>
              <a:gd name="connsiteY0" fmla="*/ 1919495 h 1919494"/>
              <a:gd name="connsiteX1" fmla="*/ 12075784 w 12094009"/>
              <a:gd name="connsiteY1" fmla="*/ 455 h 1919494"/>
              <a:gd name="connsiteX2" fmla="*/ 12093993 w 12094009"/>
              <a:gd name="connsiteY2" fmla="*/ 1882192 h 1919494"/>
              <a:gd name="connsiteX3" fmla="*/ 3 w 12094009"/>
              <a:gd name="connsiteY3" fmla="*/ 1919495 h 1919494"/>
              <a:gd name="connsiteX0" fmla="*/ 3 w 12099372"/>
              <a:gd name="connsiteY0" fmla="*/ 1919495 h 1920290"/>
              <a:gd name="connsiteX1" fmla="*/ 12075784 w 12099372"/>
              <a:gd name="connsiteY1" fmla="*/ 455 h 1920290"/>
              <a:gd name="connsiteX2" fmla="*/ 12099356 w 12099372"/>
              <a:gd name="connsiteY2" fmla="*/ 1907935 h 1920290"/>
              <a:gd name="connsiteX3" fmla="*/ 3 w 12099372"/>
              <a:gd name="connsiteY3" fmla="*/ 1919495 h 1920290"/>
              <a:gd name="connsiteX0" fmla="*/ 3 w 12099372"/>
              <a:gd name="connsiteY0" fmla="*/ 1919495 h 1920290"/>
              <a:gd name="connsiteX1" fmla="*/ 12075784 w 12099372"/>
              <a:gd name="connsiteY1" fmla="*/ 455 h 1920290"/>
              <a:gd name="connsiteX2" fmla="*/ 12099356 w 12099372"/>
              <a:gd name="connsiteY2" fmla="*/ 1907935 h 1920290"/>
              <a:gd name="connsiteX3" fmla="*/ 3 w 12099372"/>
              <a:gd name="connsiteY3" fmla="*/ 1919495 h 1920290"/>
              <a:gd name="connsiteX0" fmla="*/ 3 w 12075784"/>
              <a:gd name="connsiteY0" fmla="*/ 1919495 h 1919494"/>
              <a:gd name="connsiteX1" fmla="*/ 12075784 w 12075784"/>
              <a:gd name="connsiteY1" fmla="*/ 455 h 1919494"/>
              <a:gd name="connsiteX2" fmla="*/ 11874101 w 12075784"/>
              <a:gd name="connsiteY2" fmla="*/ 1901500 h 1919494"/>
              <a:gd name="connsiteX3" fmla="*/ 3 w 12075784"/>
              <a:gd name="connsiteY3" fmla="*/ 1919495 h 1919494"/>
              <a:gd name="connsiteX0" fmla="*/ 3 w 12083281"/>
              <a:gd name="connsiteY0" fmla="*/ 1919495 h 1920290"/>
              <a:gd name="connsiteX1" fmla="*/ 12075784 w 12083281"/>
              <a:gd name="connsiteY1" fmla="*/ 455 h 1920290"/>
              <a:gd name="connsiteX2" fmla="*/ 12083265 w 12083281"/>
              <a:gd name="connsiteY2" fmla="*/ 1907937 h 1920290"/>
              <a:gd name="connsiteX3" fmla="*/ 3 w 12083281"/>
              <a:gd name="connsiteY3" fmla="*/ 1919495 h 1920290"/>
              <a:gd name="connsiteX0" fmla="*/ 3 w 12083281"/>
              <a:gd name="connsiteY0" fmla="*/ 1919495 h 1920290"/>
              <a:gd name="connsiteX1" fmla="*/ 12075784 w 12083281"/>
              <a:gd name="connsiteY1" fmla="*/ 455 h 1920290"/>
              <a:gd name="connsiteX2" fmla="*/ 12083265 w 12083281"/>
              <a:gd name="connsiteY2" fmla="*/ 1907937 h 1920290"/>
              <a:gd name="connsiteX3" fmla="*/ 3 w 12083281"/>
              <a:gd name="connsiteY3" fmla="*/ 1919495 h 1920290"/>
              <a:gd name="connsiteX0" fmla="*/ 3 w 12083281"/>
              <a:gd name="connsiteY0" fmla="*/ 2019472 h 2020267"/>
              <a:gd name="connsiteX1" fmla="*/ 11464601 w 12083281"/>
              <a:gd name="connsiteY1" fmla="*/ 432 h 2020267"/>
              <a:gd name="connsiteX2" fmla="*/ 12083265 w 12083281"/>
              <a:gd name="connsiteY2" fmla="*/ 2007914 h 2020267"/>
              <a:gd name="connsiteX3" fmla="*/ 3 w 12083281"/>
              <a:gd name="connsiteY3" fmla="*/ 2019472 h 2020267"/>
              <a:gd name="connsiteX0" fmla="*/ 3 w 11464601"/>
              <a:gd name="connsiteY0" fmla="*/ 2019472 h 2083880"/>
              <a:gd name="connsiteX1" fmla="*/ 11464601 w 11464601"/>
              <a:gd name="connsiteY1" fmla="*/ 432 h 2083880"/>
              <a:gd name="connsiteX2" fmla="*/ 8243116 w 11464601"/>
              <a:gd name="connsiteY2" fmla="*/ 2081517 h 2083880"/>
              <a:gd name="connsiteX3" fmla="*/ 3 w 11464601"/>
              <a:gd name="connsiteY3" fmla="*/ 2019472 h 2083880"/>
              <a:gd name="connsiteX0" fmla="*/ 3 w 11464601"/>
              <a:gd name="connsiteY0" fmla="*/ 2019472 h 3424835"/>
              <a:gd name="connsiteX1" fmla="*/ 11464601 w 11464601"/>
              <a:gd name="connsiteY1" fmla="*/ 432 h 3424835"/>
              <a:gd name="connsiteX2" fmla="*/ 6272794 w 11464601"/>
              <a:gd name="connsiteY2" fmla="*/ 3424687 h 3424835"/>
              <a:gd name="connsiteX3" fmla="*/ 3 w 11464601"/>
              <a:gd name="connsiteY3" fmla="*/ 2019472 h 3424835"/>
              <a:gd name="connsiteX0" fmla="*/ 3 w 8450455"/>
              <a:gd name="connsiteY0" fmla="*/ 32240 h 1437641"/>
              <a:gd name="connsiteX1" fmla="*/ 8450455 w 8450455"/>
              <a:gd name="connsiteY1" fmla="*/ 12045 h 1437641"/>
              <a:gd name="connsiteX2" fmla="*/ 6272794 w 8450455"/>
              <a:gd name="connsiteY2" fmla="*/ 1437455 h 1437641"/>
              <a:gd name="connsiteX3" fmla="*/ 3 w 8450455"/>
              <a:gd name="connsiteY3" fmla="*/ 32240 h 1437641"/>
            </a:gdLst>
            <a:ahLst/>
            <a:cxnLst>
              <a:cxn ang="0">
                <a:pos x="connsiteX0" y="connsiteY0"/>
              </a:cxn>
              <a:cxn ang="0">
                <a:pos x="connsiteX1" y="connsiteY1"/>
              </a:cxn>
              <a:cxn ang="0">
                <a:pos x="connsiteX2" y="connsiteY2"/>
              </a:cxn>
              <a:cxn ang="0">
                <a:pos x="connsiteX3" y="connsiteY3"/>
              </a:cxn>
            </a:cxnLst>
            <a:rect l="l" t="t" r="r" b="b"/>
            <a:pathLst>
              <a:path w="8450455" h="1437641">
                <a:moveTo>
                  <a:pt x="3" y="32240"/>
                </a:moveTo>
                <a:cubicBezTo>
                  <a:pt x="-21" y="27917"/>
                  <a:pt x="8431024" y="-22542"/>
                  <a:pt x="8450455" y="12045"/>
                </a:cubicBezTo>
                <a:cubicBezTo>
                  <a:pt x="8438713" y="47223"/>
                  <a:pt x="6263730" y="1456209"/>
                  <a:pt x="6272794" y="1437455"/>
                </a:cubicBezTo>
                <a:cubicBezTo>
                  <a:pt x="6289357" y="1454317"/>
                  <a:pt x="-6259" y="32251"/>
                  <a:pt x="3" y="32240"/>
                </a:cubicBezTo>
                <a:close/>
              </a:path>
            </a:pathLst>
          </a:custGeom>
          <a:solidFill>
            <a:srgbClr val="009681">
              <a:alpha val="34902"/>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cxnSp>
        <p:nvCxnSpPr>
          <p:cNvPr id="37" name="Straight Connector 36">
            <a:extLst>
              <a:ext uri="{FF2B5EF4-FFF2-40B4-BE49-F238E27FC236}">
                <a16:creationId xmlns:a16="http://schemas.microsoft.com/office/drawing/2014/main" id="{49024071-46E2-124A-87AF-E6135D85B115}"/>
              </a:ext>
            </a:extLst>
          </p:cNvPr>
          <p:cNvCxnSpPr>
            <a:cxnSpLocks/>
          </p:cNvCxnSpPr>
          <p:nvPr userDrawn="1"/>
        </p:nvCxnSpPr>
        <p:spPr bwMode="auto">
          <a:xfrm flipV="1">
            <a:off x="0" y="1"/>
            <a:ext cx="2453833" cy="2338085"/>
          </a:xfrm>
          <a:prstGeom prst="line">
            <a:avLst/>
          </a:prstGeom>
          <a:solidFill>
            <a:schemeClr val="hlink"/>
          </a:solidFill>
          <a:ln w="12700" cap="flat" cmpd="sng" algn="ctr">
            <a:solidFill>
              <a:schemeClr val="bg1">
                <a:lumMod val="85000"/>
              </a:schemeClr>
            </a:solidFill>
            <a:prstDash val="solid"/>
            <a:round/>
            <a:headEnd type="none" w="med" len="med"/>
            <a:tailEnd type="none" w="med" len="med"/>
          </a:ln>
          <a:effectLst/>
        </p:spPr>
      </p:cxnSp>
    </p:spTree>
    <p:extLst>
      <p:ext uri="{BB962C8B-B14F-4D97-AF65-F5344CB8AC3E}">
        <p14:creationId xmlns:p14="http://schemas.microsoft.com/office/powerpoint/2010/main" val="292455086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7. Asset Allocation">
    <p:spTree>
      <p:nvGrpSpPr>
        <p:cNvPr id="1" name=""/>
        <p:cNvGrpSpPr/>
        <p:nvPr/>
      </p:nvGrpSpPr>
      <p:grpSpPr>
        <a:xfrm>
          <a:off x="0" y="0"/>
          <a:ext cx="0" cy="0"/>
          <a:chOff x="0" y="0"/>
          <a:chExt cx="0" cy="0"/>
        </a:xfrm>
      </p:grpSpPr>
      <p:sp>
        <p:nvSpPr>
          <p:cNvPr id="47" name="Footer Placeholder 2"/>
          <p:cNvSpPr>
            <a:spLocks noGrp="1"/>
          </p:cNvSpPr>
          <p:nvPr>
            <p:ph type="ftr" sz="quarter" idx="3"/>
          </p:nvPr>
        </p:nvSpPr>
        <p:spPr>
          <a:xfrm>
            <a:off x="319053" y="6414084"/>
            <a:ext cx="3781425" cy="365125"/>
          </a:xfrm>
          <a:prstGeom prst="rect">
            <a:avLst/>
          </a:prstGeom>
        </p:spPr>
        <p:txBody>
          <a:bodyPr vert="horz" lIns="91440" tIns="45720" rIns="91440" bIns="45720" rtlCol="0" anchor="ctr"/>
          <a:lstStyle>
            <a:lvl1pPr algn="l">
              <a:defRPr sz="800">
                <a:solidFill>
                  <a:srgbClr val="000000"/>
                </a:solidFill>
              </a:defRPr>
            </a:lvl1pPr>
          </a:lstStyle>
          <a:p>
            <a:pPr>
              <a:spcBef>
                <a:spcPts val="300"/>
              </a:spcBef>
            </a:pPr>
            <a:r>
              <a:rPr lang="en-US"/>
              <a:t>Footnotes/disclosures. </a:t>
            </a:r>
          </a:p>
        </p:txBody>
      </p:sp>
      <p:sp>
        <p:nvSpPr>
          <p:cNvPr id="48" name="Slide Number Placeholder 3"/>
          <p:cNvSpPr>
            <a:spLocks noGrp="1"/>
          </p:cNvSpPr>
          <p:nvPr>
            <p:ph type="sldNum" sz="quarter" idx="4"/>
          </p:nvPr>
        </p:nvSpPr>
        <p:spPr>
          <a:xfrm>
            <a:off x="112394" y="6408909"/>
            <a:ext cx="382906" cy="365125"/>
          </a:xfrm>
          <a:prstGeom prst="rect">
            <a:avLst/>
          </a:prstGeom>
        </p:spPr>
        <p:txBody>
          <a:bodyPr vert="horz" lIns="91440" tIns="45720" rIns="91440" bIns="45720" rtlCol="0" anchor="ctr"/>
          <a:lstStyle>
            <a:lvl1pPr algn="l">
              <a:defRPr sz="800" b="1">
                <a:solidFill>
                  <a:srgbClr val="000000"/>
                </a:solidFill>
              </a:defRPr>
            </a:lvl1pPr>
          </a:lstStyle>
          <a:p>
            <a:fld id="{B42A7A4B-1474-47B8-8215-FC88D0AD55CE}" type="slidenum">
              <a:rPr lang="en-US" smtClean="0"/>
              <a:pPr/>
              <a:t>‹#›</a:t>
            </a:fld>
            <a:endParaRPr lang="en-US"/>
          </a:p>
        </p:txBody>
      </p:sp>
      <p:sp>
        <p:nvSpPr>
          <p:cNvPr id="49" name="Title Placeholder 1"/>
          <p:cNvSpPr>
            <a:spLocks noGrp="1"/>
          </p:cNvSpPr>
          <p:nvPr>
            <p:ph type="title"/>
          </p:nvPr>
        </p:nvSpPr>
        <p:spPr>
          <a:xfrm>
            <a:off x="315669" y="227013"/>
            <a:ext cx="8229600" cy="1143000"/>
          </a:xfrm>
          <a:prstGeom prst="rect">
            <a:avLst/>
          </a:prstGeom>
        </p:spPr>
        <p:txBody>
          <a:bodyPr vert="horz" lIns="91440" tIns="45720" rIns="91440" bIns="45720" rtlCol="0" anchor="t">
            <a:normAutofit/>
          </a:bodyPr>
          <a:lstStyle>
            <a:lvl1pPr algn="l">
              <a:defRPr sz="2400"/>
            </a:lvl1pPr>
          </a:lstStyle>
          <a:p>
            <a:r>
              <a:rPr lang="en-US"/>
              <a:t>Click to edit Master title style</a:t>
            </a:r>
          </a:p>
        </p:txBody>
      </p:sp>
      <p:grpSp>
        <p:nvGrpSpPr>
          <p:cNvPr id="45" name="Group 44">
            <a:extLst>
              <a:ext uri="{FF2B5EF4-FFF2-40B4-BE49-F238E27FC236}">
                <a16:creationId xmlns:a16="http://schemas.microsoft.com/office/drawing/2014/main" id="{CE6CD949-6280-134C-8DC7-0C0B346AA358}"/>
              </a:ext>
            </a:extLst>
          </p:cNvPr>
          <p:cNvGrpSpPr/>
          <p:nvPr userDrawn="1"/>
        </p:nvGrpSpPr>
        <p:grpSpPr>
          <a:xfrm>
            <a:off x="7358173" y="6361974"/>
            <a:ext cx="1382376" cy="297562"/>
            <a:chOff x="6923088" y="4475163"/>
            <a:chExt cx="1873251" cy="403225"/>
          </a:xfrm>
        </p:grpSpPr>
        <p:sp>
          <p:nvSpPr>
            <p:cNvPr id="46" name="AutoShape 4">
              <a:extLst>
                <a:ext uri="{FF2B5EF4-FFF2-40B4-BE49-F238E27FC236}">
                  <a16:creationId xmlns:a16="http://schemas.microsoft.com/office/drawing/2014/main" id="{D23598CC-D746-E246-AD73-B00080E9C10F}"/>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6">
              <a:extLst>
                <a:ext uri="{FF2B5EF4-FFF2-40B4-BE49-F238E27FC236}">
                  <a16:creationId xmlns:a16="http://schemas.microsoft.com/office/drawing/2014/main" id="{8EFA35E9-E342-2F49-837D-684ACC78E221}"/>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7">
              <a:extLst>
                <a:ext uri="{FF2B5EF4-FFF2-40B4-BE49-F238E27FC236}">
                  <a16:creationId xmlns:a16="http://schemas.microsoft.com/office/drawing/2014/main" id="{1C4B2BA5-9208-8649-8896-AF33D9AB6C5C}"/>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83">
              <a:extLst>
                <a:ext uri="{FF2B5EF4-FFF2-40B4-BE49-F238E27FC236}">
                  <a16:creationId xmlns:a16="http://schemas.microsoft.com/office/drawing/2014/main" id="{316325C1-4A8F-D447-93BB-D5D9CDF11398}"/>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84">
              <a:extLst>
                <a:ext uri="{FF2B5EF4-FFF2-40B4-BE49-F238E27FC236}">
                  <a16:creationId xmlns:a16="http://schemas.microsoft.com/office/drawing/2014/main" id="{54A8FE70-9F0F-124C-A69A-2EDA2452A924}"/>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85">
              <a:extLst>
                <a:ext uri="{FF2B5EF4-FFF2-40B4-BE49-F238E27FC236}">
                  <a16:creationId xmlns:a16="http://schemas.microsoft.com/office/drawing/2014/main" id="{3E0F2834-6353-A046-8799-7A235A8F7D25}"/>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86">
              <a:extLst>
                <a:ext uri="{FF2B5EF4-FFF2-40B4-BE49-F238E27FC236}">
                  <a16:creationId xmlns:a16="http://schemas.microsoft.com/office/drawing/2014/main" id="{1A75D607-FBF3-1642-9756-CFCFB8AC5B97}"/>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87">
              <a:extLst>
                <a:ext uri="{FF2B5EF4-FFF2-40B4-BE49-F238E27FC236}">
                  <a16:creationId xmlns:a16="http://schemas.microsoft.com/office/drawing/2014/main" id="{3C25E390-DA3F-7947-A665-C09781DD9CD2}"/>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88">
              <a:extLst>
                <a:ext uri="{FF2B5EF4-FFF2-40B4-BE49-F238E27FC236}">
                  <a16:creationId xmlns:a16="http://schemas.microsoft.com/office/drawing/2014/main" id="{08496918-5A1B-274F-AC1D-A337D6807D77}"/>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89">
              <a:extLst>
                <a:ext uri="{FF2B5EF4-FFF2-40B4-BE49-F238E27FC236}">
                  <a16:creationId xmlns:a16="http://schemas.microsoft.com/office/drawing/2014/main" id="{B1A6E752-7EA5-AA4D-BBFB-557E513BC91C}"/>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90">
              <a:extLst>
                <a:ext uri="{FF2B5EF4-FFF2-40B4-BE49-F238E27FC236}">
                  <a16:creationId xmlns:a16="http://schemas.microsoft.com/office/drawing/2014/main" id="{DA0E47BB-F148-B049-958F-C5336796E2BF}"/>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91">
              <a:extLst>
                <a:ext uri="{FF2B5EF4-FFF2-40B4-BE49-F238E27FC236}">
                  <a16:creationId xmlns:a16="http://schemas.microsoft.com/office/drawing/2014/main" id="{ED2B0C1B-0BBA-8D48-AC42-759EB7409766}"/>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92">
              <a:extLst>
                <a:ext uri="{FF2B5EF4-FFF2-40B4-BE49-F238E27FC236}">
                  <a16:creationId xmlns:a16="http://schemas.microsoft.com/office/drawing/2014/main" id="{DFF33311-53AC-0543-9298-7BAB6B93AAF7}"/>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 name="Freeform 93">
              <a:extLst>
                <a:ext uri="{FF2B5EF4-FFF2-40B4-BE49-F238E27FC236}">
                  <a16:creationId xmlns:a16="http://schemas.microsoft.com/office/drawing/2014/main" id="{9333A932-3EA1-834D-87CD-DAE3FEB7E958}"/>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 name="Freeform 94">
              <a:extLst>
                <a:ext uri="{FF2B5EF4-FFF2-40B4-BE49-F238E27FC236}">
                  <a16:creationId xmlns:a16="http://schemas.microsoft.com/office/drawing/2014/main" id="{72398E8F-1FCB-7E48-A428-27171B94BB71}"/>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 name="Freeform 95">
              <a:extLst>
                <a:ext uri="{FF2B5EF4-FFF2-40B4-BE49-F238E27FC236}">
                  <a16:creationId xmlns:a16="http://schemas.microsoft.com/office/drawing/2014/main" id="{E5C0E724-B205-2943-B2B3-28D3CED2232F}"/>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 name="Freeform 96">
              <a:extLst>
                <a:ext uri="{FF2B5EF4-FFF2-40B4-BE49-F238E27FC236}">
                  <a16:creationId xmlns:a16="http://schemas.microsoft.com/office/drawing/2014/main" id="{43949FC3-E540-E446-80A7-A6D26361E628}"/>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 name="Freeform 97">
              <a:extLst>
                <a:ext uri="{FF2B5EF4-FFF2-40B4-BE49-F238E27FC236}">
                  <a16:creationId xmlns:a16="http://schemas.microsoft.com/office/drawing/2014/main" id="{7E53937E-6FE3-DC44-BCDB-59C3B3BDFAD0}"/>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 name="Freeform 98">
              <a:extLst>
                <a:ext uri="{FF2B5EF4-FFF2-40B4-BE49-F238E27FC236}">
                  <a16:creationId xmlns:a16="http://schemas.microsoft.com/office/drawing/2014/main" id="{3B4E4D9E-0856-1540-962A-7D7EA90ED379}"/>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 name="Freeform 99">
              <a:extLst>
                <a:ext uri="{FF2B5EF4-FFF2-40B4-BE49-F238E27FC236}">
                  <a16:creationId xmlns:a16="http://schemas.microsoft.com/office/drawing/2014/main" id="{C7E5B076-A33B-3244-A26B-10610CBFD0FC}"/>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 name="Freeform 100">
              <a:extLst>
                <a:ext uri="{FF2B5EF4-FFF2-40B4-BE49-F238E27FC236}">
                  <a16:creationId xmlns:a16="http://schemas.microsoft.com/office/drawing/2014/main" id="{4ADE1FE7-A2DF-2042-A8B6-3F54813C5C59}"/>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 name="Freeform 101">
              <a:extLst>
                <a:ext uri="{FF2B5EF4-FFF2-40B4-BE49-F238E27FC236}">
                  <a16:creationId xmlns:a16="http://schemas.microsoft.com/office/drawing/2014/main" id="{48FFF623-0CAD-364C-9B70-73A7B0A040F5}"/>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 name="Freeform 102">
              <a:extLst>
                <a:ext uri="{FF2B5EF4-FFF2-40B4-BE49-F238E27FC236}">
                  <a16:creationId xmlns:a16="http://schemas.microsoft.com/office/drawing/2014/main" id="{AA8410A1-0D16-3C42-8767-3201A58DA88F}"/>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 name="Freeform 103">
              <a:extLst>
                <a:ext uri="{FF2B5EF4-FFF2-40B4-BE49-F238E27FC236}">
                  <a16:creationId xmlns:a16="http://schemas.microsoft.com/office/drawing/2014/main" id="{9DDAE798-B3E7-7643-9D47-83FC1DDFA362}"/>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 name="Freeform 104">
              <a:extLst>
                <a:ext uri="{FF2B5EF4-FFF2-40B4-BE49-F238E27FC236}">
                  <a16:creationId xmlns:a16="http://schemas.microsoft.com/office/drawing/2014/main" id="{DE7D1865-C556-E542-B5E1-C860A33B083D}"/>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 name="Freeform 105">
              <a:extLst>
                <a:ext uri="{FF2B5EF4-FFF2-40B4-BE49-F238E27FC236}">
                  <a16:creationId xmlns:a16="http://schemas.microsoft.com/office/drawing/2014/main" id="{BB052EB4-8B63-1843-B4BA-7EF475B53317}"/>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4" name="TextBox 69">
            <a:extLst>
              <a:ext uri="{FF2B5EF4-FFF2-40B4-BE49-F238E27FC236}">
                <a16:creationId xmlns:a16="http://schemas.microsoft.com/office/drawing/2014/main" id="{8F896E01-8594-2E48-B913-5799B90C3FC7}"/>
              </a:ext>
            </a:extLst>
          </p:cNvPr>
          <p:cNvSpPr txBox="1">
            <a:spLocks noChangeArrowheads="1"/>
          </p:cNvSpPr>
          <p:nvPr userDrawn="1"/>
        </p:nvSpPr>
        <p:spPr bwMode="auto">
          <a:xfrm rot="16200000">
            <a:off x="8156742" y="555552"/>
            <a:ext cx="1338265" cy="415498"/>
          </a:xfrm>
          <a:prstGeom prst="rect">
            <a:avLst/>
          </a:prstGeom>
          <a:noFill/>
          <a:ln w="9525">
            <a:noFill/>
            <a:miter lim="800000"/>
            <a:headEnd/>
            <a:tailEnd/>
          </a:ln>
        </p:spPr>
        <p:txBody>
          <a:bodyPr wrap="square" tIns="91440" rIns="0">
            <a:spAutoFit/>
          </a:bodyPr>
          <a:lstStyle/>
          <a:p>
            <a:pPr>
              <a:defRPr/>
            </a:pPr>
            <a:r>
              <a:rPr lang="en-US" sz="900">
                <a:solidFill>
                  <a:srgbClr val="009681"/>
                </a:solidFill>
                <a:cs typeface="Arial" charset="0"/>
              </a:rPr>
              <a:t>ASSET</a:t>
            </a:r>
          </a:p>
          <a:p>
            <a:pPr>
              <a:defRPr/>
            </a:pPr>
            <a:r>
              <a:rPr lang="en-US" sz="900">
                <a:solidFill>
                  <a:srgbClr val="009681"/>
                </a:solidFill>
                <a:cs typeface="Arial" charset="0"/>
              </a:rPr>
              <a:t>MARKETS</a:t>
            </a:r>
          </a:p>
        </p:txBody>
      </p:sp>
      <p:grpSp>
        <p:nvGrpSpPr>
          <p:cNvPr id="35" name="Group 34">
            <a:extLst>
              <a:ext uri="{FF2B5EF4-FFF2-40B4-BE49-F238E27FC236}">
                <a16:creationId xmlns:a16="http://schemas.microsoft.com/office/drawing/2014/main" id="{CD648553-E776-B346-AE85-EB73A8C76A96}"/>
              </a:ext>
            </a:extLst>
          </p:cNvPr>
          <p:cNvGrpSpPr/>
          <p:nvPr userDrawn="1"/>
        </p:nvGrpSpPr>
        <p:grpSpPr>
          <a:xfrm>
            <a:off x="8834955" y="-8348"/>
            <a:ext cx="132661" cy="609866"/>
            <a:chOff x="8876279" y="49059"/>
            <a:chExt cx="132661" cy="609866"/>
          </a:xfrm>
        </p:grpSpPr>
        <p:cxnSp>
          <p:nvCxnSpPr>
            <p:cNvPr id="36" name="Straight Connector 35">
              <a:extLst>
                <a:ext uri="{FF2B5EF4-FFF2-40B4-BE49-F238E27FC236}">
                  <a16:creationId xmlns:a16="http://schemas.microsoft.com/office/drawing/2014/main" id="{98659E3C-1B75-3C48-A3CB-855719A7DE22}"/>
                </a:ext>
              </a:extLst>
            </p:cNvPr>
            <p:cNvCxnSpPr>
              <a:cxnSpLocks/>
              <a:endCxn id="38" idx="4"/>
            </p:cNvCxnSpPr>
            <p:nvPr/>
          </p:nvCxnSpPr>
          <p:spPr bwMode="auto">
            <a:xfrm>
              <a:off x="8942609" y="49059"/>
              <a:ext cx="0" cy="575539"/>
            </a:xfrm>
            <a:prstGeom prst="line">
              <a:avLst/>
            </a:prstGeom>
            <a:solidFill>
              <a:schemeClr val="hlink"/>
            </a:solidFill>
            <a:ln w="12700" cap="flat" cmpd="sng" algn="ctr">
              <a:solidFill>
                <a:schemeClr val="bg1">
                  <a:lumMod val="75000"/>
                </a:schemeClr>
              </a:solidFill>
              <a:prstDash val="solid"/>
              <a:round/>
              <a:headEnd type="none" w="med" len="med"/>
              <a:tailEnd type="none" w="med" len="med"/>
            </a:ln>
            <a:effectLst/>
          </p:spPr>
        </p:cxnSp>
        <p:sp>
          <p:nvSpPr>
            <p:cNvPr id="37" name="Oval 36">
              <a:extLst>
                <a:ext uri="{FF2B5EF4-FFF2-40B4-BE49-F238E27FC236}">
                  <a16:creationId xmlns:a16="http://schemas.microsoft.com/office/drawing/2014/main" id="{AAC89B35-7230-8740-9827-A92919FBD4C1}"/>
                </a:ext>
              </a:extLst>
            </p:cNvPr>
            <p:cNvSpPr/>
            <p:nvPr/>
          </p:nvSpPr>
          <p:spPr bwMode="auto">
            <a:xfrm>
              <a:off x="8876279" y="526264"/>
              <a:ext cx="132661" cy="132661"/>
            </a:xfrm>
            <a:prstGeom prst="ellipse">
              <a:avLst/>
            </a:prstGeom>
            <a:solidFill>
              <a:schemeClr val="bg1"/>
            </a:solidFill>
            <a:ln w="12700"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sp>
          <p:nvSpPr>
            <p:cNvPr id="38" name="Oval 37">
              <a:extLst>
                <a:ext uri="{FF2B5EF4-FFF2-40B4-BE49-F238E27FC236}">
                  <a16:creationId xmlns:a16="http://schemas.microsoft.com/office/drawing/2014/main" id="{CABDC621-798D-4246-9D9F-CECE2AD570E4}"/>
                </a:ext>
              </a:extLst>
            </p:cNvPr>
            <p:cNvSpPr/>
            <p:nvPr/>
          </p:nvSpPr>
          <p:spPr bwMode="auto">
            <a:xfrm>
              <a:off x="8910605" y="560590"/>
              <a:ext cx="64008" cy="64008"/>
            </a:xfrm>
            <a:prstGeom prst="ellipse">
              <a:avLst/>
            </a:prstGeom>
            <a:solidFill>
              <a:srgbClr val="009681"/>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grpSp>
    </p:spTree>
    <p:extLst>
      <p:ext uri="{BB962C8B-B14F-4D97-AF65-F5344CB8AC3E}">
        <p14:creationId xmlns:p14="http://schemas.microsoft.com/office/powerpoint/2010/main" val="95041909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userDrawn="1">
  <p:cSld name="4. U.S. Equity Divider">
    <p:spTree>
      <p:nvGrpSpPr>
        <p:cNvPr id="1" name=""/>
        <p:cNvGrpSpPr/>
        <p:nvPr/>
      </p:nvGrpSpPr>
      <p:grpSpPr>
        <a:xfrm>
          <a:off x="0" y="0"/>
          <a:ext cx="0" cy="0"/>
          <a:chOff x="0" y="0"/>
          <a:chExt cx="0" cy="0"/>
        </a:xfrm>
      </p:grpSpPr>
      <p:grpSp>
        <p:nvGrpSpPr>
          <p:cNvPr id="45" name="Group 44">
            <a:extLst>
              <a:ext uri="{FF2B5EF4-FFF2-40B4-BE49-F238E27FC236}">
                <a16:creationId xmlns:a16="http://schemas.microsoft.com/office/drawing/2014/main" id="{C9B87BAE-5FCE-0B40-A01F-E698D5BC2E91}"/>
              </a:ext>
            </a:extLst>
          </p:cNvPr>
          <p:cNvGrpSpPr/>
          <p:nvPr userDrawn="1"/>
        </p:nvGrpSpPr>
        <p:grpSpPr>
          <a:xfrm>
            <a:off x="7358173" y="6361974"/>
            <a:ext cx="1382376" cy="297562"/>
            <a:chOff x="6923088" y="4475163"/>
            <a:chExt cx="1873251" cy="403225"/>
          </a:xfrm>
        </p:grpSpPr>
        <p:sp>
          <p:nvSpPr>
            <p:cNvPr id="46" name="AutoShape 4">
              <a:extLst>
                <a:ext uri="{FF2B5EF4-FFF2-40B4-BE49-F238E27FC236}">
                  <a16:creationId xmlns:a16="http://schemas.microsoft.com/office/drawing/2014/main" id="{6223E7C6-7A1D-E54F-BD25-F357B49DDEE5}"/>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6">
              <a:extLst>
                <a:ext uri="{FF2B5EF4-FFF2-40B4-BE49-F238E27FC236}">
                  <a16:creationId xmlns:a16="http://schemas.microsoft.com/office/drawing/2014/main" id="{1D10E960-F83B-6B40-9FF8-548B2F06288D}"/>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7">
              <a:extLst>
                <a:ext uri="{FF2B5EF4-FFF2-40B4-BE49-F238E27FC236}">
                  <a16:creationId xmlns:a16="http://schemas.microsoft.com/office/drawing/2014/main" id="{601FFE04-E383-5F4C-9217-743A9FD35D00}"/>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83">
              <a:extLst>
                <a:ext uri="{FF2B5EF4-FFF2-40B4-BE49-F238E27FC236}">
                  <a16:creationId xmlns:a16="http://schemas.microsoft.com/office/drawing/2014/main" id="{1C33D685-F8FA-064A-8A5B-8A6C6C48B42E}"/>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84">
              <a:extLst>
                <a:ext uri="{FF2B5EF4-FFF2-40B4-BE49-F238E27FC236}">
                  <a16:creationId xmlns:a16="http://schemas.microsoft.com/office/drawing/2014/main" id="{0D0945EF-EEF5-264A-87DD-9CEA9DDBC4BD}"/>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85">
              <a:extLst>
                <a:ext uri="{FF2B5EF4-FFF2-40B4-BE49-F238E27FC236}">
                  <a16:creationId xmlns:a16="http://schemas.microsoft.com/office/drawing/2014/main" id="{EEFAA48D-1936-844B-BFAA-253A294BB873}"/>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86">
              <a:extLst>
                <a:ext uri="{FF2B5EF4-FFF2-40B4-BE49-F238E27FC236}">
                  <a16:creationId xmlns:a16="http://schemas.microsoft.com/office/drawing/2014/main" id="{4EA1064D-3A32-2942-9F1C-FFDAC99F8B9D}"/>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87">
              <a:extLst>
                <a:ext uri="{FF2B5EF4-FFF2-40B4-BE49-F238E27FC236}">
                  <a16:creationId xmlns:a16="http://schemas.microsoft.com/office/drawing/2014/main" id="{2B020685-5926-BE41-9DC8-2A1D7268DAAC}"/>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88">
              <a:extLst>
                <a:ext uri="{FF2B5EF4-FFF2-40B4-BE49-F238E27FC236}">
                  <a16:creationId xmlns:a16="http://schemas.microsoft.com/office/drawing/2014/main" id="{CE426645-439E-A043-9CD7-A894EAC528AD}"/>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89">
              <a:extLst>
                <a:ext uri="{FF2B5EF4-FFF2-40B4-BE49-F238E27FC236}">
                  <a16:creationId xmlns:a16="http://schemas.microsoft.com/office/drawing/2014/main" id="{97F81956-7497-F848-BA48-8FB5BEB9F282}"/>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90">
              <a:extLst>
                <a:ext uri="{FF2B5EF4-FFF2-40B4-BE49-F238E27FC236}">
                  <a16:creationId xmlns:a16="http://schemas.microsoft.com/office/drawing/2014/main" id="{4F008A51-90F5-744A-BE2D-A20BDB820E47}"/>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91">
              <a:extLst>
                <a:ext uri="{FF2B5EF4-FFF2-40B4-BE49-F238E27FC236}">
                  <a16:creationId xmlns:a16="http://schemas.microsoft.com/office/drawing/2014/main" id="{D3773239-3F60-6148-B072-3E0CD5A0519D}"/>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92">
              <a:extLst>
                <a:ext uri="{FF2B5EF4-FFF2-40B4-BE49-F238E27FC236}">
                  <a16:creationId xmlns:a16="http://schemas.microsoft.com/office/drawing/2014/main" id="{D740D769-88C0-5743-8F23-E187CC7350F7}"/>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93">
              <a:extLst>
                <a:ext uri="{FF2B5EF4-FFF2-40B4-BE49-F238E27FC236}">
                  <a16:creationId xmlns:a16="http://schemas.microsoft.com/office/drawing/2014/main" id="{A9C5A9DA-4050-954E-88A6-8CF87FC8CC20}"/>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94">
              <a:extLst>
                <a:ext uri="{FF2B5EF4-FFF2-40B4-BE49-F238E27FC236}">
                  <a16:creationId xmlns:a16="http://schemas.microsoft.com/office/drawing/2014/main" id="{3BF77188-6882-F64C-9657-57ED2FEE5924}"/>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95">
              <a:extLst>
                <a:ext uri="{FF2B5EF4-FFF2-40B4-BE49-F238E27FC236}">
                  <a16:creationId xmlns:a16="http://schemas.microsoft.com/office/drawing/2014/main" id="{16F0865C-9DD8-A148-AC5E-7E06C1D9F840}"/>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 name="Freeform 96">
              <a:extLst>
                <a:ext uri="{FF2B5EF4-FFF2-40B4-BE49-F238E27FC236}">
                  <a16:creationId xmlns:a16="http://schemas.microsoft.com/office/drawing/2014/main" id="{E7FCDAF7-1BC6-794A-8368-B65A1B8174EB}"/>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 name="Freeform 97">
              <a:extLst>
                <a:ext uri="{FF2B5EF4-FFF2-40B4-BE49-F238E27FC236}">
                  <a16:creationId xmlns:a16="http://schemas.microsoft.com/office/drawing/2014/main" id="{BB3347FD-DB47-164A-86A0-329095EBBFD5}"/>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 name="Freeform 98">
              <a:extLst>
                <a:ext uri="{FF2B5EF4-FFF2-40B4-BE49-F238E27FC236}">
                  <a16:creationId xmlns:a16="http://schemas.microsoft.com/office/drawing/2014/main" id="{2C9731A9-901A-AB41-8D6A-61FB3E3DA661}"/>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 name="Freeform 99">
              <a:extLst>
                <a:ext uri="{FF2B5EF4-FFF2-40B4-BE49-F238E27FC236}">
                  <a16:creationId xmlns:a16="http://schemas.microsoft.com/office/drawing/2014/main" id="{3A782A5F-1E2D-F04B-821B-AE7710949C91}"/>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 name="Freeform 100">
              <a:extLst>
                <a:ext uri="{FF2B5EF4-FFF2-40B4-BE49-F238E27FC236}">
                  <a16:creationId xmlns:a16="http://schemas.microsoft.com/office/drawing/2014/main" id="{260DB0B6-8A51-CC4B-8B51-59D79DA44DA4}"/>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 name="Freeform 101">
              <a:extLst>
                <a:ext uri="{FF2B5EF4-FFF2-40B4-BE49-F238E27FC236}">
                  <a16:creationId xmlns:a16="http://schemas.microsoft.com/office/drawing/2014/main" id="{0784818E-F006-2E4F-9620-49911598E310}"/>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 name="Freeform 102">
              <a:extLst>
                <a:ext uri="{FF2B5EF4-FFF2-40B4-BE49-F238E27FC236}">
                  <a16:creationId xmlns:a16="http://schemas.microsoft.com/office/drawing/2014/main" id="{12BB5FA0-0255-244A-9655-8CFD5BEB7FE3}"/>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 name="Freeform 103">
              <a:extLst>
                <a:ext uri="{FF2B5EF4-FFF2-40B4-BE49-F238E27FC236}">
                  <a16:creationId xmlns:a16="http://schemas.microsoft.com/office/drawing/2014/main" id="{30927E24-E44F-7E40-8D01-A652E441182D}"/>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 name="Freeform 104">
              <a:extLst>
                <a:ext uri="{FF2B5EF4-FFF2-40B4-BE49-F238E27FC236}">
                  <a16:creationId xmlns:a16="http://schemas.microsoft.com/office/drawing/2014/main" id="{BAEC1E7E-7724-A040-96C8-28ADF0398258}"/>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 name="Freeform 105">
              <a:extLst>
                <a:ext uri="{FF2B5EF4-FFF2-40B4-BE49-F238E27FC236}">
                  <a16:creationId xmlns:a16="http://schemas.microsoft.com/office/drawing/2014/main" id="{837FDBDF-9BD2-2B40-9512-3C06072EAACB}"/>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2" name="Title 1">
            <a:extLst>
              <a:ext uri="{FF2B5EF4-FFF2-40B4-BE49-F238E27FC236}">
                <a16:creationId xmlns:a16="http://schemas.microsoft.com/office/drawing/2014/main" id="{A48BC2A6-E1EB-9B42-A509-FB3346DC8FDF}"/>
              </a:ext>
            </a:extLst>
          </p:cNvPr>
          <p:cNvSpPr>
            <a:spLocks noGrp="1"/>
          </p:cNvSpPr>
          <p:nvPr>
            <p:ph type="title"/>
          </p:nvPr>
        </p:nvSpPr>
        <p:spPr>
          <a:xfrm>
            <a:off x="687295" y="3046413"/>
            <a:ext cx="8229600" cy="1143000"/>
          </a:xfrm>
        </p:spPr>
        <p:txBody>
          <a:bodyPr>
            <a:normAutofit/>
          </a:bodyPr>
          <a:lstStyle>
            <a:lvl1pPr>
              <a:defRPr b="1"/>
            </a:lvl1pPr>
          </a:lstStyle>
          <a:p>
            <a:r>
              <a:rPr lang="en-US">
                <a:solidFill>
                  <a:srgbClr val="00A3D4"/>
                </a:solidFill>
              </a:rPr>
              <a:t>Long-Term Themes</a:t>
            </a:r>
          </a:p>
        </p:txBody>
      </p:sp>
      <p:sp>
        <p:nvSpPr>
          <p:cNvPr id="33" name="Triangle 40">
            <a:extLst>
              <a:ext uri="{FF2B5EF4-FFF2-40B4-BE49-F238E27FC236}">
                <a16:creationId xmlns:a16="http://schemas.microsoft.com/office/drawing/2014/main" id="{010F3663-50E5-AA48-AF98-FEAC0EC0947D}"/>
              </a:ext>
            </a:extLst>
          </p:cNvPr>
          <p:cNvSpPr/>
          <p:nvPr userDrawn="1"/>
        </p:nvSpPr>
        <p:spPr bwMode="auto">
          <a:xfrm flipH="1" flipV="1">
            <a:off x="-1" y="0"/>
            <a:ext cx="5392615" cy="1354238"/>
          </a:xfrm>
          <a:custGeom>
            <a:avLst/>
            <a:gdLst>
              <a:gd name="connsiteX0" fmla="*/ 0 w 12192000"/>
              <a:gd name="connsiteY0" fmla="*/ 2036323 h 2036323"/>
              <a:gd name="connsiteX1" fmla="*/ 12178955 w 12192000"/>
              <a:gd name="connsiteY1" fmla="*/ 0 h 2036323"/>
              <a:gd name="connsiteX2" fmla="*/ 12192000 w 12192000"/>
              <a:gd name="connsiteY2" fmla="*/ 2036323 h 2036323"/>
              <a:gd name="connsiteX3" fmla="*/ 0 w 12192000"/>
              <a:gd name="connsiteY3" fmla="*/ 2036323 h 2036323"/>
              <a:gd name="connsiteX0" fmla="*/ 0 w 12204970"/>
              <a:gd name="connsiteY0" fmla="*/ 1880680 h 2036323"/>
              <a:gd name="connsiteX1" fmla="*/ 12191925 w 12204970"/>
              <a:gd name="connsiteY1" fmla="*/ 0 h 2036323"/>
              <a:gd name="connsiteX2" fmla="*/ 12204970 w 12204970"/>
              <a:gd name="connsiteY2" fmla="*/ 2036323 h 2036323"/>
              <a:gd name="connsiteX3" fmla="*/ 0 w 12204970"/>
              <a:gd name="connsiteY3" fmla="*/ 1880680 h 2036323"/>
              <a:gd name="connsiteX0" fmla="*/ 0 w 12192096"/>
              <a:gd name="connsiteY0" fmla="*/ 1880680 h 1906621"/>
              <a:gd name="connsiteX1" fmla="*/ 12191925 w 12192096"/>
              <a:gd name="connsiteY1" fmla="*/ 0 h 1906621"/>
              <a:gd name="connsiteX2" fmla="*/ 12120664 w 12192096"/>
              <a:gd name="connsiteY2" fmla="*/ 1906621 h 1906621"/>
              <a:gd name="connsiteX3" fmla="*/ 0 w 12192096"/>
              <a:gd name="connsiteY3" fmla="*/ 1880680 h 1906621"/>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9673"/>
              <a:gd name="connsiteY0" fmla="*/ 1867710 h 2049294"/>
              <a:gd name="connsiteX1" fmla="*/ 12198410 w 12199673"/>
              <a:gd name="connsiteY1" fmla="*/ 0 h 2049294"/>
              <a:gd name="connsiteX2" fmla="*/ 12198485 w 12199673"/>
              <a:gd name="connsiteY2" fmla="*/ 2049294 h 2049294"/>
              <a:gd name="connsiteX3" fmla="*/ 0 w 12199673"/>
              <a:gd name="connsiteY3" fmla="*/ 1867710 h 2049294"/>
              <a:gd name="connsiteX0" fmla="*/ 0 w 12199673"/>
              <a:gd name="connsiteY0" fmla="*/ 1867710 h 2329173"/>
              <a:gd name="connsiteX1" fmla="*/ 12198410 w 12199673"/>
              <a:gd name="connsiteY1" fmla="*/ 0 h 2329173"/>
              <a:gd name="connsiteX2" fmla="*/ 12198485 w 12199673"/>
              <a:gd name="connsiteY2" fmla="*/ 2049294 h 2329173"/>
              <a:gd name="connsiteX3" fmla="*/ 0 w 12199673"/>
              <a:gd name="connsiteY3" fmla="*/ 1867710 h 2329173"/>
              <a:gd name="connsiteX0" fmla="*/ 0 w 12199673"/>
              <a:gd name="connsiteY0" fmla="*/ 1867710 h 2049294"/>
              <a:gd name="connsiteX1" fmla="*/ 12198410 w 12199673"/>
              <a:gd name="connsiteY1" fmla="*/ 0 h 2049294"/>
              <a:gd name="connsiteX2" fmla="*/ 12198485 w 12199673"/>
              <a:gd name="connsiteY2" fmla="*/ 2049294 h 2049294"/>
              <a:gd name="connsiteX3" fmla="*/ 0 w 12199673"/>
              <a:gd name="connsiteY3" fmla="*/ 1867710 h 2049294"/>
              <a:gd name="connsiteX0" fmla="*/ 1 w 12167248"/>
              <a:gd name="connsiteY0" fmla="*/ 1861225 h 2049294"/>
              <a:gd name="connsiteX1" fmla="*/ 12165985 w 12167248"/>
              <a:gd name="connsiteY1" fmla="*/ 0 h 2049294"/>
              <a:gd name="connsiteX2" fmla="*/ 12166060 w 12167248"/>
              <a:gd name="connsiteY2" fmla="*/ 2049294 h 2049294"/>
              <a:gd name="connsiteX3" fmla="*/ 1 w 12167248"/>
              <a:gd name="connsiteY3" fmla="*/ 1861225 h 2049294"/>
              <a:gd name="connsiteX0" fmla="*/ 1 w 12167248"/>
              <a:gd name="connsiteY0" fmla="*/ 1841769 h 2029838"/>
              <a:gd name="connsiteX1" fmla="*/ 12165985 w 12167248"/>
              <a:gd name="connsiteY1" fmla="*/ 0 h 2029838"/>
              <a:gd name="connsiteX2" fmla="*/ 12166060 w 12167248"/>
              <a:gd name="connsiteY2" fmla="*/ 2029838 h 2029838"/>
              <a:gd name="connsiteX3" fmla="*/ 1 w 12167248"/>
              <a:gd name="connsiteY3" fmla="*/ 1841769 h 2029838"/>
              <a:gd name="connsiteX0" fmla="*/ 1 w 12167248"/>
              <a:gd name="connsiteY0" fmla="*/ 1842242 h 2030311"/>
              <a:gd name="connsiteX1" fmla="*/ 12165985 w 12167248"/>
              <a:gd name="connsiteY1" fmla="*/ 473 h 2030311"/>
              <a:gd name="connsiteX2" fmla="*/ 12166060 w 12167248"/>
              <a:gd name="connsiteY2" fmla="*/ 2030311 h 2030311"/>
              <a:gd name="connsiteX3" fmla="*/ 1 w 12167248"/>
              <a:gd name="connsiteY3" fmla="*/ 1842242 h 2030311"/>
              <a:gd name="connsiteX0" fmla="*/ 1 w 12167248"/>
              <a:gd name="connsiteY0" fmla="*/ 1842242 h 2030710"/>
              <a:gd name="connsiteX1" fmla="*/ 12165985 w 12167248"/>
              <a:gd name="connsiteY1" fmla="*/ 473 h 2030710"/>
              <a:gd name="connsiteX2" fmla="*/ 12166060 w 12167248"/>
              <a:gd name="connsiteY2" fmla="*/ 2030311 h 2030710"/>
              <a:gd name="connsiteX3" fmla="*/ 1 w 12167248"/>
              <a:gd name="connsiteY3" fmla="*/ 1842242 h 2030710"/>
              <a:gd name="connsiteX0" fmla="*/ 1 w 12167248"/>
              <a:gd name="connsiteY0" fmla="*/ 1842242 h 2030710"/>
              <a:gd name="connsiteX1" fmla="*/ 12165985 w 12167248"/>
              <a:gd name="connsiteY1" fmla="*/ 473 h 2030710"/>
              <a:gd name="connsiteX2" fmla="*/ 12166060 w 12167248"/>
              <a:gd name="connsiteY2" fmla="*/ 2030311 h 2030710"/>
              <a:gd name="connsiteX3" fmla="*/ 1 w 12167248"/>
              <a:gd name="connsiteY3" fmla="*/ 1842242 h 2030710"/>
              <a:gd name="connsiteX0" fmla="*/ 1 w 12166780"/>
              <a:gd name="connsiteY0" fmla="*/ 1842242 h 2043646"/>
              <a:gd name="connsiteX1" fmla="*/ 12165985 w 12166780"/>
              <a:gd name="connsiteY1" fmla="*/ 473 h 2043646"/>
              <a:gd name="connsiteX2" fmla="*/ 12159575 w 12166780"/>
              <a:gd name="connsiteY2" fmla="*/ 2043281 h 2043646"/>
              <a:gd name="connsiteX3" fmla="*/ 1 w 12166780"/>
              <a:gd name="connsiteY3" fmla="*/ 1842242 h 2043646"/>
              <a:gd name="connsiteX0" fmla="*/ 1 w 12166780"/>
              <a:gd name="connsiteY0" fmla="*/ 1842242 h 2024244"/>
              <a:gd name="connsiteX1" fmla="*/ 12165985 w 12166780"/>
              <a:gd name="connsiteY1" fmla="*/ 473 h 2024244"/>
              <a:gd name="connsiteX2" fmla="*/ 12159575 w 12166780"/>
              <a:gd name="connsiteY2" fmla="*/ 2023826 h 2024244"/>
              <a:gd name="connsiteX3" fmla="*/ 1 w 12166780"/>
              <a:gd name="connsiteY3" fmla="*/ 1842242 h 2024244"/>
              <a:gd name="connsiteX0" fmla="*/ 1 w 12179031"/>
              <a:gd name="connsiteY0" fmla="*/ 1842242 h 2037177"/>
              <a:gd name="connsiteX1" fmla="*/ 12165985 w 12179031"/>
              <a:gd name="connsiteY1" fmla="*/ 473 h 2037177"/>
              <a:gd name="connsiteX2" fmla="*/ 12179030 w 12179031"/>
              <a:gd name="connsiteY2" fmla="*/ 2036796 h 2037177"/>
              <a:gd name="connsiteX3" fmla="*/ 1 w 12179031"/>
              <a:gd name="connsiteY3" fmla="*/ 1842242 h 2037177"/>
              <a:gd name="connsiteX0" fmla="*/ 1 w 12167248"/>
              <a:gd name="connsiteY0" fmla="*/ 1842242 h 2056588"/>
              <a:gd name="connsiteX1" fmla="*/ 12165985 w 12167248"/>
              <a:gd name="connsiteY1" fmla="*/ 473 h 2056588"/>
              <a:gd name="connsiteX2" fmla="*/ 12166060 w 12167248"/>
              <a:gd name="connsiteY2" fmla="*/ 2056251 h 2056588"/>
              <a:gd name="connsiteX3" fmla="*/ 1 w 12167248"/>
              <a:gd name="connsiteY3" fmla="*/ 1842242 h 2056588"/>
              <a:gd name="connsiteX0" fmla="*/ 1 w 12192002"/>
              <a:gd name="connsiteY0" fmla="*/ 1842242 h 2024244"/>
              <a:gd name="connsiteX1" fmla="*/ 12165985 w 12192002"/>
              <a:gd name="connsiteY1" fmla="*/ 473 h 2024244"/>
              <a:gd name="connsiteX2" fmla="*/ 12192001 w 12192002"/>
              <a:gd name="connsiteY2" fmla="*/ 2023826 h 2024244"/>
              <a:gd name="connsiteX3" fmla="*/ 1 w 12192002"/>
              <a:gd name="connsiteY3" fmla="*/ 1842242 h 2024244"/>
              <a:gd name="connsiteX0" fmla="*/ 1 w 12167248"/>
              <a:gd name="connsiteY0" fmla="*/ 1842242 h 2050117"/>
              <a:gd name="connsiteX1" fmla="*/ 12165985 w 12167248"/>
              <a:gd name="connsiteY1" fmla="*/ 473 h 2050117"/>
              <a:gd name="connsiteX2" fmla="*/ 12166061 w 12167248"/>
              <a:gd name="connsiteY2" fmla="*/ 2049767 h 2050117"/>
              <a:gd name="connsiteX3" fmla="*/ 1 w 12167248"/>
              <a:gd name="connsiteY3" fmla="*/ 1842242 h 2050117"/>
              <a:gd name="connsiteX0" fmla="*/ 1 w 12166780"/>
              <a:gd name="connsiteY0" fmla="*/ 1842242 h 2024245"/>
              <a:gd name="connsiteX1" fmla="*/ 12165985 w 12166780"/>
              <a:gd name="connsiteY1" fmla="*/ 473 h 2024245"/>
              <a:gd name="connsiteX2" fmla="*/ 12159576 w 12166780"/>
              <a:gd name="connsiteY2" fmla="*/ 2023827 h 2024245"/>
              <a:gd name="connsiteX3" fmla="*/ 1 w 12166780"/>
              <a:gd name="connsiteY3" fmla="*/ 1842242 h 2024245"/>
              <a:gd name="connsiteX0" fmla="*/ 1 w 12172548"/>
              <a:gd name="connsiteY0" fmla="*/ 1842242 h 2043647"/>
              <a:gd name="connsiteX1" fmla="*/ 12165985 w 12172548"/>
              <a:gd name="connsiteY1" fmla="*/ 473 h 2043647"/>
              <a:gd name="connsiteX2" fmla="*/ 12172547 w 12172548"/>
              <a:gd name="connsiteY2" fmla="*/ 2043282 h 2043647"/>
              <a:gd name="connsiteX3" fmla="*/ 1 w 12172548"/>
              <a:gd name="connsiteY3" fmla="*/ 1842242 h 2043647"/>
              <a:gd name="connsiteX0" fmla="*/ 1 w 12166566"/>
              <a:gd name="connsiteY0" fmla="*/ 1842242 h 2030711"/>
              <a:gd name="connsiteX1" fmla="*/ 12165985 w 12166566"/>
              <a:gd name="connsiteY1" fmla="*/ 473 h 2030711"/>
              <a:gd name="connsiteX2" fmla="*/ 12153091 w 12166566"/>
              <a:gd name="connsiteY2" fmla="*/ 2030312 h 2030711"/>
              <a:gd name="connsiteX3" fmla="*/ 1 w 12166566"/>
              <a:gd name="connsiteY3" fmla="*/ 1842242 h 2030711"/>
              <a:gd name="connsiteX0" fmla="*/ 1 w 12175317"/>
              <a:gd name="connsiteY0" fmla="*/ 1842242 h 2037043"/>
              <a:gd name="connsiteX1" fmla="*/ 12165985 w 12175317"/>
              <a:gd name="connsiteY1" fmla="*/ 473 h 2037043"/>
              <a:gd name="connsiteX2" fmla="*/ 12175316 w 12175317"/>
              <a:gd name="connsiteY2" fmla="*/ 2036662 h 2037043"/>
              <a:gd name="connsiteX3" fmla="*/ 1 w 12175317"/>
              <a:gd name="connsiteY3" fmla="*/ 1842242 h 2037043"/>
              <a:gd name="connsiteX0" fmla="*/ 1 w 12184842"/>
              <a:gd name="connsiteY0" fmla="*/ 1842242 h 2027545"/>
              <a:gd name="connsiteX1" fmla="*/ 12165985 w 12184842"/>
              <a:gd name="connsiteY1" fmla="*/ 473 h 2027545"/>
              <a:gd name="connsiteX2" fmla="*/ 12184841 w 12184842"/>
              <a:gd name="connsiteY2" fmla="*/ 2027137 h 2027545"/>
              <a:gd name="connsiteX3" fmla="*/ 1 w 12184842"/>
              <a:gd name="connsiteY3" fmla="*/ 1842242 h 2027545"/>
              <a:gd name="connsiteX0" fmla="*/ 1 w 12184842"/>
              <a:gd name="connsiteY0" fmla="*/ 1851765 h 2037068"/>
              <a:gd name="connsiteX1" fmla="*/ 12172335 w 12184842"/>
              <a:gd name="connsiteY1" fmla="*/ 471 h 2037068"/>
              <a:gd name="connsiteX2" fmla="*/ 12184841 w 12184842"/>
              <a:gd name="connsiteY2" fmla="*/ 2036660 h 2037068"/>
              <a:gd name="connsiteX3" fmla="*/ 1 w 12184842"/>
              <a:gd name="connsiteY3" fmla="*/ 1851765 h 2037068"/>
              <a:gd name="connsiteX0" fmla="*/ 1 w 12184842"/>
              <a:gd name="connsiteY0" fmla="*/ 1858113 h 2043416"/>
              <a:gd name="connsiteX1" fmla="*/ 12172335 w 12184842"/>
              <a:gd name="connsiteY1" fmla="*/ 469 h 2043416"/>
              <a:gd name="connsiteX2" fmla="*/ 12184841 w 12184842"/>
              <a:gd name="connsiteY2" fmla="*/ 2043008 h 2043416"/>
              <a:gd name="connsiteX3" fmla="*/ 1 w 12184842"/>
              <a:gd name="connsiteY3" fmla="*/ 1858113 h 2043416"/>
              <a:gd name="connsiteX0" fmla="*/ 1 w 12205863"/>
              <a:gd name="connsiteY0" fmla="*/ 1858113 h 1923107"/>
              <a:gd name="connsiteX1" fmla="*/ 12172335 w 12205863"/>
              <a:gd name="connsiteY1" fmla="*/ 469 h 1923107"/>
              <a:gd name="connsiteX2" fmla="*/ 12205862 w 12205863"/>
              <a:gd name="connsiteY2" fmla="*/ 1920222 h 1923107"/>
              <a:gd name="connsiteX3" fmla="*/ 1 w 12205863"/>
              <a:gd name="connsiteY3" fmla="*/ 1858113 h 1923107"/>
              <a:gd name="connsiteX0" fmla="*/ 1 w 12206057"/>
              <a:gd name="connsiteY0" fmla="*/ 1858113 h 1920221"/>
              <a:gd name="connsiteX1" fmla="*/ 12172335 w 12206057"/>
              <a:gd name="connsiteY1" fmla="*/ 469 h 1920221"/>
              <a:gd name="connsiteX2" fmla="*/ 12205862 w 12206057"/>
              <a:gd name="connsiteY2" fmla="*/ 1920222 h 1920221"/>
              <a:gd name="connsiteX3" fmla="*/ 1 w 12206057"/>
              <a:gd name="connsiteY3" fmla="*/ 1858113 h 1920221"/>
              <a:gd name="connsiteX0" fmla="*/ 1 w 12227078"/>
              <a:gd name="connsiteY0" fmla="*/ 1858113 h 1870508"/>
              <a:gd name="connsiteX1" fmla="*/ 12172335 w 12227078"/>
              <a:gd name="connsiteY1" fmla="*/ 469 h 1870508"/>
              <a:gd name="connsiteX2" fmla="*/ 12226883 w 12227078"/>
              <a:gd name="connsiteY2" fmla="*/ 1821993 h 1870508"/>
              <a:gd name="connsiteX3" fmla="*/ 1 w 12227078"/>
              <a:gd name="connsiteY3" fmla="*/ 1858113 h 1870508"/>
              <a:gd name="connsiteX0" fmla="*/ 1 w 12227078"/>
              <a:gd name="connsiteY0" fmla="*/ 1919492 h 1931888"/>
              <a:gd name="connsiteX1" fmla="*/ 12193355 w 12227078"/>
              <a:gd name="connsiteY1" fmla="*/ 454 h 1931888"/>
              <a:gd name="connsiteX2" fmla="*/ 12226883 w 12227078"/>
              <a:gd name="connsiteY2" fmla="*/ 1883372 h 1931888"/>
              <a:gd name="connsiteX3" fmla="*/ 1 w 12227078"/>
              <a:gd name="connsiteY3" fmla="*/ 1919492 h 1931888"/>
              <a:gd name="connsiteX0" fmla="*/ 1 w 12258608"/>
              <a:gd name="connsiteY0" fmla="*/ 1919492 h 1930198"/>
              <a:gd name="connsiteX1" fmla="*/ 12193355 w 12258608"/>
              <a:gd name="connsiteY1" fmla="*/ 454 h 1930198"/>
              <a:gd name="connsiteX2" fmla="*/ 12258414 w 12258608"/>
              <a:gd name="connsiteY2" fmla="*/ 1846536 h 1930198"/>
              <a:gd name="connsiteX3" fmla="*/ 1 w 12258608"/>
              <a:gd name="connsiteY3" fmla="*/ 1919492 h 1930198"/>
              <a:gd name="connsiteX0" fmla="*/ 1 w 12193819"/>
              <a:gd name="connsiteY0" fmla="*/ 1919492 h 1932582"/>
              <a:gd name="connsiteX1" fmla="*/ 12193355 w 12193819"/>
              <a:gd name="connsiteY1" fmla="*/ 454 h 1932582"/>
              <a:gd name="connsiteX2" fmla="*/ 12174331 w 12193819"/>
              <a:gd name="connsiteY2" fmla="*/ 1895651 h 1932582"/>
              <a:gd name="connsiteX3" fmla="*/ 1 w 12193819"/>
              <a:gd name="connsiteY3" fmla="*/ 1919492 h 1932582"/>
              <a:gd name="connsiteX0" fmla="*/ 1 w 12193526"/>
              <a:gd name="connsiteY0" fmla="*/ 1919492 h 1932582"/>
              <a:gd name="connsiteX1" fmla="*/ 12193355 w 12193526"/>
              <a:gd name="connsiteY1" fmla="*/ 454 h 1932582"/>
              <a:gd name="connsiteX2" fmla="*/ 12174331 w 12193526"/>
              <a:gd name="connsiteY2" fmla="*/ 1895651 h 1932582"/>
              <a:gd name="connsiteX3" fmla="*/ 1 w 12193526"/>
              <a:gd name="connsiteY3" fmla="*/ 1919492 h 1932582"/>
              <a:gd name="connsiteX0" fmla="*/ 1 w 12193526"/>
              <a:gd name="connsiteY0" fmla="*/ 1919492 h 1938518"/>
              <a:gd name="connsiteX1" fmla="*/ 12193355 w 12193526"/>
              <a:gd name="connsiteY1" fmla="*/ 454 h 1938518"/>
              <a:gd name="connsiteX2" fmla="*/ 12174331 w 12193526"/>
              <a:gd name="connsiteY2" fmla="*/ 1895651 h 1938518"/>
              <a:gd name="connsiteX3" fmla="*/ 1 w 12193526"/>
              <a:gd name="connsiteY3" fmla="*/ 1919492 h 1938518"/>
              <a:gd name="connsiteX0" fmla="*/ 1 w 12193584"/>
              <a:gd name="connsiteY0" fmla="*/ 1919492 h 1938518"/>
              <a:gd name="connsiteX1" fmla="*/ 12193355 w 12193584"/>
              <a:gd name="connsiteY1" fmla="*/ 454 h 1938518"/>
              <a:gd name="connsiteX2" fmla="*/ 12174331 w 12193584"/>
              <a:gd name="connsiteY2" fmla="*/ 1895651 h 1938518"/>
              <a:gd name="connsiteX3" fmla="*/ 1 w 12193584"/>
              <a:gd name="connsiteY3" fmla="*/ 1919492 h 1938518"/>
              <a:gd name="connsiteX0" fmla="*/ 1 w 12193468"/>
              <a:gd name="connsiteY0" fmla="*/ 1919492 h 1933905"/>
              <a:gd name="connsiteX1" fmla="*/ 12193355 w 12193468"/>
              <a:gd name="connsiteY1" fmla="*/ 454 h 1933905"/>
              <a:gd name="connsiteX2" fmla="*/ 12111269 w 12193468"/>
              <a:gd name="connsiteY2" fmla="*/ 1846537 h 1933905"/>
              <a:gd name="connsiteX3" fmla="*/ 1 w 12193468"/>
              <a:gd name="connsiteY3" fmla="*/ 1919492 h 1933905"/>
              <a:gd name="connsiteX0" fmla="*/ 1 w 12193632"/>
              <a:gd name="connsiteY0" fmla="*/ 1919492 h 1940184"/>
              <a:gd name="connsiteX1" fmla="*/ 12193355 w 12193632"/>
              <a:gd name="connsiteY1" fmla="*/ 454 h 1940184"/>
              <a:gd name="connsiteX2" fmla="*/ 12184841 w 12193632"/>
              <a:gd name="connsiteY2" fmla="*/ 1907931 h 1940184"/>
              <a:gd name="connsiteX3" fmla="*/ 1 w 12193632"/>
              <a:gd name="connsiteY3" fmla="*/ 1919492 h 1940184"/>
              <a:gd name="connsiteX0" fmla="*/ 1 w 12193376"/>
              <a:gd name="connsiteY0" fmla="*/ 1919492 h 1923285"/>
              <a:gd name="connsiteX1" fmla="*/ 12193355 w 12193376"/>
              <a:gd name="connsiteY1" fmla="*/ 454 h 1923285"/>
              <a:gd name="connsiteX2" fmla="*/ 11586288 w 12193376"/>
              <a:gd name="connsiteY2" fmla="*/ 1274881 h 1923285"/>
              <a:gd name="connsiteX3" fmla="*/ 1 w 12193376"/>
              <a:gd name="connsiteY3" fmla="*/ 1919492 h 1923285"/>
              <a:gd name="connsiteX0" fmla="*/ 1 w 12211564"/>
              <a:gd name="connsiteY0" fmla="*/ 1919492 h 1940184"/>
              <a:gd name="connsiteX1" fmla="*/ 12193355 w 12211564"/>
              <a:gd name="connsiteY1" fmla="*/ 454 h 1940184"/>
              <a:gd name="connsiteX2" fmla="*/ 12211564 w 12211564"/>
              <a:gd name="connsiteY2" fmla="*/ 1907932 h 1940184"/>
              <a:gd name="connsiteX3" fmla="*/ 1 w 12211564"/>
              <a:gd name="connsiteY3" fmla="*/ 1919492 h 1940184"/>
              <a:gd name="connsiteX0" fmla="*/ 1 w 12142089"/>
              <a:gd name="connsiteY0" fmla="*/ 1913227 h 1934891"/>
              <a:gd name="connsiteX1" fmla="*/ 12123880 w 12142089"/>
              <a:gd name="connsiteY1" fmla="*/ 456 h 1934891"/>
              <a:gd name="connsiteX2" fmla="*/ 12142089 w 12142089"/>
              <a:gd name="connsiteY2" fmla="*/ 1907934 h 1934891"/>
              <a:gd name="connsiteX3" fmla="*/ 1 w 12142089"/>
              <a:gd name="connsiteY3" fmla="*/ 1913227 h 1934891"/>
              <a:gd name="connsiteX0" fmla="*/ 2 w 12142090"/>
              <a:gd name="connsiteY0" fmla="*/ 1913227 h 1913226"/>
              <a:gd name="connsiteX1" fmla="*/ 12123881 w 12142090"/>
              <a:gd name="connsiteY1" fmla="*/ 456 h 1913226"/>
              <a:gd name="connsiteX2" fmla="*/ 12142090 w 12142090"/>
              <a:gd name="connsiteY2" fmla="*/ 1907934 h 1913226"/>
              <a:gd name="connsiteX3" fmla="*/ 2 w 12142090"/>
              <a:gd name="connsiteY3" fmla="*/ 1913227 h 1913226"/>
              <a:gd name="connsiteX0" fmla="*/ 3 w 12093993"/>
              <a:gd name="connsiteY0" fmla="*/ 1919495 h 1919495"/>
              <a:gd name="connsiteX1" fmla="*/ 12075784 w 12093993"/>
              <a:gd name="connsiteY1" fmla="*/ 455 h 1919495"/>
              <a:gd name="connsiteX2" fmla="*/ 12093993 w 12093993"/>
              <a:gd name="connsiteY2" fmla="*/ 1907933 h 1919495"/>
              <a:gd name="connsiteX3" fmla="*/ 3 w 12093993"/>
              <a:gd name="connsiteY3" fmla="*/ 1919495 h 1919495"/>
              <a:gd name="connsiteX0" fmla="*/ 3 w 12126172"/>
              <a:gd name="connsiteY0" fmla="*/ 1919495 h 1919495"/>
              <a:gd name="connsiteX1" fmla="*/ 12075784 w 12126172"/>
              <a:gd name="connsiteY1" fmla="*/ 455 h 1919495"/>
              <a:gd name="connsiteX2" fmla="*/ 12126172 w 12126172"/>
              <a:gd name="connsiteY2" fmla="*/ 1895062 h 1919495"/>
              <a:gd name="connsiteX3" fmla="*/ 3 w 12126172"/>
              <a:gd name="connsiteY3" fmla="*/ 1919495 h 1919495"/>
              <a:gd name="connsiteX0" fmla="*/ 3 w 12088629"/>
              <a:gd name="connsiteY0" fmla="*/ 1919495 h 1919495"/>
              <a:gd name="connsiteX1" fmla="*/ 12075784 w 12088629"/>
              <a:gd name="connsiteY1" fmla="*/ 455 h 1919495"/>
              <a:gd name="connsiteX2" fmla="*/ 12088629 w 12088629"/>
              <a:gd name="connsiteY2" fmla="*/ 1907935 h 1919495"/>
              <a:gd name="connsiteX3" fmla="*/ 3 w 12088629"/>
              <a:gd name="connsiteY3" fmla="*/ 1919495 h 1919495"/>
              <a:gd name="connsiteX0" fmla="*/ 3 w 12088645"/>
              <a:gd name="connsiteY0" fmla="*/ 1919495 h 1920291"/>
              <a:gd name="connsiteX1" fmla="*/ 12075784 w 12088645"/>
              <a:gd name="connsiteY1" fmla="*/ 455 h 1920291"/>
              <a:gd name="connsiteX2" fmla="*/ 12088629 w 12088645"/>
              <a:gd name="connsiteY2" fmla="*/ 1907935 h 1920291"/>
              <a:gd name="connsiteX3" fmla="*/ 3 w 12088645"/>
              <a:gd name="connsiteY3" fmla="*/ 1919495 h 1920291"/>
              <a:gd name="connsiteX0" fmla="*/ 3 w 12088645"/>
              <a:gd name="connsiteY0" fmla="*/ 1919495 h 1920290"/>
              <a:gd name="connsiteX1" fmla="*/ 12075784 w 12088645"/>
              <a:gd name="connsiteY1" fmla="*/ 455 h 1920290"/>
              <a:gd name="connsiteX2" fmla="*/ 12088629 w 12088645"/>
              <a:gd name="connsiteY2" fmla="*/ 1907935 h 1920290"/>
              <a:gd name="connsiteX3" fmla="*/ 3 w 12088645"/>
              <a:gd name="connsiteY3" fmla="*/ 1919495 h 1920290"/>
              <a:gd name="connsiteX0" fmla="*/ 3 w 12094009"/>
              <a:gd name="connsiteY0" fmla="*/ 1919495 h 1919494"/>
              <a:gd name="connsiteX1" fmla="*/ 12075784 w 12094009"/>
              <a:gd name="connsiteY1" fmla="*/ 455 h 1919494"/>
              <a:gd name="connsiteX2" fmla="*/ 12093993 w 12094009"/>
              <a:gd name="connsiteY2" fmla="*/ 1882192 h 1919494"/>
              <a:gd name="connsiteX3" fmla="*/ 3 w 12094009"/>
              <a:gd name="connsiteY3" fmla="*/ 1919495 h 1919494"/>
              <a:gd name="connsiteX0" fmla="*/ 3 w 12099372"/>
              <a:gd name="connsiteY0" fmla="*/ 1919495 h 1920290"/>
              <a:gd name="connsiteX1" fmla="*/ 12075784 w 12099372"/>
              <a:gd name="connsiteY1" fmla="*/ 455 h 1920290"/>
              <a:gd name="connsiteX2" fmla="*/ 12099356 w 12099372"/>
              <a:gd name="connsiteY2" fmla="*/ 1907935 h 1920290"/>
              <a:gd name="connsiteX3" fmla="*/ 3 w 12099372"/>
              <a:gd name="connsiteY3" fmla="*/ 1919495 h 1920290"/>
              <a:gd name="connsiteX0" fmla="*/ 3 w 12099372"/>
              <a:gd name="connsiteY0" fmla="*/ 1919495 h 1920290"/>
              <a:gd name="connsiteX1" fmla="*/ 12075784 w 12099372"/>
              <a:gd name="connsiteY1" fmla="*/ 455 h 1920290"/>
              <a:gd name="connsiteX2" fmla="*/ 12099356 w 12099372"/>
              <a:gd name="connsiteY2" fmla="*/ 1907935 h 1920290"/>
              <a:gd name="connsiteX3" fmla="*/ 3 w 12099372"/>
              <a:gd name="connsiteY3" fmla="*/ 1919495 h 1920290"/>
              <a:gd name="connsiteX0" fmla="*/ 3 w 12075784"/>
              <a:gd name="connsiteY0" fmla="*/ 1919495 h 1919494"/>
              <a:gd name="connsiteX1" fmla="*/ 12075784 w 12075784"/>
              <a:gd name="connsiteY1" fmla="*/ 455 h 1919494"/>
              <a:gd name="connsiteX2" fmla="*/ 11874101 w 12075784"/>
              <a:gd name="connsiteY2" fmla="*/ 1901500 h 1919494"/>
              <a:gd name="connsiteX3" fmla="*/ 3 w 12075784"/>
              <a:gd name="connsiteY3" fmla="*/ 1919495 h 1919494"/>
              <a:gd name="connsiteX0" fmla="*/ 3 w 12083281"/>
              <a:gd name="connsiteY0" fmla="*/ 1919495 h 1920290"/>
              <a:gd name="connsiteX1" fmla="*/ 12075784 w 12083281"/>
              <a:gd name="connsiteY1" fmla="*/ 455 h 1920290"/>
              <a:gd name="connsiteX2" fmla="*/ 12083265 w 12083281"/>
              <a:gd name="connsiteY2" fmla="*/ 1907937 h 1920290"/>
              <a:gd name="connsiteX3" fmla="*/ 3 w 12083281"/>
              <a:gd name="connsiteY3" fmla="*/ 1919495 h 1920290"/>
              <a:gd name="connsiteX0" fmla="*/ 3 w 12083281"/>
              <a:gd name="connsiteY0" fmla="*/ 1919495 h 1920290"/>
              <a:gd name="connsiteX1" fmla="*/ 12075784 w 12083281"/>
              <a:gd name="connsiteY1" fmla="*/ 455 h 1920290"/>
              <a:gd name="connsiteX2" fmla="*/ 12083265 w 12083281"/>
              <a:gd name="connsiteY2" fmla="*/ 1907937 h 1920290"/>
              <a:gd name="connsiteX3" fmla="*/ 3 w 12083281"/>
              <a:gd name="connsiteY3" fmla="*/ 1919495 h 1920290"/>
            </a:gdLst>
            <a:ahLst/>
            <a:cxnLst>
              <a:cxn ang="0">
                <a:pos x="connsiteX0" y="connsiteY0"/>
              </a:cxn>
              <a:cxn ang="0">
                <a:pos x="connsiteX1" y="connsiteY1"/>
              </a:cxn>
              <a:cxn ang="0">
                <a:pos x="connsiteX2" y="connsiteY2"/>
              </a:cxn>
              <a:cxn ang="0">
                <a:pos x="connsiteX3" y="connsiteY3"/>
              </a:cxn>
            </a:cxnLst>
            <a:rect l="l" t="t" r="r" b="b"/>
            <a:pathLst>
              <a:path w="12083281" h="1920290">
                <a:moveTo>
                  <a:pt x="3" y="1919495"/>
                </a:moveTo>
                <a:cubicBezTo>
                  <a:pt x="-21" y="1915172"/>
                  <a:pt x="12056353" y="-34132"/>
                  <a:pt x="12075784" y="455"/>
                </a:cubicBezTo>
                <a:cubicBezTo>
                  <a:pt x="12064042" y="35633"/>
                  <a:pt x="12074201" y="1926691"/>
                  <a:pt x="12083265" y="1907937"/>
                </a:cubicBezTo>
                <a:cubicBezTo>
                  <a:pt x="12099828" y="1924799"/>
                  <a:pt x="-6259" y="1919506"/>
                  <a:pt x="3" y="1919495"/>
                </a:cubicBezTo>
                <a:close/>
              </a:path>
            </a:pathLst>
          </a:custGeom>
          <a:solidFill>
            <a:srgbClr val="00A3D4"/>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cxnSp>
        <p:nvCxnSpPr>
          <p:cNvPr id="34" name="Straight Connector 33">
            <a:extLst>
              <a:ext uri="{FF2B5EF4-FFF2-40B4-BE49-F238E27FC236}">
                <a16:creationId xmlns:a16="http://schemas.microsoft.com/office/drawing/2014/main" id="{AE3B586D-EBB3-2F42-902A-4E55EA954813}"/>
              </a:ext>
            </a:extLst>
          </p:cNvPr>
          <p:cNvCxnSpPr>
            <a:cxnSpLocks/>
          </p:cNvCxnSpPr>
          <p:nvPr userDrawn="1"/>
        </p:nvCxnSpPr>
        <p:spPr bwMode="auto">
          <a:xfrm flipV="1">
            <a:off x="4192367" y="5486401"/>
            <a:ext cx="4951633" cy="1371599"/>
          </a:xfrm>
          <a:prstGeom prst="line">
            <a:avLst/>
          </a:prstGeom>
          <a:solidFill>
            <a:schemeClr val="hlink"/>
          </a:solidFill>
          <a:ln w="12700" cap="flat" cmpd="sng" algn="ctr">
            <a:solidFill>
              <a:schemeClr val="bg1">
                <a:lumMod val="85000"/>
              </a:schemeClr>
            </a:solidFill>
            <a:prstDash val="solid"/>
            <a:round/>
            <a:headEnd type="none" w="med" len="med"/>
            <a:tailEnd type="none" w="med" len="med"/>
          </a:ln>
          <a:effectLst/>
        </p:spPr>
      </p:cxnSp>
      <p:sp>
        <p:nvSpPr>
          <p:cNvPr id="35" name="Triangle 40">
            <a:extLst>
              <a:ext uri="{FF2B5EF4-FFF2-40B4-BE49-F238E27FC236}">
                <a16:creationId xmlns:a16="http://schemas.microsoft.com/office/drawing/2014/main" id="{2FB4EB2F-2681-254D-A81E-C21AB658107E}"/>
              </a:ext>
            </a:extLst>
          </p:cNvPr>
          <p:cNvSpPr/>
          <p:nvPr userDrawn="1"/>
        </p:nvSpPr>
        <p:spPr bwMode="auto">
          <a:xfrm rot="8472601" flipH="1" flipV="1">
            <a:off x="6172249" y="4948072"/>
            <a:ext cx="3771331" cy="1230334"/>
          </a:xfrm>
          <a:custGeom>
            <a:avLst/>
            <a:gdLst>
              <a:gd name="connsiteX0" fmla="*/ 0 w 12192000"/>
              <a:gd name="connsiteY0" fmla="*/ 2036323 h 2036323"/>
              <a:gd name="connsiteX1" fmla="*/ 12178955 w 12192000"/>
              <a:gd name="connsiteY1" fmla="*/ 0 h 2036323"/>
              <a:gd name="connsiteX2" fmla="*/ 12192000 w 12192000"/>
              <a:gd name="connsiteY2" fmla="*/ 2036323 h 2036323"/>
              <a:gd name="connsiteX3" fmla="*/ 0 w 12192000"/>
              <a:gd name="connsiteY3" fmla="*/ 2036323 h 2036323"/>
              <a:gd name="connsiteX0" fmla="*/ 0 w 12204970"/>
              <a:gd name="connsiteY0" fmla="*/ 1880680 h 2036323"/>
              <a:gd name="connsiteX1" fmla="*/ 12191925 w 12204970"/>
              <a:gd name="connsiteY1" fmla="*/ 0 h 2036323"/>
              <a:gd name="connsiteX2" fmla="*/ 12204970 w 12204970"/>
              <a:gd name="connsiteY2" fmla="*/ 2036323 h 2036323"/>
              <a:gd name="connsiteX3" fmla="*/ 0 w 12204970"/>
              <a:gd name="connsiteY3" fmla="*/ 1880680 h 2036323"/>
              <a:gd name="connsiteX0" fmla="*/ 0 w 12192096"/>
              <a:gd name="connsiteY0" fmla="*/ 1880680 h 1906621"/>
              <a:gd name="connsiteX1" fmla="*/ 12191925 w 12192096"/>
              <a:gd name="connsiteY1" fmla="*/ 0 h 1906621"/>
              <a:gd name="connsiteX2" fmla="*/ 12120664 w 12192096"/>
              <a:gd name="connsiteY2" fmla="*/ 1906621 h 1906621"/>
              <a:gd name="connsiteX3" fmla="*/ 0 w 12192096"/>
              <a:gd name="connsiteY3" fmla="*/ 1880680 h 1906621"/>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3188"/>
              <a:gd name="connsiteY0" fmla="*/ 1880680 h 2049294"/>
              <a:gd name="connsiteX1" fmla="*/ 12191925 w 12193188"/>
              <a:gd name="connsiteY1" fmla="*/ 0 h 2049294"/>
              <a:gd name="connsiteX2" fmla="*/ 12192000 w 12193188"/>
              <a:gd name="connsiteY2" fmla="*/ 2049294 h 2049294"/>
              <a:gd name="connsiteX3" fmla="*/ 0 w 12193188"/>
              <a:gd name="connsiteY3" fmla="*/ 1880680 h 2049294"/>
              <a:gd name="connsiteX0" fmla="*/ 0 w 12199673"/>
              <a:gd name="connsiteY0" fmla="*/ 1867710 h 2049294"/>
              <a:gd name="connsiteX1" fmla="*/ 12198410 w 12199673"/>
              <a:gd name="connsiteY1" fmla="*/ 0 h 2049294"/>
              <a:gd name="connsiteX2" fmla="*/ 12198485 w 12199673"/>
              <a:gd name="connsiteY2" fmla="*/ 2049294 h 2049294"/>
              <a:gd name="connsiteX3" fmla="*/ 0 w 12199673"/>
              <a:gd name="connsiteY3" fmla="*/ 1867710 h 2049294"/>
              <a:gd name="connsiteX0" fmla="*/ 0 w 12199673"/>
              <a:gd name="connsiteY0" fmla="*/ 1867710 h 2329173"/>
              <a:gd name="connsiteX1" fmla="*/ 12198410 w 12199673"/>
              <a:gd name="connsiteY1" fmla="*/ 0 h 2329173"/>
              <a:gd name="connsiteX2" fmla="*/ 12198485 w 12199673"/>
              <a:gd name="connsiteY2" fmla="*/ 2049294 h 2329173"/>
              <a:gd name="connsiteX3" fmla="*/ 0 w 12199673"/>
              <a:gd name="connsiteY3" fmla="*/ 1867710 h 2329173"/>
              <a:gd name="connsiteX0" fmla="*/ 0 w 12199673"/>
              <a:gd name="connsiteY0" fmla="*/ 1867710 h 2049294"/>
              <a:gd name="connsiteX1" fmla="*/ 12198410 w 12199673"/>
              <a:gd name="connsiteY1" fmla="*/ 0 h 2049294"/>
              <a:gd name="connsiteX2" fmla="*/ 12198485 w 12199673"/>
              <a:gd name="connsiteY2" fmla="*/ 2049294 h 2049294"/>
              <a:gd name="connsiteX3" fmla="*/ 0 w 12199673"/>
              <a:gd name="connsiteY3" fmla="*/ 1867710 h 2049294"/>
              <a:gd name="connsiteX0" fmla="*/ 1 w 12167248"/>
              <a:gd name="connsiteY0" fmla="*/ 1861225 h 2049294"/>
              <a:gd name="connsiteX1" fmla="*/ 12165985 w 12167248"/>
              <a:gd name="connsiteY1" fmla="*/ 0 h 2049294"/>
              <a:gd name="connsiteX2" fmla="*/ 12166060 w 12167248"/>
              <a:gd name="connsiteY2" fmla="*/ 2049294 h 2049294"/>
              <a:gd name="connsiteX3" fmla="*/ 1 w 12167248"/>
              <a:gd name="connsiteY3" fmla="*/ 1861225 h 2049294"/>
              <a:gd name="connsiteX0" fmla="*/ 1 w 12167248"/>
              <a:gd name="connsiteY0" fmla="*/ 1841769 h 2029838"/>
              <a:gd name="connsiteX1" fmla="*/ 12165985 w 12167248"/>
              <a:gd name="connsiteY1" fmla="*/ 0 h 2029838"/>
              <a:gd name="connsiteX2" fmla="*/ 12166060 w 12167248"/>
              <a:gd name="connsiteY2" fmla="*/ 2029838 h 2029838"/>
              <a:gd name="connsiteX3" fmla="*/ 1 w 12167248"/>
              <a:gd name="connsiteY3" fmla="*/ 1841769 h 2029838"/>
              <a:gd name="connsiteX0" fmla="*/ 1 w 12167248"/>
              <a:gd name="connsiteY0" fmla="*/ 1842242 h 2030311"/>
              <a:gd name="connsiteX1" fmla="*/ 12165985 w 12167248"/>
              <a:gd name="connsiteY1" fmla="*/ 473 h 2030311"/>
              <a:gd name="connsiteX2" fmla="*/ 12166060 w 12167248"/>
              <a:gd name="connsiteY2" fmla="*/ 2030311 h 2030311"/>
              <a:gd name="connsiteX3" fmla="*/ 1 w 12167248"/>
              <a:gd name="connsiteY3" fmla="*/ 1842242 h 2030311"/>
              <a:gd name="connsiteX0" fmla="*/ 1 w 12167248"/>
              <a:gd name="connsiteY0" fmla="*/ 1842242 h 2030710"/>
              <a:gd name="connsiteX1" fmla="*/ 12165985 w 12167248"/>
              <a:gd name="connsiteY1" fmla="*/ 473 h 2030710"/>
              <a:gd name="connsiteX2" fmla="*/ 12166060 w 12167248"/>
              <a:gd name="connsiteY2" fmla="*/ 2030311 h 2030710"/>
              <a:gd name="connsiteX3" fmla="*/ 1 w 12167248"/>
              <a:gd name="connsiteY3" fmla="*/ 1842242 h 2030710"/>
              <a:gd name="connsiteX0" fmla="*/ 1 w 12167248"/>
              <a:gd name="connsiteY0" fmla="*/ 1842242 h 2030710"/>
              <a:gd name="connsiteX1" fmla="*/ 12165985 w 12167248"/>
              <a:gd name="connsiteY1" fmla="*/ 473 h 2030710"/>
              <a:gd name="connsiteX2" fmla="*/ 12166060 w 12167248"/>
              <a:gd name="connsiteY2" fmla="*/ 2030311 h 2030710"/>
              <a:gd name="connsiteX3" fmla="*/ 1 w 12167248"/>
              <a:gd name="connsiteY3" fmla="*/ 1842242 h 2030710"/>
              <a:gd name="connsiteX0" fmla="*/ 1 w 12166780"/>
              <a:gd name="connsiteY0" fmla="*/ 1842242 h 2043646"/>
              <a:gd name="connsiteX1" fmla="*/ 12165985 w 12166780"/>
              <a:gd name="connsiteY1" fmla="*/ 473 h 2043646"/>
              <a:gd name="connsiteX2" fmla="*/ 12159575 w 12166780"/>
              <a:gd name="connsiteY2" fmla="*/ 2043281 h 2043646"/>
              <a:gd name="connsiteX3" fmla="*/ 1 w 12166780"/>
              <a:gd name="connsiteY3" fmla="*/ 1842242 h 2043646"/>
              <a:gd name="connsiteX0" fmla="*/ 1 w 12166780"/>
              <a:gd name="connsiteY0" fmla="*/ 1842242 h 2024244"/>
              <a:gd name="connsiteX1" fmla="*/ 12165985 w 12166780"/>
              <a:gd name="connsiteY1" fmla="*/ 473 h 2024244"/>
              <a:gd name="connsiteX2" fmla="*/ 12159575 w 12166780"/>
              <a:gd name="connsiteY2" fmla="*/ 2023826 h 2024244"/>
              <a:gd name="connsiteX3" fmla="*/ 1 w 12166780"/>
              <a:gd name="connsiteY3" fmla="*/ 1842242 h 2024244"/>
              <a:gd name="connsiteX0" fmla="*/ 1 w 12179031"/>
              <a:gd name="connsiteY0" fmla="*/ 1842242 h 2037177"/>
              <a:gd name="connsiteX1" fmla="*/ 12165985 w 12179031"/>
              <a:gd name="connsiteY1" fmla="*/ 473 h 2037177"/>
              <a:gd name="connsiteX2" fmla="*/ 12179030 w 12179031"/>
              <a:gd name="connsiteY2" fmla="*/ 2036796 h 2037177"/>
              <a:gd name="connsiteX3" fmla="*/ 1 w 12179031"/>
              <a:gd name="connsiteY3" fmla="*/ 1842242 h 2037177"/>
              <a:gd name="connsiteX0" fmla="*/ 1 w 12167248"/>
              <a:gd name="connsiteY0" fmla="*/ 1842242 h 2056588"/>
              <a:gd name="connsiteX1" fmla="*/ 12165985 w 12167248"/>
              <a:gd name="connsiteY1" fmla="*/ 473 h 2056588"/>
              <a:gd name="connsiteX2" fmla="*/ 12166060 w 12167248"/>
              <a:gd name="connsiteY2" fmla="*/ 2056251 h 2056588"/>
              <a:gd name="connsiteX3" fmla="*/ 1 w 12167248"/>
              <a:gd name="connsiteY3" fmla="*/ 1842242 h 2056588"/>
              <a:gd name="connsiteX0" fmla="*/ 1 w 12192002"/>
              <a:gd name="connsiteY0" fmla="*/ 1842242 h 2024244"/>
              <a:gd name="connsiteX1" fmla="*/ 12165985 w 12192002"/>
              <a:gd name="connsiteY1" fmla="*/ 473 h 2024244"/>
              <a:gd name="connsiteX2" fmla="*/ 12192001 w 12192002"/>
              <a:gd name="connsiteY2" fmla="*/ 2023826 h 2024244"/>
              <a:gd name="connsiteX3" fmla="*/ 1 w 12192002"/>
              <a:gd name="connsiteY3" fmla="*/ 1842242 h 2024244"/>
              <a:gd name="connsiteX0" fmla="*/ 1 w 12167248"/>
              <a:gd name="connsiteY0" fmla="*/ 1842242 h 2050117"/>
              <a:gd name="connsiteX1" fmla="*/ 12165985 w 12167248"/>
              <a:gd name="connsiteY1" fmla="*/ 473 h 2050117"/>
              <a:gd name="connsiteX2" fmla="*/ 12166061 w 12167248"/>
              <a:gd name="connsiteY2" fmla="*/ 2049767 h 2050117"/>
              <a:gd name="connsiteX3" fmla="*/ 1 w 12167248"/>
              <a:gd name="connsiteY3" fmla="*/ 1842242 h 2050117"/>
              <a:gd name="connsiteX0" fmla="*/ 1 w 12166780"/>
              <a:gd name="connsiteY0" fmla="*/ 1842242 h 2024245"/>
              <a:gd name="connsiteX1" fmla="*/ 12165985 w 12166780"/>
              <a:gd name="connsiteY1" fmla="*/ 473 h 2024245"/>
              <a:gd name="connsiteX2" fmla="*/ 12159576 w 12166780"/>
              <a:gd name="connsiteY2" fmla="*/ 2023827 h 2024245"/>
              <a:gd name="connsiteX3" fmla="*/ 1 w 12166780"/>
              <a:gd name="connsiteY3" fmla="*/ 1842242 h 2024245"/>
              <a:gd name="connsiteX0" fmla="*/ 1 w 12172548"/>
              <a:gd name="connsiteY0" fmla="*/ 1842242 h 2043647"/>
              <a:gd name="connsiteX1" fmla="*/ 12165985 w 12172548"/>
              <a:gd name="connsiteY1" fmla="*/ 473 h 2043647"/>
              <a:gd name="connsiteX2" fmla="*/ 12172547 w 12172548"/>
              <a:gd name="connsiteY2" fmla="*/ 2043282 h 2043647"/>
              <a:gd name="connsiteX3" fmla="*/ 1 w 12172548"/>
              <a:gd name="connsiteY3" fmla="*/ 1842242 h 2043647"/>
              <a:gd name="connsiteX0" fmla="*/ 1 w 12166566"/>
              <a:gd name="connsiteY0" fmla="*/ 1842242 h 2030711"/>
              <a:gd name="connsiteX1" fmla="*/ 12165985 w 12166566"/>
              <a:gd name="connsiteY1" fmla="*/ 473 h 2030711"/>
              <a:gd name="connsiteX2" fmla="*/ 12153091 w 12166566"/>
              <a:gd name="connsiteY2" fmla="*/ 2030312 h 2030711"/>
              <a:gd name="connsiteX3" fmla="*/ 1 w 12166566"/>
              <a:gd name="connsiteY3" fmla="*/ 1842242 h 2030711"/>
              <a:gd name="connsiteX0" fmla="*/ 1 w 12175317"/>
              <a:gd name="connsiteY0" fmla="*/ 1842242 h 2037043"/>
              <a:gd name="connsiteX1" fmla="*/ 12165985 w 12175317"/>
              <a:gd name="connsiteY1" fmla="*/ 473 h 2037043"/>
              <a:gd name="connsiteX2" fmla="*/ 12175316 w 12175317"/>
              <a:gd name="connsiteY2" fmla="*/ 2036662 h 2037043"/>
              <a:gd name="connsiteX3" fmla="*/ 1 w 12175317"/>
              <a:gd name="connsiteY3" fmla="*/ 1842242 h 2037043"/>
              <a:gd name="connsiteX0" fmla="*/ 1 w 12184842"/>
              <a:gd name="connsiteY0" fmla="*/ 1842242 h 2027545"/>
              <a:gd name="connsiteX1" fmla="*/ 12165985 w 12184842"/>
              <a:gd name="connsiteY1" fmla="*/ 473 h 2027545"/>
              <a:gd name="connsiteX2" fmla="*/ 12184841 w 12184842"/>
              <a:gd name="connsiteY2" fmla="*/ 2027137 h 2027545"/>
              <a:gd name="connsiteX3" fmla="*/ 1 w 12184842"/>
              <a:gd name="connsiteY3" fmla="*/ 1842242 h 2027545"/>
              <a:gd name="connsiteX0" fmla="*/ 1 w 12184842"/>
              <a:gd name="connsiteY0" fmla="*/ 1851765 h 2037068"/>
              <a:gd name="connsiteX1" fmla="*/ 12172335 w 12184842"/>
              <a:gd name="connsiteY1" fmla="*/ 471 h 2037068"/>
              <a:gd name="connsiteX2" fmla="*/ 12184841 w 12184842"/>
              <a:gd name="connsiteY2" fmla="*/ 2036660 h 2037068"/>
              <a:gd name="connsiteX3" fmla="*/ 1 w 12184842"/>
              <a:gd name="connsiteY3" fmla="*/ 1851765 h 2037068"/>
              <a:gd name="connsiteX0" fmla="*/ 1 w 12184842"/>
              <a:gd name="connsiteY0" fmla="*/ 1858113 h 2043416"/>
              <a:gd name="connsiteX1" fmla="*/ 12172335 w 12184842"/>
              <a:gd name="connsiteY1" fmla="*/ 469 h 2043416"/>
              <a:gd name="connsiteX2" fmla="*/ 12184841 w 12184842"/>
              <a:gd name="connsiteY2" fmla="*/ 2043008 h 2043416"/>
              <a:gd name="connsiteX3" fmla="*/ 1 w 12184842"/>
              <a:gd name="connsiteY3" fmla="*/ 1858113 h 2043416"/>
              <a:gd name="connsiteX0" fmla="*/ 1 w 12205863"/>
              <a:gd name="connsiteY0" fmla="*/ 1858113 h 1923107"/>
              <a:gd name="connsiteX1" fmla="*/ 12172335 w 12205863"/>
              <a:gd name="connsiteY1" fmla="*/ 469 h 1923107"/>
              <a:gd name="connsiteX2" fmla="*/ 12205862 w 12205863"/>
              <a:gd name="connsiteY2" fmla="*/ 1920222 h 1923107"/>
              <a:gd name="connsiteX3" fmla="*/ 1 w 12205863"/>
              <a:gd name="connsiteY3" fmla="*/ 1858113 h 1923107"/>
              <a:gd name="connsiteX0" fmla="*/ 1 w 12206057"/>
              <a:gd name="connsiteY0" fmla="*/ 1858113 h 1920221"/>
              <a:gd name="connsiteX1" fmla="*/ 12172335 w 12206057"/>
              <a:gd name="connsiteY1" fmla="*/ 469 h 1920221"/>
              <a:gd name="connsiteX2" fmla="*/ 12205862 w 12206057"/>
              <a:gd name="connsiteY2" fmla="*/ 1920222 h 1920221"/>
              <a:gd name="connsiteX3" fmla="*/ 1 w 12206057"/>
              <a:gd name="connsiteY3" fmla="*/ 1858113 h 1920221"/>
              <a:gd name="connsiteX0" fmla="*/ 1 w 12227078"/>
              <a:gd name="connsiteY0" fmla="*/ 1858113 h 1870508"/>
              <a:gd name="connsiteX1" fmla="*/ 12172335 w 12227078"/>
              <a:gd name="connsiteY1" fmla="*/ 469 h 1870508"/>
              <a:gd name="connsiteX2" fmla="*/ 12226883 w 12227078"/>
              <a:gd name="connsiteY2" fmla="*/ 1821993 h 1870508"/>
              <a:gd name="connsiteX3" fmla="*/ 1 w 12227078"/>
              <a:gd name="connsiteY3" fmla="*/ 1858113 h 1870508"/>
              <a:gd name="connsiteX0" fmla="*/ 1 w 12227078"/>
              <a:gd name="connsiteY0" fmla="*/ 1919492 h 1931888"/>
              <a:gd name="connsiteX1" fmla="*/ 12193355 w 12227078"/>
              <a:gd name="connsiteY1" fmla="*/ 454 h 1931888"/>
              <a:gd name="connsiteX2" fmla="*/ 12226883 w 12227078"/>
              <a:gd name="connsiteY2" fmla="*/ 1883372 h 1931888"/>
              <a:gd name="connsiteX3" fmla="*/ 1 w 12227078"/>
              <a:gd name="connsiteY3" fmla="*/ 1919492 h 1931888"/>
              <a:gd name="connsiteX0" fmla="*/ 1 w 12258608"/>
              <a:gd name="connsiteY0" fmla="*/ 1919492 h 1930198"/>
              <a:gd name="connsiteX1" fmla="*/ 12193355 w 12258608"/>
              <a:gd name="connsiteY1" fmla="*/ 454 h 1930198"/>
              <a:gd name="connsiteX2" fmla="*/ 12258414 w 12258608"/>
              <a:gd name="connsiteY2" fmla="*/ 1846536 h 1930198"/>
              <a:gd name="connsiteX3" fmla="*/ 1 w 12258608"/>
              <a:gd name="connsiteY3" fmla="*/ 1919492 h 1930198"/>
              <a:gd name="connsiteX0" fmla="*/ 1 w 12193819"/>
              <a:gd name="connsiteY0" fmla="*/ 1919492 h 1932582"/>
              <a:gd name="connsiteX1" fmla="*/ 12193355 w 12193819"/>
              <a:gd name="connsiteY1" fmla="*/ 454 h 1932582"/>
              <a:gd name="connsiteX2" fmla="*/ 12174331 w 12193819"/>
              <a:gd name="connsiteY2" fmla="*/ 1895651 h 1932582"/>
              <a:gd name="connsiteX3" fmla="*/ 1 w 12193819"/>
              <a:gd name="connsiteY3" fmla="*/ 1919492 h 1932582"/>
              <a:gd name="connsiteX0" fmla="*/ 1 w 12193526"/>
              <a:gd name="connsiteY0" fmla="*/ 1919492 h 1932582"/>
              <a:gd name="connsiteX1" fmla="*/ 12193355 w 12193526"/>
              <a:gd name="connsiteY1" fmla="*/ 454 h 1932582"/>
              <a:gd name="connsiteX2" fmla="*/ 12174331 w 12193526"/>
              <a:gd name="connsiteY2" fmla="*/ 1895651 h 1932582"/>
              <a:gd name="connsiteX3" fmla="*/ 1 w 12193526"/>
              <a:gd name="connsiteY3" fmla="*/ 1919492 h 1932582"/>
              <a:gd name="connsiteX0" fmla="*/ 1 w 12193526"/>
              <a:gd name="connsiteY0" fmla="*/ 1919492 h 1938518"/>
              <a:gd name="connsiteX1" fmla="*/ 12193355 w 12193526"/>
              <a:gd name="connsiteY1" fmla="*/ 454 h 1938518"/>
              <a:gd name="connsiteX2" fmla="*/ 12174331 w 12193526"/>
              <a:gd name="connsiteY2" fmla="*/ 1895651 h 1938518"/>
              <a:gd name="connsiteX3" fmla="*/ 1 w 12193526"/>
              <a:gd name="connsiteY3" fmla="*/ 1919492 h 1938518"/>
              <a:gd name="connsiteX0" fmla="*/ 1 w 12193584"/>
              <a:gd name="connsiteY0" fmla="*/ 1919492 h 1938518"/>
              <a:gd name="connsiteX1" fmla="*/ 12193355 w 12193584"/>
              <a:gd name="connsiteY1" fmla="*/ 454 h 1938518"/>
              <a:gd name="connsiteX2" fmla="*/ 12174331 w 12193584"/>
              <a:gd name="connsiteY2" fmla="*/ 1895651 h 1938518"/>
              <a:gd name="connsiteX3" fmla="*/ 1 w 12193584"/>
              <a:gd name="connsiteY3" fmla="*/ 1919492 h 1938518"/>
              <a:gd name="connsiteX0" fmla="*/ 1 w 12193468"/>
              <a:gd name="connsiteY0" fmla="*/ 1919492 h 1933905"/>
              <a:gd name="connsiteX1" fmla="*/ 12193355 w 12193468"/>
              <a:gd name="connsiteY1" fmla="*/ 454 h 1933905"/>
              <a:gd name="connsiteX2" fmla="*/ 12111269 w 12193468"/>
              <a:gd name="connsiteY2" fmla="*/ 1846537 h 1933905"/>
              <a:gd name="connsiteX3" fmla="*/ 1 w 12193468"/>
              <a:gd name="connsiteY3" fmla="*/ 1919492 h 1933905"/>
              <a:gd name="connsiteX0" fmla="*/ 1 w 12193632"/>
              <a:gd name="connsiteY0" fmla="*/ 1919492 h 1940184"/>
              <a:gd name="connsiteX1" fmla="*/ 12193355 w 12193632"/>
              <a:gd name="connsiteY1" fmla="*/ 454 h 1940184"/>
              <a:gd name="connsiteX2" fmla="*/ 12184841 w 12193632"/>
              <a:gd name="connsiteY2" fmla="*/ 1907931 h 1940184"/>
              <a:gd name="connsiteX3" fmla="*/ 1 w 12193632"/>
              <a:gd name="connsiteY3" fmla="*/ 1919492 h 1940184"/>
              <a:gd name="connsiteX0" fmla="*/ 1 w 12193376"/>
              <a:gd name="connsiteY0" fmla="*/ 1919492 h 1923285"/>
              <a:gd name="connsiteX1" fmla="*/ 12193355 w 12193376"/>
              <a:gd name="connsiteY1" fmla="*/ 454 h 1923285"/>
              <a:gd name="connsiteX2" fmla="*/ 11586288 w 12193376"/>
              <a:gd name="connsiteY2" fmla="*/ 1274881 h 1923285"/>
              <a:gd name="connsiteX3" fmla="*/ 1 w 12193376"/>
              <a:gd name="connsiteY3" fmla="*/ 1919492 h 1923285"/>
              <a:gd name="connsiteX0" fmla="*/ 1 w 12211564"/>
              <a:gd name="connsiteY0" fmla="*/ 1919492 h 1940184"/>
              <a:gd name="connsiteX1" fmla="*/ 12193355 w 12211564"/>
              <a:gd name="connsiteY1" fmla="*/ 454 h 1940184"/>
              <a:gd name="connsiteX2" fmla="*/ 12211564 w 12211564"/>
              <a:gd name="connsiteY2" fmla="*/ 1907932 h 1940184"/>
              <a:gd name="connsiteX3" fmla="*/ 1 w 12211564"/>
              <a:gd name="connsiteY3" fmla="*/ 1919492 h 1940184"/>
              <a:gd name="connsiteX0" fmla="*/ 1 w 12142089"/>
              <a:gd name="connsiteY0" fmla="*/ 1913227 h 1934891"/>
              <a:gd name="connsiteX1" fmla="*/ 12123880 w 12142089"/>
              <a:gd name="connsiteY1" fmla="*/ 456 h 1934891"/>
              <a:gd name="connsiteX2" fmla="*/ 12142089 w 12142089"/>
              <a:gd name="connsiteY2" fmla="*/ 1907934 h 1934891"/>
              <a:gd name="connsiteX3" fmla="*/ 1 w 12142089"/>
              <a:gd name="connsiteY3" fmla="*/ 1913227 h 1934891"/>
              <a:gd name="connsiteX0" fmla="*/ 2 w 12142090"/>
              <a:gd name="connsiteY0" fmla="*/ 1913227 h 1913226"/>
              <a:gd name="connsiteX1" fmla="*/ 12123881 w 12142090"/>
              <a:gd name="connsiteY1" fmla="*/ 456 h 1913226"/>
              <a:gd name="connsiteX2" fmla="*/ 12142090 w 12142090"/>
              <a:gd name="connsiteY2" fmla="*/ 1907934 h 1913226"/>
              <a:gd name="connsiteX3" fmla="*/ 2 w 12142090"/>
              <a:gd name="connsiteY3" fmla="*/ 1913227 h 1913226"/>
              <a:gd name="connsiteX0" fmla="*/ 3 w 12093993"/>
              <a:gd name="connsiteY0" fmla="*/ 1919495 h 1919495"/>
              <a:gd name="connsiteX1" fmla="*/ 12075784 w 12093993"/>
              <a:gd name="connsiteY1" fmla="*/ 455 h 1919495"/>
              <a:gd name="connsiteX2" fmla="*/ 12093993 w 12093993"/>
              <a:gd name="connsiteY2" fmla="*/ 1907933 h 1919495"/>
              <a:gd name="connsiteX3" fmla="*/ 3 w 12093993"/>
              <a:gd name="connsiteY3" fmla="*/ 1919495 h 1919495"/>
              <a:gd name="connsiteX0" fmla="*/ 3 w 12126172"/>
              <a:gd name="connsiteY0" fmla="*/ 1919495 h 1919495"/>
              <a:gd name="connsiteX1" fmla="*/ 12075784 w 12126172"/>
              <a:gd name="connsiteY1" fmla="*/ 455 h 1919495"/>
              <a:gd name="connsiteX2" fmla="*/ 12126172 w 12126172"/>
              <a:gd name="connsiteY2" fmla="*/ 1895062 h 1919495"/>
              <a:gd name="connsiteX3" fmla="*/ 3 w 12126172"/>
              <a:gd name="connsiteY3" fmla="*/ 1919495 h 1919495"/>
              <a:gd name="connsiteX0" fmla="*/ 3 w 12088629"/>
              <a:gd name="connsiteY0" fmla="*/ 1919495 h 1919495"/>
              <a:gd name="connsiteX1" fmla="*/ 12075784 w 12088629"/>
              <a:gd name="connsiteY1" fmla="*/ 455 h 1919495"/>
              <a:gd name="connsiteX2" fmla="*/ 12088629 w 12088629"/>
              <a:gd name="connsiteY2" fmla="*/ 1907935 h 1919495"/>
              <a:gd name="connsiteX3" fmla="*/ 3 w 12088629"/>
              <a:gd name="connsiteY3" fmla="*/ 1919495 h 1919495"/>
              <a:gd name="connsiteX0" fmla="*/ 3 w 12088645"/>
              <a:gd name="connsiteY0" fmla="*/ 1919495 h 1920291"/>
              <a:gd name="connsiteX1" fmla="*/ 12075784 w 12088645"/>
              <a:gd name="connsiteY1" fmla="*/ 455 h 1920291"/>
              <a:gd name="connsiteX2" fmla="*/ 12088629 w 12088645"/>
              <a:gd name="connsiteY2" fmla="*/ 1907935 h 1920291"/>
              <a:gd name="connsiteX3" fmla="*/ 3 w 12088645"/>
              <a:gd name="connsiteY3" fmla="*/ 1919495 h 1920291"/>
              <a:gd name="connsiteX0" fmla="*/ 3 w 12088645"/>
              <a:gd name="connsiteY0" fmla="*/ 1919495 h 1920290"/>
              <a:gd name="connsiteX1" fmla="*/ 12075784 w 12088645"/>
              <a:gd name="connsiteY1" fmla="*/ 455 h 1920290"/>
              <a:gd name="connsiteX2" fmla="*/ 12088629 w 12088645"/>
              <a:gd name="connsiteY2" fmla="*/ 1907935 h 1920290"/>
              <a:gd name="connsiteX3" fmla="*/ 3 w 12088645"/>
              <a:gd name="connsiteY3" fmla="*/ 1919495 h 1920290"/>
              <a:gd name="connsiteX0" fmla="*/ 3 w 12094009"/>
              <a:gd name="connsiteY0" fmla="*/ 1919495 h 1919494"/>
              <a:gd name="connsiteX1" fmla="*/ 12075784 w 12094009"/>
              <a:gd name="connsiteY1" fmla="*/ 455 h 1919494"/>
              <a:gd name="connsiteX2" fmla="*/ 12093993 w 12094009"/>
              <a:gd name="connsiteY2" fmla="*/ 1882192 h 1919494"/>
              <a:gd name="connsiteX3" fmla="*/ 3 w 12094009"/>
              <a:gd name="connsiteY3" fmla="*/ 1919495 h 1919494"/>
              <a:gd name="connsiteX0" fmla="*/ 3 w 12099372"/>
              <a:gd name="connsiteY0" fmla="*/ 1919495 h 1920290"/>
              <a:gd name="connsiteX1" fmla="*/ 12075784 w 12099372"/>
              <a:gd name="connsiteY1" fmla="*/ 455 h 1920290"/>
              <a:gd name="connsiteX2" fmla="*/ 12099356 w 12099372"/>
              <a:gd name="connsiteY2" fmla="*/ 1907935 h 1920290"/>
              <a:gd name="connsiteX3" fmla="*/ 3 w 12099372"/>
              <a:gd name="connsiteY3" fmla="*/ 1919495 h 1920290"/>
              <a:gd name="connsiteX0" fmla="*/ 3 w 12099372"/>
              <a:gd name="connsiteY0" fmla="*/ 1919495 h 1920290"/>
              <a:gd name="connsiteX1" fmla="*/ 12075784 w 12099372"/>
              <a:gd name="connsiteY1" fmla="*/ 455 h 1920290"/>
              <a:gd name="connsiteX2" fmla="*/ 12099356 w 12099372"/>
              <a:gd name="connsiteY2" fmla="*/ 1907935 h 1920290"/>
              <a:gd name="connsiteX3" fmla="*/ 3 w 12099372"/>
              <a:gd name="connsiteY3" fmla="*/ 1919495 h 1920290"/>
              <a:gd name="connsiteX0" fmla="*/ 3 w 12075784"/>
              <a:gd name="connsiteY0" fmla="*/ 1919495 h 1919494"/>
              <a:gd name="connsiteX1" fmla="*/ 12075784 w 12075784"/>
              <a:gd name="connsiteY1" fmla="*/ 455 h 1919494"/>
              <a:gd name="connsiteX2" fmla="*/ 11874101 w 12075784"/>
              <a:gd name="connsiteY2" fmla="*/ 1901500 h 1919494"/>
              <a:gd name="connsiteX3" fmla="*/ 3 w 12075784"/>
              <a:gd name="connsiteY3" fmla="*/ 1919495 h 1919494"/>
              <a:gd name="connsiteX0" fmla="*/ 3 w 12083281"/>
              <a:gd name="connsiteY0" fmla="*/ 1919495 h 1920290"/>
              <a:gd name="connsiteX1" fmla="*/ 12075784 w 12083281"/>
              <a:gd name="connsiteY1" fmla="*/ 455 h 1920290"/>
              <a:gd name="connsiteX2" fmla="*/ 12083265 w 12083281"/>
              <a:gd name="connsiteY2" fmla="*/ 1907937 h 1920290"/>
              <a:gd name="connsiteX3" fmla="*/ 3 w 12083281"/>
              <a:gd name="connsiteY3" fmla="*/ 1919495 h 1920290"/>
              <a:gd name="connsiteX0" fmla="*/ 3 w 12083281"/>
              <a:gd name="connsiteY0" fmla="*/ 1919495 h 1920290"/>
              <a:gd name="connsiteX1" fmla="*/ 12075784 w 12083281"/>
              <a:gd name="connsiteY1" fmla="*/ 455 h 1920290"/>
              <a:gd name="connsiteX2" fmla="*/ 12083265 w 12083281"/>
              <a:gd name="connsiteY2" fmla="*/ 1907937 h 1920290"/>
              <a:gd name="connsiteX3" fmla="*/ 3 w 12083281"/>
              <a:gd name="connsiteY3" fmla="*/ 1919495 h 1920290"/>
              <a:gd name="connsiteX0" fmla="*/ 3 w 12083281"/>
              <a:gd name="connsiteY0" fmla="*/ 2019472 h 2020267"/>
              <a:gd name="connsiteX1" fmla="*/ 11464601 w 12083281"/>
              <a:gd name="connsiteY1" fmla="*/ 432 h 2020267"/>
              <a:gd name="connsiteX2" fmla="*/ 12083265 w 12083281"/>
              <a:gd name="connsiteY2" fmla="*/ 2007914 h 2020267"/>
              <a:gd name="connsiteX3" fmla="*/ 3 w 12083281"/>
              <a:gd name="connsiteY3" fmla="*/ 2019472 h 2020267"/>
              <a:gd name="connsiteX0" fmla="*/ 3 w 11464601"/>
              <a:gd name="connsiteY0" fmla="*/ 2019472 h 2083880"/>
              <a:gd name="connsiteX1" fmla="*/ 11464601 w 11464601"/>
              <a:gd name="connsiteY1" fmla="*/ 432 h 2083880"/>
              <a:gd name="connsiteX2" fmla="*/ 8243116 w 11464601"/>
              <a:gd name="connsiteY2" fmla="*/ 2081517 h 2083880"/>
              <a:gd name="connsiteX3" fmla="*/ 3 w 11464601"/>
              <a:gd name="connsiteY3" fmla="*/ 2019472 h 2083880"/>
              <a:gd name="connsiteX0" fmla="*/ 3 w 11464601"/>
              <a:gd name="connsiteY0" fmla="*/ 2019472 h 3424835"/>
              <a:gd name="connsiteX1" fmla="*/ 11464601 w 11464601"/>
              <a:gd name="connsiteY1" fmla="*/ 432 h 3424835"/>
              <a:gd name="connsiteX2" fmla="*/ 6272794 w 11464601"/>
              <a:gd name="connsiteY2" fmla="*/ 3424687 h 3424835"/>
              <a:gd name="connsiteX3" fmla="*/ 3 w 11464601"/>
              <a:gd name="connsiteY3" fmla="*/ 2019472 h 3424835"/>
              <a:gd name="connsiteX0" fmla="*/ 3 w 8450455"/>
              <a:gd name="connsiteY0" fmla="*/ 32240 h 1437641"/>
              <a:gd name="connsiteX1" fmla="*/ 8450455 w 8450455"/>
              <a:gd name="connsiteY1" fmla="*/ 12045 h 1437641"/>
              <a:gd name="connsiteX2" fmla="*/ 6272794 w 8450455"/>
              <a:gd name="connsiteY2" fmla="*/ 1437455 h 1437641"/>
              <a:gd name="connsiteX3" fmla="*/ 3 w 8450455"/>
              <a:gd name="connsiteY3" fmla="*/ 32240 h 1437641"/>
            </a:gdLst>
            <a:ahLst/>
            <a:cxnLst>
              <a:cxn ang="0">
                <a:pos x="connsiteX0" y="connsiteY0"/>
              </a:cxn>
              <a:cxn ang="0">
                <a:pos x="connsiteX1" y="connsiteY1"/>
              </a:cxn>
              <a:cxn ang="0">
                <a:pos x="connsiteX2" y="connsiteY2"/>
              </a:cxn>
              <a:cxn ang="0">
                <a:pos x="connsiteX3" y="connsiteY3"/>
              </a:cxn>
            </a:cxnLst>
            <a:rect l="l" t="t" r="r" b="b"/>
            <a:pathLst>
              <a:path w="8450455" h="1437641">
                <a:moveTo>
                  <a:pt x="3" y="32240"/>
                </a:moveTo>
                <a:cubicBezTo>
                  <a:pt x="-21" y="27917"/>
                  <a:pt x="8431024" y="-22542"/>
                  <a:pt x="8450455" y="12045"/>
                </a:cubicBezTo>
                <a:cubicBezTo>
                  <a:pt x="8438713" y="47223"/>
                  <a:pt x="6263730" y="1456209"/>
                  <a:pt x="6272794" y="1437455"/>
                </a:cubicBezTo>
                <a:cubicBezTo>
                  <a:pt x="6289357" y="1454317"/>
                  <a:pt x="-6259" y="32251"/>
                  <a:pt x="3" y="32240"/>
                </a:cubicBezTo>
                <a:close/>
              </a:path>
            </a:pathLst>
          </a:custGeom>
          <a:solidFill>
            <a:srgbClr val="8DD1EB">
              <a:alpha val="50196"/>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cxnSp>
        <p:nvCxnSpPr>
          <p:cNvPr id="36" name="Straight Connector 35">
            <a:extLst>
              <a:ext uri="{FF2B5EF4-FFF2-40B4-BE49-F238E27FC236}">
                <a16:creationId xmlns:a16="http://schemas.microsoft.com/office/drawing/2014/main" id="{399766F8-593A-6149-82C7-88DE04063D0C}"/>
              </a:ext>
            </a:extLst>
          </p:cNvPr>
          <p:cNvCxnSpPr>
            <a:cxnSpLocks/>
          </p:cNvCxnSpPr>
          <p:nvPr userDrawn="1"/>
        </p:nvCxnSpPr>
        <p:spPr bwMode="auto">
          <a:xfrm flipV="1">
            <a:off x="0" y="1"/>
            <a:ext cx="2453833" cy="2338085"/>
          </a:xfrm>
          <a:prstGeom prst="line">
            <a:avLst/>
          </a:prstGeom>
          <a:solidFill>
            <a:schemeClr val="hlink"/>
          </a:solidFill>
          <a:ln w="12700" cap="flat" cmpd="sng" algn="ctr">
            <a:solidFill>
              <a:schemeClr val="bg1">
                <a:lumMod val="85000"/>
              </a:schemeClr>
            </a:solidFill>
            <a:prstDash val="solid"/>
            <a:round/>
            <a:headEnd type="none" w="med" len="med"/>
            <a:tailEnd type="none" w="med" len="med"/>
          </a:ln>
          <a:effectLst/>
        </p:spPr>
      </p:cxnSp>
    </p:spTree>
    <p:extLst>
      <p:ext uri="{BB962C8B-B14F-4D97-AF65-F5344CB8AC3E}">
        <p14:creationId xmlns:p14="http://schemas.microsoft.com/office/powerpoint/2010/main" val="178951838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4. U.S. Equity">
    <p:spTree>
      <p:nvGrpSpPr>
        <p:cNvPr id="1" name=""/>
        <p:cNvGrpSpPr/>
        <p:nvPr/>
      </p:nvGrpSpPr>
      <p:grpSpPr>
        <a:xfrm>
          <a:off x="0" y="0"/>
          <a:ext cx="0" cy="0"/>
          <a:chOff x="0" y="0"/>
          <a:chExt cx="0" cy="0"/>
        </a:xfrm>
      </p:grpSpPr>
      <p:sp>
        <p:nvSpPr>
          <p:cNvPr id="47" name="Footer Placeholder 2"/>
          <p:cNvSpPr>
            <a:spLocks noGrp="1"/>
          </p:cNvSpPr>
          <p:nvPr>
            <p:ph type="ftr" sz="quarter" idx="3"/>
          </p:nvPr>
        </p:nvSpPr>
        <p:spPr>
          <a:xfrm>
            <a:off x="319053" y="6414084"/>
            <a:ext cx="3781425" cy="365125"/>
          </a:xfrm>
          <a:prstGeom prst="rect">
            <a:avLst/>
          </a:prstGeom>
        </p:spPr>
        <p:txBody>
          <a:bodyPr vert="horz" lIns="91440" tIns="45720" rIns="91440" bIns="45720" rtlCol="0" anchor="ctr"/>
          <a:lstStyle>
            <a:lvl1pPr algn="l">
              <a:defRPr sz="800">
                <a:solidFill>
                  <a:srgbClr val="000000"/>
                </a:solidFill>
              </a:defRPr>
            </a:lvl1pPr>
          </a:lstStyle>
          <a:p>
            <a:pPr>
              <a:spcBef>
                <a:spcPts val="300"/>
              </a:spcBef>
            </a:pPr>
            <a:r>
              <a:rPr lang="en-US"/>
              <a:t>Footnotes/disclosures. </a:t>
            </a:r>
          </a:p>
        </p:txBody>
      </p:sp>
      <p:sp>
        <p:nvSpPr>
          <p:cNvPr id="48" name="Slide Number Placeholder 3"/>
          <p:cNvSpPr>
            <a:spLocks noGrp="1"/>
          </p:cNvSpPr>
          <p:nvPr>
            <p:ph type="sldNum" sz="quarter" idx="4"/>
          </p:nvPr>
        </p:nvSpPr>
        <p:spPr>
          <a:xfrm>
            <a:off x="112394" y="6408909"/>
            <a:ext cx="382906" cy="365125"/>
          </a:xfrm>
          <a:prstGeom prst="rect">
            <a:avLst/>
          </a:prstGeom>
        </p:spPr>
        <p:txBody>
          <a:bodyPr vert="horz" lIns="91440" tIns="45720" rIns="91440" bIns="45720" rtlCol="0" anchor="ctr"/>
          <a:lstStyle>
            <a:lvl1pPr algn="l">
              <a:defRPr sz="800" b="1">
                <a:solidFill>
                  <a:srgbClr val="000000"/>
                </a:solidFill>
              </a:defRPr>
            </a:lvl1pPr>
          </a:lstStyle>
          <a:p>
            <a:fld id="{B42A7A4B-1474-47B8-8215-FC88D0AD55CE}" type="slidenum">
              <a:rPr lang="en-US" smtClean="0"/>
              <a:pPr/>
              <a:t>‹#›</a:t>
            </a:fld>
            <a:endParaRPr lang="en-US"/>
          </a:p>
        </p:txBody>
      </p:sp>
      <p:sp>
        <p:nvSpPr>
          <p:cNvPr id="49" name="Title Placeholder 1"/>
          <p:cNvSpPr>
            <a:spLocks noGrp="1"/>
          </p:cNvSpPr>
          <p:nvPr>
            <p:ph type="title"/>
          </p:nvPr>
        </p:nvSpPr>
        <p:spPr>
          <a:xfrm>
            <a:off x="315669" y="227013"/>
            <a:ext cx="8229600" cy="1143000"/>
          </a:xfrm>
          <a:prstGeom prst="rect">
            <a:avLst/>
          </a:prstGeom>
        </p:spPr>
        <p:txBody>
          <a:bodyPr vert="horz" lIns="91440" tIns="45720" rIns="91440" bIns="45720" rtlCol="0" anchor="t">
            <a:normAutofit/>
          </a:bodyPr>
          <a:lstStyle>
            <a:lvl1pPr algn="l">
              <a:defRPr sz="2400"/>
            </a:lvl1pPr>
          </a:lstStyle>
          <a:p>
            <a:r>
              <a:rPr lang="en-US"/>
              <a:t>Click to edit Master title style</a:t>
            </a:r>
          </a:p>
        </p:txBody>
      </p:sp>
      <p:grpSp>
        <p:nvGrpSpPr>
          <p:cNvPr id="45" name="Group 44">
            <a:extLst>
              <a:ext uri="{FF2B5EF4-FFF2-40B4-BE49-F238E27FC236}">
                <a16:creationId xmlns:a16="http://schemas.microsoft.com/office/drawing/2014/main" id="{2E7284D6-0A6F-F94A-98AA-5F7B9C6D51D2}"/>
              </a:ext>
            </a:extLst>
          </p:cNvPr>
          <p:cNvGrpSpPr/>
          <p:nvPr userDrawn="1"/>
        </p:nvGrpSpPr>
        <p:grpSpPr>
          <a:xfrm>
            <a:off x="7358173" y="6361974"/>
            <a:ext cx="1382376" cy="297562"/>
            <a:chOff x="6923088" y="4475163"/>
            <a:chExt cx="1873251" cy="403225"/>
          </a:xfrm>
        </p:grpSpPr>
        <p:sp>
          <p:nvSpPr>
            <p:cNvPr id="46" name="AutoShape 4">
              <a:extLst>
                <a:ext uri="{FF2B5EF4-FFF2-40B4-BE49-F238E27FC236}">
                  <a16:creationId xmlns:a16="http://schemas.microsoft.com/office/drawing/2014/main" id="{B7400278-3E7D-C246-9610-2F77C314D294}"/>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6">
              <a:extLst>
                <a:ext uri="{FF2B5EF4-FFF2-40B4-BE49-F238E27FC236}">
                  <a16:creationId xmlns:a16="http://schemas.microsoft.com/office/drawing/2014/main" id="{46CF6301-CEDE-A740-9F05-8E9559A05044}"/>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7">
              <a:extLst>
                <a:ext uri="{FF2B5EF4-FFF2-40B4-BE49-F238E27FC236}">
                  <a16:creationId xmlns:a16="http://schemas.microsoft.com/office/drawing/2014/main" id="{43BE2834-80A3-A346-916E-FE9B34052ADE}"/>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83">
              <a:extLst>
                <a:ext uri="{FF2B5EF4-FFF2-40B4-BE49-F238E27FC236}">
                  <a16:creationId xmlns:a16="http://schemas.microsoft.com/office/drawing/2014/main" id="{B8542E2D-9861-7F49-943F-61E9C0834E60}"/>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84">
              <a:extLst>
                <a:ext uri="{FF2B5EF4-FFF2-40B4-BE49-F238E27FC236}">
                  <a16:creationId xmlns:a16="http://schemas.microsoft.com/office/drawing/2014/main" id="{B3C55F1E-7597-8A4D-A82A-2D1AA325D7A0}"/>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85">
              <a:extLst>
                <a:ext uri="{FF2B5EF4-FFF2-40B4-BE49-F238E27FC236}">
                  <a16:creationId xmlns:a16="http://schemas.microsoft.com/office/drawing/2014/main" id="{8EE1C83D-7D8B-C64E-8081-1516F6D2BBB7}"/>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86">
              <a:extLst>
                <a:ext uri="{FF2B5EF4-FFF2-40B4-BE49-F238E27FC236}">
                  <a16:creationId xmlns:a16="http://schemas.microsoft.com/office/drawing/2014/main" id="{E4769E46-D690-1B43-B987-8DBBAD2F9A90}"/>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87">
              <a:extLst>
                <a:ext uri="{FF2B5EF4-FFF2-40B4-BE49-F238E27FC236}">
                  <a16:creationId xmlns:a16="http://schemas.microsoft.com/office/drawing/2014/main" id="{97108903-7043-8747-B5C0-55CC885D0EF2}"/>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88">
              <a:extLst>
                <a:ext uri="{FF2B5EF4-FFF2-40B4-BE49-F238E27FC236}">
                  <a16:creationId xmlns:a16="http://schemas.microsoft.com/office/drawing/2014/main" id="{E75B6BC1-89C7-D444-B0C5-0BAA6E20297D}"/>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89">
              <a:extLst>
                <a:ext uri="{FF2B5EF4-FFF2-40B4-BE49-F238E27FC236}">
                  <a16:creationId xmlns:a16="http://schemas.microsoft.com/office/drawing/2014/main" id="{12EB2EA8-B2C8-624D-93FD-06EDF379E32B}"/>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90">
              <a:extLst>
                <a:ext uri="{FF2B5EF4-FFF2-40B4-BE49-F238E27FC236}">
                  <a16:creationId xmlns:a16="http://schemas.microsoft.com/office/drawing/2014/main" id="{0FC9E559-6729-EE4F-BD8B-62C26923FB0B}"/>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91">
              <a:extLst>
                <a:ext uri="{FF2B5EF4-FFF2-40B4-BE49-F238E27FC236}">
                  <a16:creationId xmlns:a16="http://schemas.microsoft.com/office/drawing/2014/main" id="{AC7AA2BB-E291-DE4B-8080-16CBBEA915E5}"/>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92">
              <a:extLst>
                <a:ext uri="{FF2B5EF4-FFF2-40B4-BE49-F238E27FC236}">
                  <a16:creationId xmlns:a16="http://schemas.microsoft.com/office/drawing/2014/main" id="{F92E78A1-E246-B344-B5D2-63681E7AE2CE}"/>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 name="Freeform 93">
              <a:extLst>
                <a:ext uri="{FF2B5EF4-FFF2-40B4-BE49-F238E27FC236}">
                  <a16:creationId xmlns:a16="http://schemas.microsoft.com/office/drawing/2014/main" id="{6A8D3539-3578-504B-89E7-FD47BF2A980A}"/>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 name="Freeform 94">
              <a:extLst>
                <a:ext uri="{FF2B5EF4-FFF2-40B4-BE49-F238E27FC236}">
                  <a16:creationId xmlns:a16="http://schemas.microsoft.com/office/drawing/2014/main" id="{33DABC3D-D8B7-9049-A484-0F6FFA4E8CCD}"/>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 name="Freeform 95">
              <a:extLst>
                <a:ext uri="{FF2B5EF4-FFF2-40B4-BE49-F238E27FC236}">
                  <a16:creationId xmlns:a16="http://schemas.microsoft.com/office/drawing/2014/main" id="{9D7A1D81-1590-2E46-ADA7-FE4964B05E9C}"/>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 name="Freeform 96">
              <a:extLst>
                <a:ext uri="{FF2B5EF4-FFF2-40B4-BE49-F238E27FC236}">
                  <a16:creationId xmlns:a16="http://schemas.microsoft.com/office/drawing/2014/main" id="{1E1FC51D-8F15-5744-94C5-1021B3277A1E}"/>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 name="Freeform 97">
              <a:extLst>
                <a:ext uri="{FF2B5EF4-FFF2-40B4-BE49-F238E27FC236}">
                  <a16:creationId xmlns:a16="http://schemas.microsoft.com/office/drawing/2014/main" id="{A4A85D81-67EC-8740-95B4-E5BD4FE22E06}"/>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 name="Freeform 98">
              <a:extLst>
                <a:ext uri="{FF2B5EF4-FFF2-40B4-BE49-F238E27FC236}">
                  <a16:creationId xmlns:a16="http://schemas.microsoft.com/office/drawing/2014/main" id="{5DB16F4B-CA98-794E-B527-4453DBE2C83E}"/>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 name="Freeform 99">
              <a:extLst>
                <a:ext uri="{FF2B5EF4-FFF2-40B4-BE49-F238E27FC236}">
                  <a16:creationId xmlns:a16="http://schemas.microsoft.com/office/drawing/2014/main" id="{814AA6E4-3825-094C-8F69-E0945ECB167D}"/>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 name="Freeform 100">
              <a:extLst>
                <a:ext uri="{FF2B5EF4-FFF2-40B4-BE49-F238E27FC236}">
                  <a16:creationId xmlns:a16="http://schemas.microsoft.com/office/drawing/2014/main" id="{F397360C-DE4A-F642-9561-B5585B283691}"/>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 name="Freeform 101">
              <a:extLst>
                <a:ext uri="{FF2B5EF4-FFF2-40B4-BE49-F238E27FC236}">
                  <a16:creationId xmlns:a16="http://schemas.microsoft.com/office/drawing/2014/main" id="{CFD3DE59-3947-EF40-A589-FE26E53FE3B0}"/>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 name="Freeform 102">
              <a:extLst>
                <a:ext uri="{FF2B5EF4-FFF2-40B4-BE49-F238E27FC236}">
                  <a16:creationId xmlns:a16="http://schemas.microsoft.com/office/drawing/2014/main" id="{027FE565-2C38-1345-AA98-95DC8846233E}"/>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 name="Freeform 103">
              <a:extLst>
                <a:ext uri="{FF2B5EF4-FFF2-40B4-BE49-F238E27FC236}">
                  <a16:creationId xmlns:a16="http://schemas.microsoft.com/office/drawing/2014/main" id="{1BBCC6F4-C3E0-7843-A09D-5F8CF1AEF6BB}"/>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 name="Freeform 104">
              <a:extLst>
                <a:ext uri="{FF2B5EF4-FFF2-40B4-BE49-F238E27FC236}">
                  <a16:creationId xmlns:a16="http://schemas.microsoft.com/office/drawing/2014/main" id="{51D7024A-E154-C240-94E7-265D6B85B6E5}"/>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 name="Freeform 105">
              <a:extLst>
                <a:ext uri="{FF2B5EF4-FFF2-40B4-BE49-F238E27FC236}">
                  <a16:creationId xmlns:a16="http://schemas.microsoft.com/office/drawing/2014/main" id="{2B535644-13E1-F64E-BD8B-F4ED1441841A}"/>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4" name="TextBox 69">
            <a:extLst>
              <a:ext uri="{FF2B5EF4-FFF2-40B4-BE49-F238E27FC236}">
                <a16:creationId xmlns:a16="http://schemas.microsoft.com/office/drawing/2014/main" id="{4FD7763C-88CF-D049-AD7A-0E76E28248F5}"/>
              </a:ext>
            </a:extLst>
          </p:cNvPr>
          <p:cNvSpPr txBox="1">
            <a:spLocks noChangeArrowheads="1"/>
          </p:cNvSpPr>
          <p:nvPr userDrawn="1"/>
        </p:nvSpPr>
        <p:spPr bwMode="auto">
          <a:xfrm rot="16200000">
            <a:off x="8222464" y="623303"/>
            <a:ext cx="1338265" cy="284693"/>
          </a:xfrm>
          <a:prstGeom prst="rect">
            <a:avLst/>
          </a:prstGeom>
          <a:noFill/>
          <a:ln w="9525">
            <a:noFill/>
            <a:miter lim="800000"/>
            <a:headEnd/>
            <a:tailEnd/>
          </a:ln>
        </p:spPr>
        <p:txBody>
          <a:bodyPr wrap="square" tIns="91440" rIns="0">
            <a:spAutoFit/>
          </a:bodyPr>
          <a:lstStyle/>
          <a:p>
            <a:pPr>
              <a:defRPr/>
            </a:pPr>
            <a:r>
              <a:rPr lang="en-US" sz="900">
                <a:solidFill>
                  <a:srgbClr val="00A3D4"/>
                </a:solidFill>
                <a:cs typeface="Arial" charset="0"/>
              </a:rPr>
              <a:t>LONG-TERM</a:t>
            </a:r>
          </a:p>
        </p:txBody>
      </p:sp>
      <p:grpSp>
        <p:nvGrpSpPr>
          <p:cNvPr id="35" name="Group 34">
            <a:extLst>
              <a:ext uri="{FF2B5EF4-FFF2-40B4-BE49-F238E27FC236}">
                <a16:creationId xmlns:a16="http://schemas.microsoft.com/office/drawing/2014/main" id="{75F3E358-423E-624B-9D64-6834A35615D9}"/>
              </a:ext>
            </a:extLst>
          </p:cNvPr>
          <p:cNvGrpSpPr/>
          <p:nvPr userDrawn="1"/>
        </p:nvGrpSpPr>
        <p:grpSpPr>
          <a:xfrm>
            <a:off x="8834955" y="-8348"/>
            <a:ext cx="132661" cy="609866"/>
            <a:chOff x="8876279" y="49059"/>
            <a:chExt cx="132661" cy="609866"/>
          </a:xfrm>
        </p:grpSpPr>
        <p:cxnSp>
          <p:nvCxnSpPr>
            <p:cNvPr id="36" name="Straight Connector 35">
              <a:extLst>
                <a:ext uri="{FF2B5EF4-FFF2-40B4-BE49-F238E27FC236}">
                  <a16:creationId xmlns:a16="http://schemas.microsoft.com/office/drawing/2014/main" id="{87F7D5AA-8BBE-4048-9AB1-16590B895002}"/>
                </a:ext>
              </a:extLst>
            </p:cNvPr>
            <p:cNvCxnSpPr>
              <a:cxnSpLocks/>
              <a:endCxn id="38" idx="4"/>
            </p:cNvCxnSpPr>
            <p:nvPr/>
          </p:nvCxnSpPr>
          <p:spPr bwMode="auto">
            <a:xfrm>
              <a:off x="8942609" y="49059"/>
              <a:ext cx="0" cy="575539"/>
            </a:xfrm>
            <a:prstGeom prst="line">
              <a:avLst/>
            </a:prstGeom>
            <a:solidFill>
              <a:schemeClr val="hlink"/>
            </a:solidFill>
            <a:ln w="12700" cap="flat" cmpd="sng" algn="ctr">
              <a:solidFill>
                <a:schemeClr val="bg1">
                  <a:lumMod val="75000"/>
                </a:schemeClr>
              </a:solidFill>
              <a:prstDash val="solid"/>
              <a:round/>
              <a:headEnd type="none" w="med" len="med"/>
              <a:tailEnd type="none" w="med" len="med"/>
            </a:ln>
            <a:effectLst/>
          </p:spPr>
        </p:cxnSp>
        <p:sp>
          <p:nvSpPr>
            <p:cNvPr id="37" name="Oval 36">
              <a:extLst>
                <a:ext uri="{FF2B5EF4-FFF2-40B4-BE49-F238E27FC236}">
                  <a16:creationId xmlns:a16="http://schemas.microsoft.com/office/drawing/2014/main" id="{67C02944-AA75-9F45-AC0A-565E027282DC}"/>
                </a:ext>
              </a:extLst>
            </p:cNvPr>
            <p:cNvSpPr/>
            <p:nvPr/>
          </p:nvSpPr>
          <p:spPr bwMode="auto">
            <a:xfrm>
              <a:off x="8876279" y="526264"/>
              <a:ext cx="132661" cy="132661"/>
            </a:xfrm>
            <a:prstGeom prst="ellipse">
              <a:avLst/>
            </a:prstGeom>
            <a:solidFill>
              <a:schemeClr val="bg1"/>
            </a:solidFill>
            <a:ln w="12700"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sp>
          <p:nvSpPr>
            <p:cNvPr id="38" name="Oval 37">
              <a:extLst>
                <a:ext uri="{FF2B5EF4-FFF2-40B4-BE49-F238E27FC236}">
                  <a16:creationId xmlns:a16="http://schemas.microsoft.com/office/drawing/2014/main" id="{07536330-36B8-B143-AE02-77515F145757}"/>
                </a:ext>
              </a:extLst>
            </p:cNvPr>
            <p:cNvSpPr/>
            <p:nvPr/>
          </p:nvSpPr>
          <p:spPr bwMode="auto">
            <a:xfrm>
              <a:off x="8910605" y="560590"/>
              <a:ext cx="64008" cy="64008"/>
            </a:xfrm>
            <a:prstGeom prst="ellipse">
              <a:avLst/>
            </a:prstGeom>
            <a:solidFill>
              <a:srgbClr val="00A3D4"/>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a:ln>
                  <a:noFill/>
                </a:ln>
                <a:solidFill>
                  <a:schemeClr val="tx1"/>
                </a:solidFill>
                <a:effectLst/>
                <a:latin typeface="Arial" charset="0"/>
                <a:ea typeface="ＭＳ Ｐゴシック" charset="-128"/>
              </a:endParaRPr>
            </a:p>
          </p:txBody>
        </p:sp>
      </p:grpSp>
    </p:spTree>
    <p:extLst>
      <p:ext uri="{BB962C8B-B14F-4D97-AF65-F5344CB8AC3E}">
        <p14:creationId xmlns:p14="http://schemas.microsoft.com/office/powerpoint/2010/main" val="103640422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1_Important Information">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716FAD1-66C5-1A4E-B641-16F21D055D51}"/>
              </a:ext>
            </a:extLst>
          </p:cNvPr>
          <p:cNvGrpSpPr/>
          <p:nvPr userDrawn="1"/>
        </p:nvGrpSpPr>
        <p:grpSpPr>
          <a:xfrm>
            <a:off x="7358173" y="6361974"/>
            <a:ext cx="1382376" cy="297562"/>
            <a:chOff x="6923088" y="4475163"/>
            <a:chExt cx="1873251" cy="403225"/>
          </a:xfrm>
        </p:grpSpPr>
        <p:sp>
          <p:nvSpPr>
            <p:cNvPr id="3" name="AutoShape 4">
              <a:extLst>
                <a:ext uri="{FF2B5EF4-FFF2-40B4-BE49-F238E27FC236}">
                  <a16:creationId xmlns:a16="http://schemas.microsoft.com/office/drawing/2014/main" id="{A8239A28-BB60-334C-B0E7-1CA4FBB5D27D}"/>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 name="Freeform 6">
              <a:extLst>
                <a:ext uri="{FF2B5EF4-FFF2-40B4-BE49-F238E27FC236}">
                  <a16:creationId xmlns:a16="http://schemas.microsoft.com/office/drawing/2014/main" id="{E895883C-A24A-E543-9A67-D4EA3697C4E5}"/>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 name="Freeform 7">
              <a:extLst>
                <a:ext uri="{FF2B5EF4-FFF2-40B4-BE49-F238E27FC236}">
                  <a16:creationId xmlns:a16="http://schemas.microsoft.com/office/drawing/2014/main" id="{6E849423-710A-C84C-A3A7-68E11A41E1D2}"/>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 name="Freeform 83">
              <a:extLst>
                <a:ext uri="{FF2B5EF4-FFF2-40B4-BE49-F238E27FC236}">
                  <a16:creationId xmlns:a16="http://schemas.microsoft.com/office/drawing/2014/main" id="{3AAE7469-C18A-E641-9F78-832E0C57FA96}"/>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 name="Freeform 84">
              <a:extLst>
                <a:ext uri="{FF2B5EF4-FFF2-40B4-BE49-F238E27FC236}">
                  <a16:creationId xmlns:a16="http://schemas.microsoft.com/office/drawing/2014/main" id="{DF0A5F0E-337C-1C4B-874D-A72C9CDD32D4}"/>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 name="Freeform 85">
              <a:extLst>
                <a:ext uri="{FF2B5EF4-FFF2-40B4-BE49-F238E27FC236}">
                  <a16:creationId xmlns:a16="http://schemas.microsoft.com/office/drawing/2014/main" id="{9A870F48-415C-6245-A112-A2C97B5CEBAE}"/>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 name="Freeform 86">
              <a:extLst>
                <a:ext uri="{FF2B5EF4-FFF2-40B4-BE49-F238E27FC236}">
                  <a16:creationId xmlns:a16="http://schemas.microsoft.com/office/drawing/2014/main" id="{29B861AA-52DD-1946-9C7B-55504FB89C46}"/>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 name="Freeform 87">
              <a:extLst>
                <a:ext uri="{FF2B5EF4-FFF2-40B4-BE49-F238E27FC236}">
                  <a16:creationId xmlns:a16="http://schemas.microsoft.com/office/drawing/2014/main" id="{44B4393B-EA36-9248-9C61-BB4BECB1F706}"/>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Freeform 88">
              <a:extLst>
                <a:ext uri="{FF2B5EF4-FFF2-40B4-BE49-F238E27FC236}">
                  <a16:creationId xmlns:a16="http://schemas.microsoft.com/office/drawing/2014/main" id="{55ECE229-8094-354A-84A3-062F6608CD1F}"/>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89">
              <a:extLst>
                <a:ext uri="{FF2B5EF4-FFF2-40B4-BE49-F238E27FC236}">
                  <a16:creationId xmlns:a16="http://schemas.microsoft.com/office/drawing/2014/main" id="{6EF16079-7D96-5D45-BB7D-BDB34ADE9B29}"/>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Freeform 90">
              <a:extLst>
                <a:ext uri="{FF2B5EF4-FFF2-40B4-BE49-F238E27FC236}">
                  <a16:creationId xmlns:a16="http://schemas.microsoft.com/office/drawing/2014/main" id="{67D81369-EB0B-4345-AFCE-B73723821447}"/>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91">
              <a:extLst>
                <a:ext uri="{FF2B5EF4-FFF2-40B4-BE49-F238E27FC236}">
                  <a16:creationId xmlns:a16="http://schemas.microsoft.com/office/drawing/2014/main" id="{E1BC5725-4B52-2645-B2D4-15B2F7A6EAD2}"/>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92">
              <a:extLst>
                <a:ext uri="{FF2B5EF4-FFF2-40B4-BE49-F238E27FC236}">
                  <a16:creationId xmlns:a16="http://schemas.microsoft.com/office/drawing/2014/main" id="{A44ADC7C-E614-9447-99B3-F158D2F8C7FD}"/>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93">
              <a:extLst>
                <a:ext uri="{FF2B5EF4-FFF2-40B4-BE49-F238E27FC236}">
                  <a16:creationId xmlns:a16="http://schemas.microsoft.com/office/drawing/2014/main" id="{ACF7F332-3BCD-ED46-9091-301763042229}"/>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94">
              <a:extLst>
                <a:ext uri="{FF2B5EF4-FFF2-40B4-BE49-F238E27FC236}">
                  <a16:creationId xmlns:a16="http://schemas.microsoft.com/office/drawing/2014/main" id="{E3B96CE6-2F55-0E43-BB4E-B41FED509D87}"/>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Freeform 95">
              <a:extLst>
                <a:ext uri="{FF2B5EF4-FFF2-40B4-BE49-F238E27FC236}">
                  <a16:creationId xmlns:a16="http://schemas.microsoft.com/office/drawing/2014/main" id="{401B3734-6C55-C14E-8C66-AD987647A9AD}"/>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Freeform 96">
              <a:extLst>
                <a:ext uri="{FF2B5EF4-FFF2-40B4-BE49-F238E27FC236}">
                  <a16:creationId xmlns:a16="http://schemas.microsoft.com/office/drawing/2014/main" id="{BED9EAD9-4F50-1048-8D19-B93E8E399A87}"/>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97">
              <a:extLst>
                <a:ext uri="{FF2B5EF4-FFF2-40B4-BE49-F238E27FC236}">
                  <a16:creationId xmlns:a16="http://schemas.microsoft.com/office/drawing/2014/main" id="{CAF1B70D-EDF1-4048-84CA-B4D9AF3EBEBC}"/>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98">
              <a:extLst>
                <a:ext uri="{FF2B5EF4-FFF2-40B4-BE49-F238E27FC236}">
                  <a16:creationId xmlns:a16="http://schemas.microsoft.com/office/drawing/2014/main" id="{4EE36375-3332-8146-BF18-D1FFA222A87A}"/>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99">
              <a:extLst>
                <a:ext uri="{FF2B5EF4-FFF2-40B4-BE49-F238E27FC236}">
                  <a16:creationId xmlns:a16="http://schemas.microsoft.com/office/drawing/2014/main" id="{8DA90721-FE1A-7841-83ED-0F12E49DD88B}"/>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100">
              <a:extLst>
                <a:ext uri="{FF2B5EF4-FFF2-40B4-BE49-F238E27FC236}">
                  <a16:creationId xmlns:a16="http://schemas.microsoft.com/office/drawing/2014/main" id="{6E46C385-87E1-2F4A-8C1D-372EBFDB44C6}"/>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 name="Freeform 101">
              <a:extLst>
                <a:ext uri="{FF2B5EF4-FFF2-40B4-BE49-F238E27FC236}">
                  <a16:creationId xmlns:a16="http://schemas.microsoft.com/office/drawing/2014/main" id="{F3D79C5A-3DAF-F944-B3A1-2B8D1CB93642}"/>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102">
              <a:extLst>
                <a:ext uri="{FF2B5EF4-FFF2-40B4-BE49-F238E27FC236}">
                  <a16:creationId xmlns:a16="http://schemas.microsoft.com/office/drawing/2014/main" id="{6E81DBB6-2AE7-8642-98FF-53466657552A}"/>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 name="Freeform 103">
              <a:extLst>
                <a:ext uri="{FF2B5EF4-FFF2-40B4-BE49-F238E27FC236}">
                  <a16:creationId xmlns:a16="http://schemas.microsoft.com/office/drawing/2014/main" id="{EDE842BD-8BDE-ED4E-85AF-14034537A1E0}"/>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Freeform 104">
              <a:extLst>
                <a:ext uri="{FF2B5EF4-FFF2-40B4-BE49-F238E27FC236}">
                  <a16:creationId xmlns:a16="http://schemas.microsoft.com/office/drawing/2014/main" id="{3F8A338A-FF03-FC45-A4C2-D276F2D5228E}"/>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105">
              <a:extLst>
                <a:ext uri="{FF2B5EF4-FFF2-40B4-BE49-F238E27FC236}">
                  <a16:creationId xmlns:a16="http://schemas.microsoft.com/office/drawing/2014/main" id="{225E4732-0836-9749-86CB-60B42A998987}"/>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Tree>
    <p:extLst>
      <p:ext uri="{BB962C8B-B14F-4D97-AF65-F5344CB8AC3E}">
        <p14:creationId xmlns:p14="http://schemas.microsoft.com/office/powerpoint/2010/main" val="258552274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2. Theme">
    <p:spTree>
      <p:nvGrpSpPr>
        <p:cNvPr id="1" name=""/>
        <p:cNvGrpSpPr/>
        <p:nvPr/>
      </p:nvGrpSpPr>
      <p:grpSpPr>
        <a:xfrm>
          <a:off x="0" y="0"/>
          <a:ext cx="0" cy="0"/>
          <a:chOff x="0" y="0"/>
          <a:chExt cx="0" cy="0"/>
        </a:xfrm>
      </p:grpSpPr>
      <p:sp>
        <p:nvSpPr>
          <p:cNvPr id="5" name="Footer Placeholder 4"/>
          <p:cNvSpPr>
            <a:spLocks noGrp="1"/>
          </p:cNvSpPr>
          <p:nvPr userDrawn="1">
            <p:ph type="ftr" sz="quarter" idx="11"/>
          </p:nvPr>
        </p:nvSpPr>
        <p:spPr/>
        <p:txBody>
          <a:bodyPr/>
          <a:lstStyle>
            <a:lvl1pPr>
              <a:defRPr/>
            </a:lvl1pPr>
          </a:lstStyle>
          <a:p>
            <a:pPr>
              <a:defRPr/>
            </a:pPr>
            <a:endParaRPr lang="en-US"/>
          </a:p>
        </p:txBody>
      </p:sp>
      <p:sp>
        <p:nvSpPr>
          <p:cNvPr id="257" name="Rectangle 256"/>
          <p:cNvSpPr/>
          <p:nvPr userDrawn="1"/>
        </p:nvSpPr>
        <p:spPr>
          <a:xfrm>
            <a:off x="0" y="0"/>
            <a:ext cx="9144000" cy="1266825"/>
          </a:xfrm>
          <a:prstGeom prst="rect">
            <a:avLst/>
          </a:prstGeom>
          <a:solidFill>
            <a:srgbClr val="223D4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59" name="Title 1"/>
          <p:cNvSpPr>
            <a:spLocks noGrp="1"/>
          </p:cNvSpPr>
          <p:nvPr>
            <p:ph type="title"/>
          </p:nvPr>
        </p:nvSpPr>
        <p:spPr>
          <a:xfrm>
            <a:off x="0" y="1"/>
            <a:ext cx="8686800" cy="679507"/>
          </a:xfrm>
        </p:spPr>
        <p:txBody>
          <a:bodyPr/>
          <a:lstStyle>
            <a:lvl1pPr>
              <a:defRPr>
                <a:solidFill>
                  <a:schemeClr val="bg1"/>
                </a:solidFill>
              </a:defRPr>
            </a:lvl1pPr>
          </a:lstStyle>
          <a:p>
            <a:r>
              <a:rPr lang="en-US"/>
              <a:t>Click to edit Master title style</a:t>
            </a:r>
          </a:p>
        </p:txBody>
      </p:sp>
      <p:sp>
        <p:nvSpPr>
          <p:cNvPr id="260" name="Subtitle 2"/>
          <p:cNvSpPr>
            <a:spLocks noGrp="1"/>
          </p:cNvSpPr>
          <p:nvPr>
            <p:ph type="subTitle" idx="13"/>
          </p:nvPr>
        </p:nvSpPr>
        <p:spPr>
          <a:xfrm>
            <a:off x="0" y="461396"/>
            <a:ext cx="8892330" cy="645952"/>
          </a:xfrm>
          <a:prstGeom prst="rect">
            <a:avLst/>
          </a:prstGeom>
        </p:spPr>
        <p:txBody>
          <a:bodyPr anchor="b" anchorCtr="0"/>
          <a:lstStyle>
            <a:lvl1pPr marL="285750" indent="0" algn="l">
              <a:buNone/>
              <a:defRPr lang="en-US" sz="1200" kern="1200" dirty="0">
                <a:solidFill>
                  <a:srgbClr val="A3BACD"/>
                </a:solidFill>
                <a:latin typeface="Arial" pitchFamily="34" charset="0"/>
                <a:ea typeface="+mj-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8" name="TextBox 69"/>
          <p:cNvSpPr txBox="1">
            <a:spLocks noChangeArrowheads="1"/>
          </p:cNvSpPr>
          <p:nvPr userDrawn="1"/>
        </p:nvSpPr>
        <p:spPr bwMode="auto">
          <a:xfrm rot="16200000">
            <a:off x="8442327" y="610392"/>
            <a:ext cx="1104901" cy="284163"/>
          </a:xfrm>
          <a:prstGeom prst="rect">
            <a:avLst/>
          </a:prstGeom>
          <a:noFill/>
          <a:ln w="9525">
            <a:noFill/>
            <a:miter lim="800000"/>
            <a:headEnd/>
            <a:tailEnd/>
          </a:ln>
        </p:spPr>
        <p:txBody>
          <a:bodyPr wrap="square" tIns="91440" rIns="0">
            <a:spAutoFit/>
          </a:bodyPr>
          <a:lstStyle/>
          <a:p>
            <a:pPr>
              <a:defRPr/>
            </a:pPr>
            <a:r>
              <a:rPr lang="en-US" sz="950">
                <a:solidFill>
                  <a:srgbClr val="569BBE"/>
                </a:solidFill>
                <a:cs typeface="Arial" charset="0"/>
                <a:sym typeface="Wingdings"/>
              </a:rPr>
              <a:t></a:t>
            </a:r>
            <a:r>
              <a:rPr lang="en-US" sz="950">
                <a:solidFill>
                  <a:schemeClr val="bg1"/>
                </a:solidFill>
                <a:cs typeface="Arial" charset="0"/>
                <a:sym typeface="Wingdings"/>
              </a:rPr>
              <a:t> </a:t>
            </a:r>
            <a:r>
              <a:rPr lang="en-US" sz="950">
                <a:solidFill>
                  <a:schemeClr val="bg1"/>
                </a:solidFill>
                <a:cs typeface="Arial" charset="0"/>
              </a:rPr>
              <a:t>THEME</a:t>
            </a:r>
          </a:p>
        </p:txBody>
      </p:sp>
      <p:cxnSp>
        <p:nvCxnSpPr>
          <p:cNvPr id="10" name="Straight Connector 9"/>
          <p:cNvCxnSpPr/>
          <p:nvPr userDrawn="1"/>
        </p:nvCxnSpPr>
        <p:spPr>
          <a:xfrm flipV="1">
            <a:off x="8879680" y="0"/>
            <a:ext cx="0" cy="128111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6832600" y="6374155"/>
            <a:ext cx="2133600" cy="365125"/>
          </a:xfrm>
          <a:prstGeom prst="rect">
            <a:avLst/>
          </a:prstGeom>
        </p:spPr>
        <p:txBody>
          <a:bodyPr vert="horz" lIns="91440" tIns="45720" rIns="91440" bIns="45720" rtlCol="0" anchor="ctr"/>
          <a:lstStyle>
            <a:lvl1pPr algn="r" fontAlgn="auto">
              <a:spcBef>
                <a:spcPts val="0"/>
              </a:spcBef>
              <a:spcAft>
                <a:spcPts val="0"/>
              </a:spcAft>
              <a:defRPr sz="1000" b="1">
                <a:solidFill>
                  <a:srgbClr val="4C5F6C"/>
                </a:solidFill>
                <a:latin typeface="Arial" pitchFamily="34" charset="0"/>
                <a:cs typeface="Arial" pitchFamily="34" charset="0"/>
              </a:defRPr>
            </a:lvl1pPr>
          </a:lstStyle>
          <a:p>
            <a:pPr>
              <a:defRPr/>
            </a:pPr>
            <a:fld id="{55772473-24D5-4368-927A-9F91835352F1}" type="slidenum">
              <a:rPr lang="en-US" smtClean="0"/>
              <a:pPr>
                <a:defRPr/>
              </a:pPr>
              <a:t>‹#›</a:t>
            </a:fld>
            <a:endParaRPr lang="en-US"/>
          </a:p>
        </p:txBody>
      </p:sp>
    </p:spTree>
    <p:extLst>
      <p:ext uri="{BB962C8B-B14F-4D97-AF65-F5344CB8AC3E}">
        <p14:creationId xmlns:p14="http://schemas.microsoft.com/office/powerpoint/2010/main" val="79943285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ack_Cover_Disclosures">
    <p:spTree>
      <p:nvGrpSpPr>
        <p:cNvPr id="1" name=""/>
        <p:cNvGrpSpPr/>
        <p:nvPr/>
      </p:nvGrpSpPr>
      <p:grpSpPr>
        <a:xfrm>
          <a:off x="0" y="0"/>
          <a:ext cx="0" cy="0"/>
          <a:chOff x="0" y="0"/>
          <a:chExt cx="0" cy="0"/>
        </a:xfrm>
      </p:grpSpPr>
      <p:sp>
        <p:nvSpPr>
          <p:cNvPr id="11" name="Content Placeholder 10"/>
          <p:cNvSpPr>
            <a:spLocks noGrp="1"/>
          </p:cNvSpPr>
          <p:nvPr>
            <p:ph sz="quarter" idx="15" hasCustomPrompt="1"/>
          </p:nvPr>
        </p:nvSpPr>
        <p:spPr>
          <a:xfrm>
            <a:off x="324088" y="6526412"/>
            <a:ext cx="711200" cy="214312"/>
          </a:xfrm>
        </p:spPr>
        <p:txBody>
          <a:bodyPr/>
          <a:lstStyle>
            <a:lvl1pPr>
              <a:defRPr sz="700" b="0">
                <a:solidFill>
                  <a:schemeClr val="tx1"/>
                </a:solidFill>
              </a:defRPr>
            </a:lvl1pPr>
            <a:lvl2pPr>
              <a:defRPr sz="700" b="0">
                <a:solidFill>
                  <a:schemeClr val="tx1"/>
                </a:solidFill>
              </a:defRPr>
            </a:lvl2pPr>
            <a:lvl3pPr>
              <a:defRPr sz="700" b="0">
                <a:solidFill>
                  <a:schemeClr val="tx1"/>
                </a:solidFill>
              </a:defRPr>
            </a:lvl3pPr>
            <a:lvl4pPr>
              <a:defRPr sz="700" b="0">
                <a:solidFill>
                  <a:schemeClr val="tx1"/>
                </a:solidFill>
              </a:defRPr>
            </a:lvl4pPr>
            <a:lvl5pPr>
              <a:defRPr sz="700" b="0">
                <a:solidFill>
                  <a:schemeClr val="tx1"/>
                </a:solidFill>
              </a:defRPr>
            </a:lvl5pPr>
          </a:lstStyle>
          <a:p>
            <a:pPr lvl="0"/>
            <a:r>
              <a:rPr lang="en-US" dirty="0"/>
              <a:t>XXXXXX.1.0</a:t>
            </a:r>
          </a:p>
        </p:txBody>
      </p:sp>
      <p:sp>
        <p:nvSpPr>
          <p:cNvPr id="6" name="Content Placeholder 5"/>
          <p:cNvSpPr>
            <a:spLocks noGrp="1"/>
          </p:cNvSpPr>
          <p:nvPr>
            <p:ph sz="quarter" idx="14" hasCustomPrompt="1"/>
          </p:nvPr>
        </p:nvSpPr>
        <p:spPr>
          <a:xfrm>
            <a:off x="1333500" y="6503543"/>
            <a:ext cx="6477000" cy="214312"/>
          </a:xfrm>
        </p:spPr>
        <p:txBody>
          <a:bodyPr/>
          <a:lstStyle>
            <a:lvl1pPr algn="ctr">
              <a:defRPr sz="900" b="0">
                <a:solidFill>
                  <a:schemeClr val="tx1"/>
                </a:solidFill>
              </a:defRPr>
            </a:lvl1pPr>
            <a:lvl2pPr algn="ctr">
              <a:defRPr sz="900" b="0">
                <a:solidFill>
                  <a:schemeClr val="tx1"/>
                </a:solidFill>
              </a:defRPr>
            </a:lvl2pPr>
            <a:lvl3pPr algn="ctr">
              <a:defRPr sz="900" b="0">
                <a:solidFill>
                  <a:schemeClr val="tx1"/>
                </a:solidFill>
              </a:defRPr>
            </a:lvl3pPr>
            <a:lvl4pPr algn="ctr">
              <a:defRPr sz="900" b="0">
                <a:solidFill>
                  <a:schemeClr val="tx1"/>
                </a:solidFill>
              </a:defRPr>
            </a:lvl4pPr>
            <a:lvl5pPr algn="ctr">
              <a:defRPr sz="900" b="0">
                <a:solidFill>
                  <a:schemeClr val="tx1"/>
                </a:solidFill>
              </a:defRPr>
            </a:lvl5pPr>
          </a:lstStyle>
          <a:p>
            <a:pPr lvl="0"/>
            <a:r>
              <a:rPr lang="en-US" altLang="en-US" sz="900" dirty="0"/>
              <a:t>BROKER/DEALER and ADDRESS PLACEHOLDER</a:t>
            </a:r>
          </a:p>
        </p:txBody>
      </p:sp>
      <p:sp>
        <p:nvSpPr>
          <p:cNvPr id="7" name="Content Placeholder 2"/>
          <p:cNvSpPr>
            <a:spLocks noGrp="1"/>
          </p:cNvSpPr>
          <p:nvPr>
            <p:ph idx="13" hasCustomPrompt="1"/>
          </p:nvPr>
        </p:nvSpPr>
        <p:spPr>
          <a:xfrm>
            <a:off x="325661" y="3228975"/>
            <a:ext cx="8506210" cy="2903538"/>
          </a:xfrm>
        </p:spPr>
        <p:txBody>
          <a:bodyPr lIns="91440" anchor="b"/>
          <a:lstStyle>
            <a:lvl1pPr marL="0" indent="0" algn="l" rtl="0" eaLnBrk="1" fontAlgn="base" hangingPunct="1">
              <a:spcBef>
                <a:spcPts val="300"/>
              </a:spcBef>
              <a:spcAft>
                <a:spcPct val="0"/>
              </a:spcAft>
              <a:buClrTx/>
              <a:buSzTx/>
              <a:buFontTx/>
              <a:buNone/>
              <a:defRPr lang="en-US" sz="1000" b="0" dirty="0" smtClean="0">
                <a:solidFill>
                  <a:schemeClr val="tx1"/>
                </a:solidFill>
              </a:defRPr>
            </a:lvl1pPr>
            <a:lvl2pPr>
              <a:spcBef>
                <a:spcPts val="2000"/>
              </a:spcBef>
              <a:defRPr lang="en-US" dirty="0" smtClean="0">
                <a:solidFill>
                  <a:schemeClr val="tx1"/>
                </a:solidFill>
                <a:latin typeface="+mn-lt"/>
              </a:defRPr>
            </a:lvl2pPr>
            <a:lvl3pPr>
              <a:defRPr lang="en-US" sz="1600" dirty="0" smtClean="0">
                <a:solidFill>
                  <a:schemeClr val="accent1"/>
                </a:solidFill>
                <a:latin typeface="+mn-lt"/>
              </a:defRPr>
            </a:lvl3pPr>
            <a:lvl4pPr>
              <a:buClr>
                <a:schemeClr val="bg2"/>
              </a:buClr>
              <a:buSzPct val="80000"/>
              <a:buFont typeface="Arial" pitchFamily="34" charset="0"/>
              <a:buChar char="•"/>
              <a:defRPr sz="1400">
                <a:solidFill>
                  <a:schemeClr val="accent1"/>
                </a:solidFill>
              </a:defRPr>
            </a:lvl4pPr>
          </a:lstStyle>
          <a:p>
            <a:pPr eaLnBrk="1" hangingPunct="1">
              <a:spcBef>
                <a:spcPts val="300"/>
              </a:spcBef>
              <a:buClrTx/>
              <a:buSzTx/>
              <a:buFontTx/>
              <a:buNone/>
            </a:pPr>
            <a:r>
              <a:rPr lang="en-US" sz="1000" dirty="0">
                <a:latin typeface="+mj-lt"/>
              </a:rPr>
              <a:t>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a:t>
            </a:r>
          </a:p>
          <a:p>
            <a:pPr eaLnBrk="1" hangingPunct="1">
              <a:spcBef>
                <a:spcPts val="300"/>
              </a:spcBef>
              <a:buClrTx/>
              <a:buSzTx/>
              <a:buFontTx/>
              <a:buNone/>
            </a:pPr>
            <a:r>
              <a:rPr lang="en-US" sz="1000" b="1" dirty="0">
                <a:latin typeface="+mj-lt"/>
              </a:rPr>
              <a:t>Lorem ipsum e </a:t>
            </a:r>
            <a:r>
              <a:rPr lang="en-US" sz="1000" b="1" dirty="0" err="1">
                <a:latin typeface="+mj-lt"/>
              </a:rPr>
              <a:t>dolore</a:t>
            </a:r>
            <a:r>
              <a:rPr lang="en-US" sz="1000" b="1" dirty="0">
                <a:latin typeface="+mj-lt"/>
              </a:rPr>
              <a:t> sit </a:t>
            </a:r>
            <a:r>
              <a:rPr lang="en-US" sz="1000" b="1" dirty="0" err="1">
                <a:latin typeface="+mj-lt"/>
              </a:rPr>
              <a:t>amet</a:t>
            </a:r>
            <a:r>
              <a:rPr lang="en-US" sz="1000" b="1" dirty="0">
                <a:latin typeface="+mj-lt"/>
              </a:rPr>
              <a:t> con </a:t>
            </a:r>
            <a:r>
              <a:rPr lang="en-US" sz="1000" b="1" dirty="0" err="1">
                <a:latin typeface="+mj-lt"/>
              </a:rPr>
              <a:t>secuatur</a:t>
            </a:r>
            <a:r>
              <a:rPr lang="en-US" sz="1000" b="1" dirty="0">
                <a:latin typeface="+mj-lt"/>
              </a:rPr>
              <a:t> </a:t>
            </a:r>
            <a:r>
              <a:rPr lang="en-US" sz="1000" b="1" dirty="0" err="1">
                <a:latin typeface="+mj-lt"/>
              </a:rPr>
              <a:t>voltare</a:t>
            </a:r>
            <a:r>
              <a:rPr lang="en-US" sz="1000" b="1" dirty="0">
                <a:latin typeface="+mj-lt"/>
              </a:rPr>
              <a:t> sans </a:t>
            </a:r>
            <a:r>
              <a:rPr lang="en-US" sz="1000" b="1" dirty="0" err="1">
                <a:latin typeface="+mj-lt"/>
              </a:rPr>
              <a:t>hitre</a:t>
            </a:r>
            <a:r>
              <a:rPr lang="en-US" sz="1000" b="1" dirty="0">
                <a:latin typeface="+mj-lt"/>
              </a:rPr>
              <a:t> </a:t>
            </a:r>
            <a:r>
              <a:rPr lang="en-US" sz="1000" b="1" dirty="0" err="1">
                <a:latin typeface="+mj-lt"/>
              </a:rPr>
              <a:t>vintaxe</a:t>
            </a:r>
            <a:r>
              <a:rPr lang="en-US" sz="1000" b="1" dirty="0">
                <a:latin typeface="+mj-lt"/>
              </a:rPr>
              <a:t> </a:t>
            </a:r>
            <a:r>
              <a:rPr lang="en-US" sz="1000" b="1" dirty="0" err="1">
                <a:latin typeface="+mj-lt"/>
              </a:rPr>
              <a:t>ellert</a:t>
            </a:r>
            <a:r>
              <a:rPr lang="en-US" sz="1000" b="1" dirty="0">
                <a:latin typeface="+mj-lt"/>
              </a:rPr>
              <a:t>  ipsum e </a:t>
            </a:r>
            <a:r>
              <a:rPr lang="en-US" sz="1000" b="1" dirty="0" err="1">
                <a:latin typeface="+mj-lt"/>
              </a:rPr>
              <a:t>dolore</a:t>
            </a:r>
            <a:r>
              <a:rPr lang="en-US" sz="1000" b="1" dirty="0">
                <a:latin typeface="+mj-lt"/>
              </a:rPr>
              <a:t> sit </a:t>
            </a:r>
            <a:r>
              <a:rPr lang="en-US" sz="1000" b="1" dirty="0" err="1">
                <a:latin typeface="+mj-lt"/>
              </a:rPr>
              <a:t>amet</a:t>
            </a:r>
            <a:r>
              <a:rPr lang="en-US" sz="1000" b="1" dirty="0">
                <a:latin typeface="+mj-lt"/>
              </a:rPr>
              <a:t> con </a:t>
            </a:r>
            <a:r>
              <a:rPr lang="en-US" sz="1000" b="1" dirty="0" err="1">
                <a:latin typeface="+mj-lt"/>
              </a:rPr>
              <a:t>secuatur</a:t>
            </a:r>
            <a:r>
              <a:rPr lang="en-US" sz="1000" b="1" dirty="0">
                <a:latin typeface="+mj-lt"/>
              </a:rPr>
              <a:t> </a:t>
            </a:r>
            <a:r>
              <a:rPr lang="en-US" sz="1000" b="1" dirty="0" err="1">
                <a:latin typeface="+mj-lt"/>
              </a:rPr>
              <a:t>voltare</a:t>
            </a:r>
            <a:r>
              <a:rPr lang="en-US" sz="1000" b="1" dirty="0">
                <a:latin typeface="+mj-lt"/>
              </a:rPr>
              <a:t> sans </a:t>
            </a:r>
            <a:r>
              <a:rPr lang="en-US" sz="1000" b="1" dirty="0" err="1">
                <a:latin typeface="+mj-lt"/>
              </a:rPr>
              <a:t>hitre</a:t>
            </a:r>
            <a:r>
              <a:rPr lang="en-US" sz="1000" b="1" dirty="0">
                <a:latin typeface="+mj-lt"/>
              </a:rPr>
              <a:t> </a:t>
            </a:r>
            <a:r>
              <a:rPr lang="en-US" sz="1000" b="1" dirty="0" err="1">
                <a:latin typeface="+mj-lt"/>
              </a:rPr>
              <a:t>vintaxe</a:t>
            </a:r>
            <a:r>
              <a:rPr lang="en-US" sz="1000" b="1" dirty="0">
                <a:latin typeface="+mj-lt"/>
              </a:rPr>
              <a:t> </a:t>
            </a:r>
            <a:r>
              <a:rPr lang="en-US" sz="1000" b="1" dirty="0" err="1">
                <a:latin typeface="+mj-lt"/>
              </a:rPr>
              <a:t>ellert</a:t>
            </a:r>
            <a:r>
              <a:rPr lang="en-US" sz="1000" b="1" dirty="0">
                <a:latin typeface="+mj-lt"/>
              </a:rPr>
              <a:t>. Lorem ipsum e </a:t>
            </a:r>
            <a:r>
              <a:rPr lang="en-US" sz="1000" b="1" dirty="0" err="1">
                <a:latin typeface="+mj-lt"/>
              </a:rPr>
              <a:t>dolore</a:t>
            </a:r>
            <a:r>
              <a:rPr lang="en-US" sz="1000" b="1" dirty="0">
                <a:latin typeface="+mj-lt"/>
              </a:rPr>
              <a:t> sit </a:t>
            </a:r>
            <a:r>
              <a:rPr lang="en-US" sz="1000" b="1" dirty="0" err="1">
                <a:latin typeface="+mj-lt"/>
              </a:rPr>
              <a:t>amet</a:t>
            </a:r>
            <a:r>
              <a:rPr lang="en-US" sz="1000" b="1" dirty="0">
                <a:latin typeface="+mj-lt"/>
              </a:rPr>
              <a:t> con </a:t>
            </a:r>
            <a:r>
              <a:rPr lang="en-US" sz="1000" b="1" dirty="0" err="1">
                <a:latin typeface="+mj-lt"/>
              </a:rPr>
              <a:t>secuatur</a:t>
            </a:r>
            <a:r>
              <a:rPr lang="en-US" sz="1000" b="1" dirty="0">
                <a:latin typeface="+mj-lt"/>
              </a:rPr>
              <a:t> </a:t>
            </a:r>
            <a:r>
              <a:rPr lang="en-US" sz="1000" b="1" dirty="0" err="1">
                <a:latin typeface="+mj-lt"/>
              </a:rPr>
              <a:t>voltare</a:t>
            </a:r>
            <a:r>
              <a:rPr lang="en-US" sz="1000" b="1" dirty="0">
                <a:latin typeface="+mj-lt"/>
              </a:rPr>
              <a:t> sans </a:t>
            </a:r>
            <a:r>
              <a:rPr lang="en-US" sz="1000" b="1" dirty="0" err="1">
                <a:latin typeface="+mj-lt"/>
              </a:rPr>
              <a:t>hitre</a:t>
            </a:r>
            <a:r>
              <a:rPr lang="en-US" sz="1000" b="1" dirty="0">
                <a:latin typeface="+mj-lt"/>
              </a:rPr>
              <a:t> </a:t>
            </a:r>
            <a:r>
              <a:rPr lang="en-US" sz="1000" b="1" dirty="0" err="1">
                <a:latin typeface="+mj-lt"/>
              </a:rPr>
              <a:t>vintaxe</a:t>
            </a:r>
            <a:r>
              <a:rPr lang="en-US" sz="1000" b="1" dirty="0">
                <a:latin typeface="+mj-lt"/>
              </a:rPr>
              <a:t> </a:t>
            </a:r>
            <a:r>
              <a:rPr lang="en-US" sz="1000" b="1" dirty="0" err="1">
                <a:latin typeface="+mj-lt"/>
              </a:rPr>
              <a:t>ellert</a:t>
            </a:r>
            <a:r>
              <a:rPr lang="en-US" sz="1000" b="1" dirty="0">
                <a:latin typeface="+mj-lt"/>
              </a:rPr>
              <a:t>. Lorem ipsum e </a:t>
            </a:r>
            <a:r>
              <a:rPr lang="en-US" sz="1000" b="1" dirty="0" err="1">
                <a:latin typeface="+mj-lt"/>
              </a:rPr>
              <a:t>dolore</a:t>
            </a:r>
            <a:r>
              <a:rPr lang="en-US" sz="1000" b="1" dirty="0">
                <a:latin typeface="+mj-lt"/>
              </a:rPr>
              <a:t> sit </a:t>
            </a:r>
            <a:r>
              <a:rPr lang="en-US" sz="1000" b="1" dirty="0" err="1">
                <a:latin typeface="+mj-lt"/>
              </a:rPr>
              <a:t>amet</a:t>
            </a:r>
            <a:r>
              <a:rPr lang="en-US" sz="1000" b="1" dirty="0">
                <a:latin typeface="+mj-lt"/>
              </a:rPr>
              <a:t> con </a:t>
            </a:r>
            <a:r>
              <a:rPr lang="en-US" sz="1000" b="1" dirty="0" err="1">
                <a:latin typeface="+mj-lt"/>
              </a:rPr>
              <a:t>secuatur</a:t>
            </a:r>
            <a:r>
              <a:rPr lang="en-US" sz="1000" b="1" dirty="0">
                <a:latin typeface="+mj-lt"/>
              </a:rPr>
              <a:t> </a:t>
            </a:r>
            <a:r>
              <a:rPr lang="en-US" sz="1000" b="1" dirty="0" err="1">
                <a:latin typeface="+mj-lt"/>
              </a:rPr>
              <a:t>voltare</a:t>
            </a:r>
            <a:r>
              <a:rPr lang="en-US" sz="1000" b="1" dirty="0">
                <a:latin typeface="+mj-lt"/>
              </a:rPr>
              <a:t> sans </a:t>
            </a:r>
            <a:r>
              <a:rPr lang="en-US" sz="1000" b="1" dirty="0" err="1">
                <a:latin typeface="+mj-lt"/>
              </a:rPr>
              <a:t>hitre</a:t>
            </a:r>
            <a:r>
              <a:rPr lang="en-US" sz="1000" b="1" dirty="0">
                <a:latin typeface="+mj-lt"/>
              </a:rPr>
              <a:t> </a:t>
            </a:r>
            <a:r>
              <a:rPr lang="en-US" sz="1000" b="1" dirty="0" err="1">
                <a:latin typeface="+mj-lt"/>
              </a:rPr>
              <a:t>vintaxe</a:t>
            </a:r>
            <a:r>
              <a:rPr lang="en-US" sz="1000" b="1" dirty="0">
                <a:latin typeface="+mj-lt"/>
              </a:rPr>
              <a:t> </a:t>
            </a:r>
            <a:r>
              <a:rPr lang="en-US" sz="1000" b="1" dirty="0" err="1">
                <a:latin typeface="+mj-lt"/>
              </a:rPr>
              <a:t>ellert</a:t>
            </a:r>
            <a:r>
              <a:rPr lang="en-US" sz="1000" b="1" dirty="0">
                <a:latin typeface="+mj-lt"/>
              </a:rPr>
              <a:t>. Lorem ipsum e </a:t>
            </a:r>
            <a:r>
              <a:rPr lang="en-US" sz="1000" b="1" dirty="0" err="1">
                <a:latin typeface="+mj-lt"/>
              </a:rPr>
              <a:t>dolore</a:t>
            </a:r>
            <a:r>
              <a:rPr lang="en-US" sz="1000" b="1" dirty="0">
                <a:latin typeface="+mj-lt"/>
              </a:rPr>
              <a:t> sit </a:t>
            </a:r>
            <a:r>
              <a:rPr lang="en-US" sz="1000" b="1" dirty="0" err="1">
                <a:latin typeface="+mj-lt"/>
              </a:rPr>
              <a:t>amet</a:t>
            </a:r>
            <a:r>
              <a:rPr lang="en-US" sz="1000" b="1" dirty="0">
                <a:latin typeface="+mj-lt"/>
              </a:rPr>
              <a:t> con </a:t>
            </a:r>
            <a:r>
              <a:rPr lang="en-US" sz="1000" b="1" dirty="0" err="1">
                <a:latin typeface="+mj-lt"/>
              </a:rPr>
              <a:t>secuatur</a:t>
            </a:r>
            <a:r>
              <a:rPr lang="en-US" sz="1000" b="1" dirty="0">
                <a:latin typeface="+mj-lt"/>
              </a:rPr>
              <a:t> </a:t>
            </a:r>
            <a:r>
              <a:rPr lang="en-US" sz="1000" b="1" dirty="0" err="1">
                <a:latin typeface="+mj-lt"/>
              </a:rPr>
              <a:t>voltare</a:t>
            </a:r>
            <a:r>
              <a:rPr lang="en-US" sz="1000" b="1" dirty="0">
                <a:latin typeface="+mj-lt"/>
              </a:rPr>
              <a:t> sans </a:t>
            </a:r>
            <a:r>
              <a:rPr lang="en-US" sz="1000" b="1" dirty="0" err="1">
                <a:latin typeface="+mj-lt"/>
              </a:rPr>
              <a:t>hitre</a:t>
            </a:r>
            <a:r>
              <a:rPr lang="en-US" sz="1000" b="1" dirty="0">
                <a:latin typeface="+mj-lt"/>
              </a:rPr>
              <a:t> </a:t>
            </a:r>
            <a:r>
              <a:rPr lang="en-US" sz="1000" b="1" dirty="0" err="1">
                <a:latin typeface="+mj-lt"/>
              </a:rPr>
              <a:t>vintaxe</a:t>
            </a:r>
            <a:r>
              <a:rPr lang="en-US" sz="1000" b="1" dirty="0">
                <a:latin typeface="+mj-lt"/>
              </a:rPr>
              <a:t> </a:t>
            </a:r>
            <a:r>
              <a:rPr lang="en-US" sz="1000" b="1" dirty="0" err="1">
                <a:latin typeface="+mj-lt"/>
              </a:rPr>
              <a:t>ellert</a:t>
            </a:r>
            <a:r>
              <a:rPr lang="en-US" sz="1000" b="1" dirty="0">
                <a:latin typeface="+mj-lt"/>
              </a:rPr>
              <a:t>. Lorem ipsum e </a:t>
            </a:r>
            <a:r>
              <a:rPr lang="en-US" sz="1000" b="1" dirty="0" err="1">
                <a:latin typeface="+mj-lt"/>
              </a:rPr>
              <a:t>dolore</a:t>
            </a:r>
            <a:r>
              <a:rPr lang="en-US" sz="1000" b="1" dirty="0">
                <a:latin typeface="+mj-lt"/>
              </a:rPr>
              <a:t> sit </a:t>
            </a:r>
            <a:r>
              <a:rPr lang="en-US" sz="1000" b="1" dirty="0" err="1">
                <a:latin typeface="+mj-lt"/>
              </a:rPr>
              <a:t>amet</a:t>
            </a:r>
            <a:r>
              <a:rPr lang="en-US" sz="1000" b="1" dirty="0">
                <a:latin typeface="+mj-lt"/>
              </a:rPr>
              <a:t> con </a:t>
            </a:r>
            <a:r>
              <a:rPr lang="en-US" sz="1000" b="1" dirty="0" err="1">
                <a:latin typeface="+mj-lt"/>
              </a:rPr>
              <a:t>secuatur</a:t>
            </a:r>
            <a:r>
              <a:rPr lang="en-US" sz="1000" b="1" dirty="0">
                <a:latin typeface="+mj-lt"/>
              </a:rPr>
              <a:t> </a:t>
            </a:r>
            <a:r>
              <a:rPr lang="en-US" sz="1000" b="1" dirty="0" err="1">
                <a:latin typeface="+mj-lt"/>
              </a:rPr>
              <a:t>voltare</a:t>
            </a:r>
            <a:r>
              <a:rPr lang="en-US" sz="1000" b="1" dirty="0">
                <a:latin typeface="+mj-lt"/>
              </a:rPr>
              <a:t> sans </a:t>
            </a:r>
            <a:r>
              <a:rPr lang="en-US" sz="1000" b="1" dirty="0" err="1">
                <a:latin typeface="+mj-lt"/>
              </a:rPr>
              <a:t>hitre</a:t>
            </a:r>
            <a:r>
              <a:rPr lang="en-US" sz="1000" b="1" dirty="0">
                <a:latin typeface="+mj-lt"/>
              </a:rPr>
              <a:t> </a:t>
            </a:r>
            <a:r>
              <a:rPr lang="en-US" sz="1000" b="1" dirty="0" err="1">
                <a:latin typeface="+mj-lt"/>
              </a:rPr>
              <a:t>vintaxe</a:t>
            </a:r>
            <a:r>
              <a:rPr lang="en-US" sz="1000" b="1" dirty="0">
                <a:latin typeface="+mj-lt"/>
              </a:rPr>
              <a:t> </a:t>
            </a:r>
            <a:r>
              <a:rPr lang="en-US" sz="1000" b="1" dirty="0" err="1">
                <a:latin typeface="+mj-lt"/>
              </a:rPr>
              <a:t>ellert</a:t>
            </a:r>
            <a:r>
              <a:rPr lang="en-US" sz="1000" b="1" dirty="0">
                <a:latin typeface="+mj-lt"/>
              </a:rPr>
              <a:t>. Lorem ipsum e </a:t>
            </a:r>
            <a:r>
              <a:rPr lang="en-US" sz="1000" b="1" dirty="0" err="1">
                <a:latin typeface="+mj-lt"/>
              </a:rPr>
              <a:t>dolore</a:t>
            </a:r>
            <a:r>
              <a:rPr lang="en-US" sz="1000" b="1" dirty="0">
                <a:latin typeface="+mj-lt"/>
              </a:rPr>
              <a:t> sit </a:t>
            </a:r>
            <a:r>
              <a:rPr lang="en-US" sz="1000" b="1" dirty="0" err="1">
                <a:latin typeface="+mj-lt"/>
              </a:rPr>
              <a:t>amet</a:t>
            </a:r>
            <a:r>
              <a:rPr lang="en-US" sz="1000" b="1" dirty="0">
                <a:latin typeface="+mj-lt"/>
              </a:rPr>
              <a:t> con </a:t>
            </a:r>
            <a:r>
              <a:rPr lang="en-US" sz="1000" b="1" dirty="0" err="1">
                <a:latin typeface="+mj-lt"/>
              </a:rPr>
              <a:t>secuatur</a:t>
            </a:r>
            <a:r>
              <a:rPr lang="en-US" sz="1000" b="1" dirty="0">
                <a:latin typeface="+mj-lt"/>
              </a:rPr>
              <a:t> </a:t>
            </a:r>
            <a:r>
              <a:rPr lang="en-US" sz="1000" b="1" dirty="0" err="1">
                <a:latin typeface="+mj-lt"/>
              </a:rPr>
              <a:t>voltare</a:t>
            </a:r>
            <a:r>
              <a:rPr lang="en-US" sz="1000" b="1" dirty="0">
                <a:latin typeface="+mj-lt"/>
              </a:rPr>
              <a:t> sans </a:t>
            </a:r>
            <a:r>
              <a:rPr lang="en-US" sz="1000" b="1" dirty="0" err="1">
                <a:latin typeface="+mj-lt"/>
              </a:rPr>
              <a:t>hitre</a:t>
            </a:r>
            <a:r>
              <a:rPr lang="en-US" sz="1000" b="1" dirty="0">
                <a:latin typeface="+mj-lt"/>
              </a:rPr>
              <a:t> </a:t>
            </a:r>
            <a:r>
              <a:rPr lang="en-US" sz="1000" b="1" dirty="0" err="1">
                <a:latin typeface="+mj-lt"/>
              </a:rPr>
              <a:t>vintaxe</a:t>
            </a:r>
            <a:r>
              <a:rPr lang="en-US" sz="1000" b="1" dirty="0">
                <a:latin typeface="+mj-lt"/>
              </a:rPr>
              <a:t> </a:t>
            </a:r>
            <a:r>
              <a:rPr lang="en-US" sz="1000" b="1" dirty="0" err="1">
                <a:latin typeface="+mj-lt"/>
              </a:rPr>
              <a:t>ellert</a:t>
            </a:r>
            <a:r>
              <a:rPr lang="en-US" sz="1000" b="1" dirty="0">
                <a:latin typeface="+mj-lt"/>
              </a:rPr>
              <a:t>. Lorem ipsum e </a:t>
            </a:r>
            <a:r>
              <a:rPr lang="en-US" sz="1000" b="1" dirty="0" err="1">
                <a:latin typeface="+mj-lt"/>
              </a:rPr>
              <a:t>dolore</a:t>
            </a:r>
            <a:r>
              <a:rPr lang="en-US" sz="1000" b="1" dirty="0">
                <a:latin typeface="+mj-lt"/>
              </a:rPr>
              <a:t> sit </a:t>
            </a:r>
            <a:r>
              <a:rPr lang="en-US" sz="1000" b="1" dirty="0" err="1">
                <a:latin typeface="+mj-lt"/>
              </a:rPr>
              <a:t>amet</a:t>
            </a:r>
            <a:r>
              <a:rPr lang="en-US" sz="1000" b="1" dirty="0">
                <a:latin typeface="+mj-lt"/>
              </a:rPr>
              <a:t> con </a:t>
            </a:r>
            <a:r>
              <a:rPr lang="en-US" sz="1000" b="1" dirty="0" err="1">
                <a:latin typeface="+mj-lt"/>
              </a:rPr>
              <a:t>secuatur</a:t>
            </a:r>
            <a:r>
              <a:rPr lang="en-US" sz="1000" b="1" dirty="0">
                <a:latin typeface="+mj-lt"/>
              </a:rPr>
              <a:t> </a:t>
            </a:r>
            <a:r>
              <a:rPr lang="en-US" sz="1000" b="1" dirty="0" err="1">
                <a:latin typeface="+mj-lt"/>
              </a:rPr>
              <a:t>voltare</a:t>
            </a:r>
            <a:r>
              <a:rPr lang="en-US" sz="1000" b="1" dirty="0">
                <a:latin typeface="+mj-lt"/>
              </a:rPr>
              <a:t> sans </a:t>
            </a:r>
            <a:r>
              <a:rPr lang="en-US" sz="1000" b="1" dirty="0" err="1">
                <a:latin typeface="+mj-lt"/>
              </a:rPr>
              <a:t>hitre</a:t>
            </a:r>
            <a:r>
              <a:rPr lang="en-US" sz="1000" b="1" dirty="0">
                <a:latin typeface="+mj-lt"/>
              </a:rPr>
              <a:t> </a:t>
            </a:r>
            <a:r>
              <a:rPr lang="en-US" sz="1000" b="1" dirty="0" err="1">
                <a:latin typeface="+mj-lt"/>
              </a:rPr>
              <a:t>vintaxe</a:t>
            </a:r>
            <a:r>
              <a:rPr lang="en-US" sz="1000" b="1" dirty="0">
                <a:latin typeface="+mj-lt"/>
              </a:rPr>
              <a:t> </a:t>
            </a:r>
            <a:r>
              <a:rPr lang="en-US" sz="1000" b="1" dirty="0" err="1">
                <a:latin typeface="+mj-lt"/>
              </a:rPr>
              <a:t>ellert</a:t>
            </a:r>
            <a:r>
              <a:rPr lang="en-US" sz="1000" b="1" dirty="0">
                <a:latin typeface="+mj-lt"/>
              </a:rPr>
              <a:t>.</a:t>
            </a:r>
          </a:p>
        </p:txBody>
      </p:sp>
      <p:sp>
        <p:nvSpPr>
          <p:cNvPr id="13" name="Content Placeholder 12"/>
          <p:cNvSpPr>
            <a:spLocks noGrp="1"/>
          </p:cNvSpPr>
          <p:nvPr>
            <p:ph sz="quarter" idx="16" hasCustomPrompt="1"/>
          </p:nvPr>
        </p:nvSpPr>
        <p:spPr>
          <a:xfrm>
            <a:off x="7991475" y="6456525"/>
            <a:ext cx="908050" cy="377825"/>
          </a:xfrm>
        </p:spPr>
        <p:txBody>
          <a:bodyPr anchor="b"/>
          <a:lstStyle>
            <a:lvl1pPr algn="r">
              <a:spcBef>
                <a:spcPts val="0"/>
              </a:spcBef>
              <a:defRPr sz="700" b="0">
                <a:solidFill>
                  <a:schemeClr val="tx1"/>
                </a:solidFill>
              </a:defRPr>
            </a:lvl1pPr>
            <a:lvl2pPr algn="r">
              <a:defRPr sz="700" b="0">
                <a:solidFill>
                  <a:schemeClr val="tx1"/>
                </a:solidFill>
              </a:defRPr>
            </a:lvl2pPr>
            <a:lvl3pPr algn="r">
              <a:defRPr sz="700" b="0">
                <a:solidFill>
                  <a:schemeClr val="tx1"/>
                </a:solidFill>
              </a:defRPr>
            </a:lvl3pPr>
            <a:lvl4pPr algn="r">
              <a:defRPr sz="700" b="0">
                <a:solidFill>
                  <a:schemeClr val="tx1"/>
                </a:solidFill>
              </a:defRPr>
            </a:lvl4pPr>
            <a:lvl5pPr algn="r">
              <a:defRPr sz="700" b="0">
                <a:solidFill>
                  <a:schemeClr val="tx1"/>
                </a:solidFill>
              </a:defRPr>
            </a:lvl5pPr>
          </a:lstStyle>
          <a:p>
            <a:pPr lvl="0"/>
            <a:r>
              <a:rPr lang="en-US" dirty="0"/>
              <a:t>1.000000.100</a:t>
            </a:r>
          </a:p>
          <a:p>
            <a:pPr lvl="0"/>
            <a:r>
              <a:rPr lang="en-US" dirty="0"/>
              <a:t>MMYY</a:t>
            </a:r>
          </a:p>
        </p:txBody>
      </p:sp>
    </p:spTree>
    <p:extLst>
      <p:ext uri="{BB962C8B-B14F-4D97-AF65-F5344CB8AC3E}">
        <p14:creationId xmlns:p14="http://schemas.microsoft.com/office/powerpoint/2010/main" val="2468618405"/>
      </p:ext>
    </p:extLst>
  </p:cSld>
  <p:clrMapOvr>
    <a:masterClrMapping/>
  </p:clrMapOvr>
  <p:extLst>
    <p:ext uri="{DCECCB84-F9BA-43D5-87BE-67443E8EF086}">
      <p15:sldGuideLst xmlns:p15="http://schemas.microsoft.com/office/powerpoint/2012/main">
        <p15:guide id="1" orient="horz" pos="4200" userDrawn="1">
          <p15:clr>
            <a:srgbClr val="FBAE40"/>
          </p15:clr>
        </p15:guide>
        <p15:guide id="2" pos="264"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DC138087-D35E-43A1-BEFE-8F2D0B0F0C3F}"/>
              </a:ext>
            </a:extLst>
          </p:cNvPr>
          <p:cNvGrpSpPr/>
          <p:nvPr userDrawn="1"/>
        </p:nvGrpSpPr>
        <p:grpSpPr>
          <a:xfrm>
            <a:off x="7358173" y="6361974"/>
            <a:ext cx="1382376" cy="297562"/>
            <a:chOff x="6923088" y="4475163"/>
            <a:chExt cx="1873251" cy="403225"/>
          </a:xfrm>
        </p:grpSpPr>
        <p:sp>
          <p:nvSpPr>
            <p:cNvPr id="33" name="AutoShape 4">
              <a:extLst>
                <a:ext uri="{FF2B5EF4-FFF2-40B4-BE49-F238E27FC236}">
                  <a16:creationId xmlns:a16="http://schemas.microsoft.com/office/drawing/2014/main" id="{3D8EF03B-5B23-4ABD-9440-15D1EBC84329}"/>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6">
              <a:extLst>
                <a:ext uri="{FF2B5EF4-FFF2-40B4-BE49-F238E27FC236}">
                  <a16:creationId xmlns:a16="http://schemas.microsoft.com/office/drawing/2014/main" id="{93A04742-FB2D-4533-BDD2-3A08D6F3691A}"/>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7">
              <a:extLst>
                <a:ext uri="{FF2B5EF4-FFF2-40B4-BE49-F238E27FC236}">
                  <a16:creationId xmlns:a16="http://schemas.microsoft.com/office/drawing/2014/main" id="{51BE678F-4430-4FD9-A2A5-1B79173B4E23}"/>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83">
              <a:extLst>
                <a:ext uri="{FF2B5EF4-FFF2-40B4-BE49-F238E27FC236}">
                  <a16:creationId xmlns:a16="http://schemas.microsoft.com/office/drawing/2014/main" id="{F56B0136-29A5-4CC6-94AF-73C81592E4AE}"/>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84">
              <a:extLst>
                <a:ext uri="{FF2B5EF4-FFF2-40B4-BE49-F238E27FC236}">
                  <a16:creationId xmlns:a16="http://schemas.microsoft.com/office/drawing/2014/main" id="{AF2A7FC2-49BE-44A6-8DDE-0C224CC3044D}"/>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85">
              <a:extLst>
                <a:ext uri="{FF2B5EF4-FFF2-40B4-BE49-F238E27FC236}">
                  <a16:creationId xmlns:a16="http://schemas.microsoft.com/office/drawing/2014/main" id="{B87EDB37-3805-4129-9E3F-FF8887C37A2E}"/>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86">
              <a:extLst>
                <a:ext uri="{FF2B5EF4-FFF2-40B4-BE49-F238E27FC236}">
                  <a16:creationId xmlns:a16="http://schemas.microsoft.com/office/drawing/2014/main" id="{8D73AABB-D943-4FB8-A7F3-E99412CF91A9}"/>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87">
              <a:extLst>
                <a:ext uri="{FF2B5EF4-FFF2-40B4-BE49-F238E27FC236}">
                  <a16:creationId xmlns:a16="http://schemas.microsoft.com/office/drawing/2014/main" id="{F6CF7947-801F-4146-8FB6-018CC0071CAB}"/>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88">
              <a:extLst>
                <a:ext uri="{FF2B5EF4-FFF2-40B4-BE49-F238E27FC236}">
                  <a16:creationId xmlns:a16="http://schemas.microsoft.com/office/drawing/2014/main" id="{BCCA673D-6EF3-45F9-910D-F8C059CFCFD9}"/>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89">
              <a:extLst>
                <a:ext uri="{FF2B5EF4-FFF2-40B4-BE49-F238E27FC236}">
                  <a16:creationId xmlns:a16="http://schemas.microsoft.com/office/drawing/2014/main" id="{BB4975A3-6C1B-4B0C-9EEA-5CF277D78CD8}"/>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90">
              <a:extLst>
                <a:ext uri="{FF2B5EF4-FFF2-40B4-BE49-F238E27FC236}">
                  <a16:creationId xmlns:a16="http://schemas.microsoft.com/office/drawing/2014/main" id="{A979E4D1-C6EA-4112-885F-CD66D7AACA2F}"/>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91">
              <a:extLst>
                <a:ext uri="{FF2B5EF4-FFF2-40B4-BE49-F238E27FC236}">
                  <a16:creationId xmlns:a16="http://schemas.microsoft.com/office/drawing/2014/main" id="{CC9144C6-DE8D-4256-9506-58DFA67FE04E}"/>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92">
              <a:extLst>
                <a:ext uri="{FF2B5EF4-FFF2-40B4-BE49-F238E27FC236}">
                  <a16:creationId xmlns:a16="http://schemas.microsoft.com/office/drawing/2014/main" id="{4B2F15AA-5913-4A17-8AC2-36E90932947B}"/>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93">
              <a:extLst>
                <a:ext uri="{FF2B5EF4-FFF2-40B4-BE49-F238E27FC236}">
                  <a16:creationId xmlns:a16="http://schemas.microsoft.com/office/drawing/2014/main" id="{60532004-056D-445B-8AC2-3BFEC07FECA9}"/>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94">
              <a:extLst>
                <a:ext uri="{FF2B5EF4-FFF2-40B4-BE49-F238E27FC236}">
                  <a16:creationId xmlns:a16="http://schemas.microsoft.com/office/drawing/2014/main" id="{56E9A1F1-BC11-4BE9-88EA-2F69BFC0D954}"/>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95">
              <a:extLst>
                <a:ext uri="{FF2B5EF4-FFF2-40B4-BE49-F238E27FC236}">
                  <a16:creationId xmlns:a16="http://schemas.microsoft.com/office/drawing/2014/main" id="{F28E3F43-8922-459B-93CA-713E3528553D}"/>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96">
              <a:extLst>
                <a:ext uri="{FF2B5EF4-FFF2-40B4-BE49-F238E27FC236}">
                  <a16:creationId xmlns:a16="http://schemas.microsoft.com/office/drawing/2014/main" id="{F9690BB1-B165-4E3D-A7DB-B37A268C9D16}"/>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7">
              <a:extLst>
                <a:ext uri="{FF2B5EF4-FFF2-40B4-BE49-F238E27FC236}">
                  <a16:creationId xmlns:a16="http://schemas.microsoft.com/office/drawing/2014/main" id="{ADA2FD01-76B9-404E-82AA-BD0E94C7009D}"/>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8">
              <a:extLst>
                <a:ext uri="{FF2B5EF4-FFF2-40B4-BE49-F238E27FC236}">
                  <a16:creationId xmlns:a16="http://schemas.microsoft.com/office/drawing/2014/main" id="{EBF74C1F-C59C-4BE2-BE43-DC2A7A82C8DC}"/>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9">
              <a:extLst>
                <a:ext uri="{FF2B5EF4-FFF2-40B4-BE49-F238E27FC236}">
                  <a16:creationId xmlns:a16="http://schemas.microsoft.com/office/drawing/2014/main" id="{E245FD61-F79C-4994-B97E-380722096E41}"/>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100">
              <a:extLst>
                <a:ext uri="{FF2B5EF4-FFF2-40B4-BE49-F238E27FC236}">
                  <a16:creationId xmlns:a16="http://schemas.microsoft.com/office/drawing/2014/main" id="{D08EA29F-593F-4FC8-97F0-4629053CC405}"/>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101">
              <a:extLst>
                <a:ext uri="{FF2B5EF4-FFF2-40B4-BE49-F238E27FC236}">
                  <a16:creationId xmlns:a16="http://schemas.microsoft.com/office/drawing/2014/main" id="{E358CBFB-5516-47AF-86F1-97AAE362C09C}"/>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102">
              <a:extLst>
                <a:ext uri="{FF2B5EF4-FFF2-40B4-BE49-F238E27FC236}">
                  <a16:creationId xmlns:a16="http://schemas.microsoft.com/office/drawing/2014/main" id="{98CAD3F8-02DB-4B47-827D-45514D991228}"/>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103">
              <a:extLst>
                <a:ext uri="{FF2B5EF4-FFF2-40B4-BE49-F238E27FC236}">
                  <a16:creationId xmlns:a16="http://schemas.microsoft.com/office/drawing/2014/main" id="{EAE77410-81C0-4B97-B88F-750EF0E3365D}"/>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04">
              <a:extLst>
                <a:ext uri="{FF2B5EF4-FFF2-40B4-BE49-F238E27FC236}">
                  <a16:creationId xmlns:a16="http://schemas.microsoft.com/office/drawing/2014/main" id="{D564E5C2-E42A-4C31-BBCD-B6D3A88B1F88}"/>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105">
              <a:extLst>
                <a:ext uri="{FF2B5EF4-FFF2-40B4-BE49-F238E27FC236}">
                  <a16:creationId xmlns:a16="http://schemas.microsoft.com/office/drawing/2014/main" id="{C3E9A073-6E22-497A-8494-047622B5A67B}"/>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0" name="Slide Number Placeholder 3">
            <a:extLst>
              <a:ext uri="{FF2B5EF4-FFF2-40B4-BE49-F238E27FC236}">
                <a16:creationId xmlns:a16="http://schemas.microsoft.com/office/drawing/2014/main" id="{BCE193F0-C685-4085-9D8A-B79EF54508E4}"/>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1" name="Rectangle 155">
            <a:extLst>
              <a:ext uri="{FF2B5EF4-FFF2-40B4-BE49-F238E27FC236}">
                <a16:creationId xmlns:a16="http://schemas.microsoft.com/office/drawing/2014/main" id="{84E06131-FBAA-43EF-B330-B5D9B5D74861}"/>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dirty="0"/>
              <a:t>Production code #</a:t>
            </a:r>
          </a:p>
        </p:txBody>
      </p:sp>
      <p:sp>
        <p:nvSpPr>
          <p:cNvPr id="62" name="Rectangle 176">
            <a:extLst>
              <a:ext uri="{FF2B5EF4-FFF2-40B4-BE49-F238E27FC236}">
                <a16:creationId xmlns:a16="http://schemas.microsoft.com/office/drawing/2014/main" id="{F5AA948F-B277-4FEC-B9BB-772B7C340B16}"/>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350136130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 Economy">
    <p:spTree>
      <p:nvGrpSpPr>
        <p:cNvPr id="1" name=""/>
        <p:cNvGrpSpPr/>
        <p:nvPr/>
      </p:nvGrpSpPr>
      <p:grpSpPr>
        <a:xfrm>
          <a:off x="0" y="0"/>
          <a:ext cx="0" cy="0"/>
          <a:chOff x="0" y="0"/>
          <a:chExt cx="0" cy="0"/>
        </a:xfrm>
      </p:grpSpPr>
      <p:sp>
        <p:nvSpPr>
          <p:cNvPr id="48" name="Footer Placeholder 2"/>
          <p:cNvSpPr>
            <a:spLocks noGrp="1"/>
          </p:cNvSpPr>
          <p:nvPr>
            <p:ph type="ftr" sz="quarter" idx="3"/>
          </p:nvPr>
        </p:nvSpPr>
        <p:spPr>
          <a:xfrm>
            <a:off x="319053" y="6414084"/>
            <a:ext cx="3781425" cy="365125"/>
          </a:xfrm>
          <a:prstGeom prst="rect">
            <a:avLst/>
          </a:prstGeom>
        </p:spPr>
        <p:txBody>
          <a:bodyPr vert="horz" lIns="91440" tIns="45720" rIns="91440" bIns="45720" rtlCol="0" anchor="ctr"/>
          <a:lstStyle>
            <a:lvl1pPr algn="l">
              <a:defRPr sz="800">
                <a:solidFill>
                  <a:srgbClr val="000000"/>
                </a:solidFill>
              </a:defRPr>
            </a:lvl1pPr>
          </a:lstStyle>
          <a:p>
            <a:pPr>
              <a:spcBef>
                <a:spcPts val="300"/>
              </a:spcBef>
            </a:pPr>
            <a:r>
              <a:rPr lang="en-US" dirty="0"/>
              <a:t>Footnotes/disclosures. </a:t>
            </a:r>
          </a:p>
        </p:txBody>
      </p:sp>
      <p:sp>
        <p:nvSpPr>
          <p:cNvPr id="49" name="Slide Number Placeholder 3"/>
          <p:cNvSpPr>
            <a:spLocks noGrp="1"/>
          </p:cNvSpPr>
          <p:nvPr>
            <p:ph type="sldNum" sz="quarter" idx="4"/>
          </p:nvPr>
        </p:nvSpPr>
        <p:spPr>
          <a:xfrm>
            <a:off x="112394" y="6408909"/>
            <a:ext cx="382906" cy="365125"/>
          </a:xfrm>
          <a:prstGeom prst="rect">
            <a:avLst/>
          </a:prstGeom>
        </p:spPr>
        <p:txBody>
          <a:bodyPr vert="horz" lIns="91440" tIns="45720" rIns="91440" bIns="45720" rtlCol="0" anchor="ctr"/>
          <a:lstStyle>
            <a:lvl1pPr algn="l">
              <a:defRPr sz="800" b="1">
                <a:solidFill>
                  <a:srgbClr val="000000"/>
                </a:solidFill>
              </a:defRPr>
            </a:lvl1pPr>
          </a:lstStyle>
          <a:p>
            <a:fld id="{B42A7A4B-1474-47B8-8215-FC88D0AD55CE}" type="slidenum">
              <a:rPr lang="en-US" smtClean="0"/>
              <a:pPr/>
              <a:t>‹#›</a:t>
            </a:fld>
            <a:endParaRPr lang="en-US" dirty="0"/>
          </a:p>
        </p:txBody>
      </p:sp>
      <p:sp>
        <p:nvSpPr>
          <p:cNvPr id="50" name="Title Placeholder 1"/>
          <p:cNvSpPr>
            <a:spLocks noGrp="1"/>
          </p:cNvSpPr>
          <p:nvPr>
            <p:ph type="title"/>
          </p:nvPr>
        </p:nvSpPr>
        <p:spPr>
          <a:xfrm>
            <a:off x="315669" y="227013"/>
            <a:ext cx="8229600" cy="1143000"/>
          </a:xfrm>
          <a:prstGeom prst="rect">
            <a:avLst/>
          </a:prstGeom>
        </p:spPr>
        <p:txBody>
          <a:bodyPr vert="horz" lIns="91440" tIns="45720" rIns="91440" bIns="45720" rtlCol="0" anchor="t">
            <a:normAutofit/>
          </a:bodyPr>
          <a:lstStyle>
            <a:lvl1pPr algn="l">
              <a:defRPr sz="2400"/>
            </a:lvl1pPr>
          </a:lstStyle>
          <a:p>
            <a:r>
              <a:rPr lang="en-US"/>
              <a:t>Click to edit Master title style</a:t>
            </a:r>
          </a:p>
        </p:txBody>
      </p:sp>
      <p:grpSp>
        <p:nvGrpSpPr>
          <p:cNvPr id="46" name="Group 45">
            <a:extLst>
              <a:ext uri="{FF2B5EF4-FFF2-40B4-BE49-F238E27FC236}">
                <a16:creationId xmlns:a16="http://schemas.microsoft.com/office/drawing/2014/main" id="{4F575CC3-393C-0647-BE9E-83DCD65CF4FF}"/>
              </a:ext>
            </a:extLst>
          </p:cNvPr>
          <p:cNvGrpSpPr/>
          <p:nvPr userDrawn="1"/>
        </p:nvGrpSpPr>
        <p:grpSpPr>
          <a:xfrm>
            <a:off x="7358173" y="6361974"/>
            <a:ext cx="1382376" cy="297562"/>
            <a:chOff x="6923088" y="4475163"/>
            <a:chExt cx="1873251" cy="403225"/>
          </a:xfrm>
        </p:grpSpPr>
        <p:sp>
          <p:nvSpPr>
            <p:cNvPr id="47" name="AutoShape 4">
              <a:extLst>
                <a:ext uri="{FF2B5EF4-FFF2-40B4-BE49-F238E27FC236}">
                  <a16:creationId xmlns:a16="http://schemas.microsoft.com/office/drawing/2014/main" id="{6C369995-96AD-A641-925E-E69A3BA9707A}"/>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1" name="Freeform 6">
              <a:extLst>
                <a:ext uri="{FF2B5EF4-FFF2-40B4-BE49-F238E27FC236}">
                  <a16:creationId xmlns:a16="http://schemas.microsoft.com/office/drawing/2014/main" id="{5C874250-EEAB-2F47-8CDC-DED5EEC8E001}"/>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2" name="Freeform 7">
              <a:extLst>
                <a:ext uri="{FF2B5EF4-FFF2-40B4-BE49-F238E27FC236}">
                  <a16:creationId xmlns:a16="http://schemas.microsoft.com/office/drawing/2014/main" id="{D73E3670-6639-BE4C-9917-7195E6568841}"/>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3" name="Freeform 83">
              <a:extLst>
                <a:ext uri="{FF2B5EF4-FFF2-40B4-BE49-F238E27FC236}">
                  <a16:creationId xmlns:a16="http://schemas.microsoft.com/office/drawing/2014/main" id="{71466D60-B25E-C740-B898-CD011E2969A1}"/>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4" name="Freeform 84">
              <a:extLst>
                <a:ext uri="{FF2B5EF4-FFF2-40B4-BE49-F238E27FC236}">
                  <a16:creationId xmlns:a16="http://schemas.microsoft.com/office/drawing/2014/main" id="{5E4325CD-E2D3-394B-98D5-41155C352276}"/>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5" name="Freeform 85">
              <a:extLst>
                <a:ext uri="{FF2B5EF4-FFF2-40B4-BE49-F238E27FC236}">
                  <a16:creationId xmlns:a16="http://schemas.microsoft.com/office/drawing/2014/main" id="{785844EE-0CF7-6143-8825-4501A204DE95}"/>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6" name="Freeform 86">
              <a:extLst>
                <a:ext uri="{FF2B5EF4-FFF2-40B4-BE49-F238E27FC236}">
                  <a16:creationId xmlns:a16="http://schemas.microsoft.com/office/drawing/2014/main" id="{C4390793-4DDB-4740-8D60-285F8B4B0C34}"/>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7" name="Freeform 87">
              <a:extLst>
                <a:ext uri="{FF2B5EF4-FFF2-40B4-BE49-F238E27FC236}">
                  <a16:creationId xmlns:a16="http://schemas.microsoft.com/office/drawing/2014/main" id="{5F80EA26-A299-3644-8457-A5653F1DCD1C}"/>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8" name="Freeform 88">
              <a:extLst>
                <a:ext uri="{FF2B5EF4-FFF2-40B4-BE49-F238E27FC236}">
                  <a16:creationId xmlns:a16="http://schemas.microsoft.com/office/drawing/2014/main" id="{EA7A7B0D-C322-164A-9280-F3916BAFBB34}"/>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9" name="Freeform 89">
              <a:extLst>
                <a:ext uri="{FF2B5EF4-FFF2-40B4-BE49-F238E27FC236}">
                  <a16:creationId xmlns:a16="http://schemas.microsoft.com/office/drawing/2014/main" id="{115A605F-282C-EA47-8447-7D30B8A8A5A5}"/>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0" name="Freeform 90">
              <a:extLst>
                <a:ext uri="{FF2B5EF4-FFF2-40B4-BE49-F238E27FC236}">
                  <a16:creationId xmlns:a16="http://schemas.microsoft.com/office/drawing/2014/main" id="{FC0AAA5D-A017-1E47-996E-AD1B7FA53BC3}"/>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1" name="Freeform 91">
              <a:extLst>
                <a:ext uri="{FF2B5EF4-FFF2-40B4-BE49-F238E27FC236}">
                  <a16:creationId xmlns:a16="http://schemas.microsoft.com/office/drawing/2014/main" id="{49170DEE-077A-EF4A-B9DC-B8972034232B}"/>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2" name="Freeform 92">
              <a:extLst>
                <a:ext uri="{FF2B5EF4-FFF2-40B4-BE49-F238E27FC236}">
                  <a16:creationId xmlns:a16="http://schemas.microsoft.com/office/drawing/2014/main" id="{77BC3356-1A82-3B4E-A9A7-653BAF0FEAB6}"/>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3" name="Freeform 93">
              <a:extLst>
                <a:ext uri="{FF2B5EF4-FFF2-40B4-BE49-F238E27FC236}">
                  <a16:creationId xmlns:a16="http://schemas.microsoft.com/office/drawing/2014/main" id="{C3D2FF1C-024E-CD4F-B7AD-DFEFAC4C0036}"/>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4" name="Freeform 94">
              <a:extLst>
                <a:ext uri="{FF2B5EF4-FFF2-40B4-BE49-F238E27FC236}">
                  <a16:creationId xmlns:a16="http://schemas.microsoft.com/office/drawing/2014/main" id="{D4E8B162-C2EB-5E4E-B69D-17714EC7A73A}"/>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5" name="Freeform 95">
              <a:extLst>
                <a:ext uri="{FF2B5EF4-FFF2-40B4-BE49-F238E27FC236}">
                  <a16:creationId xmlns:a16="http://schemas.microsoft.com/office/drawing/2014/main" id="{93AB935F-8B90-BC42-8F91-0C602388FA1E}"/>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6" name="Freeform 96">
              <a:extLst>
                <a:ext uri="{FF2B5EF4-FFF2-40B4-BE49-F238E27FC236}">
                  <a16:creationId xmlns:a16="http://schemas.microsoft.com/office/drawing/2014/main" id="{7386FE2B-7175-8647-8AB3-0E4429CBA2BE}"/>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7" name="Freeform 97">
              <a:extLst>
                <a:ext uri="{FF2B5EF4-FFF2-40B4-BE49-F238E27FC236}">
                  <a16:creationId xmlns:a16="http://schemas.microsoft.com/office/drawing/2014/main" id="{A51B1BE7-1A86-AD4E-B0A8-BB09A9A20B57}"/>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8" name="Freeform 98">
              <a:extLst>
                <a:ext uri="{FF2B5EF4-FFF2-40B4-BE49-F238E27FC236}">
                  <a16:creationId xmlns:a16="http://schemas.microsoft.com/office/drawing/2014/main" id="{2ABB0A66-4262-3040-A162-51C0D3545F34}"/>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9" name="Freeform 99">
              <a:extLst>
                <a:ext uri="{FF2B5EF4-FFF2-40B4-BE49-F238E27FC236}">
                  <a16:creationId xmlns:a16="http://schemas.microsoft.com/office/drawing/2014/main" id="{7C6C53A4-64A8-7B47-967C-1C1DA1F0CCA2}"/>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0" name="Freeform 100">
              <a:extLst>
                <a:ext uri="{FF2B5EF4-FFF2-40B4-BE49-F238E27FC236}">
                  <a16:creationId xmlns:a16="http://schemas.microsoft.com/office/drawing/2014/main" id="{065B854D-13FA-374C-8A09-52E4648397E1}"/>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1" name="Freeform 101">
              <a:extLst>
                <a:ext uri="{FF2B5EF4-FFF2-40B4-BE49-F238E27FC236}">
                  <a16:creationId xmlns:a16="http://schemas.microsoft.com/office/drawing/2014/main" id="{A1C1A119-080D-7549-AD8D-2563AB9740CD}"/>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2" name="Freeform 102">
              <a:extLst>
                <a:ext uri="{FF2B5EF4-FFF2-40B4-BE49-F238E27FC236}">
                  <a16:creationId xmlns:a16="http://schemas.microsoft.com/office/drawing/2014/main" id="{D675A767-8E05-1A4A-A9C5-25F51895359D}"/>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3" name="Freeform 103">
              <a:extLst>
                <a:ext uri="{FF2B5EF4-FFF2-40B4-BE49-F238E27FC236}">
                  <a16:creationId xmlns:a16="http://schemas.microsoft.com/office/drawing/2014/main" id="{F8775C11-8806-2249-B50B-F0E49E89CBCD}"/>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4" name="Freeform 104">
              <a:extLst>
                <a:ext uri="{FF2B5EF4-FFF2-40B4-BE49-F238E27FC236}">
                  <a16:creationId xmlns:a16="http://schemas.microsoft.com/office/drawing/2014/main" id="{BD457856-65BB-6240-A799-E360206643B3}"/>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5" name="Freeform 105">
              <a:extLst>
                <a:ext uri="{FF2B5EF4-FFF2-40B4-BE49-F238E27FC236}">
                  <a16:creationId xmlns:a16="http://schemas.microsoft.com/office/drawing/2014/main" id="{D172A0B6-8E86-A446-BBB8-366BEDD908B5}"/>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34" name="TextBox 69">
            <a:extLst>
              <a:ext uri="{FF2B5EF4-FFF2-40B4-BE49-F238E27FC236}">
                <a16:creationId xmlns:a16="http://schemas.microsoft.com/office/drawing/2014/main" id="{6C28D605-0560-4446-A86C-C6205692ADD4}"/>
              </a:ext>
            </a:extLst>
          </p:cNvPr>
          <p:cNvSpPr txBox="1">
            <a:spLocks noChangeArrowheads="1"/>
          </p:cNvSpPr>
          <p:nvPr userDrawn="1"/>
        </p:nvSpPr>
        <p:spPr bwMode="auto">
          <a:xfrm rot="16200000">
            <a:off x="8221240" y="617250"/>
            <a:ext cx="1338265" cy="284693"/>
          </a:xfrm>
          <a:prstGeom prst="rect">
            <a:avLst/>
          </a:prstGeom>
          <a:noFill/>
          <a:ln w="9525">
            <a:noFill/>
            <a:miter lim="800000"/>
            <a:headEnd/>
            <a:tailEnd/>
          </a:ln>
        </p:spPr>
        <p:txBody>
          <a:bodyPr wrap="square" tIns="91440" rIns="0">
            <a:spAutoFit/>
          </a:bodyPr>
          <a:lstStyle/>
          <a:p>
            <a:pPr>
              <a:defRPr/>
            </a:pPr>
            <a:r>
              <a:rPr lang="en-US" sz="900" dirty="0">
                <a:solidFill>
                  <a:srgbClr val="768692"/>
                </a:solidFill>
                <a:cs typeface="Arial" charset="0"/>
              </a:rPr>
              <a:t>ECONOMY</a:t>
            </a:r>
          </a:p>
        </p:txBody>
      </p:sp>
      <p:grpSp>
        <p:nvGrpSpPr>
          <p:cNvPr id="35" name="Group 34">
            <a:extLst>
              <a:ext uri="{FF2B5EF4-FFF2-40B4-BE49-F238E27FC236}">
                <a16:creationId xmlns:a16="http://schemas.microsoft.com/office/drawing/2014/main" id="{E36B5ECB-1887-7E49-8220-1D4B66F784E9}"/>
              </a:ext>
            </a:extLst>
          </p:cNvPr>
          <p:cNvGrpSpPr/>
          <p:nvPr userDrawn="1"/>
        </p:nvGrpSpPr>
        <p:grpSpPr>
          <a:xfrm>
            <a:off x="8834955" y="-8348"/>
            <a:ext cx="132661" cy="609866"/>
            <a:chOff x="8876279" y="49059"/>
            <a:chExt cx="132661" cy="609866"/>
          </a:xfrm>
        </p:grpSpPr>
        <p:cxnSp>
          <p:nvCxnSpPr>
            <p:cNvPr id="36" name="Straight Connector 35">
              <a:extLst>
                <a:ext uri="{FF2B5EF4-FFF2-40B4-BE49-F238E27FC236}">
                  <a16:creationId xmlns:a16="http://schemas.microsoft.com/office/drawing/2014/main" id="{90D613A7-5AF7-0947-901D-4A860F073A80}"/>
                </a:ext>
              </a:extLst>
            </p:cNvPr>
            <p:cNvCxnSpPr>
              <a:cxnSpLocks/>
              <a:endCxn id="38" idx="4"/>
            </p:cNvCxnSpPr>
            <p:nvPr/>
          </p:nvCxnSpPr>
          <p:spPr bwMode="auto">
            <a:xfrm>
              <a:off x="8942609" y="49059"/>
              <a:ext cx="0" cy="575539"/>
            </a:xfrm>
            <a:prstGeom prst="line">
              <a:avLst/>
            </a:prstGeom>
            <a:solidFill>
              <a:schemeClr val="hlink"/>
            </a:solidFill>
            <a:ln w="12700" cap="flat" cmpd="sng" algn="ctr">
              <a:solidFill>
                <a:schemeClr val="bg1">
                  <a:lumMod val="75000"/>
                </a:schemeClr>
              </a:solidFill>
              <a:prstDash val="solid"/>
              <a:round/>
              <a:headEnd type="none" w="med" len="med"/>
              <a:tailEnd type="none" w="med" len="med"/>
            </a:ln>
            <a:effectLst/>
          </p:spPr>
        </p:cxnSp>
        <p:sp>
          <p:nvSpPr>
            <p:cNvPr id="37" name="Oval 36">
              <a:extLst>
                <a:ext uri="{FF2B5EF4-FFF2-40B4-BE49-F238E27FC236}">
                  <a16:creationId xmlns:a16="http://schemas.microsoft.com/office/drawing/2014/main" id="{258C9009-54C1-0A49-9DB2-B39159430AC6}"/>
                </a:ext>
              </a:extLst>
            </p:cNvPr>
            <p:cNvSpPr/>
            <p:nvPr/>
          </p:nvSpPr>
          <p:spPr bwMode="auto">
            <a:xfrm>
              <a:off x="8876279" y="526264"/>
              <a:ext cx="132661" cy="132661"/>
            </a:xfrm>
            <a:prstGeom prst="ellipse">
              <a:avLst/>
            </a:prstGeom>
            <a:solidFill>
              <a:schemeClr val="bg1"/>
            </a:solidFill>
            <a:ln w="12700"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Arial" charset="0"/>
                <a:ea typeface="ＭＳ Ｐゴシック" charset="-128"/>
              </a:endParaRPr>
            </a:p>
          </p:txBody>
        </p:sp>
        <p:sp>
          <p:nvSpPr>
            <p:cNvPr id="38" name="Oval 37">
              <a:extLst>
                <a:ext uri="{FF2B5EF4-FFF2-40B4-BE49-F238E27FC236}">
                  <a16:creationId xmlns:a16="http://schemas.microsoft.com/office/drawing/2014/main" id="{EC6EE8F6-CB08-7349-9443-AD7FA1CD74CA}"/>
                </a:ext>
              </a:extLst>
            </p:cNvPr>
            <p:cNvSpPr/>
            <p:nvPr/>
          </p:nvSpPr>
          <p:spPr bwMode="auto">
            <a:xfrm>
              <a:off x="8910605" y="560590"/>
              <a:ext cx="64008" cy="64008"/>
            </a:xfrm>
            <a:prstGeom prst="ellipse">
              <a:avLst/>
            </a:prstGeom>
            <a:solidFill>
              <a:srgbClr val="768692"/>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Arial" charset="0"/>
                <a:ea typeface="ＭＳ Ｐゴシック" charset="-128"/>
              </a:endParaRPr>
            </a:p>
          </p:txBody>
        </p:sp>
      </p:grpSp>
    </p:spTree>
    <p:extLst>
      <p:ext uri="{BB962C8B-B14F-4D97-AF65-F5344CB8AC3E}">
        <p14:creationId xmlns:p14="http://schemas.microsoft.com/office/powerpoint/2010/main" val="250039406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FI_Internal_Print_Cover">
    <p:spTree>
      <p:nvGrpSpPr>
        <p:cNvPr id="1" name=""/>
        <p:cNvGrpSpPr/>
        <p:nvPr/>
      </p:nvGrpSpPr>
      <p:grpSpPr>
        <a:xfrm>
          <a:off x="0" y="0"/>
          <a:ext cx="0" cy="0"/>
          <a:chOff x="0" y="0"/>
          <a:chExt cx="0" cy="0"/>
        </a:xfrm>
      </p:grpSpPr>
      <p:pic>
        <p:nvPicPr>
          <p:cNvPr id="40" name="Picture 39" descr="A picture containing game&#10;&#10;Description automatically generated">
            <a:extLst>
              <a:ext uri="{FF2B5EF4-FFF2-40B4-BE49-F238E27FC236}">
                <a16:creationId xmlns:a16="http://schemas.microsoft.com/office/drawing/2014/main" id="{01348013-ECF1-4F9D-BF96-588DDC6D5A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7999"/>
          </a:xfrm>
          <a:prstGeom prst="rect">
            <a:avLst/>
          </a:prstGeom>
        </p:spPr>
      </p:pic>
      <p:sp>
        <p:nvSpPr>
          <p:cNvPr id="56" name="Rectangle 176">
            <a:extLst>
              <a:ext uri="{FF2B5EF4-FFF2-40B4-BE49-F238E27FC236}">
                <a16:creationId xmlns:a16="http://schemas.microsoft.com/office/drawing/2014/main" id="{FC0A6FDB-DDB1-42D2-8C05-23A33112243B}"/>
              </a:ext>
            </a:extLst>
          </p:cNvPr>
          <p:cNvSpPr>
            <a:spLocks noGrp="1" noChangeArrowheads="1"/>
          </p:cNvSpPr>
          <p:nvPr>
            <p:ph type="ftr" sz="quarter" idx="13"/>
          </p:nvPr>
        </p:nvSpPr>
        <p:spPr>
          <a:xfrm>
            <a:off x="281401" y="6421008"/>
            <a:ext cx="6014623" cy="260350"/>
          </a:xfrm>
        </p:spPr>
        <p:txBody>
          <a:bodyPr anchor="b" anchorCtr="0"/>
          <a:lstStyle>
            <a:lvl1pPr algn="l">
              <a:defRPr sz="800" b="0" smtClean="0">
                <a:solidFill>
                  <a:srgbClr val="000000"/>
                </a:solidFill>
              </a:defRPr>
            </a:lvl1pPr>
          </a:lstStyle>
          <a:p>
            <a:pPr>
              <a:defRPr/>
            </a:pPr>
            <a:r>
              <a:rPr lang="en-US" b="1" dirty="0"/>
              <a:t>Insert disclosures. </a:t>
            </a:r>
          </a:p>
          <a:p>
            <a:pPr>
              <a:defRPr/>
            </a:pPr>
            <a:r>
              <a:rPr lang="en-US" dirty="0"/>
              <a:t>Insert disclosures.</a:t>
            </a:r>
          </a:p>
          <a:p>
            <a:pPr>
              <a:defRPr/>
            </a:pPr>
            <a:r>
              <a:rPr lang="en-US" b="1" dirty="0"/>
              <a:t>Insert page footer, i.e. For institutional use only.  </a:t>
            </a:r>
            <a:r>
              <a:rPr lang="en-US" dirty="0"/>
              <a:t>l  © 20XX FMR LLC. All rights reserved.</a:t>
            </a:r>
            <a:endParaRPr lang="en-US" b="1" dirty="0"/>
          </a:p>
        </p:txBody>
      </p:sp>
      <p:sp>
        <p:nvSpPr>
          <p:cNvPr id="57" name="Rectangle 6">
            <a:extLst>
              <a:ext uri="{FF2B5EF4-FFF2-40B4-BE49-F238E27FC236}">
                <a16:creationId xmlns:a16="http://schemas.microsoft.com/office/drawing/2014/main" id="{42EB1756-5069-4F02-8F43-E881A626DA7B}"/>
              </a:ext>
            </a:extLst>
          </p:cNvPr>
          <p:cNvSpPr>
            <a:spLocks noGrp="1" noChangeArrowheads="1"/>
          </p:cNvSpPr>
          <p:nvPr>
            <p:ph type="subTitle" idx="1"/>
          </p:nvPr>
        </p:nvSpPr>
        <p:spPr>
          <a:xfrm>
            <a:off x="685251" y="2091765"/>
            <a:ext cx="7805762" cy="563076"/>
          </a:xfrm>
        </p:spPr>
        <p:txBody>
          <a:bodyPr lIns="100584" rIns="100584"/>
          <a:lstStyle>
            <a:lvl1pPr marL="0" indent="0">
              <a:spcBef>
                <a:spcPts val="0"/>
              </a:spcBef>
              <a:defRPr sz="2000" b="0">
                <a:solidFill>
                  <a:srgbClr val="7A9A3D"/>
                </a:solidFill>
              </a:defRPr>
            </a:lvl1pPr>
          </a:lstStyle>
          <a:p>
            <a:r>
              <a:rPr lang="en-US" dirty="0"/>
              <a:t>Click to edit Master subtitle style</a:t>
            </a:r>
          </a:p>
        </p:txBody>
      </p:sp>
      <p:sp>
        <p:nvSpPr>
          <p:cNvPr id="58" name="Text Placeholder 43">
            <a:extLst>
              <a:ext uri="{FF2B5EF4-FFF2-40B4-BE49-F238E27FC236}">
                <a16:creationId xmlns:a16="http://schemas.microsoft.com/office/drawing/2014/main" id="{778BBD34-BA51-4030-A9C0-1C50D5856F6C}"/>
              </a:ext>
            </a:extLst>
          </p:cNvPr>
          <p:cNvSpPr>
            <a:spLocks noGrp="1"/>
          </p:cNvSpPr>
          <p:nvPr>
            <p:ph type="body" sz="quarter" idx="14" hasCustomPrompt="1"/>
          </p:nvPr>
        </p:nvSpPr>
        <p:spPr>
          <a:xfrm>
            <a:off x="685251" y="2581276"/>
            <a:ext cx="7805762" cy="266850"/>
          </a:xfrm>
        </p:spPr>
        <p:txBody>
          <a:bodyPr lIns="100584" rIns="100584"/>
          <a:lstStyle>
            <a:lvl1pPr>
              <a:spcBef>
                <a:spcPts val="0"/>
              </a:spcBef>
              <a:defRPr lang="en-US" sz="1200" b="0" kern="1200" dirty="0" smtClean="0">
                <a:solidFill>
                  <a:srgbClr val="333F48"/>
                </a:solidFill>
                <a:latin typeface="Arial"/>
                <a:ea typeface="ＭＳ Ｐゴシック" pitchFamily="34" charset="-128"/>
                <a:cs typeface="+mn-cs"/>
              </a:defRPr>
            </a:lvl1pPr>
          </a:lstStyle>
          <a:p>
            <a:pPr lvl="0"/>
            <a:r>
              <a:rPr lang="en-US" dirty="0"/>
              <a:t>Date</a:t>
            </a:r>
          </a:p>
        </p:txBody>
      </p:sp>
      <p:sp>
        <p:nvSpPr>
          <p:cNvPr id="59" name="Rectangle 9">
            <a:extLst>
              <a:ext uri="{FF2B5EF4-FFF2-40B4-BE49-F238E27FC236}">
                <a16:creationId xmlns:a16="http://schemas.microsoft.com/office/drawing/2014/main" id="{8D3F384E-C0AA-49A1-B428-DFAA4C8C0E4A}"/>
              </a:ext>
            </a:extLst>
          </p:cNvPr>
          <p:cNvSpPr>
            <a:spLocks noGrp="1" noChangeArrowheads="1"/>
          </p:cNvSpPr>
          <p:nvPr>
            <p:ph type="title" hasCustomPrompt="1"/>
          </p:nvPr>
        </p:nvSpPr>
        <p:spPr bwMode="auto">
          <a:xfrm>
            <a:off x="685252" y="1581072"/>
            <a:ext cx="7820573" cy="5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b" anchorCtr="0" compatLnSpc="1">
            <a:prstTxWarp prst="textNoShape">
              <a:avLst/>
            </a:prstTxWarp>
          </a:bodyPr>
          <a:lstStyle>
            <a:lvl1pPr>
              <a:defRPr sz="3000">
                <a:solidFill>
                  <a:srgbClr val="333F48"/>
                </a:solidFill>
              </a:defRPr>
            </a:lvl1pPr>
          </a:lstStyle>
          <a:p>
            <a:pPr lvl="0"/>
            <a:r>
              <a:rPr lang="en-US" altLang="en-US" dirty="0"/>
              <a:t>Click To Edit Master Title Style</a:t>
            </a:r>
          </a:p>
        </p:txBody>
      </p:sp>
      <p:pic>
        <p:nvPicPr>
          <p:cNvPr id="60" name="Picture 59">
            <a:extLst>
              <a:ext uri="{FF2B5EF4-FFF2-40B4-BE49-F238E27FC236}">
                <a16:creationId xmlns:a16="http://schemas.microsoft.com/office/drawing/2014/main" id="{3AC03836-4072-48A0-BEF4-3A63CE50B0E8}"/>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48310" b="-6543"/>
          <a:stretch/>
        </p:blipFill>
        <p:spPr>
          <a:xfrm>
            <a:off x="800100" y="535179"/>
            <a:ext cx="1542435" cy="103918"/>
          </a:xfrm>
          <a:prstGeom prst="rect">
            <a:avLst/>
          </a:prstGeom>
        </p:spPr>
      </p:pic>
      <p:grpSp>
        <p:nvGrpSpPr>
          <p:cNvPr id="61" name="Group 60">
            <a:extLst>
              <a:ext uri="{FF2B5EF4-FFF2-40B4-BE49-F238E27FC236}">
                <a16:creationId xmlns:a16="http://schemas.microsoft.com/office/drawing/2014/main" id="{EC262421-A1F5-46C0-AF55-6E2598798C4E}"/>
              </a:ext>
            </a:extLst>
          </p:cNvPr>
          <p:cNvGrpSpPr/>
          <p:nvPr userDrawn="1"/>
        </p:nvGrpSpPr>
        <p:grpSpPr>
          <a:xfrm>
            <a:off x="7358173" y="6361974"/>
            <a:ext cx="1382376" cy="297562"/>
            <a:chOff x="6923088" y="4475163"/>
            <a:chExt cx="1873251" cy="403225"/>
          </a:xfrm>
        </p:grpSpPr>
        <p:sp>
          <p:nvSpPr>
            <p:cNvPr id="62" name="AutoShape 4">
              <a:extLst>
                <a:ext uri="{FF2B5EF4-FFF2-40B4-BE49-F238E27FC236}">
                  <a16:creationId xmlns:a16="http://schemas.microsoft.com/office/drawing/2014/main" id="{18E1F5C7-86B3-4E8E-9EE5-C1C3459F2597}"/>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 name="Freeform 6">
              <a:extLst>
                <a:ext uri="{FF2B5EF4-FFF2-40B4-BE49-F238E27FC236}">
                  <a16:creationId xmlns:a16="http://schemas.microsoft.com/office/drawing/2014/main" id="{87C5B7BA-7F71-4AF7-AA73-66B2BE1C1E9D}"/>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 name="Freeform 7">
              <a:extLst>
                <a:ext uri="{FF2B5EF4-FFF2-40B4-BE49-F238E27FC236}">
                  <a16:creationId xmlns:a16="http://schemas.microsoft.com/office/drawing/2014/main" id="{6E055B5C-59DE-492A-8238-5D85450519BF}"/>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 name="Freeform 83">
              <a:extLst>
                <a:ext uri="{FF2B5EF4-FFF2-40B4-BE49-F238E27FC236}">
                  <a16:creationId xmlns:a16="http://schemas.microsoft.com/office/drawing/2014/main" id="{2AE6EB10-02A9-42FE-B630-13F0DCB904BA}"/>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 name="Freeform 84">
              <a:extLst>
                <a:ext uri="{FF2B5EF4-FFF2-40B4-BE49-F238E27FC236}">
                  <a16:creationId xmlns:a16="http://schemas.microsoft.com/office/drawing/2014/main" id="{3082036F-C168-4278-A065-2A87205CDE44}"/>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 name="Freeform 85">
              <a:extLst>
                <a:ext uri="{FF2B5EF4-FFF2-40B4-BE49-F238E27FC236}">
                  <a16:creationId xmlns:a16="http://schemas.microsoft.com/office/drawing/2014/main" id="{E2FAF2B5-E1F6-45F9-92FD-1FA28826421D}"/>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 name="Freeform 86">
              <a:extLst>
                <a:ext uri="{FF2B5EF4-FFF2-40B4-BE49-F238E27FC236}">
                  <a16:creationId xmlns:a16="http://schemas.microsoft.com/office/drawing/2014/main" id="{AAA0E5EE-5CE9-44A8-BD66-725F92ED9CB5}"/>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 name="Freeform 87">
              <a:extLst>
                <a:ext uri="{FF2B5EF4-FFF2-40B4-BE49-F238E27FC236}">
                  <a16:creationId xmlns:a16="http://schemas.microsoft.com/office/drawing/2014/main" id="{DBF1D331-EEE7-4BDD-B20F-82FD773169E2}"/>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 name="Freeform 88">
              <a:extLst>
                <a:ext uri="{FF2B5EF4-FFF2-40B4-BE49-F238E27FC236}">
                  <a16:creationId xmlns:a16="http://schemas.microsoft.com/office/drawing/2014/main" id="{4F729F17-4BD0-445F-895A-717F669AF7FE}"/>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 name="Freeform 89">
              <a:extLst>
                <a:ext uri="{FF2B5EF4-FFF2-40B4-BE49-F238E27FC236}">
                  <a16:creationId xmlns:a16="http://schemas.microsoft.com/office/drawing/2014/main" id="{4352D6F6-4836-489E-8308-E08AD3242837}"/>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 name="Freeform 90">
              <a:extLst>
                <a:ext uri="{FF2B5EF4-FFF2-40B4-BE49-F238E27FC236}">
                  <a16:creationId xmlns:a16="http://schemas.microsoft.com/office/drawing/2014/main" id="{DE69DAFC-C3FC-4C5E-94AA-591EEFE8705F}"/>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 name="Freeform 91">
              <a:extLst>
                <a:ext uri="{FF2B5EF4-FFF2-40B4-BE49-F238E27FC236}">
                  <a16:creationId xmlns:a16="http://schemas.microsoft.com/office/drawing/2014/main" id="{DAF1F30D-DBC9-4A46-BC1B-74D2A807CCE5}"/>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 name="Freeform 92">
              <a:extLst>
                <a:ext uri="{FF2B5EF4-FFF2-40B4-BE49-F238E27FC236}">
                  <a16:creationId xmlns:a16="http://schemas.microsoft.com/office/drawing/2014/main" id="{77C69445-4C97-45FD-9D4B-BCFFE82D3294}"/>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 name="Freeform 93">
              <a:extLst>
                <a:ext uri="{FF2B5EF4-FFF2-40B4-BE49-F238E27FC236}">
                  <a16:creationId xmlns:a16="http://schemas.microsoft.com/office/drawing/2014/main" id="{CBE50A3C-D462-4C42-980A-25786CA6B265}"/>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 name="Freeform 94">
              <a:extLst>
                <a:ext uri="{FF2B5EF4-FFF2-40B4-BE49-F238E27FC236}">
                  <a16:creationId xmlns:a16="http://schemas.microsoft.com/office/drawing/2014/main" id="{62E7FD92-65F8-409F-B4A2-0F1F884A5890}"/>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 name="Freeform 95">
              <a:extLst>
                <a:ext uri="{FF2B5EF4-FFF2-40B4-BE49-F238E27FC236}">
                  <a16:creationId xmlns:a16="http://schemas.microsoft.com/office/drawing/2014/main" id="{7C557B50-E754-400B-A2E4-2D32E08034D6}"/>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 name="Freeform 96">
              <a:extLst>
                <a:ext uri="{FF2B5EF4-FFF2-40B4-BE49-F238E27FC236}">
                  <a16:creationId xmlns:a16="http://schemas.microsoft.com/office/drawing/2014/main" id="{C7D54977-6006-45DC-9EB4-84EC892F8F98}"/>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 name="Freeform 97">
              <a:extLst>
                <a:ext uri="{FF2B5EF4-FFF2-40B4-BE49-F238E27FC236}">
                  <a16:creationId xmlns:a16="http://schemas.microsoft.com/office/drawing/2014/main" id="{E733B756-B833-4368-84C1-CBE89C5CEA74}"/>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 name="Freeform 98">
              <a:extLst>
                <a:ext uri="{FF2B5EF4-FFF2-40B4-BE49-F238E27FC236}">
                  <a16:creationId xmlns:a16="http://schemas.microsoft.com/office/drawing/2014/main" id="{30AE83AB-137B-460E-AFF9-50EAA3AB67A9}"/>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 name="Freeform 99">
              <a:extLst>
                <a:ext uri="{FF2B5EF4-FFF2-40B4-BE49-F238E27FC236}">
                  <a16:creationId xmlns:a16="http://schemas.microsoft.com/office/drawing/2014/main" id="{A46A1ADB-B540-42B3-B59E-71019C140E38}"/>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 name="Freeform 100">
              <a:extLst>
                <a:ext uri="{FF2B5EF4-FFF2-40B4-BE49-F238E27FC236}">
                  <a16:creationId xmlns:a16="http://schemas.microsoft.com/office/drawing/2014/main" id="{7B189D1E-38C7-4690-935F-235C1F69A742}"/>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 name="Freeform 101">
              <a:extLst>
                <a:ext uri="{FF2B5EF4-FFF2-40B4-BE49-F238E27FC236}">
                  <a16:creationId xmlns:a16="http://schemas.microsoft.com/office/drawing/2014/main" id="{9AB82FF0-37CC-4C7D-A3F6-CE7E6CC35D3C}"/>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 name="Freeform 102">
              <a:extLst>
                <a:ext uri="{FF2B5EF4-FFF2-40B4-BE49-F238E27FC236}">
                  <a16:creationId xmlns:a16="http://schemas.microsoft.com/office/drawing/2014/main" id="{13A89C4E-8A11-4E65-959C-36E5E14C3896}"/>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 name="Freeform 103">
              <a:extLst>
                <a:ext uri="{FF2B5EF4-FFF2-40B4-BE49-F238E27FC236}">
                  <a16:creationId xmlns:a16="http://schemas.microsoft.com/office/drawing/2014/main" id="{34902C58-63DD-4E55-B801-1F8038F96D2B}"/>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 name="Freeform 104">
              <a:extLst>
                <a:ext uri="{FF2B5EF4-FFF2-40B4-BE49-F238E27FC236}">
                  <a16:creationId xmlns:a16="http://schemas.microsoft.com/office/drawing/2014/main" id="{1BC9F99F-C7EA-4B79-B2A8-46C270543C8B}"/>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8" name="Freeform 105">
              <a:extLst>
                <a:ext uri="{FF2B5EF4-FFF2-40B4-BE49-F238E27FC236}">
                  <a16:creationId xmlns:a16="http://schemas.microsoft.com/office/drawing/2014/main" id="{693F74D4-F804-40DA-ACF5-3441D9B3D711}"/>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81" name="Content Placeholder 52"/>
          <p:cNvSpPr txBox="1">
            <a:spLocks/>
          </p:cNvSpPr>
          <p:nvPr userDrawn="1"/>
        </p:nvSpPr>
        <p:spPr>
          <a:xfrm>
            <a:off x="704301" y="3842381"/>
            <a:ext cx="2487613" cy="1652265"/>
          </a:xfrm>
          <a:prstGeom prst="rect">
            <a:avLst/>
          </a:prstGeom>
        </p:spPr>
        <p:txBody>
          <a:bodyPr lIns="100584" rIns="100584"/>
          <a:lstStyle>
            <a:lvl1pPr marL="0" indent="0" algn="l" rtl="0" eaLnBrk="0" fontAlgn="base" hangingPunct="0">
              <a:spcBef>
                <a:spcPts val="1200"/>
              </a:spcBef>
              <a:spcAft>
                <a:spcPct val="0"/>
              </a:spcAft>
              <a:buClr>
                <a:schemeClr val="bg1"/>
              </a:buClr>
              <a:buNone/>
              <a:tabLst>
                <a:tab pos="120626" algn="l"/>
                <a:tab pos="299978" algn="l"/>
                <a:tab pos="1034844" algn="l"/>
              </a:tabLst>
              <a:defRPr lang="en-US" sz="1000" b="1" kern="1200" dirty="0" smtClean="0">
                <a:solidFill>
                  <a:schemeClr val="tx1"/>
                </a:solidFill>
                <a:latin typeface="Arial" charset="0"/>
                <a:ea typeface="ＭＳ Ｐゴシック" charset="-128"/>
                <a:cs typeface="+mn-cs"/>
              </a:defRPr>
            </a:lvl1pPr>
            <a:lvl2pPr marL="0" indent="0" algn="l" rtl="0" eaLnBrk="0" fontAlgn="base" hangingPunct="0">
              <a:spcBef>
                <a:spcPct val="20000"/>
              </a:spcBef>
              <a:spcAft>
                <a:spcPct val="0"/>
              </a:spcAft>
              <a:buClr>
                <a:schemeClr val="bg1"/>
              </a:buClr>
              <a:buFontTx/>
              <a:buNone/>
              <a:tabLst>
                <a:tab pos="120626" algn="l"/>
                <a:tab pos="299978" algn="l"/>
                <a:tab pos="1034844" algn="l"/>
              </a:tabLst>
              <a:defRPr lang="en-US" sz="1000" b="1" i="1" kern="1200" dirty="0" smtClean="0">
                <a:solidFill>
                  <a:schemeClr val="tx1"/>
                </a:solidFill>
                <a:latin typeface="Arial" charset="0"/>
                <a:ea typeface="ＭＳ Ｐゴシック" charset="-128"/>
                <a:cs typeface="+mn-cs"/>
              </a:defRPr>
            </a:lvl2pPr>
            <a:lvl3pPr marL="326960" indent="0" algn="l" rtl="0" eaLnBrk="0" fontAlgn="base" hangingPunct="0">
              <a:spcBef>
                <a:spcPct val="20000"/>
              </a:spcBef>
              <a:spcAft>
                <a:spcPct val="0"/>
              </a:spcAft>
              <a:buClr>
                <a:schemeClr val="bg1"/>
              </a:buClr>
              <a:buNone/>
              <a:tabLst>
                <a:tab pos="120626" algn="l"/>
                <a:tab pos="299978" algn="l"/>
                <a:tab pos="1034844" algn="l"/>
              </a:tabLst>
              <a:defRPr sz="1200" b="1">
                <a:solidFill>
                  <a:schemeClr val="accent2"/>
                </a:solidFill>
                <a:latin typeface="+mn-lt"/>
              </a:defRPr>
            </a:lvl3pPr>
            <a:lvl4pPr marL="914218" indent="-114277" algn="l" rtl="0" eaLnBrk="0" fontAlgn="base" hangingPunct="0">
              <a:spcBef>
                <a:spcPct val="20000"/>
              </a:spcBef>
              <a:spcAft>
                <a:spcPct val="0"/>
              </a:spcAft>
              <a:buClr>
                <a:schemeClr val="accent1"/>
              </a:buClr>
              <a:buChar char="•"/>
              <a:tabLst>
                <a:tab pos="120626" algn="l"/>
                <a:tab pos="299978" algn="l"/>
                <a:tab pos="1034844" algn="l"/>
              </a:tabLst>
              <a:defRPr sz="1600" b="1">
                <a:solidFill>
                  <a:schemeClr val="tx1"/>
                </a:solidFill>
                <a:latin typeface="+mn-lt"/>
              </a:defRPr>
            </a:lvl4pPr>
            <a:lvl5pPr marL="1142772" indent="-114277" algn="l" rtl="0" eaLnBrk="0" fontAlgn="base" hangingPunct="0">
              <a:spcBef>
                <a:spcPct val="20000"/>
              </a:spcBef>
              <a:spcAft>
                <a:spcPct val="0"/>
              </a:spcAft>
              <a:buClr>
                <a:schemeClr val="accent1"/>
              </a:buClr>
              <a:buChar char="•"/>
              <a:tabLst>
                <a:tab pos="120626" algn="l"/>
                <a:tab pos="299978" algn="l"/>
                <a:tab pos="1034844" algn="l"/>
              </a:tabLst>
              <a:defRPr sz="1600" b="1">
                <a:solidFill>
                  <a:schemeClr val="tx1"/>
                </a:solidFill>
                <a:latin typeface="+mn-lt"/>
              </a:defRPr>
            </a:lvl5pPr>
            <a:lvl6pPr marL="2514096" indent="-228554" algn="l" rtl="0" fontAlgn="base">
              <a:spcBef>
                <a:spcPct val="20000"/>
              </a:spcBef>
              <a:spcAft>
                <a:spcPct val="0"/>
              </a:spcAft>
              <a:buChar char="»"/>
              <a:defRPr sz="2000">
                <a:solidFill>
                  <a:schemeClr val="tx1"/>
                </a:solidFill>
                <a:latin typeface="+mn-lt"/>
              </a:defRPr>
            </a:lvl6pPr>
            <a:lvl7pPr marL="2971205" indent="-228554" algn="l" rtl="0" fontAlgn="base">
              <a:spcBef>
                <a:spcPct val="20000"/>
              </a:spcBef>
              <a:spcAft>
                <a:spcPct val="0"/>
              </a:spcAft>
              <a:buChar char="»"/>
              <a:defRPr sz="2000">
                <a:solidFill>
                  <a:schemeClr val="tx1"/>
                </a:solidFill>
                <a:latin typeface="+mn-lt"/>
              </a:defRPr>
            </a:lvl7pPr>
            <a:lvl8pPr marL="3428314" indent="-228554" algn="l" rtl="0" fontAlgn="base">
              <a:spcBef>
                <a:spcPct val="20000"/>
              </a:spcBef>
              <a:spcAft>
                <a:spcPct val="0"/>
              </a:spcAft>
              <a:buChar char="»"/>
              <a:defRPr sz="2000">
                <a:solidFill>
                  <a:schemeClr val="tx1"/>
                </a:solidFill>
                <a:latin typeface="+mn-lt"/>
              </a:defRPr>
            </a:lvl8pPr>
            <a:lvl9pPr marL="3885423" indent="-228554" algn="l" rtl="0" fontAlgn="base">
              <a:spcBef>
                <a:spcPct val="20000"/>
              </a:spcBef>
              <a:spcAft>
                <a:spcPct val="0"/>
              </a:spcAft>
              <a:buChar char="»"/>
              <a:defRPr sz="2000">
                <a:solidFill>
                  <a:schemeClr val="tx1"/>
                </a:solidFill>
                <a:latin typeface="+mn-lt"/>
              </a:defRPr>
            </a:lvl9pPr>
          </a:lstStyle>
          <a:p>
            <a:pPr>
              <a:buClr>
                <a:srgbClr val="FFFFFF"/>
              </a:buClr>
            </a:pPr>
            <a:endParaRPr b="0">
              <a:solidFill>
                <a:srgbClr val="000000"/>
              </a:solidFill>
              <a:latin typeface="Arial"/>
            </a:endParaRPr>
          </a:p>
        </p:txBody>
      </p:sp>
      <p:sp>
        <p:nvSpPr>
          <p:cNvPr id="120" name="Content Placeholder 52"/>
          <p:cNvSpPr>
            <a:spLocks noGrp="1"/>
          </p:cNvSpPr>
          <p:nvPr>
            <p:ph sz="quarter" idx="12"/>
          </p:nvPr>
        </p:nvSpPr>
        <p:spPr>
          <a:xfrm>
            <a:off x="704301" y="3978275"/>
            <a:ext cx="2576513" cy="178752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121" name="Content Placeholder 52"/>
          <p:cNvSpPr>
            <a:spLocks noGrp="1"/>
          </p:cNvSpPr>
          <p:nvPr>
            <p:ph sz="quarter" idx="15"/>
          </p:nvPr>
        </p:nvSpPr>
        <p:spPr>
          <a:xfrm>
            <a:off x="3396990" y="3978275"/>
            <a:ext cx="2576513" cy="178752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528794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FI_Internal_Onscreen_Cover">
    <p:spTree>
      <p:nvGrpSpPr>
        <p:cNvPr id="1" name=""/>
        <p:cNvGrpSpPr/>
        <p:nvPr/>
      </p:nvGrpSpPr>
      <p:grpSpPr>
        <a:xfrm>
          <a:off x="0" y="0"/>
          <a:ext cx="0" cy="0"/>
          <a:chOff x="0" y="0"/>
          <a:chExt cx="0" cy="0"/>
        </a:xfrm>
      </p:grpSpPr>
      <p:pic>
        <p:nvPicPr>
          <p:cNvPr id="47" name="Picture 46" descr="A picture containing holding, game, woman, ball&#10;&#10;Description automatically generated">
            <a:extLst>
              <a:ext uri="{FF2B5EF4-FFF2-40B4-BE49-F238E27FC236}">
                <a16:creationId xmlns:a16="http://schemas.microsoft.com/office/drawing/2014/main" id="{DB360F79-A077-4EC8-8EB0-6556EBBFAFC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7999"/>
          </a:xfrm>
          <a:prstGeom prst="rect">
            <a:avLst/>
          </a:prstGeom>
        </p:spPr>
      </p:pic>
      <p:sp>
        <p:nvSpPr>
          <p:cNvPr id="43" name="Rectangle 6"/>
          <p:cNvSpPr>
            <a:spLocks noGrp="1" noChangeArrowheads="1"/>
          </p:cNvSpPr>
          <p:nvPr>
            <p:ph type="subTitle" idx="1"/>
          </p:nvPr>
        </p:nvSpPr>
        <p:spPr>
          <a:xfrm>
            <a:off x="685251" y="2091765"/>
            <a:ext cx="7805762" cy="563076"/>
          </a:xfrm>
        </p:spPr>
        <p:txBody>
          <a:bodyPr lIns="100584" rIns="100584"/>
          <a:lstStyle>
            <a:lvl1pPr marL="0" indent="0">
              <a:spcBef>
                <a:spcPts val="0"/>
              </a:spcBef>
              <a:defRPr sz="2000" b="0">
                <a:solidFill>
                  <a:srgbClr val="7A9A3D"/>
                </a:solidFill>
              </a:defRPr>
            </a:lvl1pPr>
          </a:lstStyle>
          <a:p>
            <a:r>
              <a:rPr lang="en-US" dirty="0"/>
              <a:t>Click to edit Master subtitle style</a:t>
            </a:r>
          </a:p>
        </p:txBody>
      </p:sp>
      <p:sp>
        <p:nvSpPr>
          <p:cNvPr id="42" name="Text Placeholder 43"/>
          <p:cNvSpPr>
            <a:spLocks noGrp="1"/>
          </p:cNvSpPr>
          <p:nvPr>
            <p:ph type="body" sz="quarter" idx="14" hasCustomPrompt="1"/>
          </p:nvPr>
        </p:nvSpPr>
        <p:spPr>
          <a:xfrm>
            <a:off x="685251" y="2581276"/>
            <a:ext cx="7805762" cy="266850"/>
          </a:xfrm>
        </p:spPr>
        <p:txBody>
          <a:bodyPr lIns="100584" rIns="100584"/>
          <a:lstStyle>
            <a:lvl1pPr>
              <a:spcBef>
                <a:spcPts val="0"/>
              </a:spcBef>
              <a:defRPr lang="en-US" sz="1200" b="0" kern="1200" dirty="0" smtClean="0">
                <a:solidFill>
                  <a:schemeClr val="bg1"/>
                </a:solidFill>
                <a:latin typeface="Arial"/>
                <a:ea typeface="ＭＳ Ｐゴシック" pitchFamily="34" charset="-128"/>
                <a:cs typeface="+mn-cs"/>
              </a:defRPr>
            </a:lvl1pPr>
          </a:lstStyle>
          <a:p>
            <a:pPr lvl="0"/>
            <a:r>
              <a:rPr lang="en-US" dirty="0"/>
              <a:t>Date</a:t>
            </a:r>
          </a:p>
        </p:txBody>
      </p:sp>
      <p:sp>
        <p:nvSpPr>
          <p:cNvPr id="81" name="Content Placeholder 52"/>
          <p:cNvSpPr txBox="1">
            <a:spLocks/>
          </p:cNvSpPr>
          <p:nvPr userDrawn="1"/>
        </p:nvSpPr>
        <p:spPr>
          <a:xfrm>
            <a:off x="704301" y="3842381"/>
            <a:ext cx="2487613" cy="1652265"/>
          </a:xfrm>
          <a:prstGeom prst="rect">
            <a:avLst/>
          </a:prstGeom>
        </p:spPr>
        <p:txBody>
          <a:bodyPr lIns="100584" rIns="100584"/>
          <a:lstStyle>
            <a:lvl1pPr marL="0" indent="0" algn="l" rtl="0" eaLnBrk="0" fontAlgn="base" hangingPunct="0">
              <a:spcBef>
                <a:spcPts val="1200"/>
              </a:spcBef>
              <a:spcAft>
                <a:spcPct val="0"/>
              </a:spcAft>
              <a:buClr>
                <a:schemeClr val="bg1"/>
              </a:buClr>
              <a:buNone/>
              <a:tabLst>
                <a:tab pos="120626" algn="l"/>
                <a:tab pos="299978" algn="l"/>
                <a:tab pos="1034844" algn="l"/>
              </a:tabLst>
              <a:defRPr lang="en-US" sz="1000" b="1" kern="1200" dirty="0" smtClean="0">
                <a:solidFill>
                  <a:schemeClr val="tx1"/>
                </a:solidFill>
                <a:latin typeface="Arial" charset="0"/>
                <a:ea typeface="ＭＳ Ｐゴシック" charset="-128"/>
                <a:cs typeface="+mn-cs"/>
              </a:defRPr>
            </a:lvl1pPr>
            <a:lvl2pPr marL="0" indent="0" algn="l" rtl="0" eaLnBrk="0" fontAlgn="base" hangingPunct="0">
              <a:spcBef>
                <a:spcPct val="20000"/>
              </a:spcBef>
              <a:spcAft>
                <a:spcPct val="0"/>
              </a:spcAft>
              <a:buClr>
                <a:schemeClr val="bg1"/>
              </a:buClr>
              <a:buFontTx/>
              <a:buNone/>
              <a:tabLst>
                <a:tab pos="120626" algn="l"/>
                <a:tab pos="299978" algn="l"/>
                <a:tab pos="1034844" algn="l"/>
              </a:tabLst>
              <a:defRPr lang="en-US" sz="1000" b="1" i="1" kern="1200" dirty="0" smtClean="0">
                <a:solidFill>
                  <a:schemeClr val="tx1"/>
                </a:solidFill>
                <a:latin typeface="Arial" charset="0"/>
                <a:ea typeface="ＭＳ Ｐゴシック" charset="-128"/>
                <a:cs typeface="+mn-cs"/>
              </a:defRPr>
            </a:lvl2pPr>
            <a:lvl3pPr marL="326960" indent="0" algn="l" rtl="0" eaLnBrk="0" fontAlgn="base" hangingPunct="0">
              <a:spcBef>
                <a:spcPct val="20000"/>
              </a:spcBef>
              <a:spcAft>
                <a:spcPct val="0"/>
              </a:spcAft>
              <a:buClr>
                <a:schemeClr val="bg1"/>
              </a:buClr>
              <a:buNone/>
              <a:tabLst>
                <a:tab pos="120626" algn="l"/>
                <a:tab pos="299978" algn="l"/>
                <a:tab pos="1034844" algn="l"/>
              </a:tabLst>
              <a:defRPr sz="1200" b="1">
                <a:solidFill>
                  <a:schemeClr val="accent2"/>
                </a:solidFill>
                <a:latin typeface="+mn-lt"/>
              </a:defRPr>
            </a:lvl3pPr>
            <a:lvl4pPr marL="914218" indent="-114277" algn="l" rtl="0" eaLnBrk="0" fontAlgn="base" hangingPunct="0">
              <a:spcBef>
                <a:spcPct val="20000"/>
              </a:spcBef>
              <a:spcAft>
                <a:spcPct val="0"/>
              </a:spcAft>
              <a:buClr>
                <a:schemeClr val="accent1"/>
              </a:buClr>
              <a:buChar char="•"/>
              <a:tabLst>
                <a:tab pos="120626" algn="l"/>
                <a:tab pos="299978" algn="l"/>
                <a:tab pos="1034844" algn="l"/>
              </a:tabLst>
              <a:defRPr sz="1600" b="1">
                <a:solidFill>
                  <a:schemeClr val="tx1"/>
                </a:solidFill>
                <a:latin typeface="+mn-lt"/>
              </a:defRPr>
            </a:lvl4pPr>
            <a:lvl5pPr marL="1142772" indent="-114277" algn="l" rtl="0" eaLnBrk="0" fontAlgn="base" hangingPunct="0">
              <a:spcBef>
                <a:spcPct val="20000"/>
              </a:spcBef>
              <a:spcAft>
                <a:spcPct val="0"/>
              </a:spcAft>
              <a:buClr>
                <a:schemeClr val="accent1"/>
              </a:buClr>
              <a:buChar char="•"/>
              <a:tabLst>
                <a:tab pos="120626" algn="l"/>
                <a:tab pos="299978" algn="l"/>
                <a:tab pos="1034844" algn="l"/>
              </a:tabLst>
              <a:defRPr sz="1600" b="1">
                <a:solidFill>
                  <a:schemeClr val="tx1"/>
                </a:solidFill>
                <a:latin typeface="+mn-lt"/>
              </a:defRPr>
            </a:lvl5pPr>
            <a:lvl6pPr marL="2514096" indent="-228554" algn="l" rtl="0" fontAlgn="base">
              <a:spcBef>
                <a:spcPct val="20000"/>
              </a:spcBef>
              <a:spcAft>
                <a:spcPct val="0"/>
              </a:spcAft>
              <a:buChar char="»"/>
              <a:defRPr sz="2000">
                <a:solidFill>
                  <a:schemeClr val="tx1"/>
                </a:solidFill>
                <a:latin typeface="+mn-lt"/>
              </a:defRPr>
            </a:lvl6pPr>
            <a:lvl7pPr marL="2971205" indent="-228554" algn="l" rtl="0" fontAlgn="base">
              <a:spcBef>
                <a:spcPct val="20000"/>
              </a:spcBef>
              <a:spcAft>
                <a:spcPct val="0"/>
              </a:spcAft>
              <a:buChar char="»"/>
              <a:defRPr sz="2000">
                <a:solidFill>
                  <a:schemeClr val="tx1"/>
                </a:solidFill>
                <a:latin typeface="+mn-lt"/>
              </a:defRPr>
            </a:lvl7pPr>
            <a:lvl8pPr marL="3428314" indent="-228554" algn="l" rtl="0" fontAlgn="base">
              <a:spcBef>
                <a:spcPct val="20000"/>
              </a:spcBef>
              <a:spcAft>
                <a:spcPct val="0"/>
              </a:spcAft>
              <a:buChar char="»"/>
              <a:defRPr sz="2000">
                <a:solidFill>
                  <a:schemeClr val="tx1"/>
                </a:solidFill>
                <a:latin typeface="+mn-lt"/>
              </a:defRPr>
            </a:lvl8pPr>
            <a:lvl9pPr marL="3885423" indent="-228554" algn="l" rtl="0" fontAlgn="base">
              <a:spcBef>
                <a:spcPct val="20000"/>
              </a:spcBef>
              <a:spcAft>
                <a:spcPct val="0"/>
              </a:spcAft>
              <a:buChar char="»"/>
              <a:defRPr sz="2000">
                <a:solidFill>
                  <a:schemeClr val="tx1"/>
                </a:solidFill>
                <a:latin typeface="+mn-lt"/>
              </a:defRPr>
            </a:lvl9pPr>
          </a:lstStyle>
          <a:p>
            <a:pPr>
              <a:buClr>
                <a:srgbClr val="FFFFFF"/>
              </a:buClr>
            </a:pPr>
            <a:endParaRPr b="0">
              <a:solidFill>
                <a:srgbClr val="000000"/>
              </a:solidFill>
              <a:latin typeface="Arial"/>
            </a:endParaRPr>
          </a:p>
        </p:txBody>
      </p:sp>
      <p:sp>
        <p:nvSpPr>
          <p:cNvPr id="120" name="Content Placeholder 52"/>
          <p:cNvSpPr>
            <a:spLocks noGrp="1"/>
          </p:cNvSpPr>
          <p:nvPr>
            <p:ph sz="quarter" idx="12"/>
          </p:nvPr>
        </p:nvSpPr>
        <p:spPr>
          <a:xfrm>
            <a:off x="704301" y="3978275"/>
            <a:ext cx="2576513" cy="1787525"/>
          </a:xfrm>
        </p:spPr>
        <p:txBody>
          <a:bodyPr/>
          <a:lstStyle>
            <a:lvl1pPr marL="0" indent="0">
              <a:spcBef>
                <a:spcPts val="1200"/>
              </a:spcBef>
              <a:defRPr lang="en-US" sz="1000" b="1" kern="1200" dirty="0" smtClean="0">
                <a:solidFill>
                  <a:schemeClr val="bg1"/>
                </a:solidFill>
                <a:latin typeface="Arial" charset="0"/>
                <a:ea typeface="ＭＳ Ｐゴシック" charset="-128"/>
                <a:cs typeface="+mn-cs"/>
              </a:defRPr>
            </a:lvl1pPr>
            <a:lvl2pPr marL="0" indent="0">
              <a:buFontTx/>
              <a:buNone/>
              <a:defRPr lang="en-US" sz="1000" i="1" kern="1200" dirty="0" smtClean="0">
                <a:solidFill>
                  <a:schemeClr val="bg1"/>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121" name="Content Placeholder 52"/>
          <p:cNvSpPr>
            <a:spLocks noGrp="1"/>
          </p:cNvSpPr>
          <p:nvPr>
            <p:ph sz="quarter" idx="15"/>
          </p:nvPr>
        </p:nvSpPr>
        <p:spPr>
          <a:xfrm>
            <a:off x="3396990" y="3978275"/>
            <a:ext cx="2576513" cy="1787525"/>
          </a:xfrm>
        </p:spPr>
        <p:txBody>
          <a:bodyPr/>
          <a:lstStyle>
            <a:lvl1pPr marL="0" indent="0">
              <a:spcBef>
                <a:spcPts val="1200"/>
              </a:spcBef>
              <a:defRPr lang="en-US" sz="1000" b="1" kern="1200" dirty="0" smtClean="0">
                <a:solidFill>
                  <a:schemeClr val="bg1"/>
                </a:solidFill>
                <a:latin typeface="Arial" charset="0"/>
                <a:ea typeface="ＭＳ Ｐゴシック" charset="-128"/>
                <a:cs typeface="+mn-cs"/>
              </a:defRPr>
            </a:lvl1pPr>
            <a:lvl2pPr marL="0" indent="0">
              <a:buFontTx/>
              <a:buNone/>
              <a:defRPr lang="en-US" sz="1000" i="1" kern="1200" dirty="0" smtClean="0">
                <a:solidFill>
                  <a:schemeClr val="bg1"/>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41" name="Rectangle 9"/>
          <p:cNvSpPr>
            <a:spLocks noGrp="1" noChangeArrowheads="1"/>
          </p:cNvSpPr>
          <p:nvPr>
            <p:ph type="title" hasCustomPrompt="1"/>
          </p:nvPr>
        </p:nvSpPr>
        <p:spPr bwMode="auto">
          <a:xfrm>
            <a:off x="685251" y="1581072"/>
            <a:ext cx="7805762" cy="5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b" anchorCtr="0" compatLnSpc="1">
            <a:prstTxWarp prst="textNoShape">
              <a:avLst/>
            </a:prstTxWarp>
          </a:bodyPr>
          <a:lstStyle>
            <a:lvl1pPr>
              <a:defRPr sz="3000">
                <a:solidFill>
                  <a:schemeClr val="bg1"/>
                </a:solidFill>
              </a:defRPr>
            </a:lvl1pPr>
          </a:lstStyle>
          <a:p>
            <a:pPr lvl="0"/>
            <a:r>
              <a:rPr lang="en-US" altLang="en-US" dirty="0"/>
              <a:t>Click To Edit Master Title Style</a:t>
            </a:r>
          </a:p>
        </p:txBody>
      </p:sp>
      <p:sp>
        <p:nvSpPr>
          <p:cNvPr id="38" name="Rectangle 176">
            <a:extLst>
              <a:ext uri="{FF2B5EF4-FFF2-40B4-BE49-F238E27FC236}">
                <a16:creationId xmlns:a16="http://schemas.microsoft.com/office/drawing/2014/main" id="{4C04D44C-6DC7-4AC9-B22D-2858281301FC}"/>
              </a:ext>
            </a:extLst>
          </p:cNvPr>
          <p:cNvSpPr>
            <a:spLocks noGrp="1" noChangeArrowheads="1"/>
          </p:cNvSpPr>
          <p:nvPr>
            <p:ph type="ftr" sz="quarter" idx="13"/>
          </p:nvPr>
        </p:nvSpPr>
        <p:spPr>
          <a:xfrm>
            <a:off x="324945" y="6421008"/>
            <a:ext cx="6014623" cy="260350"/>
          </a:xfrm>
        </p:spPr>
        <p:txBody>
          <a:bodyPr anchor="b" anchorCtr="0"/>
          <a:lstStyle>
            <a:lvl1pPr algn="l">
              <a:defRPr sz="800" b="0" smtClean="0">
                <a:solidFill>
                  <a:schemeClr val="bg1"/>
                </a:solidFill>
              </a:defRPr>
            </a:lvl1pPr>
          </a:lstStyle>
          <a:p>
            <a:pPr>
              <a:defRPr/>
            </a:pPr>
            <a:r>
              <a:rPr lang="en-US" b="1" dirty="0">
                <a:solidFill>
                  <a:srgbClr val="FFFFFF"/>
                </a:solidFill>
              </a:rPr>
              <a:t>Insert disclosures. </a:t>
            </a:r>
          </a:p>
          <a:p>
            <a:pPr>
              <a:defRPr/>
            </a:pPr>
            <a:r>
              <a:rPr lang="en-US" dirty="0">
                <a:solidFill>
                  <a:srgbClr val="FFFFFF"/>
                </a:solidFill>
              </a:rPr>
              <a:t>Insert disclosures.</a:t>
            </a:r>
          </a:p>
          <a:p>
            <a:pPr>
              <a:defRPr/>
            </a:pPr>
            <a:r>
              <a:rPr lang="en-US" b="1" dirty="0">
                <a:solidFill>
                  <a:srgbClr val="FFFFFF"/>
                </a:solidFill>
              </a:rPr>
              <a:t>Page footer.  </a:t>
            </a:r>
            <a:r>
              <a:rPr lang="en-US" dirty="0">
                <a:solidFill>
                  <a:srgbClr val="FFFFFF"/>
                </a:solidFill>
              </a:rPr>
              <a:t>l  © 20XX FMR LLC. All rights reserved.</a:t>
            </a:r>
            <a:endParaRPr lang="en-US" b="1" dirty="0">
              <a:solidFill>
                <a:srgbClr val="FFFFFF"/>
              </a:solidFill>
            </a:endParaRPr>
          </a:p>
        </p:txBody>
      </p:sp>
      <p:pic>
        <p:nvPicPr>
          <p:cNvPr id="44" name="Picture 43">
            <a:extLst>
              <a:ext uri="{FF2B5EF4-FFF2-40B4-BE49-F238E27FC236}">
                <a16:creationId xmlns:a16="http://schemas.microsoft.com/office/drawing/2014/main" id="{873007A4-4715-4431-A9DD-209BB2EF2B9E}"/>
              </a:ext>
            </a:extLst>
          </p:cNvPr>
          <p:cNvPicPr>
            <a:picLocks noChangeAspect="1"/>
          </p:cNvPicPr>
          <p:nvPr userDrawn="1"/>
        </p:nvPicPr>
        <p:blipFill>
          <a:blip r:embed="rId3"/>
          <a:stretch>
            <a:fillRect/>
          </a:stretch>
        </p:blipFill>
        <p:spPr>
          <a:xfrm>
            <a:off x="7358173" y="6361044"/>
            <a:ext cx="1394004" cy="306432"/>
          </a:xfrm>
          <a:prstGeom prst="rect">
            <a:avLst/>
          </a:prstGeom>
        </p:spPr>
      </p:pic>
      <p:pic>
        <p:nvPicPr>
          <p:cNvPr id="12" name="Picture 11">
            <a:extLst>
              <a:ext uri="{FF2B5EF4-FFF2-40B4-BE49-F238E27FC236}">
                <a16:creationId xmlns:a16="http://schemas.microsoft.com/office/drawing/2014/main" id="{18303217-03CA-43AE-8C55-815D54A89448}"/>
              </a:ext>
            </a:extLst>
          </p:cNvPr>
          <p:cNvPicPr>
            <a:picLocks noChangeAspect="1"/>
          </p:cNvPicPr>
          <p:nvPr userDrawn="1"/>
        </p:nvPicPr>
        <p:blipFill rotWithShape="1">
          <a:blip r:embed="rId4" cstate="print">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val="0"/>
              </a:ext>
            </a:extLst>
          </a:blip>
          <a:srcRect r="48097" b="62741"/>
          <a:stretch/>
        </p:blipFill>
        <p:spPr>
          <a:xfrm>
            <a:off x="802002" y="532741"/>
            <a:ext cx="1550366" cy="134009"/>
          </a:xfrm>
          <a:prstGeom prst="rect">
            <a:avLst/>
          </a:prstGeom>
        </p:spPr>
      </p:pic>
    </p:spTree>
    <p:extLst>
      <p:ext uri="{BB962C8B-B14F-4D97-AF65-F5344CB8AC3E}">
        <p14:creationId xmlns:p14="http://schemas.microsoft.com/office/powerpoint/2010/main" val="21811007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FI_External_Print_Cover">
    <p:spTree>
      <p:nvGrpSpPr>
        <p:cNvPr id="1" name=""/>
        <p:cNvGrpSpPr/>
        <p:nvPr/>
      </p:nvGrpSpPr>
      <p:grpSpPr>
        <a:xfrm>
          <a:off x="0" y="0"/>
          <a:ext cx="0" cy="0"/>
          <a:chOff x="0" y="0"/>
          <a:chExt cx="0" cy="0"/>
        </a:xfrm>
      </p:grpSpPr>
      <p:pic>
        <p:nvPicPr>
          <p:cNvPr id="40" name="Picture 39" descr="A picture containing game&#10;&#10;Description automatically generated">
            <a:extLst>
              <a:ext uri="{FF2B5EF4-FFF2-40B4-BE49-F238E27FC236}">
                <a16:creationId xmlns:a16="http://schemas.microsoft.com/office/drawing/2014/main" id="{A72346DE-A875-4E16-A0D3-2279506D759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7999"/>
          </a:xfrm>
          <a:prstGeom prst="rect">
            <a:avLst/>
          </a:prstGeom>
        </p:spPr>
      </p:pic>
      <p:sp>
        <p:nvSpPr>
          <p:cNvPr id="47" name="Rectangle 176"/>
          <p:cNvSpPr>
            <a:spLocks noGrp="1" noChangeArrowheads="1"/>
          </p:cNvSpPr>
          <p:nvPr>
            <p:ph type="ftr" sz="quarter" idx="13"/>
          </p:nvPr>
        </p:nvSpPr>
        <p:spPr>
          <a:xfrm>
            <a:off x="281401" y="6421008"/>
            <a:ext cx="6014623" cy="260350"/>
          </a:xfrm>
        </p:spPr>
        <p:txBody>
          <a:bodyPr anchor="b" anchorCtr="0"/>
          <a:lstStyle>
            <a:lvl1pPr algn="l">
              <a:defRPr sz="800" b="0" smtClean="0">
                <a:solidFill>
                  <a:srgbClr val="000000"/>
                </a:solidFill>
              </a:defRPr>
            </a:lvl1pPr>
          </a:lstStyle>
          <a:p>
            <a:pPr>
              <a:defRPr/>
            </a:pPr>
            <a:r>
              <a:rPr lang="en-US" b="1" dirty="0"/>
              <a:t>Insert disclosures. </a:t>
            </a:r>
          </a:p>
          <a:p>
            <a:pPr>
              <a:defRPr/>
            </a:pPr>
            <a:r>
              <a:rPr lang="en-US" dirty="0"/>
              <a:t>Insert disclosures.</a:t>
            </a:r>
          </a:p>
          <a:p>
            <a:pPr>
              <a:defRPr/>
            </a:pPr>
            <a:r>
              <a:rPr lang="en-US" b="1" dirty="0"/>
              <a:t>Page footer.  </a:t>
            </a:r>
            <a:r>
              <a:rPr lang="en-US" dirty="0"/>
              <a:t>l  © 20XX FMR LLC. All rights reserved.</a:t>
            </a:r>
            <a:endParaRPr lang="en-US" b="1" dirty="0"/>
          </a:p>
        </p:txBody>
      </p:sp>
      <p:sp>
        <p:nvSpPr>
          <p:cNvPr id="44" name="Text Placeholder 43"/>
          <p:cNvSpPr>
            <a:spLocks noGrp="1"/>
          </p:cNvSpPr>
          <p:nvPr>
            <p:ph type="body" sz="quarter" idx="10"/>
          </p:nvPr>
        </p:nvSpPr>
        <p:spPr>
          <a:xfrm>
            <a:off x="715495" y="3833787"/>
            <a:ext cx="2455544" cy="332365"/>
          </a:xfrm>
        </p:spPr>
        <p:txBody>
          <a:bodyPr/>
          <a:lstStyle>
            <a:lvl1pPr>
              <a:defRPr lang="en-US" sz="1000" b="0" kern="1200" smtClean="0">
                <a:solidFill>
                  <a:srgbClr val="000000"/>
                </a:solidFill>
                <a:latin typeface="Arial"/>
                <a:ea typeface="ＭＳ Ｐゴシック"/>
                <a:cs typeface="ＭＳ Ｐゴシック"/>
              </a:defRPr>
            </a:lvl1pPr>
          </a:lstStyle>
          <a:p>
            <a:pPr lvl="0"/>
            <a:r>
              <a:rPr lang="en-US"/>
              <a:t>Click to edit Master text styles</a:t>
            </a:r>
          </a:p>
        </p:txBody>
      </p:sp>
      <p:sp>
        <p:nvSpPr>
          <p:cNvPr id="53" name="Content Placeholder 52"/>
          <p:cNvSpPr>
            <a:spLocks noGrp="1"/>
          </p:cNvSpPr>
          <p:nvPr>
            <p:ph sz="quarter" idx="12"/>
          </p:nvPr>
        </p:nvSpPr>
        <p:spPr>
          <a:xfrm>
            <a:off x="6280150" y="3842381"/>
            <a:ext cx="2487613" cy="165226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72" name="Rectangle 6"/>
          <p:cNvSpPr>
            <a:spLocks noGrp="1" noChangeArrowheads="1"/>
          </p:cNvSpPr>
          <p:nvPr>
            <p:ph type="subTitle" idx="1"/>
          </p:nvPr>
        </p:nvSpPr>
        <p:spPr>
          <a:xfrm>
            <a:off x="685251" y="2091765"/>
            <a:ext cx="7805762" cy="563076"/>
          </a:xfrm>
        </p:spPr>
        <p:txBody>
          <a:bodyPr lIns="100584" rIns="100584"/>
          <a:lstStyle>
            <a:lvl1pPr marL="0" indent="0">
              <a:spcBef>
                <a:spcPts val="0"/>
              </a:spcBef>
              <a:defRPr sz="2000" b="0">
                <a:solidFill>
                  <a:srgbClr val="7A9A3D"/>
                </a:solidFill>
              </a:defRPr>
            </a:lvl1pPr>
          </a:lstStyle>
          <a:p>
            <a:r>
              <a:rPr lang="en-US" dirty="0"/>
              <a:t>Click to edit Master subtitle style</a:t>
            </a:r>
          </a:p>
        </p:txBody>
      </p:sp>
      <p:sp>
        <p:nvSpPr>
          <p:cNvPr id="74" name="Text Placeholder 43"/>
          <p:cNvSpPr>
            <a:spLocks noGrp="1"/>
          </p:cNvSpPr>
          <p:nvPr>
            <p:ph type="body" sz="quarter" idx="14" hasCustomPrompt="1"/>
          </p:nvPr>
        </p:nvSpPr>
        <p:spPr>
          <a:xfrm>
            <a:off x="685251" y="2581276"/>
            <a:ext cx="7805762" cy="266850"/>
          </a:xfrm>
        </p:spPr>
        <p:txBody>
          <a:bodyPr lIns="100584" rIns="100584"/>
          <a:lstStyle>
            <a:lvl1pPr>
              <a:spcBef>
                <a:spcPts val="0"/>
              </a:spcBef>
              <a:defRPr lang="en-US" sz="1200" b="0" kern="1200" dirty="0" smtClean="0">
                <a:solidFill>
                  <a:srgbClr val="333F48"/>
                </a:solidFill>
                <a:latin typeface="Arial"/>
                <a:ea typeface="ＭＳ Ｐゴシック" pitchFamily="34" charset="-128"/>
                <a:cs typeface="+mn-cs"/>
              </a:defRPr>
            </a:lvl1pPr>
          </a:lstStyle>
          <a:p>
            <a:pPr lvl="0"/>
            <a:r>
              <a:rPr lang="en-US" dirty="0"/>
              <a:t>Date</a:t>
            </a:r>
          </a:p>
        </p:txBody>
      </p:sp>
      <p:sp>
        <p:nvSpPr>
          <p:cNvPr id="39" name="Rectangle 9"/>
          <p:cNvSpPr>
            <a:spLocks noGrp="1" noChangeArrowheads="1"/>
          </p:cNvSpPr>
          <p:nvPr>
            <p:ph type="title" hasCustomPrompt="1"/>
          </p:nvPr>
        </p:nvSpPr>
        <p:spPr bwMode="auto">
          <a:xfrm>
            <a:off x="685252" y="1581072"/>
            <a:ext cx="7820573" cy="5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b" anchorCtr="0" compatLnSpc="1">
            <a:prstTxWarp prst="textNoShape">
              <a:avLst/>
            </a:prstTxWarp>
          </a:bodyPr>
          <a:lstStyle>
            <a:lvl1pPr>
              <a:defRPr sz="3000">
                <a:solidFill>
                  <a:srgbClr val="333F48"/>
                </a:solidFill>
              </a:defRPr>
            </a:lvl1pPr>
          </a:lstStyle>
          <a:p>
            <a:pPr lvl="0"/>
            <a:r>
              <a:rPr lang="en-US" altLang="en-US" dirty="0"/>
              <a:t>Click To Edit Master Title Style</a:t>
            </a:r>
          </a:p>
        </p:txBody>
      </p:sp>
      <p:grpSp>
        <p:nvGrpSpPr>
          <p:cNvPr id="128" name="Group 127">
            <a:extLst>
              <a:ext uri="{FF2B5EF4-FFF2-40B4-BE49-F238E27FC236}">
                <a16:creationId xmlns:a16="http://schemas.microsoft.com/office/drawing/2014/main" id="{D2D227AE-CAFE-4AB3-AB1C-89F3B55E0722}"/>
              </a:ext>
            </a:extLst>
          </p:cNvPr>
          <p:cNvGrpSpPr/>
          <p:nvPr userDrawn="1"/>
        </p:nvGrpSpPr>
        <p:grpSpPr>
          <a:xfrm>
            <a:off x="7358173" y="6361974"/>
            <a:ext cx="1382376" cy="297562"/>
            <a:chOff x="6923088" y="4475163"/>
            <a:chExt cx="1873251" cy="403225"/>
          </a:xfrm>
        </p:grpSpPr>
        <p:sp>
          <p:nvSpPr>
            <p:cNvPr id="129" name="AutoShape 4">
              <a:extLst>
                <a:ext uri="{FF2B5EF4-FFF2-40B4-BE49-F238E27FC236}">
                  <a16:creationId xmlns:a16="http://schemas.microsoft.com/office/drawing/2014/main" id="{5E120DEF-B40A-4CE9-B26D-8060E8DBACDF}"/>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 name="Freeform 6">
              <a:extLst>
                <a:ext uri="{FF2B5EF4-FFF2-40B4-BE49-F238E27FC236}">
                  <a16:creationId xmlns:a16="http://schemas.microsoft.com/office/drawing/2014/main" id="{CCFDE2C2-B48C-42C3-BC30-68C0ADC9DB16}"/>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 name="Freeform 7">
              <a:extLst>
                <a:ext uri="{FF2B5EF4-FFF2-40B4-BE49-F238E27FC236}">
                  <a16:creationId xmlns:a16="http://schemas.microsoft.com/office/drawing/2014/main" id="{E148C66A-8C56-404E-B3CA-D463A4690B60}"/>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 name="Freeform 83">
              <a:extLst>
                <a:ext uri="{FF2B5EF4-FFF2-40B4-BE49-F238E27FC236}">
                  <a16:creationId xmlns:a16="http://schemas.microsoft.com/office/drawing/2014/main" id="{B286DFDF-9604-49BE-8835-296DA52725C2}"/>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 name="Freeform 84">
              <a:extLst>
                <a:ext uri="{FF2B5EF4-FFF2-40B4-BE49-F238E27FC236}">
                  <a16:creationId xmlns:a16="http://schemas.microsoft.com/office/drawing/2014/main" id="{536F82F0-C9F0-44DB-92D0-AD081D722539}"/>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 name="Freeform 85">
              <a:extLst>
                <a:ext uri="{FF2B5EF4-FFF2-40B4-BE49-F238E27FC236}">
                  <a16:creationId xmlns:a16="http://schemas.microsoft.com/office/drawing/2014/main" id="{FA2B1132-6E1E-42BE-841F-6DB6DA058216}"/>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 name="Freeform 86">
              <a:extLst>
                <a:ext uri="{FF2B5EF4-FFF2-40B4-BE49-F238E27FC236}">
                  <a16:creationId xmlns:a16="http://schemas.microsoft.com/office/drawing/2014/main" id="{1605D23B-3245-4081-A709-BC2936596163}"/>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 name="Freeform 87">
              <a:extLst>
                <a:ext uri="{FF2B5EF4-FFF2-40B4-BE49-F238E27FC236}">
                  <a16:creationId xmlns:a16="http://schemas.microsoft.com/office/drawing/2014/main" id="{DD1011A3-8CCE-477C-88EA-2174C0DC1BE3}"/>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 name="Freeform 88">
              <a:extLst>
                <a:ext uri="{FF2B5EF4-FFF2-40B4-BE49-F238E27FC236}">
                  <a16:creationId xmlns:a16="http://schemas.microsoft.com/office/drawing/2014/main" id="{F11F5921-88A4-48C1-B4F6-EA6717F32F9C}"/>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 name="Freeform 89">
              <a:extLst>
                <a:ext uri="{FF2B5EF4-FFF2-40B4-BE49-F238E27FC236}">
                  <a16:creationId xmlns:a16="http://schemas.microsoft.com/office/drawing/2014/main" id="{CA718F0A-66A1-4570-9BE3-D9F9EC9750B7}"/>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 name="Freeform 90">
              <a:extLst>
                <a:ext uri="{FF2B5EF4-FFF2-40B4-BE49-F238E27FC236}">
                  <a16:creationId xmlns:a16="http://schemas.microsoft.com/office/drawing/2014/main" id="{F6EAF93E-D2E6-4C24-B453-AAEAFC13E3D3}"/>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 name="Freeform 91">
              <a:extLst>
                <a:ext uri="{FF2B5EF4-FFF2-40B4-BE49-F238E27FC236}">
                  <a16:creationId xmlns:a16="http://schemas.microsoft.com/office/drawing/2014/main" id="{8D652D86-C2B9-4E83-9167-23634BE72EDC}"/>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 name="Freeform 92">
              <a:extLst>
                <a:ext uri="{FF2B5EF4-FFF2-40B4-BE49-F238E27FC236}">
                  <a16:creationId xmlns:a16="http://schemas.microsoft.com/office/drawing/2014/main" id="{92B43175-B9D1-455D-8FAE-3D2BF6571276}"/>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 name="Freeform 93">
              <a:extLst>
                <a:ext uri="{FF2B5EF4-FFF2-40B4-BE49-F238E27FC236}">
                  <a16:creationId xmlns:a16="http://schemas.microsoft.com/office/drawing/2014/main" id="{76879D52-1795-452B-AD79-74CF3084E9B6}"/>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 name="Freeform 94">
              <a:extLst>
                <a:ext uri="{FF2B5EF4-FFF2-40B4-BE49-F238E27FC236}">
                  <a16:creationId xmlns:a16="http://schemas.microsoft.com/office/drawing/2014/main" id="{C74CCD1A-A742-473F-8636-72B0E8B205FB}"/>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 name="Freeform 95">
              <a:extLst>
                <a:ext uri="{FF2B5EF4-FFF2-40B4-BE49-F238E27FC236}">
                  <a16:creationId xmlns:a16="http://schemas.microsoft.com/office/drawing/2014/main" id="{312AF483-E8B8-41EE-ABBD-CBDC6A4CA5E7}"/>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 name="Freeform 96">
              <a:extLst>
                <a:ext uri="{FF2B5EF4-FFF2-40B4-BE49-F238E27FC236}">
                  <a16:creationId xmlns:a16="http://schemas.microsoft.com/office/drawing/2014/main" id="{A6466488-2DBE-4B8B-B63D-1B2D019DF36C}"/>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 name="Freeform 97">
              <a:extLst>
                <a:ext uri="{FF2B5EF4-FFF2-40B4-BE49-F238E27FC236}">
                  <a16:creationId xmlns:a16="http://schemas.microsoft.com/office/drawing/2014/main" id="{BD5F4D07-DCEA-41C3-AE5B-B7271E672936}"/>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7" name="Freeform 98">
              <a:extLst>
                <a:ext uri="{FF2B5EF4-FFF2-40B4-BE49-F238E27FC236}">
                  <a16:creationId xmlns:a16="http://schemas.microsoft.com/office/drawing/2014/main" id="{42EEE7BD-DCD2-49F7-8A7C-C0D0601C37FD}"/>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 name="Freeform 99">
              <a:extLst>
                <a:ext uri="{FF2B5EF4-FFF2-40B4-BE49-F238E27FC236}">
                  <a16:creationId xmlns:a16="http://schemas.microsoft.com/office/drawing/2014/main" id="{5CFD22A1-E673-4B23-9D36-3B74DE70ECE2}"/>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 name="Freeform 100">
              <a:extLst>
                <a:ext uri="{FF2B5EF4-FFF2-40B4-BE49-F238E27FC236}">
                  <a16:creationId xmlns:a16="http://schemas.microsoft.com/office/drawing/2014/main" id="{7C20FD0C-F35B-4F21-AF3B-81530E295BEB}"/>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 name="Freeform 101">
              <a:extLst>
                <a:ext uri="{FF2B5EF4-FFF2-40B4-BE49-F238E27FC236}">
                  <a16:creationId xmlns:a16="http://schemas.microsoft.com/office/drawing/2014/main" id="{C68C6C2F-09B5-4244-BEBB-F85457E11A54}"/>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 name="Freeform 102">
              <a:extLst>
                <a:ext uri="{FF2B5EF4-FFF2-40B4-BE49-F238E27FC236}">
                  <a16:creationId xmlns:a16="http://schemas.microsoft.com/office/drawing/2014/main" id="{6C7F753E-CE23-4F01-9F10-DCE622C71ABB}"/>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2" name="Freeform 103">
              <a:extLst>
                <a:ext uri="{FF2B5EF4-FFF2-40B4-BE49-F238E27FC236}">
                  <a16:creationId xmlns:a16="http://schemas.microsoft.com/office/drawing/2014/main" id="{12385579-35FD-4613-ABF4-9392759FFF98}"/>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 name="Freeform 104">
              <a:extLst>
                <a:ext uri="{FF2B5EF4-FFF2-40B4-BE49-F238E27FC236}">
                  <a16:creationId xmlns:a16="http://schemas.microsoft.com/office/drawing/2014/main" id="{2BB633EA-47EC-47FB-AFB9-0C8E97548B32}"/>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 name="Freeform 105">
              <a:extLst>
                <a:ext uri="{FF2B5EF4-FFF2-40B4-BE49-F238E27FC236}">
                  <a16:creationId xmlns:a16="http://schemas.microsoft.com/office/drawing/2014/main" id="{D9F0450F-CF35-40ED-BB19-255159FDD4F0}"/>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pic>
        <p:nvPicPr>
          <p:cNvPr id="41" name="Picture 5"/>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r="1439" b="-2834"/>
          <a:stretch/>
        </p:blipFill>
        <p:spPr bwMode="auto">
          <a:xfrm>
            <a:off x="804672" y="530352"/>
            <a:ext cx="3848307" cy="100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2" name="Rectangle 41"/>
          <p:cNvSpPr/>
          <p:nvPr userDrawn="1"/>
        </p:nvSpPr>
        <p:spPr>
          <a:xfrm rot="10800000" flipV="1">
            <a:off x="4561423" y="396706"/>
            <a:ext cx="429600" cy="276999"/>
          </a:xfrm>
          <a:prstGeom prst="rect">
            <a:avLst/>
          </a:prstGeom>
        </p:spPr>
        <p:txBody>
          <a:bodyPr wrap="square">
            <a:spAutoFit/>
          </a:bodyPr>
          <a:lstStyle/>
          <a:p>
            <a:r>
              <a:rPr lang="en-US" b="1" dirty="0">
                <a:solidFill>
                  <a:srgbClr val="000000"/>
                </a:solidFill>
              </a:rPr>
              <a:t>®</a:t>
            </a:r>
            <a:endParaRPr lang="en-US" dirty="0">
              <a:solidFill>
                <a:srgbClr val="000000"/>
              </a:solidFill>
            </a:endParaRPr>
          </a:p>
        </p:txBody>
      </p:sp>
    </p:spTree>
    <p:extLst>
      <p:ext uri="{BB962C8B-B14F-4D97-AF65-F5344CB8AC3E}">
        <p14:creationId xmlns:p14="http://schemas.microsoft.com/office/powerpoint/2010/main" val="2758350813"/>
      </p:ext>
    </p:extLst>
  </p:cSld>
  <p:clrMapOvr>
    <a:masterClrMapping/>
  </p:clrMapOvr>
  <p:extLst>
    <p:ext uri="{DCECCB84-F9BA-43D5-87BE-67443E8EF086}">
      <p15:sldGuideLst xmlns:p15="http://schemas.microsoft.com/office/powerpoint/2012/main">
        <p15:guide id="1" orient="horz" pos="4200">
          <p15:clr>
            <a:srgbClr val="FBAE40"/>
          </p15:clr>
        </p15:guide>
        <p15:guide id="2" pos="50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FI_External_Onscreen_Cover">
    <p:spTree>
      <p:nvGrpSpPr>
        <p:cNvPr id="1" name=""/>
        <p:cNvGrpSpPr/>
        <p:nvPr/>
      </p:nvGrpSpPr>
      <p:grpSpPr>
        <a:xfrm>
          <a:off x="0" y="0"/>
          <a:ext cx="0" cy="0"/>
          <a:chOff x="0" y="0"/>
          <a:chExt cx="0" cy="0"/>
        </a:xfrm>
      </p:grpSpPr>
      <p:pic>
        <p:nvPicPr>
          <p:cNvPr id="7" name="Picture 6" descr="A picture containing holding, game, woman, ball&#10;&#10;Description automatically generated">
            <a:extLst>
              <a:ext uri="{FF2B5EF4-FFF2-40B4-BE49-F238E27FC236}">
                <a16:creationId xmlns:a16="http://schemas.microsoft.com/office/drawing/2014/main" id="{5F9FF826-0238-4E18-862F-ED10F8C7963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7999"/>
          </a:xfrm>
          <a:prstGeom prst="rect">
            <a:avLst/>
          </a:prstGeom>
        </p:spPr>
      </p:pic>
      <p:pic>
        <p:nvPicPr>
          <p:cNvPr id="45" name="Picture 44">
            <a:extLst>
              <a:ext uri="{FF2B5EF4-FFF2-40B4-BE49-F238E27FC236}">
                <a16:creationId xmlns:a16="http://schemas.microsoft.com/office/drawing/2014/main" id="{E1A9B410-80DB-4D3A-84B4-DE71AC2C1216}"/>
              </a:ext>
            </a:extLst>
          </p:cNvPr>
          <p:cNvPicPr>
            <a:picLocks noChangeAspect="1"/>
          </p:cNvPicPr>
          <p:nvPr userDrawn="1"/>
        </p:nvPicPr>
        <p:blipFill rotWithShape="1">
          <a:blip r:embed="rId3" cstate="print">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rcRect r="48097" b="62741"/>
          <a:stretch/>
        </p:blipFill>
        <p:spPr>
          <a:xfrm>
            <a:off x="802002" y="532741"/>
            <a:ext cx="1550366" cy="134009"/>
          </a:xfrm>
          <a:prstGeom prst="rect">
            <a:avLst/>
          </a:prstGeom>
        </p:spPr>
      </p:pic>
      <p:pic>
        <p:nvPicPr>
          <p:cNvPr id="40" name="Picture 39">
            <a:extLst>
              <a:ext uri="{FF2B5EF4-FFF2-40B4-BE49-F238E27FC236}">
                <a16:creationId xmlns:a16="http://schemas.microsoft.com/office/drawing/2014/main" id="{A797A7AF-37A8-4A3F-8776-1BA22BCCB170}"/>
              </a:ext>
            </a:extLst>
          </p:cNvPr>
          <p:cNvPicPr>
            <a:picLocks noChangeAspect="1"/>
          </p:cNvPicPr>
          <p:nvPr userDrawn="1"/>
        </p:nvPicPr>
        <p:blipFill>
          <a:blip r:embed="rId5"/>
          <a:stretch>
            <a:fillRect/>
          </a:stretch>
        </p:blipFill>
        <p:spPr>
          <a:xfrm>
            <a:off x="7358173" y="6361044"/>
            <a:ext cx="1394004" cy="306432"/>
          </a:xfrm>
          <a:prstGeom prst="rect">
            <a:avLst/>
          </a:prstGeom>
        </p:spPr>
      </p:pic>
      <p:sp>
        <p:nvSpPr>
          <p:cNvPr id="47" name="Rectangle 176"/>
          <p:cNvSpPr>
            <a:spLocks noGrp="1" noChangeArrowheads="1"/>
          </p:cNvSpPr>
          <p:nvPr>
            <p:ph type="ftr" sz="quarter" idx="13"/>
          </p:nvPr>
        </p:nvSpPr>
        <p:spPr>
          <a:xfrm>
            <a:off x="324945" y="6421008"/>
            <a:ext cx="6014623" cy="260350"/>
          </a:xfrm>
        </p:spPr>
        <p:txBody>
          <a:bodyPr anchor="b" anchorCtr="0"/>
          <a:lstStyle>
            <a:lvl1pPr algn="l">
              <a:defRPr sz="800" b="0" smtClean="0">
                <a:solidFill>
                  <a:schemeClr val="bg1"/>
                </a:solidFill>
              </a:defRPr>
            </a:lvl1pPr>
          </a:lstStyle>
          <a:p>
            <a:pPr>
              <a:defRPr/>
            </a:pPr>
            <a:r>
              <a:rPr lang="en-US" b="1" dirty="0">
                <a:solidFill>
                  <a:srgbClr val="FFFFFF"/>
                </a:solidFill>
              </a:rPr>
              <a:t>Insert disclosures. </a:t>
            </a:r>
          </a:p>
          <a:p>
            <a:pPr>
              <a:defRPr/>
            </a:pPr>
            <a:r>
              <a:rPr lang="en-US" dirty="0">
                <a:solidFill>
                  <a:srgbClr val="FFFFFF"/>
                </a:solidFill>
              </a:rPr>
              <a:t>Insert disclosures.</a:t>
            </a:r>
          </a:p>
          <a:p>
            <a:pPr>
              <a:defRPr/>
            </a:pPr>
            <a:r>
              <a:rPr lang="en-US" b="1" dirty="0">
                <a:solidFill>
                  <a:srgbClr val="FFFFFF"/>
                </a:solidFill>
              </a:rPr>
              <a:t>Page footer.  </a:t>
            </a:r>
            <a:r>
              <a:rPr lang="en-US" dirty="0">
                <a:solidFill>
                  <a:srgbClr val="FFFFFF"/>
                </a:solidFill>
              </a:rPr>
              <a:t>l  © 20XX FMR LLC. All rights reserved.</a:t>
            </a:r>
            <a:endParaRPr lang="en-US" b="1" dirty="0">
              <a:solidFill>
                <a:srgbClr val="FFFFFF"/>
              </a:solidFill>
            </a:endParaRPr>
          </a:p>
        </p:txBody>
      </p:sp>
      <p:sp>
        <p:nvSpPr>
          <p:cNvPr id="44" name="Text Placeholder 43"/>
          <p:cNvSpPr>
            <a:spLocks noGrp="1"/>
          </p:cNvSpPr>
          <p:nvPr>
            <p:ph type="body" sz="quarter" idx="10"/>
          </p:nvPr>
        </p:nvSpPr>
        <p:spPr>
          <a:xfrm>
            <a:off x="715495" y="3833787"/>
            <a:ext cx="2455544" cy="332365"/>
          </a:xfrm>
        </p:spPr>
        <p:txBody>
          <a:bodyPr/>
          <a:lstStyle>
            <a:lvl1pPr>
              <a:defRPr lang="en-US" sz="1000" b="0" kern="1200" smtClean="0">
                <a:solidFill>
                  <a:schemeClr val="bg1"/>
                </a:solidFill>
                <a:latin typeface="Arial"/>
                <a:ea typeface="ＭＳ Ｐゴシック"/>
                <a:cs typeface="ＭＳ Ｐゴシック"/>
              </a:defRPr>
            </a:lvl1pPr>
          </a:lstStyle>
          <a:p>
            <a:pPr lvl="0"/>
            <a:r>
              <a:rPr lang="en-US"/>
              <a:t>Click to edit Master text styles</a:t>
            </a:r>
          </a:p>
        </p:txBody>
      </p:sp>
      <p:sp>
        <p:nvSpPr>
          <p:cNvPr id="53" name="Content Placeholder 52"/>
          <p:cNvSpPr>
            <a:spLocks noGrp="1"/>
          </p:cNvSpPr>
          <p:nvPr>
            <p:ph sz="quarter" idx="12"/>
          </p:nvPr>
        </p:nvSpPr>
        <p:spPr>
          <a:xfrm>
            <a:off x="6280150" y="3842381"/>
            <a:ext cx="2487613" cy="1652265"/>
          </a:xfrm>
        </p:spPr>
        <p:txBody>
          <a:bodyPr/>
          <a:lstStyle>
            <a:lvl1pPr marL="0" indent="0">
              <a:spcBef>
                <a:spcPts val="1200"/>
              </a:spcBef>
              <a:defRPr lang="en-US" sz="1000" b="1" kern="1200" dirty="0" smtClean="0">
                <a:solidFill>
                  <a:schemeClr val="bg1"/>
                </a:solidFill>
                <a:latin typeface="Arial" charset="0"/>
                <a:ea typeface="ＭＳ Ｐゴシック" charset="-128"/>
                <a:cs typeface="+mn-cs"/>
              </a:defRPr>
            </a:lvl1pPr>
            <a:lvl2pPr marL="0" indent="0">
              <a:buFontTx/>
              <a:buNone/>
              <a:defRPr lang="en-US" sz="1000" i="1" kern="1200" dirty="0" smtClean="0">
                <a:solidFill>
                  <a:schemeClr val="bg1"/>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72" name="Rectangle 6"/>
          <p:cNvSpPr>
            <a:spLocks noGrp="1" noChangeArrowheads="1"/>
          </p:cNvSpPr>
          <p:nvPr>
            <p:ph type="subTitle" idx="1"/>
          </p:nvPr>
        </p:nvSpPr>
        <p:spPr>
          <a:xfrm>
            <a:off x="685251" y="2091765"/>
            <a:ext cx="7805762" cy="563076"/>
          </a:xfrm>
        </p:spPr>
        <p:txBody>
          <a:bodyPr lIns="100584" rIns="100584"/>
          <a:lstStyle>
            <a:lvl1pPr marL="0" indent="0">
              <a:spcBef>
                <a:spcPts val="0"/>
              </a:spcBef>
              <a:defRPr sz="2000" b="0">
                <a:solidFill>
                  <a:srgbClr val="7A9A3D"/>
                </a:solidFill>
              </a:defRPr>
            </a:lvl1pPr>
          </a:lstStyle>
          <a:p>
            <a:r>
              <a:rPr lang="en-US" dirty="0"/>
              <a:t>Click to edit Master subtitle style</a:t>
            </a:r>
          </a:p>
        </p:txBody>
      </p:sp>
      <p:sp>
        <p:nvSpPr>
          <p:cNvPr id="74" name="Text Placeholder 43"/>
          <p:cNvSpPr>
            <a:spLocks noGrp="1"/>
          </p:cNvSpPr>
          <p:nvPr>
            <p:ph type="body" sz="quarter" idx="14" hasCustomPrompt="1"/>
          </p:nvPr>
        </p:nvSpPr>
        <p:spPr>
          <a:xfrm>
            <a:off x="685251" y="2581276"/>
            <a:ext cx="7805762" cy="266850"/>
          </a:xfrm>
        </p:spPr>
        <p:txBody>
          <a:bodyPr lIns="100584" rIns="100584"/>
          <a:lstStyle>
            <a:lvl1pPr>
              <a:spcBef>
                <a:spcPts val="0"/>
              </a:spcBef>
              <a:defRPr lang="en-US" sz="1200" b="0" kern="1200" dirty="0" smtClean="0">
                <a:solidFill>
                  <a:schemeClr val="bg1"/>
                </a:solidFill>
                <a:latin typeface="Arial"/>
                <a:ea typeface="ＭＳ Ｐゴシック" pitchFamily="34" charset="-128"/>
                <a:cs typeface="+mn-cs"/>
              </a:defRPr>
            </a:lvl1pPr>
          </a:lstStyle>
          <a:p>
            <a:pPr lvl="0"/>
            <a:r>
              <a:rPr lang="en-US" dirty="0"/>
              <a:t>Date</a:t>
            </a:r>
          </a:p>
        </p:txBody>
      </p:sp>
      <p:sp>
        <p:nvSpPr>
          <p:cNvPr id="79" name="Picture Placeholder 47"/>
          <p:cNvSpPr txBox="1">
            <a:spLocks/>
          </p:cNvSpPr>
          <p:nvPr userDrawn="1"/>
        </p:nvSpPr>
        <p:spPr>
          <a:xfrm>
            <a:off x="804558" y="4104114"/>
            <a:ext cx="2424112" cy="609600"/>
          </a:xfrm>
          <a:prstGeom prst="rect">
            <a:avLst/>
          </a:prstGeom>
          <a:solidFill>
            <a:schemeClr val="bg1">
              <a:lumMod val="95000"/>
            </a:schemeClr>
          </a:solidFill>
        </p:spPr>
        <p:txBody>
          <a:bodyPr anchor="ctr"/>
          <a:lstStyle>
            <a:lvl1pPr marL="0" indent="0" algn="l" rtl="0" eaLnBrk="0" fontAlgn="base" hangingPunct="0">
              <a:spcBef>
                <a:spcPct val="20000"/>
              </a:spcBef>
              <a:spcAft>
                <a:spcPct val="0"/>
              </a:spcAft>
              <a:buClr>
                <a:schemeClr val="bg1"/>
              </a:buClr>
              <a:buNone/>
              <a:tabLst>
                <a:tab pos="120626" algn="l"/>
                <a:tab pos="299978" algn="l"/>
                <a:tab pos="1034844" algn="l"/>
              </a:tabLst>
              <a:defRPr sz="1000" b="0">
                <a:solidFill>
                  <a:schemeClr val="accent1"/>
                </a:solidFill>
                <a:latin typeface="+mn-lt"/>
                <a:ea typeface="+mn-ea"/>
                <a:cs typeface="+mn-cs"/>
              </a:defRPr>
            </a:lvl1pPr>
            <a:lvl2pPr marL="169828" indent="0" algn="l" rtl="0" eaLnBrk="0" fontAlgn="base" hangingPunct="0">
              <a:spcBef>
                <a:spcPct val="20000"/>
              </a:spcBef>
              <a:spcAft>
                <a:spcPct val="0"/>
              </a:spcAft>
              <a:buClr>
                <a:schemeClr val="bg1"/>
              </a:buClr>
              <a:buFont typeface="Arial" pitchFamily="34" charset="0"/>
              <a:buNone/>
              <a:tabLst>
                <a:tab pos="120626" algn="l"/>
                <a:tab pos="299978" algn="l"/>
                <a:tab pos="1034844" algn="l"/>
              </a:tabLst>
              <a:defRPr sz="1200" b="1">
                <a:solidFill>
                  <a:schemeClr val="accent2"/>
                </a:solidFill>
                <a:latin typeface="+mn-lt"/>
              </a:defRPr>
            </a:lvl2pPr>
            <a:lvl3pPr marL="326960" indent="0" algn="l" rtl="0" eaLnBrk="0" fontAlgn="base" hangingPunct="0">
              <a:spcBef>
                <a:spcPct val="20000"/>
              </a:spcBef>
              <a:spcAft>
                <a:spcPct val="0"/>
              </a:spcAft>
              <a:buClr>
                <a:schemeClr val="bg1"/>
              </a:buClr>
              <a:buNone/>
              <a:tabLst>
                <a:tab pos="120626" algn="l"/>
                <a:tab pos="299978" algn="l"/>
                <a:tab pos="1034844" algn="l"/>
              </a:tabLst>
              <a:defRPr sz="1200" b="1">
                <a:solidFill>
                  <a:schemeClr val="accent2"/>
                </a:solidFill>
                <a:latin typeface="+mn-lt"/>
              </a:defRPr>
            </a:lvl3pPr>
            <a:lvl4pPr marL="914218" indent="-114277" algn="l" rtl="0" eaLnBrk="0" fontAlgn="base" hangingPunct="0">
              <a:spcBef>
                <a:spcPct val="20000"/>
              </a:spcBef>
              <a:spcAft>
                <a:spcPct val="0"/>
              </a:spcAft>
              <a:buClr>
                <a:schemeClr val="accent1"/>
              </a:buClr>
              <a:buChar char="•"/>
              <a:tabLst>
                <a:tab pos="120626" algn="l"/>
                <a:tab pos="299978" algn="l"/>
                <a:tab pos="1034844" algn="l"/>
              </a:tabLst>
              <a:defRPr sz="1600" b="1">
                <a:solidFill>
                  <a:schemeClr val="tx1"/>
                </a:solidFill>
                <a:latin typeface="+mn-lt"/>
              </a:defRPr>
            </a:lvl4pPr>
            <a:lvl5pPr marL="1142772" indent="-114277" algn="l" rtl="0" eaLnBrk="0" fontAlgn="base" hangingPunct="0">
              <a:spcBef>
                <a:spcPct val="20000"/>
              </a:spcBef>
              <a:spcAft>
                <a:spcPct val="0"/>
              </a:spcAft>
              <a:buClr>
                <a:schemeClr val="accent1"/>
              </a:buClr>
              <a:buChar char="•"/>
              <a:tabLst>
                <a:tab pos="120626" algn="l"/>
                <a:tab pos="299978" algn="l"/>
                <a:tab pos="1034844" algn="l"/>
              </a:tabLst>
              <a:defRPr sz="1600" b="1">
                <a:solidFill>
                  <a:schemeClr val="tx1"/>
                </a:solidFill>
                <a:latin typeface="+mn-lt"/>
              </a:defRPr>
            </a:lvl5pPr>
            <a:lvl6pPr marL="2514096" indent="-228554" algn="l" rtl="0" fontAlgn="base">
              <a:spcBef>
                <a:spcPct val="20000"/>
              </a:spcBef>
              <a:spcAft>
                <a:spcPct val="0"/>
              </a:spcAft>
              <a:buChar char="»"/>
              <a:defRPr sz="2000">
                <a:solidFill>
                  <a:schemeClr val="tx1"/>
                </a:solidFill>
                <a:latin typeface="+mn-lt"/>
              </a:defRPr>
            </a:lvl6pPr>
            <a:lvl7pPr marL="2971205" indent="-228554" algn="l" rtl="0" fontAlgn="base">
              <a:spcBef>
                <a:spcPct val="20000"/>
              </a:spcBef>
              <a:spcAft>
                <a:spcPct val="0"/>
              </a:spcAft>
              <a:buChar char="»"/>
              <a:defRPr sz="2000">
                <a:solidFill>
                  <a:schemeClr val="tx1"/>
                </a:solidFill>
                <a:latin typeface="+mn-lt"/>
              </a:defRPr>
            </a:lvl7pPr>
            <a:lvl8pPr marL="3428314" indent="-228554" algn="l" rtl="0" fontAlgn="base">
              <a:spcBef>
                <a:spcPct val="20000"/>
              </a:spcBef>
              <a:spcAft>
                <a:spcPct val="0"/>
              </a:spcAft>
              <a:buChar char="»"/>
              <a:defRPr sz="2000">
                <a:solidFill>
                  <a:schemeClr val="tx1"/>
                </a:solidFill>
                <a:latin typeface="+mn-lt"/>
              </a:defRPr>
            </a:lvl8pPr>
            <a:lvl9pPr marL="3885423" indent="-228554" algn="l" rtl="0" fontAlgn="base">
              <a:spcBef>
                <a:spcPct val="20000"/>
              </a:spcBef>
              <a:spcAft>
                <a:spcPct val="0"/>
              </a:spcAft>
              <a:buChar char="»"/>
              <a:defRPr sz="2000">
                <a:solidFill>
                  <a:schemeClr val="tx1"/>
                </a:solidFill>
                <a:latin typeface="+mn-lt"/>
              </a:defRPr>
            </a:lvl9pPr>
          </a:lstStyle>
          <a:p>
            <a:pPr>
              <a:buClr>
                <a:srgbClr val="FFFFFF"/>
              </a:buClr>
            </a:pPr>
            <a:r>
              <a:rPr lang="en-US" kern="0" dirty="0">
                <a:solidFill>
                  <a:srgbClr val="FFFFFF">
                    <a:lumMod val="50000"/>
                  </a:srgbClr>
                </a:solidFill>
              </a:rPr>
              <a:t>Click icon to add logo</a:t>
            </a:r>
          </a:p>
        </p:txBody>
      </p:sp>
      <p:sp>
        <p:nvSpPr>
          <p:cNvPr id="39" name="Rectangle 9"/>
          <p:cNvSpPr>
            <a:spLocks noGrp="1" noChangeArrowheads="1"/>
          </p:cNvSpPr>
          <p:nvPr>
            <p:ph type="title" hasCustomPrompt="1"/>
          </p:nvPr>
        </p:nvSpPr>
        <p:spPr bwMode="auto">
          <a:xfrm>
            <a:off x="685252" y="1581072"/>
            <a:ext cx="7820573" cy="5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b" anchorCtr="0" compatLnSpc="1">
            <a:prstTxWarp prst="textNoShape">
              <a:avLst/>
            </a:prstTxWarp>
          </a:bodyPr>
          <a:lstStyle>
            <a:lvl1pPr>
              <a:defRPr sz="3000">
                <a:solidFill>
                  <a:schemeClr val="bg1"/>
                </a:solidFill>
              </a:defRPr>
            </a:lvl1pPr>
          </a:lstStyle>
          <a:p>
            <a:pPr lvl="0"/>
            <a:r>
              <a:rPr lang="en-US" altLang="en-US" dirty="0"/>
              <a:t>Click To Edit Master Title Style</a:t>
            </a:r>
          </a:p>
        </p:txBody>
      </p:sp>
    </p:spTree>
    <p:extLst>
      <p:ext uri="{BB962C8B-B14F-4D97-AF65-F5344CB8AC3E}">
        <p14:creationId xmlns:p14="http://schemas.microsoft.com/office/powerpoint/2010/main" val="460992264"/>
      </p:ext>
    </p:extLst>
  </p:cSld>
  <p:clrMapOvr>
    <a:masterClrMapping/>
  </p:clrMapOvr>
  <p:extLst>
    <p:ext uri="{DCECCB84-F9BA-43D5-87BE-67443E8EF086}">
      <p15:sldGuideLst xmlns:p15="http://schemas.microsoft.com/office/powerpoint/2012/main">
        <p15:guide id="1" orient="horz" pos="4200">
          <p15:clr>
            <a:srgbClr val="FBAE40"/>
          </p15:clr>
        </p15:guide>
        <p15:guide id="2" pos="26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reserve="1">
  <p:cSld name="2_Print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58488" name="Rectangle 56"/>
          <p:cNvSpPr>
            <a:spLocks noGrp="1" noChangeArrowheads="1"/>
          </p:cNvSpPr>
          <p:nvPr>
            <p:ph type="ctrTitle"/>
          </p:nvPr>
        </p:nvSpPr>
        <p:spPr>
          <a:xfrm>
            <a:off x="679879" y="2040360"/>
            <a:ext cx="7825945" cy="608013"/>
          </a:xfrm>
          <a:ln algn="ctr"/>
        </p:spPr>
        <p:txBody>
          <a:bodyPr lIns="91440" tIns="45720" anchor="b"/>
          <a:lstStyle>
            <a:lvl1pPr>
              <a:defRPr sz="2800">
                <a:solidFill>
                  <a:srgbClr val="333F48"/>
                </a:solidFill>
              </a:defRPr>
            </a:lvl1pPr>
          </a:lstStyle>
          <a:p>
            <a:r>
              <a:rPr lang="en-US" dirty="0"/>
              <a:t>Click to edit Master title style</a:t>
            </a:r>
          </a:p>
        </p:txBody>
      </p:sp>
      <p:sp>
        <p:nvSpPr>
          <p:cNvPr id="658489" name="Rectangle 57"/>
          <p:cNvSpPr>
            <a:spLocks noGrp="1" noChangeArrowheads="1"/>
          </p:cNvSpPr>
          <p:nvPr>
            <p:ph type="subTitle" idx="1"/>
          </p:nvPr>
        </p:nvSpPr>
        <p:spPr>
          <a:xfrm>
            <a:off x="679880" y="2752344"/>
            <a:ext cx="7825946" cy="283464"/>
          </a:xfrm>
          <a:ln algn="ctr"/>
        </p:spPr>
        <p:txBody>
          <a:bodyPr tIns="0"/>
          <a:lstStyle>
            <a:lvl1pPr marL="0" indent="0" algn="l" rtl="0" fontAlgn="base">
              <a:lnSpc>
                <a:spcPct val="100000"/>
              </a:lnSpc>
              <a:spcBef>
                <a:spcPct val="0"/>
              </a:spcBef>
              <a:spcAft>
                <a:spcPct val="0"/>
              </a:spcAft>
              <a:defRPr lang="en-US" sz="2000" b="0" kern="1200" dirty="0">
                <a:solidFill>
                  <a:srgbClr val="768692"/>
                </a:solidFill>
                <a:latin typeface="Arial"/>
                <a:ea typeface="ＭＳ Ｐゴシック" pitchFamily="34" charset="-128"/>
                <a:cs typeface="+mn-cs"/>
              </a:defRPr>
            </a:lvl1pPr>
          </a:lstStyle>
          <a:p>
            <a:r>
              <a:rPr lang="en-US" dirty="0"/>
              <a:t>Click to edit Master subtitle style</a:t>
            </a:r>
          </a:p>
        </p:txBody>
      </p:sp>
      <p:cxnSp>
        <p:nvCxnSpPr>
          <p:cNvPr id="6" name="Straight Connector 5"/>
          <p:cNvCxnSpPr/>
          <p:nvPr userDrawn="1"/>
        </p:nvCxnSpPr>
        <p:spPr bwMode="auto">
          <a:xfrm>
            <a:off x="791746" y="2642460"/>
            <a:ext cx="8352254" cy="0"/>
          </a:xfrm>
          <a:prstGeom prst="line">
            <a:avLst/>
          </a:prstGeom>
          <a:solidFill>
            <a:srgbClr val="009681"/>
          </a:solidFill>
          <a:ln w="9525" cap="flat" cmpd="sng" algn="ctr">
            <a:solidFill>
              <a:srgbClr val="768692"/>
            </a:solidFill>
            <a:prstDash val="solid"/>
            <a:round/>
            <a:headEnd type="none" w="med" len="med"/>
            <a:tailEnd type="none" w="med" len="med"/>
          </a:ln>
          <a:effectLst/>
        </p:spPr>
      </p:cxnSp>
      <p:sp>
        <p:nvSpPr>
          <p:cNvPr id="33" name="Rectangle 176">
            <a:extLst>
              <a:ext uri="{FF2B5EF4-FFF2-40B4-BE49-F238E27FC236}">
                <a16:creationId xmlns:a16="http://schemas.microsoft.com/office/drawing/2014/main" id="{1915DA86-8232-4CFB-ABCB-2035A42A021F}"/>
              </a:ext>
            </a:extLst>
          </p:cNvPr>
          <p:cNvSpPr>
            <a:spLocks noGrp="1" noChangeArrowheads="1"/>
          </p:cNvSpPr>
          <p:nvPr>
            <p:ph type="ftr" sz="quarter" idx="13"/>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grpSp>
        <p:nvGrpSpPr>
          <p:cNvPr id="34" name="Group 33">
            <a:extLst>
              <a:ext uri="{FF2B5EF4-FFF2-40B4-BE49-F238E27FC236}">
                <a16:creationId xmlns:a16="http://schemas.microsoft.com/office/drawing/2014/main" id="{6E491E4A-651F-48AC-A6C8-EC59F9AD7D06}"/>
              </a:ext>
            </a:extLst>
          </p:cNvPr>
          <p:cNvGrpSpPr/>
          <p:nvPr userDrawn="1"/>
        </p:nvGrpSpPr>
        <p:grpSpPr>
          <a:xfrm>
            <a:off x="7358173" y="6361974"/>
            <a:ext cx="1382376" cy="297562"/>
            <a:chOff x="6923088" y="4475163"/>
            <a:chExt cx="1873251" cy="403225"/>
          </a:xfrm>
        </p:grpSpPr>
        <p:sp>
          <p:nvSpPr>
            <p:cNvPr id="35" name="AutoShape 4">
              <a:extLst>
                <a:ext uri="{FF2B5EF4-FFF2-40B4-BE49-F238E27FC236}">
                  <a16:creationId xmlns:a16="http://schemas.microsoft.com/office/drawing/2014/main" id="{92BB2604-0C08-4E95-878E-50B8D625B64A}"/>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6">
              <a:extLst>
                <a:ext uri="{FF2B5EF4-FFF2-40B4-BE49-F238E27FC236}">
                  <a16:creationId xmlns:a16="http://schemas.microsoft.com/office/drawing/2014/main" id="{CDAB7644-4615-41D0-A30D-E7BE96BED5D6}"/>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7">
              <a:extLst>
                <a:ext uri="{FF2B5EF4-FFF2-40B4-BE49-F238E27FC236}">
                  <a16:creationId xmlns:a16="http://schemas.microsoft.com/office/drawing/2014/main" id="{B517EC5E-192F-4F17-9FED-AF02B396F84E}"/>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83">
              <a:extLst>
                <a:ext uri="{FF2B5EF4-FFF2-40B4-BE49-F238E27FC236}">
                  <a16:creationId xmlns:a16="http://schemas.microsoft.com/office/drawing/2014/main" id="{69F1933D-9448-4B36-B196-DDEE6CAE0659}"/>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84">
              <a:extLst>
                <a:ext uri="{FF2B5EF4-FFF2-40B4-BE49-F238E27FC236}">
                  <a16:creationId xmlns:a16="http://schemas.microsoft.com/office/drawing/2014/main" id="{DE60F175-C3E4-41F9-A712-B4687B1085FC}"/>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85">
              <a:extLst>
                <a:ext uri="{FF2B5EF4-FFF2-40B4-BE49-F238E27FC236}">
                  <a16:creationId xmlns:a16="http://schemas.microsoft.com/office/drawing/2014/main" id="{1002A179-0712-4A34-811E-199272919FE1}"/>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86">
              <a:extLst>
                <a:ext uri="{FF2B5EF4-FFF2-40B4-BE49-F238E27FC236}">
                  <a16:creationId xmlns:a16="http://schemas.microsoft.com/office/drawing/2014/main" id="{6E45A166-54B1-4806-A03E-C029EDBFD2DB}"/>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87">
              <a:extLst>
                <a:ext uri="{FF2B5EF4-FFF2-40B4-BE49-F238E27FC236}">
                  <a16:creationId xmlns:a16="http://schemas.microsoft.com/office/drawing/2014/main" id="{5FDCDB99-4572-492A-81FD-1BA8F961C1F2}"/>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88">
              <a:extLst>
                <a:ext uri="{FF2B5EF4-FFF2-40B4-BE49-F238E27FC236}">
                  <a16:creationId xmlns:a16="http://schemas.microsoft.com/office/drawing/2014/main" id="{1739976C-9789-46BD-8C58-3386B2CDC168}"/>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89">
              <a:extLst>
                <a:ext uri="{FF2B5EF4-FFF2-40B4-BE49-F238E27FC236}">
                  <a16:creationId xmlns:a16="http://schemas.microsoft.com/office/drawing/2014/main" id="{B7C1165A-5142-4852-9C37-20A50823053E}"/>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90">
              <a:extLst>
                <a:ext uri="{FF2B5EF4-FFF2-40B4-BE49-F238E27FC236}">
                  <a16:creationId xmlns:a16="http://schemas.microsoft.com/office/drawing/2014/main" id="{AD7FA8BE-8D21-4D62-B528-D820504B6E67}"/>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91">
              <a:extLst>
                <a:ext uri="{FF2B5EF4-FFF2-40B4-BE49-F238E27FC236}">
                  <a16:creationId xmlns:a16="http://schemas.microsoft.com/office/drawing/2014/main" id="{F5C08CB9-BBBC-4201-B208-494C22647503}"/>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92">
              <a:extLst>
                <a:ext uri="{FF2B5EF4-FFF2-40B4-BE49-F238E27FC236}">
                  <a16:creationId xmlns:a16="http://schemas.microsoft.com/office/drawing/2014/main" id="{255E4ABE-F03E-4C75-9459-E620F519BC9E}"/>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93">
              <a:extLst>
                <a:ext uri="{FF2B5EF4-FFF2-40B4-BE49-F238E27FC236}">
                  <a16:creationId xmlns:a16="http://schemas.microsoft.com/office/drawing/2014/main" id="{07AF6F3F-E021-458D-8465-DC3C1239EA51}"/>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94">
              <a:extLst>
                <a:ext uri="{FF2B5EF4-FFF2-40B4-BE49-F238E27FC236}">
                  <a16:creationId xmlns:a16="http://schemas.microsoft.com/office/drawing/2014/main" id="{3EE4DBF9-8EB0-4729-AEA0-70943DD19C7B}"/>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95">
              <a:extLst>
                <a:ext uri="{FF2B5EF4-FFF2-40B4-BE49-F238E27FC236}">
                  <a16:creationId xmlns:a16="http://schemas.microsoft.com/office/drawing/2014/main" id="{5EFE107D-23CF-4EE9-8C52-4E31BD4115C9}"/>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6">
              <a:extLst>
                <a:ext uri="{FF2B5EF4-FFF2-40B4-BE49-F238E27FC236}">
                  <a16:creationId xmlns:a16="http://schemas.microsoft.com/office/drawing/2014/main" id="{B43EC85C-D1F0-4F16-A0BE-C34C746477EB}"/>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7">
              <a:extLst>
                <a:ext uri="{FF2B5EF4-FFF2-40B4-BE49-F238E27FC236}">
                  <a16:creationId xmlns:a16="http://schemas.microsoft.com/office/drawing/2014/main" id="{C5E1B740-8036-460F-8BEF-16E07BC6773A}"/>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8">
              <a:extLst>
                <a:ext uri="{FF2B5EF4-FFF2-40B4-BE49-F238E27FC236}">
                  <a16:creationId xmlns:a16="http://schemas.microsoft.com/office/drawing/2014/main" id="{90AD1131-3DF6-45B8-B54A-CB7A74FCBA09}"/>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99">
              <a:extLst>
                <a:ext uri="{FF2B5EF4-FFF2-40B4-BE49-F238E27FC236}">
                  <a16:creationId xmlns:a16="http://schemas.microsoft.com/office/drawing/2014/main" id="{4D5AF187-0F8D-4F41-821A-7BEEBE0B0912}"/>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100">
              <a:extLst>
                <a:ext uri="{FF2B5EF4-FFF2-40B4-BE49-F238E27FC236}">
                  <a16:creationId xmlns:a16="http://schemas.microsoft.com/office/drawing/2014/main" id="{DCD57929-0B66-483F-BF80-253DC3259EE3}"/>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101">
              <a:extLst>
                <a:ext uri="{FF2B5EF4-FFF2-40B4-BE49-F238E27FC236}">
                  <a16:creationId xmlns:a16="http://schemas.microsoft.com/office/drawing/2014/main" id="{344D7D52-6BD6-48EA-AAF4-F3902DC8A4EB}"/>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102">
              <a:extLst>
                <a:ext uri="{FF2B5EF4-FFF2-40B4-BE49-F238E27FC236}">
                  <a16:creationId xmlns:a16="http://schemas.microsoft.com/office/drawing/2014/main" id="{62BC31DC-1880-4EBD-9B23-8B4F02431456}"/>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03">
              <a:extLst>
                <a:ext uri="{FF2B5EF4-FFF2-40B4-BE49-F238E27FC236}">
                  <a16:creationId xmlns:a16="http://schemas.microsoft.com/office/drawing/2014/main" id="{A17B346B-B28C-479A-95B4-B7581B054E12}"/>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104">
              <a:extLst>
                <a:ext uri="{FF2B5EF4-FFF2-40B4-BE49-F238E27FC236}">
                  <a16:creationId xmlns:a16="http://schemas.microsoft.com/office/drawing/2014/main" id="{6FC05530-7333-404A-9178-0D15215A2B1F}"/>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105">
              <a:extLst>
                <a:ext uri="{FF2B5EF4-FFF2-40B4-BE49-F238E27FC236}">
                  <a16:creationId xmlns:a16="http://schemas.microsoft.com/office/drawing/2014/main" id="{5F770C28-FD3C-40A5-89CB-BB34B0A8A77B}"/>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Tree>
    <p:extLst>
      <p:ext uri="{BB962C8B-B14F-4D97-AF65-F5344CB8AC3E}">
        <p14:creationId xmlns:p14="http://schemas.microsoft.com/office/powerpoint/2010/main" val="295476681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reserve="1">
  <p:cSld name="3_Print Divider Speaker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58488" name="Rectangle 56"/>
          <p:cNvSpPr>
            <a:spLocks noGrp="1" noChangeArrowheads="1"/>
          </p:cNvSpPr>
          <p:nvPr>
            <p:ph type="ctrTitle"/>
          </p:nvPr>
        </p:nvSpPr>
        <p:spPr>
          <a:xfrm>
            <a:off x="679879" y="2040360"/>
            <a:ext cx="7825945" cy="608013"/>
          </a:xfrm>
          <a:ln algn="ctr"/>
        </p:spPr>
        <p:txBody>
          <a:bodyPr lIns="91440" tIns="45720" anchor="b"/>
          <a:lstStyle>
            <a:lvl1pPr>
              <a:defRPr sz="2800">
                <a:solidFill>
                  <a:srgbClr val="333F48"/>
                </a:solidFill>
              </a:defRPr>
            </a:lvl1pPr>
          </a:lstStyle>
          <a:p>
            <a:r>
              <a:rPr lang="en-US" dirty="0"/>
              <a:t>Click to edit Master title style</a:t>
            </a:r>
          </a:p>
        </p:txBody>
      </p:sp>
      <p:sp>
        <p:nvSpPr>
          <p:cNvPr id="658489" name="Rectangle 57"/>
          <p:cNvSpPr>
            <a:spLocks noGrp="1" noChangeArrowheads="1"/>
          </p:cNvSpPr>
          <p:nvPr>
            <p:ph type="subTitle" idx="1"/>
          </p:nvPr>
        </p:nvSpPr>
        <p:spPr>
          <a:xfrm>
            <a:off x="679880" y="2819387"/>
            <a:ext cx="7825945" cy="282925"/>
          </a:xfrm>
          <a:ln algn="ctr"/>
        </p:spPr>
        <p:txBody>
          <a:bodyPr tIns="0"/>
          <a:lstStyle>
            <a:lvl1pPr marL="0" indent="0" algn="l" rtl="0" fontAlgn="base">
              <a:lnSpc>
                <a:spcPct val="100000"/>
              </a:lnSpc>
              <a:spcBef>
                <a:spcPts val="600"/>
              </a:spcBef>
              <a:spcAft>
                <a:spcPct val="0"/>
              </a:spcAft>
              <a:defRPr lang="en-US" sz="1600" b="1" kern="1200" baseline="0" dirty="0">
                <a:solidFill>
                  <a:srgbClr val="768692"/>
                </a:solidFill>
                <a:latin typeface="Arial"/>
                <a:ea typeface="ＭＳ Ｐゴシック" pitchFamily="34" charset="-128"/>
                <a:cs typeface="+mn-cs"/>
              </a:defRPr>
            </a:lvl1pPr>
          </a:lstStyle>
          <a:p>
            <a:r>
              <a:rPr lang="en-US" dirty="0"/>
              <a:t>Click to edit Master subtitle style</a:t>
            </a:r>
          </a:p>
        </p:txBody>
      </p:sp>
      <p:cxnSp>
        <p:nvCxnSpPr>
          <p:cNvPr id="6" name="Straight Connector 5"/>
          <p:cNvCxnSpPr/>
          <p:nvPr userDrawn="1"/>
        </p:nvCxnSpPr>
        <p:spPr bwMode="auto">
          <a:xfrm>
            <a:off x="791746" y="2642460"/>
            <a:ext cx="8352254" cy="0"/>
          </a:xfrm>
          <a:prstGeom prst="line">
            <a:avLst/>
          </a:prstGeom>
          <a:solidFill>
            <a:srgbClr val="009681"/>
          </a:solidFill>
          <a:ln w="9525" cap="flat" cmpd="sng" algn="ctr">
            <a:solidFill>
              <a:srgbClr val="768692"/>
            </a:solidFill>
            <a:prstDash val="solid"/>
            <a:round/>
            <a:headEnd type="none" w="med" len="med"/>
            <a:tailEnd type="none" w="med" len="med"/>
          </a:ln>
          <a:effectLst/>
        </p:spPr>
      </p:cxnSp>
      <p:sp>
        <p:nvSpPr>
          <p:cNvPr id="33" name="Rectangle 176">
            <a:extLst>
              <a:ext uri="{FF2B5EF4-FFF2-40B4-BE49-F238E27FC236}">
                <a16:creationId xmlns:a16="http://schemas.microsoft.com/office/drawing/2014/main" id="{B484B7E2-0DA0-43F9-A323-18FCE040F51E}"/>
              </a:ext>
            </a:extLst>
          </p:cNvPr>
          <p:cNvSpPr>
            <a:spLocks noGrp="1" noChangeArrowheads="1"/>
          </p:cNvSpPr>
          <p:nvPr>
            <p:ph type="ftr" sz="quarter" idx="13"/>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grpSp>
        <p:nvGrpSpPr>
          <p:cNvPr id="34" name="Group 33">
            <a:extLst>
              <a:ext uri="{FF2B5EF4-FFF2-40B4-BE49-F238E27FC236}">
                <a16:creationId xmlns:a16="http://schemas.microsoft.com/office/drawing/2014/main" id="{FE8185CB-A5E7-4066-9FA0-0155BE7B3445}"/>
              </a:ext>
            </a:extLst>
          </p:cNvPr>
          <p:cNvGrpSpPr/>
          <p:nvPr userDrawn="1"/>
        </p:nvGrpSpPr>
        <p:grpSpPr>
          <a:xfrm>
            <a:off x="7358173" y="6361974"/>
            <a:ext cx="1382376" cy="297562"/>
            <a:chOff x="6923088" y="4475163"/>
            <a:chExt cx="1873251" cy="403225"/>
          </a:xfrm>
        </p:grpSpPr>
        <p:sp>
          <p:nvSpPr>
            <p:cNvPr id="35" name="AutoShape 4">
              <a:extLst>
                <a:ext uri="{FF2B5EF4-FFF2-40B4-BE49-F238E27FC236}">
                  <a16:creationId xmlns:a16="http://schemas.microsoft.com/office/drawing/2014/main" id="{54090E39-9264-4241-AE7D-273DB52F2D7A}"/>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6">
              <a:extLst>
                <a:ext uri="{FF2B5EF4-FFF2-40B4-BE49-F238E27FC236}">
                  <a16:creationId xmlns:a16="http://schemas.microsoft.com/office/drawing/2014/main" id="{38C7356C-02DF-4FB8-9AAE-EC6EDF7D1BB4}"/>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7">
              <a:extLst>
                <a:ext uri="{FF2B5EF4-FFF2-40B4-BE49-F238E27FC236}">
                  <a16:creationId xmlns:a16="http://schemas.microsoft.com/office/drawing/2014/main" id="{36DD2B8C-46BB-45B4-8D33-2B37F1502579}"/>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83">
              <a:extLst>
                <a:ext uri="{FF2B5EF4-FFF2-40B4-BE49-F238E27FC236}">
                  <a16:creationId xmlns:a16="http://schemas.microsoft.com/office/drawing/2014/main" id="{4838DB0B-6201-4280-B1E6-42D643B7A3C5}"/>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84">
              <a:extLst>
                <a:ext uri="{FF2B5EF4-FFF2-40B4-BE49-F238E27FC236}">
                  <a16:creationId xmlns:a16="http://schemas.microsoft.com/office/drawing/2014/main" id="{CFC419DC-C083-4801-857F-D572796FB759}"/>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85">
              <a:extLst>
                <a:ext uri="{FF2B5EF4-FFF2-40B4-BE49-F238E27FC236}">
                  <a16:creationId xmlns:a16="http://schemas.microsoft.com/office/drawing/2014/main" id="{2FBF6124-4694-4092-873B-E710CEE0B2BA}"/>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86">
              <a:extLst>
                <a:ext uri="{FF2B5EF4-FFF2-40B4-BE49-F238E27FC236}">
                  <a16:creationId xmlns:a16="http://schemas.microsoft.com/office/drawing/2014/main" id="{ADBD3540-5128-45B7-9F40-B258BDA6966E}"/>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87">
              <a:extLst>
                <a:ext uri="{FF2B5EF4-FFF2-40B4-BE49-F238E27FC236}">
                  <a16:creationId xmlns:a16="http://schemas.microsoft.com/office/drawing/2014/main" id="{B059B5B7-91CA-4649-8B53-44AD84933192}"/>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88">
              <a:extLst>
                <a:ext uri="{FF2B5EF4-FFF2-40B4-BE49-F238E27FC236}">
                  <a16:creationId xmlns:a16="http://schemas.microsoft.com/office/drawing/2014/main" id="{93DD4B84-6485-409C-B87E-3646C032B17D}"/>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89">
              <a:extLst>
                <a:ext uri="{FF2B5EF4-FFF2-40B4-BE49-F238E27FC236}">
                  <a16:creationId xmlns:a16="http://schemas.microsoft.com/office/drawing/2014/main" id="{B2A89247-AD5E-494B-A01F-AA8473E0ABDB}"/>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90">
              <a:extLst>
                <a:ext uri="{FF2B5EF4-FFF2-40B4-BE49-F238E27FC236}">
                  <a16:creationId xmlns:a16="http://schemas.microsoft.com/office/drawing/2014/main" id="{F1D0C938-A835-4324-8D5C-1BCC115F4A1F}"/>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91">
              <a:extLst>
                <a:ext uri="{FF2B5EF4-FFF2-40B4-BE49-F238E27FC236}">
                  <a16:creationId xmlns:a16="http://schemas.microsoft.com/office/drawing/2014/main" id="{47A3B94D-68B0-494B-8A5A-5C8156E27464}"/>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92">
              <a:extLst>
                <a:ext uri="{FF2B5EF4-FFF2-40B4-BE49-F238E27FC236}">
                  <a16:creationId xmlns:a16="http://schemas.microsoft.com/office/drawing/2014/main" id="{251C2BF2-3601-470E-8637-7A03E5D5F691}"/>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93">
              <a:extLst>
                <a:ext uri="{FF2B5EF4-FFF2-40B4-BE49-F238E27FC236}">
                  <a16:creationId xmlns:a16="http://schemas.microsoft.com/office/drawing/2014/main" id="{8B29A117-A98B-4B45-8E40-B113D08662C9}"/>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94">
              <a:extLst>
                <a:ext uri="{FF2B5EF4-FFF2-40B4-BE49-F238E27FC236}">
                  <a16:creationId xmlns:a16="http://schemas.microsoft.com/office/drawing/2014/main" id="{D98A2F51-4594-42D0-9CFA-811C06B01969}"/>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95">
              <a:extLst>
                <a:ext uri="{FF2B5EF4-FFF2-40B4-BE49-F238E27FC236}">
                  <a16:creationId xmlns:a16="http://schemas.microsoft.com/office/drawing/2014/main" id="{3434C97A-68DF-4323-AF08-FCD315B763F2}"/>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6">
              <a:extLst>
                <a:ext uri="{FF2B5EF4-FFF2-40B4-BE49-F238E27FC236}">
                  <a16:creationId xmlns:a16="http://schemas.microsoft.com/office/drawing/2014/main" id="{6D078BDC-B166-4D00-83F4-0E4E651F6231}"/>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7">
              <a:extLst>
                <a:ext uri="{FF2B5EF4-FFF2-40B4-BE49-F238E27FC236}">
                  <a16:creationId xmlns:a16="http://schemas.microsoft.com/office/drawing/2014/main" id="{CC49EA8B-F044-4C8B-8365-A97ABA3F96B8}"/>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8">
              <a:extLst>
                <a:ext uri="{FF2B5EF4-FFF2-40B4-BE49-F238E27FC236}">
                  <a16:creationId xmlns:a16="http://schemas.microsoft.com/office/drawing/2014/main" id="{5C86876F-7563-4974-874B-6E1F95BE0B8A}"/>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99">
              <a:extLst>
                <a:ext uri="{FF2B5EF4-FFF2-40B4-BE49-F238E27FC236}">
                  <a16:creationId xmlns:a16="http://schemas.microsoft.com/office/drawing/2014/main" id="{0E981D19-361D-4DF7-B5BD-4BF9CE4F5ECB}"/>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100">
              <a:extLst>
                <a:ext uri="{FF2B5EF4-FFF2-40B4-BE49-F238E27FC236}">
                  <a16:creationId xmlns:a16="http://schemas.microsoft.com/office/drawing/2014/main" id="{3309204B-DE1F-4E1F-8C66-98C0BBFF53A7}"/>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101">
              <a:extLst>
                <a:ext uri="{FF2B5EF4-FFF2-40B4-BE49-F238E27FC236}">
                  <a16:creationId xmlns:a16="http://schemas.microsoft.com/office/drawing/2014/main" id="{499849A3-E919-41EC-9D8A-FBF497BDEBF3}"/>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102">
              <a:extLst>
                <a:ext uri="{FF2B5EF4-FFF2-40B4-BE49-F238E27FC236}">
                  <a16:creationId xmlns:a16="http://schemas.microsoft.com/office/drawing/2014/main" id="{5B5BA211-AA1C-48E9-9EA5-CE2CD934858A}"/>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03">
              <a:extLst>
                <a:ext uri="{FF2B5EF4-FFF2-40B4-BE49-F238E27FC236}">
                  <a16:creationId xmlns:a16="http://schemas.microsoft.com/office/drawing/2014/main" id="{227A9513-F530-4FDF-8BE1-5501A6849CCC}"/>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104">
              <a:extLst>
                <a:ext uri="{FF2B5EF4-FFF2-40B4-BE49-F238E27FC236}">
                  <a16:creationId xmlns:a16="http://schemas.microsoft.com/office/drawing/2014/main" id="{8E287E30-9E4E-4DA8-B6C9-7C15FD300BF6}"/>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105">
              <a:extLst>
                <a:ext uri="{FF2B5EF4-FFF2-40B4-BE49-F238E27FC236}">
                  <a16:creationId xmlns:a16="http://schemas.microsoft.com/office/drawing/2014/main" id="{0435349B-A42F-42B2-B1C8-78BBCE97204E}"/>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Tree>
    <p:extLst>
      <p:ext uri="{BB962C8B-B14F-4D97-AF65-F5344CB8AC3E}">
        <p14:creationId xmlns:p14="http://schemas.microsoft.com/office/powerpoint/2010/main" val="29309457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3_Print Divider Speaker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58488" name="Rectangle 56"/>
          <p:cNvSpPr>
            <a:spLocks noGrp="1" noChangeArrowheads="1"/>
          </p:cNvSpPr>
          <p:nvPr>
            <p:ph type="ctrTitle"/>
          </p:nvPr>
        </p:nvSpPr>
        <p:spPr>
          <a:xfrm>
            <a:off x="679879" y="2040360"/>
            <a:ext cx="7825945" cy="608013"/>
          </a:xfrm>
          <a:ln algn="ctr"/>
        </p:spPr>
        <p:txBody>
          <a:bodyPr lIns="91440" tIns="45720" anchor="b"/>
          <a:lstStyle>
            <a:lvl1pPr>
              <a:defRPr sz="2800">
                <a:solidFill>
                  <a:srgbClr val="333F48"/>
                </a:solidFill>
              </a:defRPr>
            </a:lvl1pPr>
          </a:lstStyle>
          <a:p>
            <a:r>
              <a:rPr lang="en-US"/>
              <a:t>Click to edit Master title style</a:t>
            </a:r>
            <a:endParaRPr lang="en-US" dirty="0"/>
          </a:p>
        </p:txBody>
      </p:sp>
      <p:sp>
        <p:nvSpPr>
          <p:cNvPr id="658489" name="Rectangle 57"/>
          <p:cNvSpPr>
            <a:spLocks noGrp="1" noChangeArrowheads="1"/>
          </p:cNvSpPr>
          <p:nvPr>
            <p:ph type="subTitle" idx="1"/>
          </p:nvPr>
        </p:nvSpPr>
        <p:spPr>
          <a:xfrm>
            <a:off x="679880" y="2819387"/>
            <a:ext cx="7825945" cy="282925"/>
          </a:xfrm>
          <a:ln algn="ctr"/>
        </p:spPr>
        <p:txBody>
          <a:bodyPr tIns="0"/>
          <a:lstStyle>
            <a:lvl1pPr marL="0" indent="0" algn="l" rtl="0" fontAlgn="base">
              <a:lnSpc>
                <a:spcPct val="100000"/>
              </a:lnSpc>
              <a:spcBef>
                <a:spcPts val="600"/>
              </a:spcBef>
              <a:spcAft>
                <a:spcPct val="0"/>
              </a:spcAft>
              <a:defRPr lang="en-US" sz="1600" b="1" kern="1200" baseline="0" dirty="0">
                <a:solidFill>
                  <a:srgbClr val="768692"/>
                </a:solidFill>
                <a:latin typeface="Arial"/>
                <a:ea typeface="ＭＳ Ｐゴシック" pitchFamily="34" charset="-128"/>
                <a:cs typeface="+mn-cs"/>
              </a:defRPr>
            </a:lvl1pPr>
          </a:lstStyle>
          <a:p>
            <a:r>
              <a:rPr lang="en-US"/>
              <a:t>Click to edit Master subtitle style</a:t>
            </a:r>
            <a:endParaRPr lang="en-US" dirty="0"/>
          </a:p>
        </p:txBody>
      </p:sp>
      <p:sp>
        <p:nvSpPr>
          <p:cNvPr id="60" name="Rectangle 176"/>
          <p:cNvSpPr>
            <a:spLocks noGrp="1" noChangeArrowheads="1"/>
          </p:cNvSpPr>
          <p:nvPr>
            <p:ph type="ftr" sz="quarter" idx="13"/>
          </p:nvPr>
        </p:nvSpPr>
        <p:spPr>
          <a:xfrm>
            <a:off x="320040" y="6483096"/>
            <a:ext cx="3931920" cy="173736"/>
          </a:xfrm>
        </p:spPr>
        <p:txBody>
          <a:bodyPr/>
          <a:lstStyle>
            <a:lvl1pPr algn="l">
              <a:defRPr sz="800" b="0" smtClean="0">
                <a:solidFill>
                  <a:srgbClr val="000000"/>
                </a:solidFill>
              </a:defRPr>
            </a:lvl1pPr>
          </a:lstStyle>
          <a:p>
            <a:pPr>
              <a:defRPr/>
            </a:pPr>
            <a:r>
              <a:rPr lang="en-US"/>
              <a:t>For institutional use only</a:t>
            </a:r>
            <a:endParaRPr lang="en-US" dirty="0"/>
          </a:p>
        </p:txBody>
      </p:sp>
      <p:cxnSp>
        <p:nvCxnSpPr>
          <p:cNvPr id="6" name="Straight Connector 5"/>
          <p:cNvCxnSpPr/>
          <p:nvPr userDrawn="1"/>
        </p:nvCxnSpPr>
        <p:spPr bwMode="auto">
          <a:xfrm>
            <a:off x="791746" y="2642460"/>
            <a:ext cx="8352254" cy="0"/>
          </a:xfrm>
          <a:prstGeom prst="line">
            <a:avLst/>
          </a:prstGeom>
          <a:solidFill>
            <a:srgbClr val="009681"/>
          </a:solidFill>
          <a:ln w="9525" cap="flat" cmpd="sng" algn="ctr">
            <a:solidFill>
              <a:srgbClr val="768692"/>
            </a:solidFill>
            <a:prstDash val="solid"/>
            <a:round/>
            <a:headEnd type="none" w="med" len="med"/>
            <a:tailEnd type="none" w="med" len="med"/>
          </a:ln>
          <a:effectLst/>
        </p:spPr>
      </p:cxnSp>
      <p:grpSp>
        <p:nvGrpSpPr>
          <p:cNvPr id="7" name="Group 6"/>
          <p:cNvGrpSpPr/>
          <p:nvPr userDrawn="1"/>
        </p:nvGrpSpPr>
        <p:grpSpPr>
          <a:xfrm>
            <a:off x="7364320" y="6412511"/>
            <a:ext cx="1371600" cy="283464"/>
            <a:chOff x="4291013" y="3178175"/>
            <a:chExt cx="3197225" cy="688975"/>
          </a:xfrm>
        </p:grpSpPr>
        <p:sp>
          <p:nvSpPr>
            <p:cNvPr id="8"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Tree>
    <p:extLst>
      <p:ext uri="{BB962C8B-B14F-4D97-AF65-F5344CB8AC3E}">
        <p14:creationId xmlns:p14="http://schemas.microsoft.com/office/powerpoint/2010/main" val="21382999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 preserve="1">
  <p:cSld name="3_Onscreen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7" name="Picture 6" descr="A picture containing computer, white&#10;&#10;Description automatically generated">
            <a:extLst>
              <a:ext uri="{FF2B5EF4-FFF2-40B4-BE49-F238E27FC236}">
                <a16:creationId xmlns:a16="http://schemas.microsoft.com/office/drawing/2014/main" id="{CC830CB5-AA2C-4AA3-832A-EFBA5F2BD78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9" name="Picture 8">
            <a:extLst>
              <a:ext uri="{FF2B5EF4-FFF2-40B4-BE49-F238E27FC236}">
                <a16:creationId xmlns:a16="http://schemas.microsoft.com/office/drawing/2014/main" id="{CDC928D7-A04F-4547-BBD5-672959CF47E8}"/>
              </a:ext>
            </a:extLst>
          </p:cNvPr>
          <p:cNvPicPr>
            <a:picLocks noChangeAspect="1"/>
          </p:cNvPicPr>
          <p:nvPr userDrawn="1"/>
        </p:nvPicPr>
        <p:blipFill>
          <a:blip r:embed="rId4"/>
          <a:stretch>
            <a:fillRect/>
          </a:stretch>
        </p:blipFill>
        <p:spPr>
          <a:xfrm>
            <a:off x="7358173" y="6361044"/>
            <a:ext cx="1394004" cy="306432"/>
          </a:xfrm>
          <a:prstGeom prst="rect">
            <a:avLst/>
          </a:prstGeom>
        </p:spPr>
      </p:pic>
      <p:sp>
        <p:nvSpPr>
          <p:cNvPr id="658488" name="Rectangle 56"/>
          <p:cNvSpPr>
            <a:spLocks noGrp="1" noChangeArrowheads="1"/>
          </p:cNvSpPr>
          <p:nvPr>
            <p:ph type="ctrTitle"/>
          </p:nvPr>
        </p:nvSpPr>
        <p:spPr>
          <a:xfrm>
            <a:off x="679879" y="2040360"/>
            <a:ext cx="7821025" cy="608013"/>
          </a:xfrm>
          <a:ln algn="ctr"/>
        </p:spPr>
        <p:txBody>
          <a:bodyPr lIns="91440" tIns="45720" anchor="b"/>
          <a:lstStyle>
            <a:lvl1pPr>
              <a:defRPr sz="2800">
                <a:solidFill>
                  <a:schemeClr val="bg1"/>
                </a:solidFill>
              </a:defRPr>
            </a:lvl1pPr>
          </a:lstStyle>
          <a:p>
            <a:r>
              <a:rPr lang="en-US" dirty="0"/>
              <a:t>Click to edit Master title style</a:t>
            </a:r>
          </a:p>
        </p:txBody>
      </p:sp>
      <p:sp>
        <p:nvSpPr>
          <p:cNvPr id="658489" name="Rectangle 57"/>
          <p:cNvSpPr>
            <a:spLocks noGrp="1" noChangeArrowheads="1"/>
          </p:cNvSpPr>
          <p:nvPr>
            <p:ph type="subTitle" idx="1"/>
          </p:nvPr>
        </p:nvSpPr>
        <p:spPr>
          <a:xfrm>
            <a:off x="679880" y="2747852"/>
            <a:ext cx="7825945" cy="282925"/>
          </a:xfrm>
          <a:ln algn="ctr"/>
        </p:spPr>
        <p:txBody>
          <a:bodyPr tIns="0"/>
          <a:lstStyle>
            <a:lvl1pPr marL="0" indent="0" algn="l" rtl="0" fontAlgn="base">
              <a:lnSpc>
                <a:spcPct val="100000"/>
              </a:lnSpc>
              <a:spcBef>
                <a:spcPct val="0"/>
              </a:spcBef>
              <a:spcAft>
                <a:spcPct val="0"/>
              </a:spcAft>
              <a:defRPr lang="en-US" sz="2000" b="0" kern="1200" dirty="0">
                <a:solidFill>
                  <a:srgbClr val="7A9A3D"/>
                </a:solidFill>
                <a:latin typeface="Arial"/>
                <a:ea typeface="ＭＳ Ｐゴシック" pitchFamily="34" charset="-128"/>
                <a:cs typeface="+mn-cs"/>
              </a:defRPr>
            </a:lvl1pPr>
          </a:lstStyle>
          <a:p>
            <a:r>
              <a:rPr lang="en-US" dirty="0"/>
              <a:t>Click to edit Master subtitle style</a:t>
            </a:r>
          </a:p>
        </p:txBody>
      </p:sp>
      <p:cxnSp>
        <p:nvCxnSpPr>
          <p:cNvPr id="66" name="Straight Connector 65"/>
          <p:cNvCxnSpPr/>
          <p:nvPr userDrawn="1"/>
        </p:nvCxnSpPr>
        <p:spPr bwMode="auto">
          <a:xfrm>
            <a:off x="791746" y="2646606"/>
            <a:ext cx="8352254" cy="0"/>
          </a:xfrm>
          <a:prstGeom prst="line">
            <a:avLst/>
          </a:prstGeom>
          <a:solidFill>
            <a:srgbClr val="009681"/>
          </a:solidFill>
          <a:ln w="9525" cap="flat" cmpd="sng" algn="ctr">
            <a:solidFill>
              <a:srgbClr val="768692"/>
            </a:solidFill>
            <a:prstDash val="solid"/>
            <a:round/>
            <a:headEnd type="none" w="med" len="med"/>
            <a:tailEnd type="none" w="med" len="med"/>
          </a:ln>
          <a:effectLst/>
        </p:spPr>
      </p:cxnSp>
      <p:sp>
        <p:nvSpPr>
          <p:cNvPr id="10" name="Rectangle 176">
            <a:extLst>
              <a:ext uri="{FF2B5EF4-FFF2-40B4-BE49-F238E27FC236}">
                <a16:creationId xmlns:a16="http://schemas.microsoft.com/office/drawing/2014/main" id="{3F9402B1-B0CF-4674-B300-6165C29DE572}"/>
              </a:ext>
            </a:extLst>
          </p:cNvPr>
          <p:cNvSpPr>
            <a:spLocks noGrp="1" noChangeArrowheads="1"/>
          </p:cNvSpPr>
          <p:nvPr>
            <p:ph type="ftr" sz="quarter" idx="13"/>
          </p:nvPr>
        </p:nvSpPr>
        <p:spPr>
          <a:xfrm>
            <a:off x="320040" y="6508597"/>
            <a:ext cx="3931920" cy="173736"/>
          </a:xfrm>
        </p:spPr>
        <p:txBody>
          <a:bodyPr/>
          <a:lstStyle>
            <a:lvl1pPr algn="l">
              <a:defRPr sz="800" b="0" smtClean="0">
                <a:solidFill>
                  <a:schemeClr val="bg1"/>
                </a:solidFill>
              </a:defRPr>
            </a:lvl1pPr>
          </a:lstStyle>
          <a:p>
            <a:pPr>
              <a:defRPr/>
            </a:pPr>
            <a:r>
              <a:rPr lang="en-US" dirty="0">
                <a:solidFill>
                  <a:srgbClr val="FFFFFF"/>
                </a:solidFill>
              </a:rPr>
              <a:t>Page footer, i.e., For institutional use only.</a:t>
            </a:r>
          </a:p>
        </p:txBody>
      </p:sp>
    </p:spTree>
    <p:extLst>
      <p:ext uri="{BB962C8B-B14F-4D97-AF65-F5344CB8AC3E}">
        <p14:creationId xmlns:p14="http://schemas.microsoft.com/office/powerpoint/2010/main" val="29566185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 preserve="1">
  <p:cSld name="4_Onscreen Divider Speakers">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7" name="Picture 6" descr="A picture containing computer, white&#10;&#10;Description automatically generated">
            <a:extLst>
              <a:ext uri="{FF2B5EF4-FFF2-40B4-BE49-F238E27FC236}">
                <a16:creationId xmlns:a16="http://schemas.microsoft.com/office/drawing/2014/main" id="{90FED0A3-17C5-456F-97FC-14C568A0873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9" name="Picture 8">
            <a:extLst>
              <a:ext uri="{FF2B5EF4-FFF2-40B4-BE49-F238E27FC236}">
                <a16:creationId xmlns:a16="http://schemas.microsoft.com/office/drawing/2014/main" id="{2CD78BB1-3C6F-4623-B686-1D5445E94693}"/>
              </a:ext>
            </a:extLst>
          </p:cNvPr>
          <p:cNvPicPr>
            <a:picLocks noChangeAspect="1"/>
          </p:cNvPicPr>
          <p:nvPr userDrawn="1"/>
        </p:nvPicPr>
        <p:blipFill>
          <a:blip r:embed="rId4"/>
          <a:stretch>
            <a:fillRect/>
          </a:stretch>
        </p:blipFill>
        <p:spPr>
          <a:xfrm>
            <a:off x="7358173" y="6361044"/>
            <a:ext cx="1394004" cy="306432"/>
          </a:xfrm>
          <a:prstGeom prst="rect">
            <a:avLst/>
          </a:prstGeom>
        </p:spPr>
      </p:pic>
      <p:sp>
        <p:nvSpPr>
          <p:cNvPr id="658488" name="Rectangle 56"/>
          <p:cNvSpPr>
            <a:spLocks noGrp="1" noChangeArrowheads="1"/>
          </p:cNvSpPr>
          <p:nvPr>
            <p:ph type="ctrTitle"/>
          </p:nvPr>
        </p:nvSpPr>
        <p:spPr>
          <a:xfrm>
            <a:off x="679879" y="2040360"/>
            <a:ext cx="7825945" cy="608013"/>
          </a:xfrm>
          <a:ln algn="ctr"/>
        </p:spPr>
        <p:txBody>
          <a:bodyPr lIns="91440" tIns="45720" anchor="b"/>
          <a:lstStyle>
            <a:lvl1pPr>
              <a:defRPr sz="2800">
                <a:solidFill>
                  <a:schemeClr val="bg1"/>
                </a:solidFill>
              </a:defRPr>
            </a:lvl1pPr>
          </a:lstStyle>
          <a:p>
            <a:r>
              <a:rPr lang="en-US" dirty="0"/>
              <a:t>Click to edit Master title style</a:t>
            </a:r>
          </a:p>
        </p:txBody>
      </p:sp>
      <p:sp>
        <p:nvSpPr>
          <p:cNvPr id="658489" name="Rectangle 57"/>
          <p:cNvSpPr>
            <a:spLocks noGrp="1" noChangeArrowheads="1"/>
          </p:cNvSpPr>
          <p:nvPr>
            <p:ph type="subTitle" idx="1"/>
          </p:nvPr>
        </p:nvSpPr>
        <p:spPr>
          <a:xfrm>
            <a:off x="679880" y="2828236"/>
            <a:ext cx="7825945" cy="282925"/>
          </a:xfrm>
          <a:ln algn="ctr"/>
        </p:spPr>
        <p:txBody>
          <a:bodyPr tIns="0"/>
          <a:lstStyle>
            <a:lvl1pPr marL="0" indent="0" algn="l" rtl="0" fontAlgn="base">
              <a:lnSpc>
                <a:spcPct val="100000"/>
              </a:lnSpc>
              <a:spcBef>
                <a:spcPts val="600"/>
              </a:spcBef>
              <a:spcAft>
                <a:spcPct val="0"/>
              </a:spcAft>
              <a:defRPr lang="en-US" sz="2000" b="1" kern="1200" dirty="0">
                <a:solidFill>
                  <a:srgbClr val="7A9A3D"/>
                </a:solidFill>
                <a:latin typeface="Arial"/>
                <a:ea typeface="ＭＳ Ｐゴシック" pitchFamily="34" charset="-128"/>
                <a:cs typeface="+mn-cs"/>
              </a:defRPr>
            </a:lvl1pPr>
          </a:lstStyle>
          <a:p>
            <a:r>
              <a:rPr lang="en-US" dirty="0"/>
              <a:t>Click to edit Master subtitle style</a:t>
            </a:r>
          </a:p>
        </p:txBody>
      </p:sp>
      <p:cxnSp>
        <p:nvCxnSpPr>
          <p:cNvPr id="66" name="Straight Connector 65"/>
          <p:cNvCxnSpPr/>
          <p:nvPr userDrawn="1"/>
        </p:nvCxnSpPr>
        <p:spPr bwMode="auto">
          <a:xfrm>
            <a:off x="791746" y="2646606"/>
            <a:ext cx="8352254" cy="0"/>
          </a:xfrm>
          <a:prstGeom prst="line">
            <a:avLst/>
          </a:prstGeom>
          <a:solidFill>
            <a:srgbClr val="009681"/>
          </a:solidFill>
          <a:ln w="9525" cap="flat" cmpd="sng" algn="ctr">
            <a:solidFill>
              <a:srgbClr val="768692"/>
            </a:solidFill>
            <a:prstDash val="solid"/>
            <a:round/>
            <a:headEnd type="none" w="med" len="med"/>
            <a:tailEnd type="none" w="med" len="med"/>
          </a:ln>
          <a:effectLst/>
        </p:spPr>
      </p:cxnSp>
      <p:sp>
        <p:nvSpPr>
          <p:cNvPr id="10" name="Rectangle 176">
            <a:extLst>
              <a:ext uri="{FF2B5EF4-FFF2-40B4-BE49-F238E27FC236}">
                <a16:creationId xmlns:a16="http://schemas.microsoft.com/office/drawing/2014/main" id="{74EA5AEB-9341-4BF1-977C-C970DBA94BCE}"/>
              </a:ext>
            </a:extLst>
          </p:cNvPr>
          <p:cNvSpPr>
            <a:spLocks noGrp="1" noChangeArrowheads="1"/>
          </p:cNvSpPr>
          <p:nvPr>
            <p:ph type="ftr" sz="quarter" idx="13"/>
          </p:nvPr>
        </p:nvSpPr>
        <p:spPr>
          <a:xfrm>
            <a:off x="320040" y="6508597"/>
            <a:ext cx="3931920" cy="173736"/>
          </a:xfrm>
        </p:spPr>
        <p:txBody>
          <a:bodyPr/>
          <a:lstStyle>
            <a:lvl1pPr algn="l">
              <a:defRPr sz="800" b="0" smtClean="0">
                <a:solidFill>
                  <a:schemeClr val="bg1"/>
                </a:solidFill>
              </a:defRPr>
            </a:lvl1pPr>
          </a:lstStyle>
          <a:p>
            <a:pPr>
              <a:defRPr/>
            </a:pPr>
            <a:r>
              <a:rPr lang="en-US" dirty="0">
                <a:solidFill>
                  <a:srgbClr val="FFFFFF"/>
                </a:solidFill>
              </a:rPr>
              <a:t>Page footer, i.e., For institutional use only.</a:t>
            </a:r>
          </a:p>
        </p:txBody>
      </p:sp>
    </p:spTree>
    <p:extLst>
      <p:ext uri="{BB962C8B-B14F-4D97-AF65-F5344CB8AC3E}">
        <p14:creationId xmlns:p14="http://schemas.microsoft.com/office/powerpoint/2010/main" val="156402427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OC/Agenda">
    <p:spTree>
      <p:nvGrpSpPr>
        <p:cNvPr id="1" name=""/>
        <p:cNvGrpSpPr/>
        <p:nvPr/>
      </p:nvGrpSpPr>
      <p:grpSpPr>
        <a:xfrm>
          <a:off x="0" y="0"/>
          <a:ext cx="0" cy="0"/>
          <a:chOff x="0" y="0"/>
          <a:chExt cx="0" cy="0"/>
        </a:xfrm>
      </p:grpSpPr>
      <p:sp>
        <p:nvSpPr>
          <p:cNvPr id="35" name="Title 1">
            <a:extLst>
              <a:ext uri="{FF2B5EF4-FFF2-40B4-BE49-F238E27FC236}">
                <a16:creationId xmlns:a16="http://schemas.microsoft.com/office/drawing/2014/main" id="{5FD95C10-A884-4A8E-84ED-EB9581D97AEA}"/>
              </a:ext>
            </a:extLst>
          </p:cNvPr>
          <p:cNvSpPr>
            <a:spLocks noGrp="1"/>
          </p:cNvSpPr>
          <p:nvPr>
            <p:ph type="title"/>
          </p:nvPr>
        </p:nvSpPr>
        <p:spPr>
          <a:xfrm>
            <a:off x="317115" y="228600"/>
            <a:ext cx="8188710" cy="838200"/>
          </a:xfrm>
          <a:noFill/>
          <a:ln w="9525">
            <a:noFill/>
            <a:miter lim="800000"/>
            <a:headEnd/>
            <a:tailEnd/>
          </a:ln>
          <a:effectLst/>
        </p:spPr>
        <p:txBody>
          <a:bodyPr tIns="45720" anchor="t" anchorCtr="0"/>
          <a:lstStyle>
            <a:lvl1pPr>
              <a:defRPr kumimoji="0" lang="en-US" sz="2400" b="0" i="0" u="none" strike="noStrike" kern="0" cap="none" spc="0" normalizeH="0" baseline="0" noProof="0" dirty="0">
                <a:ln>
                  <a:noFill/>
                </a:ln>
                <a:solidFill>
                  <a:srgbClr val="333F48"/>
                </a:solidFill>
                <a:effectLst/>
                <a:uLnTx/>
                <a:uFillTx/>
                <a:latin typeface="+mj-lt"/>
                <a:ea typeface="+mj-ea"/>
                <a:cs typeface="+mj-cs"/>
              </a:defRPr>
            </a:lvl1pPr>
          </a:lstStyle>
          <a:p>
            <a:pPr lvl="0"/>
            <a:r>
              <a:rPr lang="en-US"/>
              <a:t>Click to edit Master title style</a:t>
            </a:r>
            <a:endParaRPr lang="en-US" dirty="0"/>
          </a:p>
        </p:txBody>
      </p:sp>
      <p:sp>
        <p:nvSpPr>
          <p:cNvPr id="36" name="Content Placeholder 9">
            <a:extLst>
              <a:ext uri="{FF2B5EF4-FFF2-40B4-BE49-F238E27FC236}">
                <a16:creationId xmlns:a16="http://schemas.microsoft.com/office/drawing/2014/main" id="{6FC348B7-171E-4537-9D26-36F566648136}"/>
              </a:ext>
            </a:extLst>
          </p:cNvPr>
          <p:cNvSpPr>
            <a:spLocks noGrp="1"/>
          </p:cNvSpPr>
          <p:nvPr>
            <p:ph sz="quarter" idx="13"/>
          </p:nvPr>
        </p:nvSpPr>
        <p:spPr>
          <a:xfrm>
            <a:off x="317115" y="1339850"/>
            <a:ext cx="8188710" cy="4878388"/>
          </a:xfrm>
        </p:spPr>
        <p:txBody>
          <a:bodyPr/>
          <a:lstStyle>
            <a:lvl1pPr marL="227013" indent="-227013">
              <a:spcBef>
                <a:spcPts val="600"/>
              </a:spcBef>
              <a:buClr>
                <a:srgbClr val="7A9A3D"/>
              </a:buClr>
              <a:buSzPct val="100000"/>
              <a:buFont typeface="+mj-lt"/>
              <a:buAutoNum type="arabicPeriod"/>
              <a:defRPr sz="1400" b="0" i="0" baseline="0">
                <a:solidFill>
                  <a:srgbClr val="000000"/>
                </a:solidFill>
                <a:latin typeface="Arial" pitchFamily="34" charset="0"/>
              </a:defRPr>
            </a:lvl1pPr>
            <a:lvl2pPr marL="461963" indent="-217488">
              <a:spcBef>
                <a:spcPts val="600"/>
              </a:spcBef>
              <a:buClr>
                <a:srgbClr val="768692"/>
              </a:buClr>
              <a:buFont typeface="+mj-lt"/>
              <a:buAutoNum type="alphaUcPeriod"/>
              <a:defRPr sz="1200" baseline="0">
                <a:solidFill>
                  <a:srgbClr val="000000"/>
                </a:solidFill>
                <a:latin typeface="Arial" pitchFamily="34" charset="0"/>
              </a:defRPr>
            </a:lvl2pPr>
            <a:lvl3pPr>
              <a:spcBef>
                <a:spcPts val="600"/>
              </a:spcBef>
              <a:buClr>
                <a:srgbClr val="000000"/>
              </a:buClr>
              <a:defRPr baseline="0">
                <a:solidFill>
                  <a:srgbClr val="000000"/>
                </a:solidFill>
              </a:defRPr>
            </a:lvl3pPr>
          </a:lstStyle>
          <a:p>
            <a:pPr lvl="0"/>
            <a:r>
              <a:rPr lang="en-US"/>
              <a:t>Click to edit Master text styles</a:t>
            </a:r>
          </a:p>
          <a:p>
            <a:pPr lvl="1"/>
            <a:r>
              <a:rPr lang="en-US"/>
              <a:t>Second level</a:t>
            </a:r>
          </a:p>
          <a:p>
            <a:pPr lvl="2"/>
            <a:r>
              <a:rPr lang="en-US"/>
              <a:t>Third level</a:t>
            </a:r>
          </a:p>
        </p:txBody>
      </p:sp>
      <p:sp>
        <p:nvSpPr>
          <p:cNvPr id="37" name="Slide Number Placeholder 3">
            <a:extLst>
              <a:ext uri="{FF2B5EF4-FFF2-40B4-BE49-F238E27FC236}">
                <a16:creationId xmlns:a16="http://schemas.microsoft.com/office/drawing/2014/main" id="{D3C1DD2B-0071-46C7-ACAD-17FE25429EDD}"/>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38" name="Rectangle 155">
            <a:extLst>
              <a:ext uri="{FF2B5EF4-FFF2-40B4-BE49-F238E27FC236}">
                <a16:creationId xmlns:a16="http://schemas.microsoft.com/office/drawing/2014/main" id="{EA13B42F-9338-4ACB-9F3D-C76FD3B1720E}"/>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dirty="0"/>
              <a:t>Production code #</a:t>
            </a:r>
          </a:p>
        </p:txBody>
      </p:sp>
      <p:grpSp>
        <p:nvGrpSpPr>
          <p:cNvPr id="39" name="Group 38">
            <a:extLst>
              <a:ext uri="{FF2B5EF4-FFF2-40B4-BE49-F238E27FC236}">
                <a16:creationId xmlns:a16="http://schemas.microsoft.com/office/drawing/2014/main" id="{BE8196B1-826A-4168-9F4C-E4431D24BAD4}"/>
              </a:ext>
            </a:extLst>
          </p:cNvPr>
          <p:cNvGrpSpPr/>
          <p:nvPr userDrawn="1"/>
        </p:nvGrpSpPr>
        <p:grpSpPr>
          <a:xfrm>
            <a:off x="7358173" y="6361974"/>
            <a:ext cx="1382376" cy="297562"/>
            <a:chOff x="6923088" y="4475163"/>
            <a:chExt cx="1873251" cy="403225"/>
          </a:xfrm>
        </p:grpSpPr>
        <p:sp>
          <p:nvSpPr>
            <p:cNvPr id="40" name="AutoShape 4">
              <a:extLst>
                <a:ext uri="{FF2B5EF4-FFF2-40B4-BE49-F238E27FC236}">
                  <a16:creationId xmlns:a16="http://schemas.microsoft.com/office/drawing/2014/main" id="{6D19F982-52D6-4773-A5FD-AAFFA459F282}"/>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6">
              <a:extLst>
                <a:ext uri="{FF2B5EF4-FFF2-40B4-BE49-F238E27FC236}">
                  <a16:creationId xmlns:a16="http://schemas.microsoft.com/office/drawing/2014/main" id="{AD79D707-69E1-4106-AC4F-6B719A869853}"/>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7">
              <a:extLst>
                <a:ext uri="{FF2B5EF4-FFF2-40B4-BE49-F238E27FC236}">
                  <a16:creationId xmlns:a16="http://schemas.microsoft.com/office/drawing/2014/main" id="{7945A4D4-4365-469C-B53D-B57E716AC4F8}"/>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83">
              <a:extLst>
                <a:ext uri="{FF2B5EF4-FFF2-40B4-BE49-F238E27FC236}">
                  <a16:creationId xmlns:a16="http://schemas.microsoft.com/office/drawing/2014/main" id="{EB445328-0F97-4A6E-8874-86893538D8E3}"/>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84">
              <a:extLst>
                <a:ext uri="{FF2B5EF4-FFF2-40B4-BE49-F238E27FC236}">
                  <a16:creationId xmlns:a16="http://schemas.microsoft.com/office/drawing/2014/main" id="{395F209D-BF29-4018-87CF-8B85FBFA804D}"/>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85">
              <a:extLst>
                <a:ext uri="{FF2B5EF4-FFF2-40B4-BE49-F238E27FC236}">
                  <a16:creationId xmlns:a16="http://schemas.microsoft.com/office/drawing/2014/main" id="{A986A8B5-6BC3-4480-95F1-32501362314D}"/>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86">
              <a:extLst>
                <a:ext uri="{FF2B5EF4-FFF2-40B4-BE49-F238E27FC236}">
                  <a16:creationId xmlns:a16="http://schemas.microsoft.com/office/drawing/2014/main" id="{F13BA48E-9F96-4B02-9783-12D395152655}"/>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87">
              <a:extLst>
                <a:ext uri="{FF2B5EF4-FFF2-40B4-BE49-F238E27FC236}">
                  <a16:creationId xmlns:a16="http://schemas.microsoft.com/office/drawing/2014/main" id="{4D7834DF-4220-4C94-901C-4C177D2E2B66}"/>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88">
              <a:extLst>
                <a:ext uri="{FF2B5EF4-FFF2-40B4-BE49-F238E27FC236}">
                  <a16:creationId xmlns:a16="http://schemas.microsoft.com/office/drawing/2014/main" id="{0A27BBD5-CD19-4BD0-AE10-2627777A7EC6}"/>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89">
              <a:extLst>
                <a:ext uri="{FF2B5EF4-FFF2-40B4-BE49-F238E27FC236}">
                  <a16:creationId xmlns:a16="http://schemas.microsoft.com/office/drawing/2014/main" id="{DB4A35DA-A631-44A9-A609-FB6F97174366}"/>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90">
              <a:extLst>
                <a:ext uri="{FF2B5EF4-FFF2-40B4-BE49-F238E27FC236}">
                  <a16:creationId xmlns:a16="http://schemas.microsoft.com/office/drawing/2014/main" id="{53CA1E32-B21E-4AC9-9A02-017533502056}"/>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1">
              <a:extLst>
                <a:ext uri="{FF2B5EF4-FFF2-40B4-BE49-F238E27FC236}">
                  <a16:creationId xmlns:a16="http://schemas.microsoft.com/office/drawing/2014/main" id="{1EC1D56E-6C9F-45C0-81D0-496CCF60408C}"/>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2">
              <a:extLst>
                <a:ext uri="{FF2B5EF4-FFF2-40B4-BE49-F238E27FC236}">
                  <a16:creationId xmlns:a16="http://schemas.microsoft.com/office/drawing/2014/main" id="{795B30D9-2D14-411F-91B2-301EDA0525F2}"/>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3">
              <a:extLst>
                <a:ext uri="{FF2B5EF4-FFF2-40B4-BE49-F238E27FC236}">
                  <a16:creationId xmlns:a16="http://schemas.microsoft.com/office/drawing/2014/main" id="{07BD7B28-44D8-486D-A874-66C9A123604A}"/>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94">
              <a:extLst>
                <a:ext uri="{FF2B5EF4-FFF2-40B4-BE49-F238E27FC236}">
                  <a16:creationId xmlns:a16="http://schemas.microsoft.com/office/drawing/2014/main" id="{DFBFE507-3D4E-4325-B712-06DDC365B451}"/>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95">
              <a:extLst>
                <a:ext uri="{FF2B5EF4-FFF2-40B4-BE49-F238E27FC236}">
                  <a16:creationId xmlns:a16="http://schemas.microsoft.com/office/drawing/2014/main" id="{67B8F8B6-1655-4F83-89AF-A01812A12A40}"/>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96">
              <a:extLst>
                <a:ext uri="{FF2B5EF4-FFF2-40B4-BE49-F238E27FC236}">
                  <a16:creationId xmlns:a16="http://schemas.microsoft.com/office/drawing/2014/main" id="{5FADF315-D302-4226-8A82-982D75CC7108}"/>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97">
              <a:extLst>
                <a:ext uri="{FF2B5EF4-FFF2-40B4-BE49-F238E27FC236}">
                  <a16:creationId xmlns:a16="http://schemas.microsoft.com/office/drawing/2014/main" id="{C447DE29-D07D-4697-AB86-C5D49D5B94F5}"/>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98">
              <a:extLst>
                <a:ext uri="{FF2B5EF4-FFF2-40B4-BE49-F238E27FC236}">
                  <a16:creationId xmlns:a16="http://schemas.microsoft.com/office/drawing/2014/main" id="{FBDFDE70-C32B-4308-A6B9-1DEADFF0FD77}"/>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99">
              <a:extLst>
                <a:ext uri="{FF2B5EF4-FFF2-40B4-BE49-F238E27FC236}">
                  <a16:creationId xmlns:a16="http://schemas.microsoft.com/office/drawing/2014/main" id="{3CDF7BAD-F9A2-4FCC-B6AD-1389CA51F0A5}"/>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100">
              <a:extLst>
                <a:ext uri="{FF2B5EF4-FFF2-40B4-BE49-F238E27FC236}">
                  <a16:creationId xmlns:a16="http://schemas.microsoft.com/office/drawing/2014/main" id="{7EF71736-B062-41C1-9D8F-03B35D88F5C3}"/>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101">
              <a:extLst>
                <a:ext uri="{FF2B5EF4-FFF2-40B4-BE49-F238E27FC236}">
                  <a16:creationId xmlns:a16="http://schemas.microsoft.com/office/drawing/2014/main" id="{2752F6A8-EFDA-4DA3-B347-6D1366DF1C41}"/>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 name="Freeform 102">
              <a:extLst>
                <a:ext uri="{FF2B5EF4-FFF2-40B4-BE49-F238E27FC236}">
                  <a16:creationId xmlns:a16="http://schemas.microsoft.com/office/drawing/2014/main" id="{4915BA10-E1CD-41D1-8D31-464416800F99}"/>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 name="Freeform 103">
              <a:extLst>
                <a:ext uri="{FF2B5EF4-FFF2-40B4-BE49-F238E27FC236}">
                  <a16:creationId xmlns:a16="http://schemas.microsoft.com/office/drawing/2014/main" id="{C2C36228-153A-4F5F-89F4-D629CB473D3F}"/>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 name="Freeform 104">
              <a:extLst>
                <a:ext uri="{FF2B5EF4-FFF2-40B4-BE49-F238E27FC236}">
                  <a16:creationId xmlns:a16="http://schemas.microsoft.com/office/drawing/2014/main" id="{0DBAC813-2C25-4200-A7FF-FAEB924616B2}"/>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 name="Freeform 105">
              <a:extLst>
                <a:ext uri="{FF2B5EF4-FFF2-40B4-BE49-F238E27FC236}">
                  <a16:creationId xmlns:a16="http://schemas.microsoft.com/office/drawing/2014/main" id="{580113FD-7F96-4EBC-A749-284485D137EA}"/>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6" name="Rectangle 176">
            <a:extLst>
              <a:ext uri="{FF2B5EF4-FFF2-40B4-BE49-F238E27FC236}">
                <a16:creationId xmlns:a16="http://schemas.microsoft.com/office/drawing/2014/main" id="{9BB7F727-6106-4CB0-9041-D98F74416615}"/>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3864482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6" name="Title 1">
            <a:extLst>
              <a:ext uri="{FF2B5EF4-FFF2-40B4-BE49-F238E27FC236}">
                <a16:creationId xmlns:a16="http://schemas.microsoft.com/office/drawing/2014/main" id="{66104C3E-A142-41AD-AB9E-DC300D7CF2DC}"/>
              </a:ext>
            </a:extLst>
          </p:cNvPr>
          <p:cNvSpPr>
            <a:spLocks noGrp="1"/>
          </p:cNvSpPr>
          <p:nvPr>
            <p:ph type="title"/>
          </p:nvPr>
        </p:nvSpPr>
        <p:spPr>
          <a:xfrm>
            <a:off x="317115" y="228600"/>
            <a:ext cx="8188710" cy="838200"/>
          </a:xfrm>
        </p:spPr>
        <p:txBody>
          <a:bodyPr/>
          <a:lstStyle>
            <a:lvl1pPr>
              <a:defRPr>
                <a:solidFill>
                  <a:srgbClr val="333F48"/>
                </a:solidFill>
              </a:defRPr>
            </a:lvl1pPr>
          </a:lstStyle>
          <a:p>
            <a:r>
              <a:rPr lang="en-US"/>
              <a:t>Click to edit Master title style</a:t>
            </a:r>
            <a:endParaRPr lang="en-US" dirty="0"/>
          </a:p>
        </p:txBody>
      </p:sp>
      <p:grpSp>
        <p:nvGrpSpPr>
          <p:cNvPr id="37" name="Group 36">
            <a:extLst>
              <a:ext uri="{FF2B5EF4-FFF2-40B4-BE49-F238E27FC236}">
                <a16:creationId xmlns:a16="http://schemas.microsoft.com/office/drawing/2014/main" id="{36F7394E-4FE8-471E-B07B-5302279FBEE0}"/>
              </a:ext>
            </a:extLst>
          </p:cNvPr>
          <p:cNvGrpSpPr/>
          <p:nvPr userDrawn="1"/>
        </p:nvGrpSpPr>
        <p:grpSpPr>
          <a:xfrm>
            <a:off x="7358173" y="6361974"/>
            <a:ext cx="1382376" cy="297562"/>
            <a:chOff x="6923088" y="4475163"/>
            <a:chExt cx="1873251" cy="403225"/>
          </a:xfrm>
        </p:grpSpPr>
        <p:sp>
          <p:nvSpPr>
            <p:cNvPr id="38" name="AutoShape 4">
              <a:extLst>
                <a:ext uri="{FF2B5EF4-FFF2-40B4-BE49-F238E27FC236}">
                  <a16:creationId xmlns:a16="http://schemas.microsoft.com/office/drawing/2014/main" id="{3E2A5C88-E0B6-474F-A679-A3F074158213}"/>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6">
              <a:extLst>
                <a:ext uri="{FF2B5EF4-FFF2-40B4-BE49-F238E27FC236}">
                  <a16:creationId xmlns:a16="http://schemas.microsoft.com/office/drawing/2014/main" id="{3F712C4B-5E27-4358-A98D-BC9AA80D52A8}"/>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7">
              <a:extLst>
                <a:ext uri="{FF2B5EF4-FFF2-40B4-BE49-F238E27FC236}">
                  <a16:creationId xmlns:a16="http://schemas.microsoft.com/office/drawing/2014/main" id="{854B66AB-6682-4D00-85AA-76CDE463E3E3}"/>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83">
              <a:extLst>
                <a:ext uri="{FF2B5EF4-FFF2-40B4-BE49-F238E27FC236}">
                  <a16:creationId xmlns:a16="http://schemas.microsoft.com/office/drawing/2014/main" id="{4053630A-C659-4D02-A031-6A4E08161691}"/>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84">
              <a:extLst>
                <a:ext uri="{FF2B5EF4-FFF2-40B4-BE49-F238E27FC236}">
                  <a16:creationId xmlns:a16="http://schemas.microsoft.com/office/drawing/2014/main" id="{5498DDEF-F1B8-48B6-86D8-1E906144112D}"/>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85">
              <a:extLst>
                <a:ext uri="{FF2B5EF4-FFF2-40B4-BE49-F238E27FC236}">
                  <a16:creationId xmlns:a16="http://schemas.microsoft.com/office/drawing/2014/main" id="{E79A6D0C-8A45-41D8-89C5-5BABD8DE672A}"/>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86">
              <a:extLst>
                <a:ext uri="{FF2B5EF4-FFF2-40B4-BE49-F238E27FC236}">
                  <a16:creationId xmlns:a16="http://schemas.microsoft.com/office/drawing/2014/main" id="{353C0DFA-B345-4AC5-904F-804E5B1A4ACD}"/>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87">
              <a:extLst>
                <a:ext uri="{FF2B5EF4-FFF2-40B4-BE49-F238E27FC236}">
                  <a16:creationId xmlns:a16="http://schemas.microsoft.com/office/drawing/2014/main" id="{D7B94AC4-22BF-4EE7-9858-F2E6E0244AF6}"/>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88">
              <a:extLst>
                <a:ext uri="{FF2B5EF4-FFF2-40B4-BE49-F238E27FC236}">
                  <a16:creationId xmlns:a16="http://schemas.microsoft.com/office/drawing/2014/main" id="{993BF514-E459-46B2-BDEA-89B918DDB41E}"/>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89">
              <a:extLst>
                <a:ext uri="{FF2B5EF4-FFF2-40B4-BE49-F238E27FC236}">
                  <a16:creationId xmlns:a16="http://schemas.microsoft.com/office/drawing/2014/main" id="{6DF1F79B-8AAE-47FC-BEFE-1F02AEFADC87}"/>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90">
              <a:extLst>
                <a:ext uri="{FF2B5EF4-FFF2-40B4-BE49-F238E27FC236}">
                  <a16:creationId xmlns:a16="http://schemas.microsoft.com/office/drawing/2014/main" id="{C609B0B4-9645-4422-AA75-B96EF5EB6FC5}"/>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91">
              <a:extLst>
                <a:ext uri="{FF2B5EF4-FFF2-40B4-BE49-F238E27FC236}">
                  <a16:creationId xmlns:a16="http://schemas.microsoft.com/office/drawing/2014/main" id="{A6EB0E81-604D-40BC-85BF-612ABEC9C526}"/>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92">
              <a:extLst>
                <a:ext uri="{FF2B5EF4-FFF2-40B4-BE49-F238E27FC236}">
                  <a16:creationId xmlns:a16="http://schemas.microsoft.com/office/drawing/2014/main" id="{935E4DA2-D3BD-46A7-B70F-899848CE5E5A}"/>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3">
              <a:extLst>
                <a:ext uri="{FF2B5EF4-FFF2-40B4-BE49-F238E27FC236}">
                  <a16:creationId xmlns:a16="http://schemas.microsoft.com/office/drawing/2014/main" id="{C48F8A33-B185-405E-BA3F-D7B9AACEF802}"/>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4">
              <a:extLst>
                <a:ext uri="{FF2B5EF4-FFF2-40B4-BE49-F238E27FC236}">
                  <a16:creationId xmlns:a16="http://schemas.microsoft.com/office/drawing/2014/main" id="{C6E7B03C-3268-4A4F-84CA-0A46BA585BC5}"/>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5">
              <a:extLst>
                <a:ext uri="{FF2B5EF4-FFF2-40B4-BE49-F238E27FC236}">
                  <a16:creationId xmlns:a16="http://schemas.microsoft.com/office/drawing/2014/main" id="{675D0D29-3F63-414C-9544-8C3F75A06D09}"/>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96">
              <a:extLst>
                <a:ext uri="{FF2B5EF4-FFF2-40B4-BE49-F238E27FC236}">
                  <a16:creationId xmlns:a16="http://schemas.microsoft.com/office/drawing/2014/main" id="{4C96A125-CBEC-4ED0-864F-3C69E7904428}"/>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97">
              <a:extLst>
                <a:ext uri="{FF2B5EF4-FFF2-40B4-BE49-F238E27FC236}">
                  <a16:creationId xmlns:a16="http://schemas.microsoft.com/office/drawing/2014/main" id="{9837EE82-5030-4495-A7B6-B5D5F92EC670}"/>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98">
              <a:extLst>
                <a:ext uri="{FF2B5EF4-FFF2-40B4-BE49-F238E27FC236}">
                  <a16:creationId xmlns:a16="http://schemas.microsoft.com/office/drawing/2014/main" id="{41E194C0-8CDA-491E-9847-DCC0F63997DF}"/>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99">
              <a:extLst>
                <a:ext uri="{FF2B5EF4-FFF2-40B4-BE49-F238E27FC236}">
                  <a16:creationId xmlns:a16="http://schemas.microsoft.com/office/drawing/2014/main" id="{BAC4FA3C-97D7-4255-A782-0D07E2F629BB}"/>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00">
              <a:extLst>
                <a:ext uri="{FF2B5EF4-FFF2-40B4-BE49-F238E27FC236}">
                  <a16:creationId xmlns:a16="http://schemas.microsoft.com/office/drawing/2014/main" id="{22855E89-47EA-4A54-A6BC-EADE0A54A087}"/>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101">
              <a:extLst>
                <a:ext uri="{FF2B5EF4-FFF2-40B4-BE49-F238E27FC236}">
                  <a16:creationId xmlns:a16="http://schemas.microsoft.com/office/drawing/2014/main" id="{21A51EF9-12A1-45A8-9928-5D85AE6B54D6}"/>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102">
              <a:extLst>
                <a:ext uri="{FF2B5EF4-FFF2-40B4-BE49-F238E27FC236}">
                  <a16:creationId xmlns:a16="http://schemas.microsoft.com/office/drawing/2014/main" id="{4F8F53D3-E17F-45BB-9804-AB8041F7D0E9}"/>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103">
              <a:extLst>
                <a:ext uri="{FF2B5EF4-FFF2-40B4-BE49-F238E27FC236}">
                  <a16:creationId xmlns:a16="http://schemas.microsoft.com/office/drawing/2014/main" id="{0B285C72-A53B-49C0-A677-77AE130F86D8}"/>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 name="Freeform 104">
              <a:extLst>
                <a:ext uri="{FF2B5EF4-FFF2-40B4-BE49-F238E27FC236}">
                  <a16:creationId xmlns:a16="http://schemas.microsoft.com/office/drawing/2014/main" id="{321E4275-9F79-4E16-879C-73AC8DFDAB8C}"/>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 name="Freeform 105">
              <a:extLst>
                <a:ext uri="{FF2B5EF4-FFF2-40B4-BE49-F238E27FC236}">
                  <a16:creationId xmlns:a16="http://schemas.microsoft.com/office/drawing/2014/main" id="{2E4ED0D6-DCAA-40F4-BB20-445F307A53B9}"/>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4" name="Slide Number Placeholder 3">
            <a:extLst>
              <a:ext uri="{FF2B5EF4-FFF2-40B4-BE49-F238E27FC236}">
                <a16:creationId xmlns:a16="http://schemas.microsoft.com/office/drawing/2014/main" id="{C0CE3AF5-BFB2-4AE4-87FB-D42F76EF3CC1}"/>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5" name="Rectangle 155">
            <a:extLst>
              <a:ext uri="{FF2B5EF4-FFF2-40B4-BE49-F238E27FC236}">
                <a16:creationId xmlns:a16="http://schemas.microsoft.com/office/drawing/2014/main" id="{46A9D3DB-8A14-428B-A89B-433021B5F68F}"/>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dirty="0"/>
              <a:t>Production code #</a:t>
            </a:r>
          </a:p>
        </p:txBody>
      </p:sp>
      <p:sp>
        <p:nvSpPr>
          <p:cNvPr id="66" name="Rectangle 176">
            <a:extLst>
              <a:ext uri="{FF2B5EF4-FFF2-40B4-BE49-F238E27FC236}">
                <a16:creationId xmlns:a16="http://schemas.microsoft.com/office/drawing/2014/main" id="{36DD1573-8025-45C4-BAC3-361CB1203E75}"/>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32862864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4A7349E3-8B6C-4739-A53A-1A0DB38F0C52}"/>
              </a:ext>
            </a:extLst>
          </p:cNvPr>
          <p:cNvSpPr>
            <a:spLocks noGrp="1"/>
          </p:cNvSpPr>
          <p:nvPr>
            <p:ph type="title"/>
          </p:nvPr>
        </p:nvSpPr>
        <p:spPr>
          <a:xfrm>
            <a:off x="317115" y="228600"/>
            <a:ext cx="8188710" cy="838200"/>
          </a:xfrm>
        </p:spPr>
        <p:txBody>
          <a:bodyPr/>
          <a:lstStyle/>
          <a:p>
            <a:r>
              <a:rPr lang="en-US"/>
              <a:t>Click to edit Master title style</a:t>
            </a:r>
            <a:endParaRPr lang="en-US" dirty="0"/>
          </a:p>
        </p:txBody>
      </p:sp>
      <p:sp>
        <p:nvSpPr>
          <p:cNvPr id="39" name="Content Placeholder 2">
            <a:extLst>
              <a:ext uri="{FF2B5EF4-FFF2-40B4-BE49-F238E27FC236}">
                <a16:creationId xmlns:a16="http://schemas.microsoft.com/office/drawing/2014/main" id="{94F49186-E981-46B3-85F5-4F23C5152CD1}"/>
              </a:ext>
            </a:extLst>
          </p:cNvPr>
          <p:cNvSpPr>
            <a:spLocks noGrp="1"/>
          </p:cNvSpPr>
          <p:nvPr>
            <p:ph idx="13"/>
          </p:nvPr>
        </p:nvSpPr>
        <p:spPr>
          <a:xfrm>
            <a:off x="325661" y="1339850"/>
            <a:ext cx="8188710" cy="4878388"/>
          </a:xfrm>
        </p:spPr>
        <p:txBody>
          <a:bodyPr lIns="91440"/>
          <a:lstStyle>
            <a:lvl1pPr marL="0" indent="0" algn="l" rtl="0" fontAlgn="base">
              <a:spcBef>
                <a:spcPts val="480"/>
              </a:spcBef>
              <a:spcAft>
                <a:spcPct val="0"/>
              </a:spcAft>
              <a:buSzPct val="40000"/>
              <a:defRPr lang="en-US" sz="1400" b="1" dirty="0" smtClean="0">
                <a:solidFill>
                  <a:srgbClr val="7A9A3D"/>
                </a:solidFill>
                <a:latin typeface="+mn-lt"/>
                <a:ea typeface="+mn-ea"/>
                <a:cs typeface="+mn-cs"/>
              </a:defRPr>
            </a:lvl1pPr>
            <a:lvl2pPr>
              <a:spcBef>
                <a:spcPts val="2000"/>
              </a:spcBef>
              <a:defRPr lang="en-US" dirty="0" smtClean="0">
                <a:solidFill>
                  <a:schemeClr val="tx1"/>
                </a:solidFill>
                <a:latin typeface="+mn-lt"/>
              </a:defRPr>
            </a:lvl2pPr>
            <a:lvl3pPr>
              <a:defRPr lang="en-US" sz="1600" dirty="0" smtClean="0">
                <a:solidFill>
                  <a:schemeClr val="accent1"/>
                </a:solidFill>
                <a:latin typeface="+mn-lt"/>
              </a:defRPr>
            </a:lvl3pPr>
            <a:lvl4pPr>
              <a:buClr>
                <a:schemeClr val="bg2"/>
              </a:buClr>
              <a:buSzPct val="80000"/>
              <a:buFont typeface="Arial" pitchFamily="34" charset="0"/>
              <a:buChar char="•"/>
              <a:defRPr sz="1400">
                <a:solidFill>
                  <a:schemeClr val="accent1"/>
                </a:solidFill>
              </a:defRPr>
            </a:lvl4pPr>
          </a:lstStyle>
          <a:p>
            <a:pPr lvl="0"/>
            <a:r>
              <a:rPr lang="en-US" dirty="0"/>
              <a:t>Click to edit Master text styles</a:t>
            </a:r>
          </a:p>
        </p:txBody>
      </p:sp>
      <p:grpSp>
        <p:nvGrpSpPr>
          <p:cNvPr id="40" name="Group 39">
            <a:extLst>
              <a:ext uri="{FF2B5EF4-FFF2-40B4-BE49-F238E27FC236}">
                <a16:creationId xmlns:a16="http://schemas.microsoft.com/office/drawing/2014/main" id="{EE723EC6-CC8E-4DB8-A6E4-4616E48282D5}"/>
              </a:ext>
            </a:extLst>
          </p:cNvPr>
          <p:cNvGrpSpPr/>
          <p:nvPr userDrawn="1"/>
        </p:nvGrpSpPr>
        <p:grpSpPr>
          <a:xfrm>
            <a:off x="7358173" y="6361974"/>
            <a:ext cx="1382376" cy="297562"/>
            <a:chOff x="6923088" y="4475163"/>
            <a:chExt cx="1873251" cy="403225"/>
          </a:xfrm>
        </p:grpSpPr>
        <p:sp>
          <p:nvSpPr>
            <p:cNvPr id="41" name="AutoShape 4">
              <a:extLst>
                <a:ext uri="{FF2B5EF4-FFF2-40B4-BE49-F238E27FC236}">
                  <a16:creationId xmlns:a16="http://schemas.microsoft.com/office/drawing/2014/main" id="{CD6D2C20-703F-45D1-971A-07AA377B7522}"/>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6">
              <a:extLst>
                <a:ext uri="{FF2B5EF4-FFF2-40B4-BE49-F238E27FC236}">
                  <a16:creationId xmlns:a16="http://schemas.microsoft.com/office/drawing/2014/main" id="{41E13019-7F55-4E68-AD30-7F577511D8BA}"/>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7">
              <a:extLst>
                <a:ext uri="{FF2B5EF4-FFF2-40B4-BE49-F238E27FC236}">
                  <a16:creationId xmlns:a16="http://schemas.microsoft.com/office/drawing/2014/main" id="{68BF4E69-FDF8-4B4B-B4A6-E748404AAF86}"/>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83">
              <a:extLst>
                <a:ext uri="{FF2B5EF4-FFF2-40B4-BE49-F238E27FC236}">
                  <a16:creationId xmlns:a16="http://schemas.microsoft.com/office/drawing/2014/main" id="{1B60BF6C-0C4B-42D5-B086-BD18006D1AAB}"/>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84">
              <a:extLst>
                <a:ext uri="{FF2B5EF4-FFF2-40B4-BE49-F238E27FC236}">
                  <a16:creationId xmlns:a16="http://schemas.microsoft.com/office/drawing/2014/main" id="{CA21563A-1313-4112-A89A-306E4EB41767}"/>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85">
              <a:extLst>
                <a:ext uri="{FF2B5EF4-FFF2-40B4-BE49-F238E27FC236}">
                  <a16:creationId xmlns:a16="http://schemas.microsoft.com/office/drawing/2014/main" id="{D2CFEE96-5973-49DF-967E-838F66AA0AD1}"/>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86">
              <a:extLst>
                <a:ext uri="{FF2B5EF4-FFF2-40B4-BE49-F238E27FC236}">
                  <a16:creationId xmlns:a16="http://schemas.microsoft.com/office/drawing/2014/main" id="{44C8141E-9357-4230-938B-8C2FE3E9E591}"/>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87">
              <a:extLst>
                <a:ext uri="{FF2B5EF4-FFF2-40B4-BE49-F238E27FC236}">
                  <a16:creationId xmlns:a16="http://schemas.microsoft.com/office/drawing/2014/main" id="{38A1EBFE-0E6C-4AF9-9547-8DB7C96317B0}"/>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88">
              <a:extLst>
                <a:ext uri="{FF2B5EF4-FFF2-40B4-BE49-F238E27FC236}">
                  <a16:creationId xmlns:a16="http://schemas.microsoft.com/office/drawing/2014/main" id="{44B360BA-DC21-4C5C-8A06-A9678ECF7FA9}"/>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89">
              <a:extLst>
                <a:ext uri="{FF2B5EF4-FFF2-40B4-BE49-F238E27FC236}">
                  <a16:creationId xmlns:a16="http://schemas.microsoft.com/office/drawing/2014/main" id="{8A65C20F-F1BB-4106-9D74-225DAA38058D}"/>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90">
              <a:extLst>
                <a:ext uri="{FF2B5EF4-FFF2-40B4-BE49-F238E27FC236}">
                  <a16:creationId xmlns:a16="http://schemas.microsoft.com/office/drawing/2014/main" id="{50F76AFB-6120-4115-8B3E-C9CBEC64B857}"/>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91">
              <a:extLst>
                <a:ext uri="{FF2B5EF4-FFF2-40B4-BE49-F238E27FC236}">
                  <a16:creationId xmlns:a16="http://schemas.microsoft.com/office/drawing/2014/main" id="{0DCE3109-A346-42B7-BE46-5F7BA46DF680}"/>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2">
              <a:extLst>
                <a:ext uri="{FF2B5EF4-FFF2-40B4-BE49-F238E27FC236}">
                  <a16:creationId xmlns:a16="http://schemas.microsoft.com/office/drawing/2014/main" id="{E4198EE0-93B1-45F9-B73D-6B4D2A636CD2}"/>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93">
              <a:extLst>
                <a:ext uri="{FF2B5EF4-FFF2-40B4-BE49-F238E27FC236}">
                  <a16:creationId xmlns:a16="http://schemas.microsoft.com/office/drawing/2014/main" id="{2CA2A07C-6FB1-42CB-831A-2AA066A12F7A}"/>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94">
              <a:extLst>
                <a:ext uri="{FF2B5EF4-FFF2-40B4-BE49-F238E27FC236}">
                  <a16:creationId xmlns:a16="http://schemas.microsoft.com/office/drawing/2014/main" id="{798E9A55-3B4B-49C8-AFFC-4165B2B9F4D4}"/>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95">
              <a:extLst>
                <a:ext uri="{FF2B5EF4-FFF2-40B4-BE49-F238E27FC236}">
                  <a16:creationId xmlns:a16="http://schemas.microsoft.com/office/drawing/2014/main" id="{83600F54-3F82-489F-A709-8A5078330BB6}"/>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96">
              <a:extLst>
                <a:ext uri="{FF2B5EF4-FFF2-40B4-BE49-F238E27FC236}">
                  <a16:creationId xmlns:a16="http://schemas.microsoft.com/office/drawing/2014/main" id="{7E298361-8B43-4E2D-9593-167412858F16}"/>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97">
              <a:extLst>
                <a:ext uri="{FF2B5EF4-FFF2-40B4-BE49-F238E27FC236}">
                  <a16:creationId xmlns:a16="http://schemas.microsoft.com/office/drawing/2014/main" id="{FBCC8CAB-519E-4D80-95C2-54E145B2874D}"/>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98">
              <a:extLst>
                <a:ext uri="{FF2B5EF4-FFF2-40B4-BE49-F238E27FC236}">
                  <a16:creationId xmlns:a16="http://schemas.microsoft.com/office/drawing/2014/main" id="{223D9C69-0BD3-4846-BABC-0283215DE3DA}"/>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99">
              <a:extLst>
                <a:ext uri="{FF2B5EF4-FFF2-40B4-BE49-F238E27FC236}">
                  <a16:creationId xmlns:a16="http://schemas.microsoft.com/office/drawing/2014/main" id="{4903BE0A-C25A-4674-937F-DDF69F2BE05D}"/>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100">
              <a:extLst>
                <a:ext uri="{FF2B5EF4-FFF2-40B4-BE49-F238E27FC236}">
                  <a16:creationId xmlns:a16="http://schemas.microsoft.com/office/drawing/2014/main" id="{35D6C718-3392-48A8-8A15-597CFFB19671}"/>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 name="Freeform 101">
              <a:extLst>
                <a:ext uri="{FF2B5EF4-FFF2-40B4-BE49-F238E27FC236}">
                  <a16:creationId xmlns:a16="http://schemas.microsoft.com/office/drawing/2014/main" id="{E6605C04-FD08-456F-9895-E5E12ECEC714}"/>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 name="Freeform 102">
              <a:extLst>
                <a:ext uri="{FF2B5EF4-FFF2-40B4-BE49-F238E27FC236}">
                  <a16:creationId xmlns:a16="http://schemas.microsoft.com/office/drawing/2014/main" id="{EB3AA035-E0F8-4E4D-9C3B-D79D0285BCA0}"/>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 name="Freeform 103">
              <a:extLst>
                <a:ext uri="{FF2B5EF4-FFF2-40B4-BE49-F238E27FC236}">
                  <a16:creationId xmlns:a16="http://schemas.microsoft.com/office/drawing/2014/main" id="{9B8D0537-B3F7-4575-AB24-16BBF1FE9049}"/>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 name="Freeform 104">
              <a:extLst>
                <a:ext uri="{FF2B5EF4-FFF2-40B4-BE49-F238E27FC236}">
                  <a16:creationId xmlns:a16="http://schemas.microsoft.com/office/drawing/2014/main" id="{09B82447-43C4-4376-BAC2-E6FB8591A913}"/>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 name="Freeform 105">
              <a:extLst>
                <a:ext uri="{FF2B5EF4-FFF2-40B4-BE49-F238E27FC236}">
                  <a16:creationId xmlns:a16="http://schemas.microsoft.com/office/drawing/2014/main" id="{674CB427-EE80-4A8F-8B38-E9EC44B63B70}"/>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7" name="Slide Number Placeholder 3">
            <a:extLst>
              <a:ext uri="{FF2B5EF4-FFF2-40B4-BE49-F238E27FC236}">
                <a16:creationId xmlns:a16="http://schemas.microsoft.com/office/drawing/2014/main" id="{199C1B36-AD0E-4FA3-9063-78CC6EC90179}"/>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8" name="Rectangle 155">
            <a:extLst>
              <a:ext uri="{FF2B5EF4-FFF2-40B4-BE49-F238E27FC236}">
                <a16:creationId xmlns:a16="http://schemas.microsoft.com/office/drawing/2014/main" id="{A8B63FF2-5CA4-4B37-B2D1-7EFC83F2E47E}"/>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dirty="0"/>
              <a:t>Production code #</a:t>
            </a:r>
          </a:p>
        </p:txBody>
      </p:sp>
      <p:sp>
        <p:nvSpPr>
          <p:cNvPr id="69" name="Rectangle 176">
            <a:extLst>
              <a:ext uri="{FF2B5EF4-FFF2-40B4-BE49-F238E27FC236}">
                <a16:creationId xmlns:a16="http://schemas.microsoft.com/office/drawing/2014/main" id="{3CB9F1B9-80D6-4570-A7DF-ABC33C639304}"/>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401047539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Bulleted List">
    <p:spTree>
      <p:nvGrpSpPr>
        <p:cNvPr id="1" name=""/>
        <p:cNvGrpSpPr/>
        <p:nvPr/>
      </p:nvGrpSpPr>
      <p:grpSpPr>
        <a:xfrm>
          <a:off x="0" y="0"/>
          <a:ext cx="0" cy="0"/>
          <a:chOff x="0" y="0"/>
          <a:chExt cx="0" cy="0"/>
        </a:xfrm>
      </p:grpSpPr>
      <p:sp>
        <p:nvSpPr>
          <p:cNvPr id="72" name="Title 1">
            <a:extLst>
              <a:ext uri="{FF2B5EF4-FFF2-40B4-BE49-F238E27FC236}">
                <a16:creationId xmlns:a16="http://schemas.microsoft.com/office/drawing/2014/main" id="{BC9B19F1-C252-4F0F-A39B-BCB535B926F0}"/>
              </a:ext>
            </a:extLst>
          </p:cNvPr>
          <p:cNvSpPr>
            <a:spLocks noGrp="1"/>
          </p:cNvSpPr>
          <p:nvPr>
            <p:ph type="title"/>
          </p:nvPr>
        </p:nvSpPr>
        <p:spPr>
          <a:xfrm>
            <a:off x="317115" y="228600"/>
            <a:ext cx="8188710" cy="841248"/>
          </a:xfrm>
        </p:spPr>
        <p:txBody>
          <a:bodyPr/>
          <a:lstStyle>
            <a:lvl1pPr>
              <a:defRPr>
                <a:solidFill>
                  <a:srgbClr val="333F48"/>
                </a:solidFill>
              </a:defRPr>
            </a:lvl1pPr>
          </a:lstStyle>
          <a:p>
            <a:r>
              <a:rPr lang="en-US"/>
              <a:t>Click to edit Master title style</a:t>
            </a:r>
            <a:endParaRPr lang="en-US" dirty="0"/>
          </a:p>
        </p:txBody>
      </p:sp>
      <p:sp>
        <p:nvSpPr>
          <p:cNvPr id="73" name="Content Placeholder 2">
            <a:extLst>
              <a:ext uri="{FF2B5EF4-FFF2-40B4-BE49-F238E27FC236}">
                <a16:creationId xmlns:a16="http://schemas.microsoft.com/office/drawing/2014/main" id="{E150C85B-C519-44FB-BEC1-D2E9270F595B}"/>
              </a:ext>
            </a:extLst>
          </p:cNvPr>
          <p:cNvSpPr>
            <a:spLocks noGrp="1"/>
          </p:cNvSpPr>
          <p:nvPr>
            <p:ph idx="12"/>
          </p:nvPr>
        </p:nvSpPr>
        <p:spPr>
          <a:xfrm>
            <a:off x="325661" y="1339850"/>
            <a:ext cx="8188710" cy="4878388"/>
          </a:xfrm>
        </p:spPr>
        <p:txBody>
          <a:bodyPr lIns="91440"/>
          <a:lstStyle>
            <a:lvl1pPr marL="0" indent="0" algn="l" rtl="0" fontAlgn="base">
              <a:spcBef>
                <a:spcPts val="480"/>
              </a:spcBef>
              <a:spcAft>
                <a:spcPct val="0"/>
              </a:spcAft>
              <a:buSzPct val="40000"/>
              <a:defRPr lang="en-US" sz="1600" b="1" dirty="0" smtClean="0">
                <a:solidFill>
                  <a:srgbClr val="7A9B3D"/>
                </a:solidFill>
                <a:latin typeface="+mn-lt"/>
                <a:ea typeface="+mn-ea"/>
                <a:cs typeface="+mn-cs"/>
              </a:defRPr>
            </a:lvl1pPr>
            <a:lvl2pPr marL="114300" indent="-114300">
              <a:spcBef>
                <a:spcPts val="288"/>
              </a:spcBef>
              <a:buClr>
                <a:srgbClr val="7A9B3D"/>
              </a:buClr>
              <a:defRPr lang="en-US" dirty="0" smtClean="0">
                <a:solidFill>
                  <a:srgbClr val="000000"/>
                </a:solidFill>
                <a:latin typeface="+mn-lt"/>
              </a:defRPr>
            </a:lvl2pPr>
            <a:lvl3pPr marL="228600" indent="-114300">
              <a:buClr>
                <a:srgbClr val="768692"/>
              </a:buClr>
              <a:defRPr lang="en-US" sz="1200" dirty="0" smtClean="0">
                <a:solidFill>
                  <a:srgbClr val="000000"/>
                </a:solidFill>
                <a:latin typeface="+mn-lt"/>
              </a:defRPr>
            </a:lvl3pPr>
            <a:lvl4pPr marL="342900" indent="-114300">
              <a:buClr>
                <a:srgbClr val="000000"/>
              </a:buClr>
              <a:buSzPct val="100000"/>
              <a:buFont typeface="Arial" pitchFamily="34" charset="0"/>
              <a:buChar char="•"/>
              <a:defRPr sz="1200">
                <a:solidFill>
                  <a:srgbClr val="000000"/>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grpSp>
        <p:nvGrpSpPr>
          <p:cNvPr id="74" name="Group 73">
            <a:extLst>
              <a:ext uri="{FF2B5EF4-FFF2-40B4-BE49-F238E27FC236}">
                <a16:creationId xmlns:a16="http://schemas.microsoft.com/office/drawing/2014/main" id="{AF4B537B-FFF4-412B-950D-26F747726840}"/>
              </a:ext>
            </a:extLst>
          </p:cNvPr>
          <p:cNvGrpSpPr/>
          <p:nvPr userDrawn="1"/>
        </p:nvGrpSpPr>
        <p:grpSpPr>
          <a:xfrm>
            <a:off x="7358173" y="6361974"/>
            <a:ext cx="1382376" cy="297562"/>
            <a:chOff x="6923088" y="4475163"/>
            <a:chExt cx="1873251" cy="403225"/>
          </a:xfrm>
        </p:grpSpPr>
        <p:sp>
          <p:nvSpPr>
            <p:cNvPr id="75" name="AutoShape 4">
              <a:extLst>
                <a:ext uri="{FF2B5EF4-FFF2-40B4-BE49-F238E27FC236}">
                  <a16:creationId xmlns:a16="http://schemas.microsoft.com/office/drawing/2014/main" id="{20AA7B08-7B43-4794-A400-50E5900B2E40}"/>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 name="Freeform 6">
              <a:extLst>
                <a:ext uri="{FF2B5EF4-FFF2-40B4-BE49-F238E27FC236}">
                  <a16:creationId xmlns:a16="http://schemas.microsoft.com/office/drawing/2014/main" id="{209BF590-74AA-4165-80FB-78E2C99035DA}"/>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 name="Freeform 7">
              <a:extLst>
                <a:ext uri="{FF2B5EF4-FFF2-40B4-BE49-F238E27FC236}">
                  <a16:creationId xmlns:a16="http://schemas.microsoft.com/office/drawing/2014/main" id="{D00AFDE2-55D1-4CB5-A5C6-F43D47FF3C44}"/>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 name="Freeform 83">
              <a:extLst>
                <a:ext uri="{FF2B5EF4-FFF2-40B4-BE49-F238E27FC236}">
                  <a16:creationId xmlns:a16="http://schemas.microsoft.com/office/drawing/2014/main" id="{D3BA0290-B694-444D-ACA8-763655FBE1FF}"/>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 name="Freeform 84">
              <a:extLst>
                <a:ext uri="{FF2B5EF4-FFF2-40B4-BE49-F238E27FC236}">
                  <a16:creationId xmlns:a16="http://schemas.microsoft.com/office/drawing/2014/main" id="{2E97BA50-AB68-4DC4-A94D-7B32CE7F0116}"/>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 name="Freeform 85">
              <a:extLst>
                <a:ext uri="{FF2B5EF4-FFF2-40B4-BE49-F238E27FC236}">
                  <a16:creationId xmlns:a16="http://schemas.microsoft.com/office/drawing/2014/main" id="{A68FD514-FAE8-4229-BA21-82F6C8F42DFA}"/>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 name="Freeform 86">
              <a:extLst>
                <a:ext uri="{FF2B5EF4-FFF2-40B4-BE49-F238E27FC236}">
                  <a16:creationId xmlns:a16="http://schemas.microsoft.com/office/drawing/2014/main" id="{C30EA4C5-4478-4E08-8DCF-B97F01DC6A01}"/>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 name="Freeform 87">
              <a:extLst>
                <a:ext uri="{FF2B5EF4-FFF2-40B4-BE49-F238E27FC236}">
                  <a16:creationId xmlns:a16="http://schemas.microsoft.com/office/drawing/2014/main" id="{78723C8E-A4BE-446E-892D-C7CF12852064}"/>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 name="Freeform 88">
              <a:extLst>
                <a:ext uri="{FF2B5EF4-FFF2-40B4-BE49-F238E27FC236}">
                  <a16:creationId xmlns:a16="http://schemas.microsoft.com/office/drawing/2014/main" id="{179771C8-A700-4F8E-9CCF-8B397400C172}"/>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 name="Freeform 89">
              <a:extLst>
                <a:ext uri="{FF2B5EF4-FFF2-40B4-BE49-F238E27FC236}">
                  <a16:creationId xmlns:a16="http://schemas.microsoft.com/office/drawing/2014/main" id="{93869B18-AFA8-4BB9-94FD-1601324E4B0B}"/>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 name="Freeform 90">
              <a:extLst>
                <a:ext uri="{FF2B5EF4-FFF2-40B4-BE49-F238E27FC236}">
                  <a16:creationId xmlns:a16="http://schemas.microsoft.com/office/drawing/2014/main" id="{1AC35EA3-D18F-486B-82E9-21BB930ABFC0}"/>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 name="Freeform 91">
              <a:extLst>
                <a:ext uri="{FF2B5EF4-FFF2-40B4-BE49-F238E27FC236}">
                  <a16:creationId xmlns:a16="http://schemas.microsoft.com/office/drawing/2014/main" id="{11010441-1C1D-4780-B8EF-DF0C2E6A7ED4}"/>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 name="Freeform 92">
              <a:extLst>
                <a:ext uri="{FF2B5EF4-FFF2-40B4-BE49-F238E27FC236}">
                  <a16:creationId xmlns:a16="http://schemas.microsoft.com/office/drawing/2014/main" id="{775BB46D-032C-4C9C-A154-372CD4E0390F}"/>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8" name="Freeform 93">
              <a:extLst>
                <a:ext uri="{FF2B5EF4-FFF2-40B4-BE49-F238E27FC236}">
                  <a16:creationId xmlns:a16="http://schemas.microsoft.com/office/drawing/2014/main" id="{CAD9DA22-329E-4BC0-AC07-074DB9C66A2C}"/>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 name="Freeform 94">
              <a:extLst>
                <a:ext uri="{FF2B5EF4-FFF2-40B4-BE49-F238E27FC236}">
                  <a16:creationId xmlns:a16="http://schemas.microsoft.com/office/drawing/2014/main" id="{1D071C49-A880-4AAA-9F9F-675BEFAD8E59}"/>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 name="Freeform 95">
              <a:extLst>
                <a:ext uri="{FF2B5EF4-FFF2-40B4-BE49-F238E27FC236}">
                  <a16:creationId xmlns:a16="http://schemas.microsoft.com/office/drawing/2014/main" id="{149C63F7-7DCE-438E-AA11-60305D229228}"/>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 name="Freeform 96">
              <a:extLst>
                <a:ext uri="{FF2B5EF4-FFF2-40B4-BE49-F238E27FC236}">
                  <a16:creationId xmlns:a16="http://schemas.microsoft.com/office/drawing/2014/main" id="{C2EAF4BA-4BD2-4A51-BB70-04A7EB464141}"/>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 name="Freeform 97">
              <a:extLst>
                <a:ext uri="{FF2B5EF4-FFF2-40B4-BE49-F238E27FC236}">
                  <a16:creationId xmlns:a16="http://schemas.microsoft.com/office/drawing/2014/main" id="{45E0BA13-491F-4094-A1BF-74E1EEE5319F}"/>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 name="Freeform 98">
              <a:extLst>
                <a:ext uri="{FF2B5EF4-FFF2-40B4-BE49-F238E27FC236}">
                  <a16:creationId xmlns:a16="http://schemas.microsoft.com/office/drawing/2014/main" id="{BF37BCAB-9EB0-4E85-91AE-732C23BF8E06}"/>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 name="Freeform 99">
              <a:extLst>
                <a:ext uri="{FF2B5EF4-FFF2-40B4-BE49-F238E27FC236}">
                  <a16:creationId xmlns:a16="http://schemas.microsoft.com/office/drawing/2014/main" id="{DCF0F315-4B14-4C9F-8BE7-8532CE41BF5B}"/>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 name="Freeform 100">
              <a:extLst>
                <a:ext uri="{FF2B5EF4-FFF2-40B4-BE49-F238E27FC236}">
                  <a16:creationId xmlns:a16="http://schemas.microsoft.com/office/drawing/2014/main" id="{6E4AC2F2-934B-481F-9C86-D5B5211B243C}"/>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 name="Freeform 101">
              <a:extLst>
                <a:ext uri="{FF2B5EF4-FFF2-40B4-BE49-F238E27FC236}">
                  <a16:creationId xmlns:a16="http://schemas.microsoft.com/office/drawing/2014/main" id="{F7D28425-4C12-4A98-A1F9-42D8C928BFA7}"/>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 name="Freeform 102">
              <a:extLst>
                <a:ext uri="{FF2B5EF4-FFF2-40B4-BE49-F238E27FC236}">
                  <a16:creationId xmlns:a16="http://schemas.microsoft.com/office/drawing/2014/main" id="{B032D810-A207-4DA0-8CCF-E665BE7D2D27}"/>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 name="Freeform 103">
              <a:extLst>
                <a:ext uri="{FF2B5EF4-FFF2-40B4-BE49-F238E27FC236}">
                  <a16:creationId xmlns:a16="http://schemas.microsoft.com/office/drawing/2014/main" id="{CDE654AF-FEE8-4570-8B4B-0A3D9F8171EA}"/>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 name="Freeform 104">
              <a:extLst>
                <a:ext uri="{FF2B5EF4-FFF2-40B4-BE49-F238E27FC236}">
                  <a16:creationId xmlns:a16="http://schemas.microsoft.com/office/drawing/2014/main" id="{4C8DC055-B8FB-42F5-BEF9-EB779C2900C8}"/>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 name="Freeform 105">
              <a:extLst>
                <a:ext uri="{FF2B5EF4-FFF2-40B4-BE49-F238E27FC236}">
                  <a16:creationId xmlns:a16="http://schemas.microsoft.com/office/drawing/2014/main" id="{B692EC74-543C-485E-92CF-ECC06A027638}"/>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01" name="Slide Number Placeholder 3">
            <a:extLst>
              <a:ext uri="{FF2B5EF4-FFF2-40B4-BE49-F238E27FC236}">
                <a16:creationId xmlns:a16="http://schemas.microsoft.com/office/drawing/2014/main" id="{34459F9C-AF3E-46F6-8295-6F8374FD3AFF}"/>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102" name="Rectangle 155">
            <a:extLst>
              <a:ext uri="{FF2B5EF4-FFF2-40B4-BE49-F238E27FC236}">
                <a16:creationId xmlns:a16="http://schemas.microsoft.com/office/drawing/2014/main" id="{FA863785-FDBF-44CE-AA13-318E711A40AC}"/>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dirty="0"/>
              <a:t>Production code #</a:t>
            </a:r>
          </a:p>
        </p:txBody>
      </p:sp>
      <p:sp>
        <p:nvSpPr>
          <p:cNvPr id="103" name="Rectangle 176">
            <a:extLst>
              <a:ext uri="{FF2B5EF4-FFF2-40B4-BE49-F238E27FC236}">
                <a16:creationId xmlns:a16="http://schemas.microsoft.com/office/drawing/2014/main" id="{0F90F6E7-E69A-40D8-B60D-1F0CB3281304}"/>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2615604152"/>
      </p:ext>
    </p:extLst>
  </p:cSld>
  <p:clrMapOvr>
    <a:masterClrMapping/>
  </p:clrMapOvr>
  <p:extLst>
    <p:ext uri="{DCECCB84-F9BA-43D5-87BE-67443E8EF086}">
      <p15:sldGuideLst xmlns:p15="http://schemas.microsoft.com/office/powerpoint/2012/main">
        <p15:guide id="1" orient="horz" pos="4200" userDrawn="1">
          <p15:clr>
            <a:srgbClr val="FBAE40"/>
          </p15:clr>
        </p15:guide>
        <p15:guide id="2" pos="2880"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Bulleted List - with subhead">
    <p:spTree>
      <p:nvGrpSpPr>
        <p:cNvPr id="1" name=""/>
        <p:cNvGrpSpPr/>
        <p:nvPr/>
      </p:nvGrpSpPr>
      <p:grpSpPr>
        <a:xfrm>
          <a:off x="0" y="0"/>
          <a:ext cx="0" cy="0"/>
          <a:chOff x="0" y="0"/>
          <a:chExt cx="0" cy="0"/>
        </a:xfrm>
      </p:grpSpPr>
      <p:sp>
        <p:nvSpPr>
          <p:cNvPr id="40" name="Title 1">
            <a:extLst>
              <a:ext uri="{FF2B5EF4-FFF2-40B4-BE49-F238E27FC236}">
                <a16:creationId xmlns:a16="http://schemas.microsoft.com/office/drawing/2014/main" id="{21A8BEC4-EA15-4E70-B50A-FB32A99C5284}"/>
              </a:ext>
            </a:extLst>
          </p:cNvPr>
          <p:cNvSpPr>
            <a:spLocks noGrp="1"/>
          </p:cNvSpPr>
          <p:nvPr>
            <p:ph type="title"/>
          </p:nvPr>
        </p:nvSpPr>
        <p:spPr>
          <a:xfrm>
            <a:off x="317115" y="228600"/>
            <a:ext cx="8188710" cy="841248"/>
          </a:xfrm>
        </p:spPr>
        <p:txBody>
          <a:bodyPr/>
          <a:lstStyle/>
          <a:p>
            <a:r>
              <a:rPr lang="en-US"/>
              <a:t>Click to edit Master title style</a:t>
            </a:r>
            <a:endParaRPr lang="en-US" dirty="0"/>
          </a:p>
        </p:txBody>
      </p:sp>
      <p:sp>
        <p:nvSpPr>
          <p:cNvPr id="41" name="Content Placeholder 2">
            <a:extLst>
              <a:ext uri="{FF2B5EF4-FFF2-40B4-BE49-F238E27FC236}">
                <a16:creationId xmlns:a16="http://schemas.microsoft.com/office/drawing/2014/main" id="{3B728277-59A0-4A3F-A451-B7EB9CE7F1F2}"/>
              </a:ext>
            </a:extLst>
          </p:cNvPr>
          <p:cNvSpPr>
            <a:spLocks noGrp="1"/>
          </p:cNvSpPr>
          <p:nvPr>
            <p:ph idx="12"/>
          </p:nvPr>
        </p:nvSpPr>
        <p:spPr>
          <a:xfrm>
            <a:off x="325661" y="1339850"/>
            <a:ext cx="8188710" cy="4878388"/>
          </a:xfrm>
        </p:spPr>
        <p:txBody>
          <a:bodyPr lIns="91440"/>
          <a:lstStyle>
            <a:lvl1pPr marL="0" indent="0" algn="l" rtl="0" fontAlgn="base">
              <a:spcBef>
                <a:spcPts val="480"/>
              </a:spcBef>
              <a:spcAft>
                <a:spcPct val="0"/>
              </a:spcAft>
              <a:buSzPct val="40000"/>
              <a:defRPr lang="en-US" sz="1400" b="1" dirty="0" smtClean="0">
                <a:solidFill>
                  <a:srgbClr val="7A9B3D"/>
                </a:solidFill>
                <a:latin typeface="+mn-lt"/>
                <a:ea typeface="+mn-ea"/>
                <a:cs typeface="+mn-cs"/>
              </a:defRPr>
            </a:lvl1pPr>
            <a:lvl2pPr marL="114300" indent="-114300">
              <a:spcBef>
                <a:spcPts val="288"/>
              </a:spcBef>
              <a:buClr>
                <a:srgbClr val="7A9B3D"/>
              </a:buClr>
              <a:defRPr lang="en-US" dirty="0" smtClean="0">
                <a:solidFill>
                  <a:srgbClr val="000000"/>
                </a:solidFill>
                <a:latin typeface="+mn-lt"/>
              </a:defRPr>
            </a:lvl2pPr>
            <a:lvl3pPr marL="228600" indent="-114300">
              <a:buClr>
                <a:srgbClr val="7A9A3D"/>
              </a:buClr>
              <a:defRPr lang="en-US" sz="1200" dirty="0" smtClean="0">
                <a:solidFill>
                  <a:srgbClr val="000000"/>
                </a:solidFill>
                <a:latin typeface="+mn-lt"/>
              </a:defRPr>
            </a:lvl3pPr>
            <a:lvl4pPr marL="342900" indent="-114300">
              <a:buClr>
                <a:srgbClr val="7A9A3D"/>
              </a:buClr>
              <a:buSzPct val="100000"/>
              <a:buFont typeface="Arial" pitchFamily="34" charset="0"/>
              <a:buChar char="•"/>
              <a:defRPr sz="1200">
                <a:solidFill>
                  <a:srgbClr val="000000"/>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grpSp>
        <p:nvGrpSpPr>
          <p:cNvPr id="42" name="Group 41">
            <a:extLst>
              <a:ext uri="{FF2B5EF4-FFF2-40B4-BE49-F238E27FC236}">
                <a16:creationId xmlns:a16="http://schemas.microsoft.com/office/drawing/2014/main" id="{49989A15-58F5-4D59-986B-212E97972590}"/>
              </a:ext>
            </a:extLst>
          </p:cNvPr>
          <p:cNvGrpSpPr/>
          <p:nvPr userDrawn="1"/>
        </p:nvGrpSpPr>
        <p:grpSpPr>
          <a:xfrm>
            <a:off x="7358173" y="6361974"/>
            <a:ext cx="1382376" cy="297562"/>
            <a:chOff x="6923088" y="4475163"/>
            <a:chExt cx="1873251" cy="403225"/>
          </a:xfrm>
        </p:grpSpPr>
        <p:sp>
          <p:nvSpPr>
            <p:cNvPr id="43" name="AutoShape 4">
              <a:extLst>
                <a:ext uri="{FF2B5EF4-FFF2-40B4-BE49-F238E27FC236}">
                  <a16:creationId xmlns:a16="http://schemas.microsoft.com/office/drawing/2014/main" id="{B4A3A6C6-7747-46BD-9041-6BD0458C0880}"/>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6">
              <a:extLst>
                <a:ext uri="{FF2B5EF4-FFF2-40B4-BE49-F238E27FC236}">
                  <a16:creationId xmlns:a16="http://schemas.microsoft.com/office/drawing/2014/main" id="{1C65737E-8585-4F51-B38F-CAAC14F7C26A}"/>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7">
              <a:extLst>
                <a:ext uri="{FF2B5EF4-FFF2-40B4-BE49-F238E27FC236}">
                  <a16:creationId xmlns:a16="http://schemas.microsoft.com/office/drawing/2014/main" id="{60A1EC7F-05D8-4298-B021-75B09884C602}"/>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83">
              <a:extLst>
                <a:ext uri="{FF2B5EF4-FFF2-40B4-BE49-F238E27FC236}">
                  <a16:creationId xmlns:a16="http://schemas.microsoft.com/office/drawing/2014/main" id="{D2278336-5A32-41C4-A9D8-99D6F529860C}"/>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84">
              <a:extLst>
                <a:ext uri="{FF2B5EF4-FFF2-40B4-BE49-F238E27FC236}">
                  <a16:creationId xmlns:a16="http://schemas.microsoft.com/office/drawing/2014/main" id="{65AB0625-F246-488E-A2E0-6EDBC01699C7}"/>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85">
              <a:extLst>
                <a:ext uri="{FF2B5EF4-FFF2-40B4-BE49-F238E27FC236}">
                  <a16:creationId xmlns:a16="http://schemas.microsoft.com/office/drawing/2014/main" id="{627F0006-7851-4B2C-AE17-88F2EFED12AC}"/>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86">
              <a:extLst>
                <a:ext uri="{FF2B5EF4-FFF2-40B4-BE49-F238E27FC236}">
                  <a16:creationId xmlns:a16="http://schemas.microsoft.com/office/drawing/2014/main" id="{6DBE2C4B-E30E-4165-A9E8-0E72DE9375A1}"/>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87">
              <a:extLst>
                <a:ext uri="{FF2B5EF4-FFF2-40B4-BE49-F238E27FC236}">
                  <a16:creationId xmlns:a16="http://schemas.microsoft.com/office/drawing/2014/main" id="{6BC3D557-3883-43FD-AA64-81BEBBA5E2A3}"/>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88">
              <a:extLst>
                <a:ext uri="{FF2B5EF4-FFF2-40B4-BE49-F238E27FC236}">
                  <a16:creationId xmlns:a16="http://schemas.microsoft.com/office/drawing/2014/main" id="{67FCC1D0-37AC-4663-A202-41EAFFB98655}"/>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89">
              <a:extLst>
                <a:ext uri="{FF2B5EF4-FFF2-40B4-BE49-F238E27FC236}">
                  <a16:creationId xmlns:a16="http://schemas.microsoft.com/office/drawing/2014/main" id="{FF60469E-E8EA-494F-9E6E-5BBDB4DCF226}"/>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0">
              <a:extLst>
                <a:ext uri="{FF2B5EF4-FFF2-40B4-BE49-F238E27FC236}">
                  <a16:creationId xmlns:a16="http://schemas.microsoft.com/office/drawing/2014/main" id="{8AB869B5-35F0-4169-886D-3A8F1770644C}"/>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91">
              <a:extLst>
                <a:ext uri="{FF2B5EF4-FFF2-40B4-BE49-F238E27FC236}">
                  <a16:creationId xmlns:a16="http://schemas.microsoft.com/office/drawing/2014/main" id="{0945314E-A0B8-4FD8-94CC-C876BE6CC3D5}"/>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92">
              <a:extLst>
                <a:ext uri="{FF2B5EF4-FFF2-40B4-BE49-F238E27FC236}">
                  <a16:creationId xmlns:a16="http://schemas.microsoft.com/office/drawing/2014/main" id="{F35F6F2E-B0C1-4E48-A5A4-8B7A026EC481}"/>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93">
              <a:extLst>
                <a:ext uri="{FF2B5EF4-FFF2-40B4-BE49-F238E27FC236}">
                  <a16:creationId xmlns:a16="http://schemas.microsoft.com/office/drawing/2014/main" id="{9D9C2697-1A04-4998-B563-478C8D6D9EA3}"/>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94">
              <a:extLst>
                <a:ext uri="{FF2B5EF4-FFF2-40B4-BE49-F238E27FC236}">
                  <a16:creationId xmlns:a16="http://schemas.microsoft.com/office/drawing/2014/main" id="{D00E5143-563A-439F-AF13-A18DADB2B38E}"/>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95">
              <a:extLst>
                <a:ext uri="{FF2B5EF4-FFF2-40B4-BE49-F238E27FC236}">
                  <a16:creationId xmlns:a16="http://schemas.microsoft.com/office/drawing/2014/main" id="{FB73CAAC-2214-4E56-A8B7-1310CAC1443C}"/>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96">
              <a:extLst>
                <a:ext uri="{FF2B5EF4-FFF2-40B4-BE49-F238E27FC236}">
                  <a16:creationId xmlns:a16="http://schemas.microsoft.com/office/drawing/2014/main" id="{4ED7CB89-A1D6-43FC-9212-B467795FC546}"/>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97">
              <a:extLst>
                <a:ext uri="{FF2B5EF4-FFF2-40B4-BE49-F238E27FC236}">
                  <a16:creationId xmlns:a16="http://schemas.microsoft.com/office/drawing/2014/main" id="{9804F71B-677A-4DF2-A5F7-92929D088F31}"/>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98">
              <a:extLst>
                <a:ext uri="{FF2B5EF4-FFF2-40B4-BE49-F238E27FC236}">
                  <a16:creationId xmlns:a16="http://schemas.microsoft.com/office/drawing/2014/main" id="{47E827F6-A311-4BA4-9773-6A32AF7E5DE8}"/>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 name="Freeform 99">
              <a:extLst>
                <a:ext uri="{FF2B5EF4-FFF2-40B4-BE49-F238E27FC236}">
                  <a16:creationId xmlns:a16="http://schemas.microsoft.com/office/drawing/2014/main" id="{B72E9712-2A27-46E7-9927-337403FFBE98}"/>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 name="Freeform 100">
              <a:extLst>
                <a:ext uri="{FF2B5EF4-FFF2-40B4-BE49-F238E27FC236}">
                  <a16:creationId xmlns:a16="http://schemas.microsoft.com/office/drawing/2014/main" id="{B9D75FBC-BAB5-4572-86E2-B9286BAA3339}"/>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 name="Freeform 101">
              <a:extLst>
                <a:ext uri="{FF2B5EF4-FFF2-40B4-BE49-F238E27FC236}">
                  <a16:creationId xmlns:a16="http://schemas.microsoft.com/office/drawing/2014/main" id="{65A61FCD-DA9A-43FE-96B0-585B3080F8F2}"/>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 name="Freeform 102">
              <a:extLst>
                <a:ext uri="{FF2B5EF4-FFF2-40B4-BE49-F238E27FC236}">
                  <a16:creationId xmlns:a16="http://schemas.microsoft.com/office/drawing/2014/main" id="{5C7CE36F-B9D4-48AA-B53D-77D05FA70614}"/>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 name="Freeform 103">
              <a:extLst>
                <a:ext uri="{FF2B5EF4-FFF2-40B4-BE49-F238E27FC236}">
                  <a16:creationId xmlns:a16="http://schemas.microsoft.com/office/drawing/2014/main" id="{25D5021D-085F-4ADF-8B90-DDC9071C7AA1}"/>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 name="Freeform 104">
              <a:extLst>
                <a:ext uri="{FF2B5EF4-FFF2-40B4-BE49-F238E27FC236}">
                  <a16:creationId xmlns:a16="http://schemas.microsoft.com/office/drawing/2014/main" id="{BAA36879-4011-478B-B607-D9A9387DBDC1}"/>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 name="Freeform 105">
              <a:extLst>
                <a:ext uri="{FF2B5EF4-FFF2-40B4-BE49-F238E27FC236}">
                  <a16:creationId xmlns:a16="http://schemas.microsoft.com/office/drawing/2014/main" id="{F279E47A-2588-41E6-830E-25D5578F7607}"/>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9" name="Slide Number Placeholder 3">
            <a:extLst>
              <a:ext uri="{FF2B5EF4-FFF2-40B4-BE49-F238E27FC236}">
                <a16:creationId xmlns:a16="http://schemas.microsoft.com/office/drawing/2014/main" id="{0ADCCCB2-0AAC-4856-AD4D-9F027875A95D}"/>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70" name="Rectangle 155">
            <a:extLst>
              <a:ext uri="{FF2B5EF4-FFF2-40B4-BE49-F238E27FC236}">
                <a16:creationId xmlns:a16="http://schemas.microsoft.com/office/drawing/2014/main" id="{E59E3248-5CA3-4F97-8A35-B9953A12B954}"/>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dirty="0"/>
              <a:t>Production code #</a:t>
            </a:r>
          </a:p>
        </p:txBody>
      </p:sp>
      <p:sp>
        <p:nvSpPr>
          <p:cNvPr id="71" name="Rectangle 176">
            <a:extLst>
              <a:ext uri="{FF2B5EF4-FFF2-40B4-BE49-F238E27FC236}">
                <a16:creationId xmlns:a16="http://schemas.microsoft.com/office/drawing/2014/main" id="{216EF902-EFA7-457D-ABA2-7D56D1EBD454}"/>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28292287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Important Information">
    <p:spTree>
      <p:nvGrpSpPr>
        <p:cNvPr id="1" name=""/>
        <p:cNvGrpSpPr/>
        <p:nvPr/>
      </p:nvGrpSpPr>
      <p:grpSpPr>
        <a:xfrm>
          <a:off x="0" y="0"/>
          <a:ext cx="0" cy="0"/>
          <a:chOff x="0" y="0"/>
          <a:chExt cx="0" cy="0"/>
        </a:xfrm>
      </p:grpSpPr>
      <p:sp>
        <p:nvSpPr>
          <p:cNvPr id="69" name="Title 1">
            <a:extLst>
              <a:ext uri="{FF2B5EF4-FFF2-40B4-BE49-F238E27FC236}">
                <a16:creationId xmlns:a16="http://schemas.microsoft.com/office/drawing/2014/main" id="{34155F05-705D-4FF2-B90A-669551F7ABBA}"/>
              </a:ext>
            </a:extLst>
          </p:cNvPr>
          <p:cNvSpPr>
            <a:spLocks noGrp="1"/>
          </p:cNvSpPr>
          <p:nvPr>
            <p:ph type="title"/>
          </p:nvPr>
        </p:nvSpPr>
        <p:spPr>
          <a:xfrm>
            <a:off x="317115" y="228600"/>
            <a:ext cx="8188710" cy="838200"/>
          </a:xfrm>
        </p:spPr>
        <p:txBody>
          <a:bodyPr/>
          <a:lstStyle>
            <a:lvl1pPr>
              <a:defRPr>
                <a:solidFill>
                  <a:srgbClr val="333F48"/>
                </a:solidFill>
              </a:defRPr>
            </a:lvl1pPr>
          </a:lstStyle>
          <a:p>
            <a:r>
              <a:rPr lang="en-US"/>
              <a:t>Click to edit Master title style</a:t>
            </a:r>
            <a:endParaRPr lang="en-US" dirty="0"/>
          </a:p>
        </p:txBody>
      </p:sp>
      <p:sp>
        <p:nvSpPr>
          <p:cNvPr id="70" name="Content Placeholder 2">
            <a:extLst>
              <a:ext uri="{FF2B5EF4-FFF2-40B4-BE49-F238E27FC236}">
                <a16:creationId xmlns:a16="http://schemas.microsoft.com/office/drawing/2014/main" id="{523889B5-CD34-491D-B91F-D59C5E282A6B}"/>
              </a:ext>
            </a:extLst>
          </p:cNvPr>
          <p:cNvSpPr>
            <a:spLocks noGrp="1"/>
          </p:cNvSpPr>
          <p:nvPr>
            <p:ph idx="1"/>
          </p:nvPr>
        </p:nvSpPr>
        <p:spPr>
          <a:xfrm>
            <a:off x="325661" y="1076325"/>
            <a:ext cx="8188710" cy="4808538"/>
          </a:xfrm>
          <a:noFill/>
          <a:ln w="9525">
            <a:noFill/>
            <a:miter lim="800000"/>
            <a:headEnd/>
            <a:tailEnd/>
          </a:ln>
          <a:effectLst/>
        </p:spPr>
        <p:txBody>
          <a:bodyPr lIns="91440"/>
          <a:lstStyle>
            <a:lvl1pPr marL="0" indent="0" algn="l" rtl="0" eaLnBrk="1" fontAlgn="base" hangingPunct="1">
              <a:spcAft>
                <a:spcPct val="0"/>
              </a:spcAft>
              <a:buSzPct val="40000"/>
              <a:defRPr lang="en-US" sz="1000" b="0" dirty="0" smtClean="0">
                <a:solidFill>
                  <a:srgbClr val="000000"/>
                </a:solidFill>
                <a:latin typeface="+mn-lt"/>
                <a:ea typeface="+mn-ea"/>
                <a:cs typeface="+mn-cs"/>
              </a:defRPr>
            </a:lvl1pPr>
            <a:lvl2pPr marL="0" indent="0" algn="l" rtl="0" eaLnBrk="1" fontAlgn="base" hangingPunct="1">
              <a:spcBef>
                <a:spcPts val="600"/>
              </a:spcBef>
              <a:spcAft>
                <a:spcPct val="0"/>
              </a:spcAft>
              <a:buSzPct val="40000"/>
              <a:buNone/>
              <a:defRPr lang="en-US" sz="1000" b="1" dirty="0">
                <a:solidFill>
                  <a:srgbClr val="000000"/>
                </a:solidFill>
                <a:latin typeface="+mn-lt"/>
                <a:ea typeface="+mn-ea"/>
                <a:cs typeface="+mn-cs"/>
              </a:defRPr>
            </a:lvl2pPr>
          </a:lstStyle>
          <a:p>
            <a:pPr lvl="0"/>
            <a:r>
              <a:rPr lang="en-US"/>
              <a:t>Click to edit Master text styles</a:t>
            </a:r>
          </a:p>
          <a:p>
            <a:pPr lvl="1"/>
            <a:r>
              <a:rPr lang="en-US"/>
              <a:t>Second level</a:t>
            </a:r>
          </a:p>
        </p:txBody>
      </p:sp>
      <p:grpSp>
        <p:nvGrpSpPr>
          <p:cNvPr id="71" name="Group 70">
            <a:extLst>
              <a:ext uri="{FF2B5EF4-FFF2-40B4-BE49-F238E27FC236}">
                <a16:creationId xmlns:a16="http://schemas.microsoft.com/office/drawing/2014/main" id="{17035F3A-C020-4423-A547-BAB53986CD41}"/>
              </a:ext>
            </a:extLst>
          </p:cNvPr>
          <p:cNvGrpSpPr/>
          <p:nvPr userDrawn="1"/>
        </p:nvGrpSpPr>
        <p:grpSpPr>
          <a:xfrm>
            <a:off x="7358173" y="6361974"/>
            <a:ext cx="1382376" cy="297562"/>
            <a:chOff x="6923088" y="4475163"/>
            <a:chExt cx="1873251" cy="403225"/>
          </a:xfrm>
        </p:grpSpPr>
        <p:sp>
          <p:nvSpPr>
            <p:cNvPr id="72" name="AutoShape 4">
              <a:extLst>
                <a:ext uri="{FF2B5EF4-FFF2-40B4-BE49-F238E27FC236}">
                  <a16:creationId xmlns:a16="http://schemas.microsoft.com/office/drawing/2014/main" id="{B5E5AF22-A374-4238-9221-EF65C660B1AD}"/>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 name="Freeform 6">
              <a:extLst>
                <a:ext uri="{FF2B5EF4-FFF2-40B4-BE49-F238E27FC236}">
                  <a16:creationId xmlns:a16="http://schemas.microsoft.com/office/drawing/2014/main" id="{DCCF73F9-26CE-472F-9CA1-6B62980F8129}"/>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 name="Freeform 7">
              <a:extLst>
                <a:ext uri="{FF2B5EF4-FFF2-40B4-BE49-F238E27FC236}">
                  <a16:creationId xmlns:a16="http://schemas.microsoft.com/office/drawing/2014/main" id="{13871F89-5AE8-44E1-A702-4D45AB90C934}"/>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 name="Freeform 83">
              <a:extLst>
                <a:ext uri="{FF2B5EF4-FFF2-40B4-BE49-F238E27FC236}">
                  <a16:creationId xmlns:a16="http://schemas.microsoft.com/office/drawing/2014/main" id="{B21BDAE9-F126-4276-B487-C0751768C414}"/>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 name="Freeform 84">
              <a:extLst>
                <a:ext uri="{FF2B5EF4-FFF2-40B4-BE49-F238E27FC236}">
                  <a16:creationId xmlns:a16="http://schemas.microsoft.com/office/drawing/2014/main" id="{6171FEAC-6E17-43AD-A75E-F8B6D94CC6FB}"/>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 name="Freeform 85">
              <a:extLst>
                <a:ext uri="{FF2B5EF4-FFF2-40B4-BE49-F238E27FC236}">
                  <a16:creationId xmlns:a16="http://schemas.microsoft.com/office/drawing/2014/main" id="{52509724-C029-437F-B89F-BA450FB26DA0}"/>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 name="Freeform 86">
              <a:extLst>
                <a:ext uri="{FF2B5EF4-FFF2-40B4-BE49-F238E27FC236}">
                  <a16:creationId xmlns:a16="http://schemas.microsoft.com/office/drawing/2014/main" id="{7F197345-80A1-4386-ABCE-AE56E8A9F109}"/>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 name="Freeform 87">
              <a:extLst>
                <a:ext uri="{FF2B5EF4-FFF2-40B4-BE49-F238E27FC236}">
                  <a16:creationId xmlns:a16="http://schemas.microsoft.com/office/drawing/2014/main" id="{9D1BEF58-146A-4100-87D9-C7D62B7C4663}"/>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 name="Freeform 88">
              <a:extLst>
                <a:ext uri="{FF2B5EF4-FFF2-40B4-BE49-F238E27FC236}">
                  <a16:creationId xmlns:a16="http://schemas.microsoft.com/office/drawing/2014/main" id="{2A9BEF9F-6BA2-450E-91E2-3F0063BED1FC}"/>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 name="Freeform 89">
              <a:extLst>
                <a:ext uri="{FF2B5EF4-FFF2-40B4-BE49-F238E27FC236}">
                  <a16:creationId xmlns:a16="http://schemas.microsoft.com/office/drawing/2014/main" id="{77026C69-B5A7-47B2-808E-2A8A6E041F86}"/>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 name="Freeform 90">
              <a:extLst>
                <a:ext uri="{FF2B5EF4-FFF2-40B4-BE49-F238E27FC236}">
                  <a16:creationId xmlns:a16="http://schemas.microsoft.com/office/drawing/2014/main" id="{B5176ABF-D9EE-4D3E-AA1F-5BB12C9B025C}"/>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 name="Freeform 91">
              <a:extLst>
                <a:ext uri="{FF2B5EF4-FFF2-40B4-BE49-F238E27FC236}">
                  <a16:creationId xmlns:a16="http://schemas.microsoft.com/office/drawing/2014/main" id="{DC13D118-E585-4553-B07E-B4AA29550CBD}"/>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 name="Freeform 92">
              <a:extLst>
                <a:ext uri="{FF2B5EF4-FFF2-40B4-BE49-F238E27FC236}">
                  <a16:creationId xmlns:a16="http://schemas.microsoft.com/office/drawing/2014/main" id="{F0E62BE6-BAED-49C5-A00B-9C95F266CB66}"/>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 name="Freeform 93">
              <a:extLst>
                <a:ext uri="{FF2B5EF4-FFF2-40B4-BE49-F238E27FC236}">
                  <a16:creationId xmlns:a16="http://schemas.microsoft.com/office/drawing/2014/main" id="{B8D84271-00B1-4FEC-8B22-72808065B750}"/>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 name="Freeform 94">
              <a:extLst>
                <a:ext uri="{FF2B5EF4-FFF2-40B4-BE49-F238E27FC236}">
                  <a16:creationId xmlns:a16="http://schemas.microsoft.com/office/drawing/2014/main" id="{A44693E1-228F-4A50-8897-CE04F0541D4B}"/>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 name="Freeform 95">
              <a:extLst>
                <a:ext uri="{FF2B5EF4-FFF2-40B4-BE49-F238E27FC236}">
                  <a16:creationId xmlns:a16="http://schemas.microsoft.com/office/drawing/2014/main" id="{663C508F-3F70-42D7-A526-E936391996E9}"/>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8" name="Freeform 96">
              <a:extLst>
                <a:ext uri="{FF2B5EF4-FFF2-40B4-BE49-F238E27FC236}">
                  <a16:creationId xmlns:a16="http://schemas.microsoft.com/office/drawing/2014/main" id="{DF5A9E54-5E82-4B3B-8558-B3DF81DF7EEA}"/>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 name="Freeform 97">
              <a:extLst>
                <a:ext uri="{FF2B5EF4-FFF2-40B4-BE49-F238E27FC236}">
                  <a16:creationId xmlns:a16="http://schemas.microsoft.com/office/drawing/2014/main" id="{CE5372D5-97F8-491A-B20E-FD3DC55AD09C}"/>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 name="Freeform 98">
              <a:extLst>
                <a:ext uri="{FF2B5EF4-FFF2-40B4-BE49-F238E27FC236}">
                  <a16:creationId xmlns:a16="http://schemas.microsoft.com/office/drawing/2014/main" id="{AF67B559-63F8-4052-BAEC-F993844578AE}"/>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 name="Freeform 99">
              <a:extLst>
                <a:ext uri="{FF2B5EF4-FFF2-40B4-BE49-F238E27FC236}">
                  <a16:creationId xmlns:a16="http://schemas.microsoft.com/office/drawing/2014/main" id="{5816B852-B417-4CE5-A95D-99FC1CCE3E53}"/>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 name="Freeform 100">
              <a:extLst>
                <a:ext uri="{FF2B5EF4-FFF2-40B4-BE49-F238E27FC236}">
                  <a16:creationId xmlns:a16="http://schemas.microsoft.com/office/drawing/2014/main" id="{8BBED88E-2E35-4AF2-88EA-40C88174768C}"/>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 name="Freeform 101">
              <a:extLst>
                <a:ext uri="{FF2B5EF4-FFF2-40B4-BE49-F238E27FC236}">
                  <a16:creationId xmlns:a16="http://schemas.microsoft.com/office/drawing/2014/main" id="{F853A237-1343-4E0C-9E28-EF42640471C2}"/>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 name="Freeform 102">
              <a:extLst>
                <a:ext uri="{FF2B5EF4-FFF2-40B4-BE49-F238E27FC236}">
                  <a16:creationId xmlns:a16="http://schemas.microsoft.com/office/drawing/2014/main" id="{6372AE43-5480-49AE-A8C6-EF4592BA6685}"/>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 name="Freeform 103">
              <a:extLst>
                <a:ext uri="{FF2B5EF4-FFF2-40B4-BE49-F238E27FC236}">
                  <a16:creationId xmlns:a16="http://schemas.microsoft.com/office/drawing/2014/main" id="{6E4B2B2D-E4F4-4253-B9C5-9B050DAA23D7}"/>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 name="Freeform 104">
              <a:extLst>
                <a:ext uri="{FF2B5EF4-FFF2-40B4-BE49-F238E27FC236}">
                  <a16:creationId xmlns:a16="http://schemas.microsoft.com/office/drawing/2014/main" id="{05E2B3F1-DE9E-4EE8-A6DA-6E74AB4BE968}"/>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 name="Freeform 105">
              <a:extLst>
                <a:ext uri="{FF2B5EF4-FFF2-40B4-BE49-F238E27FC236}">
                  <a16:creationId xmlns:a16="http://schemas.microsoft.com/office/drawing/2014/main" id="{E56C0152-D6BA-4F62-A744-4737FC3DEF8C}"/>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98" name="Slide Number Placeholder 3">
            <a:extLst>
              <a:ext uri="{FF2B5EF4-FFF2-40B4-BE49-F238E27FC236}">
                <a16:creationId xmlns:a16="http://schemas.microsoft.com/office/drawing/2014/main" id="{5949A515-08B3-4EE2-A3FA-95168AEDBB4C}"/>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99" name="Rectangle 155">
            <a:extLst>
              <a:ext uri="{FF2B5EF4-FFF2-40B4-BE49-F238E27FC236}">
                <a16:creationId xmlns:a16="http://schemas.microsoft.com/office/drawing/2014/main" id="{22B7305A-AF5F-49AD-AD8A-EF400E770DF8}"/>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dirty="0"/>
              <a:t>Production code #</a:t>
            </a:r>
          </a:p>
        </p:txBody>
      </p:sp>
      <p:sp>
        <p:nvSpPr>
          <p:cNvPr id="100" name="Rectangle 176">
            <a:extLst>
              <a:ext uri="{FF2B5EF4-FFF2-40B4-BE49-F238E27FC236}">
                <a16:creationId xmlns:a16="http://schemas.microsoft.com/office/drawing/2014/main" id="{1B9F7CE3-D300-49F5-9B49-631473069269}"/>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231748217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Biography">
    <p:spTree>
      <p:nvGrpSpPr>
        <p:cNvPr id="1" name=""/>
        <p:cNvGrpSpPr/>
        <p:nvPr/>
      </p:nvGrpSpPr>
      <p:grpSpPr>
        <a:xfrm>
          <a:off x="0" y="0"/>
          <a:ext cx="0" cy="0"/>
          <a:chOff x="0" y="0"/>
          <a:chExt cx="0" cy="0"/>
        </a:xfrm>
      </p:grpSpPr>
      <p:sp>
        <p:nvSpPr>
          <p:cNvPr id="39" name="Title 1">
            <a:extLst>
              <a:ext uri="{FF2B5EF4-FFF2-40B4-BE49-F238E27FC236}">
                <a16:creationId xmlns:a16="http://schemas.microsoft.com/office/drawing/2014/main" id="{520D07EA-ACF9-450F-911A-468CF9001EC8}"/>
              </a:ext>
            </a:extLst>
          </p:cNvPr>
          <p:cNvSpPr>
            <a:spLocks noGrp="1"/>
          </p:cNvSpPr>
          <p:nvPr>
            <p:ph type="title"/>
          </p:nvPr>
        </p:nvSpPr>
        <p:spPr>
          <a:xfrm>
            <a:off x="317115" y="228600"/>
            <a:ext cx="8188710" cy="838200"/>
          </a:xfrm>
        </p:spPr>
        <p:txBody>
          <a:bodyPr/>
          <a:lstStyle/>
          <a:p>
            <a:r>
              <a:rPr lang="en-US"/>
              <a:t>Click to edit Master title style</a:t>
            </a:r>
            <a:endParaRPr lang="en-US" dirty="0"/>
          </a:p>
        </p:txBody>
      </p:sp>
      <p:sp>
        <p:nvSpPr>
          <p:cNvPr id="40" name="Content Placeholder 2">
            <a:extLst>
              <a:ext uri="{FF2B5EF4-FFF2-40B4-BE49-F238E27FC236}">
                <a16:creationId xmlns:a16="http://schemas.microsoft.com/office/drawing/2014/main" id="{589C929A-04AE-4753-99C1-DB6E60D32CFA}"/>
              </a:ext>
            </a:extLst>
          </p:cNvPr>
          <p:cNvSpPr>
            <a:spLocks noGrp="1"/>
          </p:cNvSpPr>
          <p:nvPr>
            <p:ph idx="1"/>
          </p:nvPr>
        </p:nvSpPr>
        <p:spPr>
          <a:xfrm>
            <a:off x="325661" y="1073258"/>
            <a:ext cx="8188710" cy="439305"/>
          </a:xfrm>
        </p:spPr>
        <p:txBody>
          <a:bodyPr lIns="91440"/>
          <a:lstStyle>
            <a:lvl1pPr marL="0" indent="0">
              <a:spcBef>
                <a:spcPts val="0"/>
              </a:spcBef>
              <a:defRPr lang="en-US" sz="1200" b="1" dirty="0" smtClean="0">
                <a:solidFill>
                  <a:srgbClr val="7A9A3D"/>
                </a:solidFill>
                <a:latin typeface="+mn-lt"/>
                <a:ea typeface="+mn-ea"/>
                <a:cs typeface="+mn-cs"/>
              </a:defRPr>
            </a:lvl1pPr>
            <a:lvl2pPr marL="0" indent="0">
              <a:spcBef>
                <a:spcPts val="0"/>
              </a:spcBef>
              <a:buNone/>
              <a:defRPr sz="1200" b="0" i="1">
                <a:solidFill>
                  <a:srgbClr val="7A9A3D"/>
                </a:solidFill>
              </a:defRPr>
            </a:lvl2pPr>
          </a:lstStyle>
          <a:p>
            <a:pPr lvl="0"/>
            <a:r>
              <a:rPr lang="en-US" dirty="0"/>
              <a:t>Click to edit Master text styles</a:t>
            </a:r>
          </a:p>
          <a:p>
            <a:pPr lvl="1"/>
            <a:r>
              <a:rPr lang="en-US" dirty="0"/>
              <a:t>Second level</a:t>
            </a:r>
          </a:p>
        </p:txBody>
      </p:sp>
      <p:sp>
        <p:nvSpPr>
          <p:cNvPr id="41" name="Content Placeholder 9">
            <a:extLst>
              <a:ext uri="{FF2B5EF4-FFF2-40B4-BE49-F238E27FC236}">
                <a16:creationId xmlns:a16="http://schemas.microsoft.com/office/drawing/2014/main" id="{F01BBE39-EE19-426F-B120-1D152C882D1A}"/>
              </a:ext>
            </a:extLst>
          </p:cNvPr>
          <p:cNvSpPr>
            <a:spLocks noGrp="1"/>
          </p:cNvSpPr>
          <p:nvPr>
            <p:ph sz="quarter" idx="13"/>
          </p:nvPr>
        </p:nvSpPr>
        <p:spPr>
          <a:xfrm>
            <a:off x="325661" y="1526850"/>
            <a:ext cx="8188710" cy="4691387"/>
          </a:xfrm>
        </p:spPr>
        <p:txBody>
          <a:bodyPr lIns="91440"/>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2" name="Group 41">
            <a:extLst>
              <a:ext uri="{FF2B5EF4-FFF2-40B4-BE49-F238E27FC236}">
                <a16:creationId xmlns:a16="http://schemas.microsoft.com/office/drawing/2014/main" id="{AB4ED684-8B88-4F27-9DFA-75D21363AEA5}"/>
              </a:ext>
            </a:extLst>
          </p:cNvPr>
          <p:cNvGrpSpPr/>
          <p:nvPr userDrawn="1"/>
        </p:nvGrpSpPr>
        <p:grpSpPr>
          <a:xfrm>
            <a:off x="7358173" y="6361974"/>
            <a:ext cx="1382376" cy="297562"/>
            <a:chOff x="6923088" y="4475163"/>
            <a:chExt cx="1873251" cy="403225"/>
          </a:xfrm>
        </p:grpSpPr>
        <p:sp>
          <p:nvSpPr>
            <p:cNvPr id="43" name="AutoShape 4">
              <a:extLst>
                <a:ext uri="{FF2B5EF4-FFF2-40B4-BE49-F238E27FC236}">
                  <a16:creationId xmlns:a16="http://schemas.microsoft.com/office/drawing/2014/main" id="{4391DEEA-3371-4561-8FBA-A5DDB8CE95FB}"/>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6">
              <a:extLst>
                <a:ext uri="{FF2B5EF4-FFF2-40B4-BE49-F238E27FC236}">
                  <a16:creationId xmlns:a16="http://schemas.microsoft.com/office/drawing/2014/main" id="{7CEE7681-BEBF-4497-946D-0BD319778408}"/>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7">
              <a:extLst>
                <a:ext uri="{FF2B5EF4-FFF2-40B4-BE49-F238E27FC236}">
                  <a16:creationId xmlns:a16="http://schemas.microsoft.com/office/drawing/2014/main" id="{7199C9EA-2AFF-4F8D-BFB6-01A899B6FD91}"/>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83">
              <a:extLst>
                <a:ext uri="{FF2B5EF4-FFF2-40B4-BE49-F238E27FC236}">
                  <a16:creationId xmlns:a16="http://schemas.microsoft.com/office/drawing/2014/main" id="{C00A4146-F1ED-4F7F-A1A9-833499532729}"/>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84">
              <a:extLst>
                <a:ext uri="{FF2B5EF4-FFF2-40B4-BE49-F238E27FC236}">
                  <a16:creationId xmlns:a16="http://schemas.microsoft.com/office/drawing/2014/main" id="{1A930407-2A22-443C-B3F4-9FEF4EC54424}"/>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85">
              <a:extLst>
                <a:ext uri="{FF2B5EF4-FFF2-40B4-BE49-F238E27FC236}">
                  <a16:creationId xmlns:a16="http://schemas.microsoft.com/office/drawing/2014/main" id="{25E3AA8B-4C61-4CB0-9986-E2BA2196DDAB}"/>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86">
              <a:extLst>
                <a:ext uri="{FF2B5EF4-FFF2-40B4-BE49-F238E27FC236}">
                  <a16:creationId xmlns:a16="http://schemas.microsoft.com/office/drawing/2014/main" id="{A66ED21B-B687-41DC-8C4C-F21864E95B3D}"/>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87">
              <a:extLst>
                <a:ext uri="{FF2B5EF4-FFF2-40B4-BE49-F238E27FC236}">
                  <a16:creationId xmlns:a16="http://schemas.microsoft.com/office/drawing/2014/main" id="{F6BBF5B4-90FD-48DA-B632-6CC7A0678392}"/>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88">
              <a:extLst>
                <a:ext uri="{FF2B5EF4-FFF2-40B4-BE49-F238E27FC236}">
                  <a16:creationId xmlns:a16="http://schemas.microsoft.com/office/drawing/2014/main" id="{B0484F8B-37C6-405F-9D3A-C56E1F2BA08E}"/>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89">
              <a:extLst>
                <a:ext uri="{FF2B5EF4-FFF2-40B4-BE49-F238E27FC236}">
                  <a16:creationId xmlns:a16="http://schemas.microsoft.com/office/drawing/2014/main" id="{3A085BBC-D620-464E-BE2E-36629E08F5CD}"/>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0">
              <a:extLst>
                <a:ext uri="{FF2B5EF4-FFF2-40B4-BE49-F238E27FC236}">
                  <a16:creationId xmlns:a16="http://schemas.microsoft.com/office/drawing/2014/main" id="{EE8CB9D1-D6C9-42E2-80FC-9400F25E66DE}"/>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91">
              <a:extLst>
                <a:ext uri="{FF2B5EF4-FFF2-40B4-BE49-F238E27FC236}">
                  <a16:creationId xmlns:a16="http://schemas.microsoft.com/office/drawing/2014/main" id="{0FC3B5CC-C987-4E85-BF7D-B3F0650A127D}"/>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92">
              <a:extLst>
                <a:ext uri="{FF2B5EF4-FFF2-40B4-BE49-F238E27FC236}">
                  <a16:creationId xmlns:a16="http://schemas.microsoft.com/office/drawing/2014/main" id="{6AA673FE-38B9-4104-9B41-96F538C7F268}"/>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93">
              <a:extLst>
                <a:ext uri="{FF2B5EF4-FFF2-40B4-BE49-F238E27FC236}">
                  <a16:creationId xmlns:a16="http://schemas.microsoft.com/office/drawing/2014/main" id="{AC6FAB26-029F-4B70-A54B-63598B9CA653}"/>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94">
              <a:extLst>
                <a:ext uri="{FF2B5EF4-FFF2-40B4-BE49-F238E27FC236}">
                  <a16:creationId xmlns:a16="http://schemas.microsoft.com/office/drawing/2014/main" id="{FC79DC74-0478-48DC-95A1-FEB0F8D01E5B}"/>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95">
              <a:extLst>
                <a:ext uri="{FF2B5EF4-FFF2-40B4-BE49-F238E27FC236}">
                  <a16:creationId xmlns:a16="http://schemas.microsoft.com/office/drawing/2014/main" id="{1BD8E5A6-5AE3-430D-8A64-98CF0FFD8715}"/>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96">
              <a:extLst>
                <a:ext uri="{FF2B5EF4-FFF2-40B4-BE49-F238E27FC236}">
                  <a16:creationId xmlns:a16="http://schemas.microsoft.com/office/drawing/2014/main" id="{E62C5DF0-ACA1-4994-B382-43396CD0D304}"/>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97">
              <a:extLst>
                <a:ext uri="{FF2B5EF4-FFF2-40B4-BE49-F238E27FC236}">
                  <a16:creationId xmlns:a16="http://schemas.microsoft.com/office/drawing/2014/main" id="{734B901D-50B2-457D-8FED-9E1A772A89A5}"/>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98">
              <a:extLst>
                <a:ext uri="{FF2B5EF4-FFF2-40B4-BE49-F238E27FC236}">
                  <a16:creationId xmlns:a16="http://schemas.microsoft.com/office/drawing/2014/main" id="{1590182D-6F68-4DCF-8216-F051467D5279}"/>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 name="Freeform 99">
              <a:extLst>
                <a:ext uri="{FF2B5EF4-FFF2-40B4-BE49-F238E27FC236}">
                  <a16:creationId xmlns:a16="http://schemas.microsoft.com/office/drawing/2014/main" id="{3B27B9B8-5606-4975-9F5C-29201EF1C2B9}"/>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 name="Freeform 100">
              <a:extLst>
                <a:ext uri="{FF2B5EF4-FFF2-40B4-BE49-F238E27FC236}">
                  <a16:creationId xmlns:a16="http://schemas.microsoft.com/office/drawing/2014/main" id="{F7DC1296-87E0-4049-A6D7-37D15D70AEA2}"/>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 name="Freeform 101">
              <a:extLst>
                <a:ext uri="{FF2B5EF4-FFF2-40B4-BE49-F238E27FC236}">
                  <a16:creationId xmlns:a16="http://schemas.microsoft.com/office/drawing/2014/main" id="{568ED498-8B29-4F25-AB6E-333C5AB545FD}"/>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 name="Freeform 102">
              <a:extLst>
                <a:ext uri="{FF2B5EF4-FFF2-40B4-BE49-F238E27FC236}">
                  <a16:creationId xmlns:a16="http://schemas.microsoft.com/office/drawing/2014/main" id="{BEF92F32-2FA6-43B3-8B42-F82D40B22039}"/>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 name="Freeform 103">
              <a:extLst>
                <a:ext uri="{FF2B5EF4-FFF2-40B4-BE49-F238E27FC236}">
                  <a16:creationId xmlns:a16="http://schemas.microsoft.com/office/drawing/2014/main" id="{C3C7065E-FF78-4C9F-9FF9-41F018C2411E}"/>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 name="Freeform 104">
              <a:extLst>
                <a:ext uri="{FF2B5EF4-FFF2-40B4-BE49-F238E27FC236}">
                  <a16:creationId xmlns:a16="http://schemas.microsoft.com/office/drawing/2014/main" id="{9D4EE212-D2AD-4AA0-A314-88C73F83D72C}"/>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 name="Freeform 105">
              <a:extLst>
                <a:ext uri="{FF2B5EF4-FFF2-40B4-BE49-F238E27FC236}">
                  <a16:creationId xmlns:a16="http://schemas.microsoft.com/office/drawing/2014/main" id="{50E9B3BA-14A7-4E3E-B5A0-A354EA38EB87}"/>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9" name="Slide Number Placeholder 3">
            <a:extLst>
              <a:ext uri="{FF2B5EF4-FFF2-40B4-BE49-F238E27FC236}">
                <a16:creationId xmlns:a16="http://schemas.microsoft.com/office/drawing/2014/main" id="{2B1D586A-6D6C-43B8-9AFD-0392C2372F0B}"/>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70" name="Rectangle 155">
            <a:extLst>
              <a:ext uri="{FF2B5EF4-FFF2-40B4-BE49-F238E27FC236}">
                <a16:creationId xmlns:a16="http://schemas.microsoft.com/office/drawing/2014/main" id="{A8BE2BDB-5B85-4790-BB60-AF5C516C4478}"/>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dirty="0"/>
              <a:t>Production code #</a:t>
            </a:r>
          </a:p>
        </p:txBody>
      </p:sp>
      <p:sp>
        <p:nvSpPr>
          <p:cNvPr id="71" name="Rectangle 176">
            <a:extLst>
              <a:ext uri="{FF2B5EF4-FFF2-40B4-BE49-F238E27FC236}">
                <a16:creationId xmlns:a16="http://schemas.microsoft.com/office/drawing/2014/main" id="{0C4A5020-F0D4-465F-86F1-442E3965C8CE}"/>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240754753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Biography 2">
    <p:spTree>
      <p:nvGrpSpPr>
        <p:cNvPr id="1" name=""/>
        <p:cNvGrpSpPr/>
        <p:nvPr/>
      </p:nvGrpSpPr>
      <p:grpSpPr>
        <a:xfrm>
          <a:off x="0" y="0"/>
          <a:ext cx="0" cy="0"/>
          <a:chOff x="0" y="0"/>
          <a:chExt cx="0" cy="0"/>
        </a:xfrm>
      </p:grpSpPr>
      <p:sp>
        <p:nvSpPr>
          <p:cNvPr id="41" name="Title 1">
            <a:extLst>
              <a:ext uri="{FF2B5EF4-FFF2-40B4-BE49-F238E27FC236}">
                <a16:creationId xmlns:a16="http://schemas.microsoft.com/office/drawing/2014/main" id="{ABF75FF1-696F-4095-BE7E-00DBC2EBC322}"/>
              </a:ext>
            </a:extLst>
          </p:cNvPr>
          <p:cNvSpPr>
            <a:spLocks noGrp="1"/>
          </p:cNvSpPr>
          <p:nvPr>
            <p:ph type="title"/>
          </p:nvPr>
        </p:nvSpPr>
        <p:spPr>
          <a:xfrm>
            <a:off x="317115" y="228600"/>
            <a:ext cx="8187948" cy="838200"/>
          </a:xfrm>
        </p:spPr>
        <p:txBody>
          <a:bodyPr/>
          <a:lstStyle/>
          <a:p>
            <a:r>
              <a:rPr lang="en-US"/>
              <a:t>Click to edit Master title style</a:t>
            </a:r>
            <a:endParaRPr lang="en-US" dirty="0"/>
          </a:p>
        </p:txBody>
      </p:sp>
      <p:sp>
        <p:nvSpPr>
          <p:cNvPr id="42" name="Content Placeholder 2">
            <a:extLst>
              <a:ext uri="{FF2B5EF4-FFF2-40B4-BE49-F238E27FC236}">
                <a16:creationId xmlns:a16="http://schemas.microsoft.com/office/drawing/2014/main" id="{FB74CFD4-E19D-4F73-AF16-C20E109E52C6}"/>
              </a:ext>
            </a:extLst>
          </p:cNvPr>
          <p:cNvSpPr>
            <a:spLocks noGrp="1"/>
          </p:cNvSpPr>
          <p:nvPr>
            <p:ph idx="1"/>
          </p:nvPr>
        </p:nvSpPr>
        <p:spPr>
          <a:xfrm>
            <a:off x="325661" y="1073258"/>
            <a:ext cx="8187948" cy="439305"/>
          </a:xfrm>
        </p:spPr>
        <p:txBody>
          <a:bodyPr lIns="91440"/>
          <a:lstStyle>
            <a:lvl1pPr marL="0" indent="0">
              <a:spcBef>
                <a:spcPts val="0"/>
              </a:spcBef>
              <a:defRPr lang="en-US" sz="1200" b="1" dirty="0" smtClean="0">
                <a:solidFill>
                  <a:srgbClr val="7A9A3D"/>
                </a:solidFill>
                <a:latin typeface="+mn-lt"/>
                <a:ea typeface="+mn-ea"/>
                <a:cs typeface="+mn-cs"/>
              </a:defRPr>
            </a:lvl1pPr>
            <a:lvl2pPr marL="0" indent="0">
              <a:spcBef>
                <a:spcPts val="0"/>
              </a:spcBef>
              <a:buNone/>
              <a:defRPr sz="1200" b="0" i="1">
                <a:solidFill>
                  <a:srgbClr val="7A9A3D"/>
                </a:solidFill>
              </a:defRPr>
            </a:lvl2pPr>
          </a:lstStyle>
          <a:p>
            <a:pPr lvl="0"/>
            <a:r>
              <a:rPr lang="en-US"/>
              <a:t>Click to edit Master text styles</a:t>
            </a:r>
          </a:p>
          <a:p>
            <a:pPr lvl="1"/>
            <a:r>
              <a:rPr lang="en-US"/>
              <a:t>Second level</a:t>
            </a:r>
          </a:p>
        </p:txBody>
      </p:sp>
      <p:sp>
        <p:nvSpPr>
          <p:cNvPr id="43" name="Content Placeholder 9">
            <a:extLst>
              <a:ext uri="{FF2B5EF4-FFF2-40B4-BE49-F238E27FC236}">
                <a16:creationId xmlns:a16="http://schemas.microsoft.com/office/drawing/2014/main" id="{59AC0D43-68A7-47D9-9287-5CCE08FB02E4}"/>
              </a:ext>
            </a:extLst>
          </p:cNvPr>
          <p:cNvSpPr>
            <a:spLocks noGrp="1"/>
          </p:cNvSpPr>
          <p:nvPr>
            <p:ph sz="quarter" idx="13"/>
          </p:nvPr>
        </p:nvSpPr>
        <p:spPr>
          <a:xfrm>
            <a:off x="325661" y="1526851"/>
            <a:ext cx="8188710" cy="1902149"/>
          </a:xfrm>
        </p:spPr>
        <p:txBody>
          <a:bodyPr lIns="91440"/>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4" name="Content Placeholder 2">
            <a:extLst>
              <a:ext uri="{FF2B5EF4-FFF2-40B4-BE49-F238E27FC236}">
                <a16:creationId xmlns:a16="http://schemas.microsoft.com/office/drawing/2014/main" id="{3DA4F047-D8A4-4E57-9381-D9846636D574}"/>
              </a:ext>
            </a:extLst>
          </p:cNvPr>
          <p:cNvSpPr>
            <a:spLocks noGrp="1"/>
          </p:cNvSpPr>
          <p:nvPr>
            <p:ph idx="17"/>
          </p:nvPr>
        </p:nvSpPr>
        <p:spPr>
          <a:xfrm>
            <a:off x="325661" y="3666458"/>
            <a:ext cx="8188710" cy="439305"/>
          </a:xfrm>
        </p:spPr>
        <p:txBody>
          <a:bodyPr lIns="91440"/>
          <a:lstStyle>
            <a:lvl1pPr marL="0" indent="0">
              <a:spcBef>
                <a:spcPts val="0"/>
              </a:spcBef>
              <a:defRPr lang="en-US" sz="1200" b="1" dirty="0" smtClean="0">
                <a:solidFill>
                  <a:srgbClr val="7A9A3D"/>
                </a:solidFill>
                <a:latin typeface="+mn-lt"/>
                <a:ea typeface="+mn-ea"/>
                <a:cs typeface="+mn-cs"/>
              </a:defRPr>
            </a:lvl1pPr>
            <a:lvl2pPr marL="0" indent="0">
              <a:spcBef>
                <a:spcPts val="0"/>
              </a:spcBef>
              <a:buNone/>
              <a:defRPr sz="1200" b="0" i="1">
                <a:solidFill>
                  <a:srgbClr val="7A9A3D"/>
                </a:solidFill>
              </a:defRPr>
            </a:lvl2pPr>
          </a:lstStyle>
          <a:p>
            <a:pPr lvl="0"/>
            <a:r>
              <a:rPr lang="en-US"/>
              <a:t>Click to edit Master text styles</a:t>
            </a:r>
          </a:p>
          <a:p>
            <a:pPr lvl="1"/>
            <a:r>
              <a:rPr lang="en-US"/>
              <a:t>Second level</a:t>
            </a:r>
          </a:p>
        </p:txBody>
      </p:sp>
      <p:sp>
        <p:nvSpPr>
          <p:cNvPr id="45" name="Content Placeholder 9">
            <a:extLst>
              <a:ext uri="{FF2B5EF4-FFF2-40B4-BE49-F238E27FC236}">
                <a16:creationId xmlns:a16="http://schemas.microsoft.com/office/drawing/2014/main" id="{AF42FCF4-42D9-49E2-8843-CD2B170D759D}"/>
              </a:ext>
            </a:extLst>
          </p:cNvPr>
          <p:cNvSpPr>
            <a:spLocks noGrp="1"/>
          </p:cNvSpPr>
          <p:nvPr>
            <p:ph sz="quarter" idx="18"/>
          </p:nvPr>
        </p:nvSpPr>
        <p:spPr>
          <a:xfrm>
            <a:off x="325661" y="4120051"/>
            <a:ext cx="8188710" cy="1902149"/>
          </a:xfrm>
        </p:spPr>
        <p:txBody>
          <a:bodyPr lIns="91440"/>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46" name="Group 45">
            <a:extLst>
              <a:ext uri="{FF2B5EF4-FFF2-40B4-BE49-F238E27FC236}">
                <a16:creationId xmlns:a16="http://schemas.microsoft.com/office/drawing/2014/main" id="{D0D31A41-E8BD-437A-A90D-4129E182BFBC}"/>
              </a:ext>
            </a:extLst>
          </p:cNvPr>
          <p:cNvGrpSpPr/>
          <p:nvPr userDrawn="1"/>
        </p:nvGrpSpPr>
        <p:grpSpPr>
          <a:xfrm>
            <a:off x="7358173" y="6361974"/>
            <a:ext cx="1382376" cy="297562"/>
            <a:chOff x="6923088" y="4475163"/>
            <a:chExt cx="1873251" cy="403225"/>
          </a:xfrm>
        </p:grpSpPr>
        <p:sp>
          <p:nvSpPr>
            <p:cNvPr id="47" name="AutoShape 4">
              <a:extLst>
                <a:ext uri="{FF2B5EF4-FFF2-40B4-BE49-F238E27FC236}">
                  <a16:creationId xmlns:a16="http://schemas.microsoft.com/office/drawing/2014/main" id="{6B778BE4-6482-4B4D-A111-BE0C9A17743E}"/>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6">
              <a:extLst>
                <a:ext uri="{FF2B5EF4-FFF2-40B4-BE49-F238E27FC236}">
                  <a16:creationId xmlns:a16="http://schemas.microsoft.com/office/drawing/2014/main" id="{2D35CC1E-8793-4C0E-AAA0-97A9677DEC3A}"/>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7">
              <a:extLst>
                <a:ext uri="{FF2B5EF4-FFF2-40B4-BE49-F238E27FC236}">
                  <a16:creationId xmlns:a16="http://schemas.microsoft.com/office/drawing/2014/main" id="{E28E28D8-C004-45C6-8BBF-872161A0E803}"/>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83">
              <a:extLst>
                <a:ext uri="{FF2B5EF4-FFF2-40B4-BE49-F238E27FC236}">
                  <a16:creationId xmlns:a16="http://schemas.microsoft.com/office/drawing/2014/main" id="{4CE5EAB1-839F-4535-AEFE-81636806FB13}"/>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84">
              <a:extLst>
                <a:ext uri="{FF2B5EF4-FFF2-40B4-BE49-F238E27FC236}">
                  <a16:creationId xmlns:a16="http://schemas.microsoft.com/office/drawing/2014/main" id="{4826FDF9-F2E3-4D94-9405-1F6823E4B8AA}"/>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85">
              <a:extLst>
                <a:ext uri="{FF2B5EF4-FFF2-40B4-BE49-F238E27FC236}">
                  <a16:creationId xmlns:a16="http://schemas.microsoft.com/office/drawing/2014/main" id="{4BA3EDB2-A431-4CEC-A6C5-DF9CF19F09E5}"/>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86">
              <a:extLst>
                <a:ext uri="{FF2B5EF4-FFF2-40B4-BE49-F238E27FC236}">
                  <a16:creationId xmlns:a16="http://schemas.microsoft.com/office/drawing/2014/main" id="{AC3D1548-2850-4C29-9179-D60EE0C86699}"/>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87">
              <a:extLst>
                <a:ext uri="{FF2B5EF4-FFF2-40B4-BE49-F238E27FC236}">
                  <a16:creationId xmlns:a16="http://schemas.microsoft.com/office/drawing/2014/main" id="{F5EE616B-44AE-4C50-B551-B098A4FF9EE9}"/>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88">
              <a:extLst>
                <a:ext uri="{FF2B5EF4-FFF2-40B4-BE49-F238E27FC236}">
                  <a16:creationId xmlns:a16="http://schemas.microsoft.com/office/drawing/2014/main" id="{11407218-F0B2-41C8-AE7E-C86120AF9612}"/>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89">
              <a:extLst>
                <a:ext uri="{FF2B5EF4-FFF2-40B4-BE49-F238E27FC236}">
                  <a16:creationId xmlns:a16="http://schemas.microsoft.com/office/drawing/2014/main" id="{3FF89FC2-2018-4309-BADA-381B0C3F8092}"/>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90">
              <a:extLst>
                <a:ext uri="{FF2B5EF4-FFF2-40B4-BE49-F238E27FC236}">
                  <a16:creationId xmlns:a16="http://schemas.microsoft.com/office/drawing/2014/main" id="{7E905BA9-D917-4AFC-8A0F-77C5097E250A}"/>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91">
              <a:extLst>
                <a:ext uri="{FF2B5EF4-FFF2-40B4-BE49-F238E27FC236}">
                  <a16:creationId xmlns:a16="http://schemas.microsoft.com/office/drawing/2014/main" id="{BC562F27-F825-4DA1-B79F-A8B5A9D4E248}"/>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92">
              <a:extLst>
                <a:ext uri="{FF2B5EF4-FFF2-40B4-BE49-F238E27FC236}">
                  <a16:creationId xmlns:a16="http://schemas.microsoft.com/office/drawing/2014/main" id="{0C24216A-123E-4876-A612-E1F9F643F639}"/>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93">
              <a:extLst>
                <a:ext uri="{FF2B5EF4-FFF2-40B4-BE49-F238E27FC236}">
                  <a16:creationId xmlns:a16="http://schemas.microsoft.com/office/drawing/2014/main" id="{AD5320ED-D714-4E0E-BC16-6030A9705962}"/>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94">
              <a:extLst>
                <a:ext uri="{FF2B5EF4-FFF2-40B4-BE49-F238E27FC236}">
                  <a16:creationId xmlns:a16="http://schemas.microsoft.com/office/drawing/2014/main" id="{33D99499-143B-4C72-8943-012E49ADCD21}"/>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 name="Freeform 95">
              <a:extLst>
                <a:ext uri="{FF2B5EF4-FFF2-40B4-BE49-F238E27FC236}">
                  <a16:creationId xmlns:a16="http://schemas.microsoft.com/office/drawing/2014/main" id="{74274A1A-8A62-4BE7-8F42-E0722C6BB7E6}"/>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 name="Freeform 96">
              <a:extLst>
                <a:ext uri="{FF2B5EF4-FFF2-40B4-BE49-F238E27FC236}">
                  <a16:creationId xmlns:a16="http://schemas.microsoft.com/office/drawing/2014/main" id="{37EC529C-6198-407E-AD37-805DBE29AD1F}"/>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 name="Freeform 97">
              <a:extLst>
                <a:ext uri="{FF2B5EF4-FFF2-40B4-BE49-F238E27FC236}">
                  <a16:creationId xmlns:a16="http://schemas.microsoft.com/office/drawing/2014/main" id="{35C189F4-EFAB-44A1-B481-C19F292FEE76}"/>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 name="Freeform 98">
              <a:extLst>
                <a:ext uri="{FF2B5EF4-FFF2-40B4-BE49-F238E27FC236}">
                  <a16:creationId xmlns:a16="http://schemas.microsoft.com/office/drawing/2014/main" id="{1CC22B3B-4034-4638-A1CD-9680FA2B99C1}"/>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 name="Freeform 99">
              <a:extLst>
                <a:ext uri="{FF2B5EF4-FFF2-40B4-BE49-F238E27FC236}">
                  <a16:creationId xmlns:a16="http://schemas.microsoft.com/office/drawing/2014/main" id="{DB1D2AFF-9635-488A-8E12-F7CFC5AEAC8E}"/>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 name="Freeform 100">
              <a:extLst>
                <a:ext uri="{FF2B5EF4-FFF2-40B4-BE49-F238E27FC236}">
                  <a16:creationId xmlns:a16="http://schemas.microsoft.com/office/drawing/2014/main" id="{CA5D7420-E729-40CC-A415-BD23105E466C}"/>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 name="Freeform 101">
              <a:extLst>
                <a:ext uri="{FF2B5EF4-FFF2-40B4-BE49-F238E27FC236}">
                  <a16:creationId xmlns:a16="http://schemas.microsoft.com/office/drawing/2014/main" id="{FC3642EF-D366-47FE-B654-7F668E29857B}"/>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 name="Freeform 102">
              <a:extLst>
                <a:ext uri="{FF2B5EF4-FFF2-40B4-BE49-F238E27FC236}">
                  <a16:creationId xmlns:a16="http://schemas.microsoft.com/office/drawing/2014/main" id="{D829B4BF-FED9-48AC-870F-BF92677D4657}"/>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 name="Freeform 103">
              <a:extLst>
                <a:ext uri="{FF2B5EF4-FFF2-40B4-BE49-F238E27FC236}">
                  <a16:creationId xmlns:a16="http://schemas.microsoft.com/office/drawing/2014/main" id="{70B80C92-5505-42A9-8B27-68E498D18DD7}"/>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 name="Freeform 104">
              <a:extLst>
                <a:ext uri="{FF2B5EF4-FFF2-40B4-BE49-F238E27FC236}">
                  <a16:creationId xmlns:a16="http://schemas.microsoft.com/office/drawing/2014/main" id="{82841D3B-FA26-404E-9BD7-0712189AF08E}"/>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 name="Freeform 105">
              <a:extLst>
                <a:ext uri="{FF2B5EF4-FFF2-40B4-BE49-F238E27FC236}">
                  <a16:creationId xmlns:a16="http://schemas.microsoft.com/office/drawing/2014/main" id="{B7FF5792-3206-4398-BBA9-537225990AD4}"/>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76" name="Slide Number Placeholder 3">
            <a:extLst>
              <a:ext uri="{FF2B5EF4-FFF2-40B4-BE49-F238E27FC236}">
                <a16:creationId xmlns:a16="http://schemas.microsoft.com/office/drawing/2014/main" id="{1DECAFBD-DAC0-4C4C-B40B-AC07CF86C966}"/>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77" name="Rectangle 155">
            <a:extLst>
              <a:ext uri="{FF2B5EF4-FFF2-40B4-BE49-F238E27FC236}">
                <a16:creationId xmlns:a16="http://schemas.microsoft.com/office/drawing/2014/main" id="{8F69D029-D8EC-436B-B327-56E1AFA263A1}"/>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dirty="0"/>
              <a:t>Production code #</a:t>
            </a:r>
          </a:p>
        </p:txBody>
      </p:sp>
      <p:sp>
        <p:nvSpPr>
          <p:cNvPr id="78" name="Rectangle 176">
            <a:extLst>
              <a:ext uri="{FF2B5EF4-FFF2-40B4-BE49-F238E27FC236}">
                <a16:creationId xmlns:a16="http://schemas.microsoft.com/office/drawing/2014/main" id="{E7D69DC9-C446-41A1-B82B-80B033AAEC30}"/>
              </a:ext>
            </a:extLst>
          </p:cNvPr>
          <p:cNvSpPr>
            <a:spLocks noGrp="1" noChangeArrowheads="1"/>
          </p:cNvSpPr>
          <p:nvPr>
            <p:ph type="ftr" sz="quarter" idx="19"/>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21468091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OC/Agenda">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a:noFill/>
          <a:ln w="9525">
            <a:noFill/>
            <a:miter lim="800000"/>
            <a:headEnd/>
            <a:tailEnd/>
          </a:ln>
          <a:effectLst/>
        </p:spPr>
        <p:txBody>
          <a:bodyPr tIns="45720" anchor="t" anchorCtr="0"/>
          <a:lstStyle>
            <a:lvl1pPr>
              <a:defRPr kumimoji="0" lang="en-US" sz="2400" b="0" i="0" u="none" strike="noStrike" kern="0" cap="none" spc="0" normalizeH="0" baseline="0" noProof="0" dirty="0">
                <a:ln>
                  <a:noFill/>
                </a:ln>
                <a:solidFill>
                  <a:srgbClr val="333F48"/>
                </a:solidFill>
                <a:effectLst/>
                <a:uLnTx/>
                <a:uFillTx/>
                <a:latin typeface="+mj-lt"/>
                <a:ea typeface="+mj-ea"/>
                <a:cs typeface="+mj-cs"/>
              </a:defRPr>
            </a:lvl1pPr>
          </a:lstStyle>
          <a:p>
            <a:pPr lvl="0"/>
            <a:r>
              <a:rPr lang="en-US"/>
              <a:t>Click to edit Master title style</a:t>
            </a:r>
            <a:endParaRPr lang="en-US" dirty="0"/>
          </a:p>
        </p:txBody>
      </p:sp>
      <p:sp>
        <p:nvSpPr>
          <p:cNvPr id="10" name="Content Placeholder 9"/>
          <p:cNvSpPr>
            <a:spLocks noGrp="1"/>
          </p:cNvSpPr>
          <p:nvPr>
            <p:ph sz="quarter" idx="13"/>
          </p:nvPr>
        </p:nvSpPr>
        <p:spPr>
          <a:xfrm>
            <a:off x="317115" y="1339850"/>
            <a:ext cx="8188710" cy="4878388"/>
          </a:xfrm>
        </p:spPr>
        <p:txBody>
          <a:bodyPr/>
          <a:lstStyle>
            <a:lvl1pPr marL="227013" indent="-227013">
              <a:spcBef>
                <a:spcPts val="600"/>
              </a:spcBef>
              <a:buClr>
                <a:srgbClr val="7A9B3D"/>
              </a:buClr>
              <a:buSzPct val="100000"/>
              <a:buFont typeface="+mj-lt"/>
              <a:buAutoNum type="arabicPeriod"/>
              <a:defRPr sz="1400" b="0" i="0" baseline="0">
                <a:solidFill>
                  <a:srgbClr val="000000"/>
                </a:solidFill>
                <a:latin typeface="Arial" pitchFamily="34" charset="0"/>
              </a:defRPr>
            </a:lvl1pPr>
            <a:lvl2pPr marL="461963" indent="-217488">
              <a:spcBef>
                <a:spcPts val="600"/>
              </a:spcBef>
              <a:buClr>
                <a:srgbClr val="768692"/>
              </a:buClr>
              <a:buFont typeface="+mj-lt"/>
              <a:buAutoNum type="alphaUcPeriod"/>
              <a:defRPr sz="1200" baseline="0">
                <a:solidFill>
                  <a:srgbClr val="000000"/>
                </a:solidFill>
                <a:latin typeface="Arial" pitchFamily="34" charset="0"/>
              </a:defRPr>
            </a:lvl2pPr>
            <a:lvl3pPr>
              <a:spcBef>
                <a:spcPts val="600"/>
              </a:spcBef>
              <a:buClr>
                <a:srgbClr val="000000"/>
              </a:buClr>
              <a:defRPr baseline="0">
                <a:solidFill>
                  <a:srgbClr val="000000"/>
                </a:solidFill>
              </a:defRPr>
            </a:lvl3pPr>
          </a:lstStyle>
          <a:p>
            <a:pPr lvl="0"/>
            <a:r>
              <a:rPr lang="en-US"/>
              <a:t>Click to edit Master text styles</a:t>
            </a:r>
          </a:p>
          <a:p>
            <a:pPr lvl="1"/>
            <a:r>
              <a:rPr lang="en-US"/>
              <a:t>Second level</a:t>
            </a:r>
          </a:p>
          <a:p>
            <a:pPr lvl="2"/>
            <a:r>
              <a:rPr lang="en-US"/>
              <a:t>Third level</a:t>
            </a:r>
          </a:p>
        </p:txBody>
      </p:sp>
      <p:sp>
        <p:nvSpPr>
          <p:cNvPr id="5"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7"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a:t>201607-20094</a:t>
            </a:r>
            <a:endParaRPr lang="en-US" dirty="0"/>
          </a:p>
        </p:txBody>
      </p:sp>
      <p:grpSp>
        <p:nvGrpSpPr>
          <p:cNvPr id="8" name="Group 7"/>
          <p:cNvGrpSpPr/>
          <p:nvPr userDrawn="1"/>
        </p:nvGrpSpPr>
        <p:grpSpPr>
          <a:xfrm>
            <a:off x="7364320" y="6412511"/>
            <a:ext cx="1371600" cy="283464"/>
            <a:chOff x="4291013" y="3178175"/>
            <a:chExt cx="3197225" cy="688975"/>
          </a:xfrm>
        </p:grpSpPr>
        <p:sp>
          <p:nvSpPr>
            <p:cNvPr id="9"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5" name="Text Box 5"/>
          <p:cNvSpPr txBox="1">
            <a:spLocks noChangeArrowheads="1"/>
          </p:cNvSpPr>
          <p:nvPr userDrawn="1"/>
        </p:nvSpPr>
        <p:spPr bwMode="auto">
          <a:xfrm>
            <a:off x="320040" y="6336792"/>
            <a:ext cx="6675120" cy="219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anchor="b"/>
          <a:lstStyle>
            <a:lvl1pPr eaLnBrk="0" hangingPunct="0">
              <a:spcBef>
                <a:spcPct val="20000"/>
              </a:spcBef>
              <a:buSzPct val="40000"/>
              <a:defRPr sz="1600" b="1">
                <a:solidFill>
                  <a:schemeClr val="accent1"/>
                </a:solidFill>
                <a:latin typeface="Arial" charset="0"/>
              </a:defRPr>
            </a:lvl1pPr>
            <a:lvl2pPr marL="742950" indent="-285750" eaLnBrk="0" hangingPunct="0">
              <a:spcBef>
                <a:spcPct val="20000"/>
              </a:spcBef>
              <a:buClr>
                <a:srgbClr val="978981"/>
              </a:buClr>
              <a:buChar char="•"/>
              <a:defRPr sz="1400">
                <a:solidFill>
                  <a:schemeClr val="tx1"/>
                </a:solidFill>
                <a:latin typeface="Arial" charset="0"/>
              </a:defRPr>
            </a:lvl2pPr>
            <a:lvl3pPr marL="1143000" indent="-228600" eaLnBrk="0" hangingPunct="0">
              <a:spcBef>
                <a:spcPct val="20000"/>
              </a:spcBef>
              <a:buClr>
                <a:schemeClr val="accent1"/>
              </a:buClr>
              <a:buFont typeface="Arial" charset="0"/>
              <a:buChar char="–"/>
              <a:defRPr sz="1200">
                <a:solidFill>
                  <a:schemeClr val="accent1"/>
                </a:solidFill>
                <a:latin typeface="Arial" charset="0"/>
              </a:defRPr>
            </a:lvl3pPr>
            <a:lvl4pPr marL="1600200" indent="-228600" eaLnBrk="0" hangingPunct="0">
              <a:spcBef>
                <a:spcPct val="20000"/>
              </a:spcBef>
              <a:buFont typeface="Arial" charset="0"/>
              <a:buChar char="•"/>
              <a:defRPr sz="1200">
                <a:solidFill>
                  <a:srgbClr val="4C5F6C"/>
                </a:solidFill>
                <a:latin typeface="Arial" charset="0"/>
              </a:defRPr>
            </a:lvl4pPr>
            <a:lvl5pPr marL="2057400" indent="-228600" eaLnBrk="0" hangingPunct="0">
              <a:lnSpc>
                <a:spcPts val="2400"/>
              </a:lnSpc>
              <a:defRPr sz="1400">
                <a:solidFill>
                  <a:schemeClr val="tx1"/>
                </a:solidFill>
                <a:latin typeface="Arial" charset="0"/>
              </a:defRPr>
            </a:lvl5pPr>
            <a:lvl6pPr marL="2514600" indent="-228600" eaLnBrk="0" fontAlgn="base" hangingPunct="0">
              <a:lnSpc>
                <a:spcPts val="2400"/>
              </a:lnSpc>
              <a:spcBef>
                <a:spcPct val="0"/>
              </a:spcBef>
              <a:spcAft>
                <a:spcPct val="0"/>
              </a:spcAft>
              <a:defRPr sz="1400">
                <a:solidFill>
                  <a:schemeClr val="tx1"/>
                </a:solidFill>
                <a:latin typeface="Arial" charset="0"/>
              </a:defRPr>
            </a:lvl6pPr>
            <a:lvl7pPr marL="2971800" indent="-228600" eaLnBrk="0" fontAlgn="base" hangingPunct="0">
              <a:lnSpc>
                <a:spcPts val="2400"/>
              </a:lnSpc>
              <a:spcBef>
                <a:spcPct val="0"/>
              </a:spcBef>
              <a:spcAft>
                <a:spcPct val="0"/>
              </a:spcAft>
              <a:defRPr sz="1400">
                <a:solidFill>
                  <a:schemeClr val="tx1"/>
                </a:solidFill>
                <a:latin typeface="Arial" charset="0"/>
              </a:defRPr>
            </a:lvl7pPr>
            <a:lvl8pPr marL="3429000" indent="-228600" eaLnBrk="0" fontAlgn="base" hangingPunct="0">
              <a:lnSpc>
                <a:spcPts val="2400"/>
              </a:lnSpc>
              <a:spcBef>
                <a:spcPct val="0"/>
              </a:spcBef>
              <a:spcAft>
                <a:spcPct val="0"/>
              </a:spcAft>
              <a:defRPr sz="1400">
                <a:solidFill>
                  <a:schemeClr val="tx1"/>
                </a:solidFill>
                <a:latin typeface="Arial" charset="0"/>
              </a:defRPr>
            </a:lvl8pPr>
            <a:lvl9pPr marL="3886200" indent="-228600" eaLnBrk="0" fontAlgn="base" hangingPunct="0">
              <a:lnSpc>
                <a:spcPts val="2400"/>
              </a:lnSpc>
              <a:spcBef>
                <a:spcPct val="0"/>
              </a:spcBef>
              <a:spcAft>
                <a:spcPct val="0"/>
              </a:spcAft>
              <a:defRPr sz="1400">
                <a:solidFill>
                  <a:schemeClr val="tx1"/>
                </a:solidFill>
                <a:latin typeface="Arial" charset="0"/>
              </a:defRPr>
            </a:lvl9pPr>
          </a:lstStyle>
          <a:p>
            <a:pPr>
              <a:lnSpc>
                <a:spcPts val="1000"/>
              </a:lnSpc>
              <a:spcBef>
                <a:spcPct val="0"/>
              </a:spcBef>
              <a:spcAft>
                <a:spcPts val="0"/>
              </a:spcAft>
              <a:buSzTx/>
            </a:pPr>
            <a:r>
              <a:rPr lang="en-US" altLang="en-US" sz="800" b="0" dirty="0">
                <a:solidFill>
                  <a:srgbClr val="000000"/>
                </a:solidFill>
                <a:latin typeface="Arial"/>
              </a:rPr>
              <a:t>See “Important Information” for a discussion of performance data, some of the principal risks related to any of the investment strategies referred to in this presentation and other information related to this presentation.</a:t>
            </a:r>
          </a:p>
        </p:txBody>
      </p:sp>
    </p:spTree>
    <p:extLst>
      <p:ext uri="{BB962C8B-B14F-4D97-AF65-F5344CB8AC3E}">
        <p14:creationId xmlns:p14="http://schemas.microsoft.com/office/powerpoint/2010/main" val="36241432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9" name="Title 1">
            <a:extLst>
              <a:ext uri="{FF2B5EF4-FFF2-40B4-BE49-F238E27FC236}">
                <a16:creationId xmlns:a16="http://schemas.microsoft.com/office/drawing/2014/main" id="{483AF1F9-685E-4FDA-A221-F4DEAD0E5DE3}"/>
              </a:ext>
            </a:extLst>
          </p:cNvPr>
          <p:cNvSpPr>
            <a:spLocks noGrp="1"/>
          </p:cNvSpPr>
          <p:nvPr>
            <p:ph type="title"/>
          </p:nvPr>
        </p:nvSpPr>
        <p:spPr>
          <a:xfrm>
            <a:off x="317115" y="228600"/>
            <a:ext cx="8173742" cy="838200"/>
          </a:xfrm>
        </p:spPr>
        <p:txBody>
          <a:bodyPr/>
          <a:lstStyle/>
          <a:p>
            <a:r>
              <a:rPr lang="en-US"/>
              <a:t>Click to edit Master title style</a:t>
            </a:r>
            <a:endParaRPr lang="en-US" dirty="0"/>
          </a:p>
        </p:txBody>
      </p:sp>
      <p:sp>
        <p:nvSpPr>
          <p:cNvPr id="40" name="Content Placeholder 2">
            <a:extLst>
              <a:ext uri="{FF2B5EF4-FFF2-40B4-BE49-F238E27FC236}">
                <a16:creationId xmlns:a16="http://schemas.microsoft.com/office/drawing/2014/main" id="{6B441A82-3382-41BD-B1EC-776DB1F03DA8}"/>
              </a:ext>
            </a:extLst>
          </p:cNvPr>
          <p:cNvSpPr>
            <a:spLocks noGrp="1"/>
          </p:cNvSpPr>
          <p:nvPr>
            <p:ph sz="half" idx="1"/>
          </p:nvPr>
        </p:nvSpPr>
        <p:spPr>
          <a:xfrm>
            <a:off x="325661" y="1339850"/>
            <a:ext cx="3878262" cy="4878388"/>
          </a:xfrm>
        </p:spPr>
        <p:txBody>
          <a:bodyPr lIns="91440"/>
          <a:lstStyle>
            <a:lvl1pPr>
              <a:spcBef>
                <a:spcPts val="600"/>
              </a:spcBef>
              <a:defRPr sz="1400">
                <a:solidFill>
                  <a:srgbClr val="7A9A3D"/>
                </a:solidFill>
              </a:defRPr>
            </a:lvl1pPr>
            <a:lvl2pPr marL="114300" indent="-114300">
              <a:spcBef>
                <a:spcPts val="600"/>
              </a:spcBef>
              <a:buClr>
                <a:srgbClr val="7A9A3D"/>
              </a:buClr>
              <a:defRPr sz="1200">
                <a:solidFill>
                  <a:srgbClr val="000000"/>
                </a:solidFill>
              </a:defRPr>
            </a:lvl2pPr>
            <a:lvl3pPr marL="228600" indent="-114300">
              <a:spcBef>
                <a:spcPts val="600"/>
              </a:spcBef>
              <a:buClr>
                <a:srgbClr val="7A9A3D"/>
              </a:buClr>
              <a:defRPr sz="1100">
                <a:solidFill>
                  <a:srgbClr val="000000"/>
                </a:solidFill>
              </a:defRPr>
            </a:lvl3pPr>
            <a:lvl4pPr marL="342900" indent="-114300">
              <a:spcBef>
                <a:spcPts val="600"/>
              </a:spcBef>
              <a:buClr>
                <a:srgbClr val="7A9A3D"/>
              </a:buClr>
              <a:defRPr sz="1100">
                <a:solidFill>
                  <a:srgbClr val="000000"/>
                </a:solidFill>
              </a:defRPr>
            </a:lvl4pPr>
            <a:lvl5pPr>
              <a:defRPr sz="105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1" name="Content Placeholder 2">
            <a:extLst>
              <a:ext uri="{FF2B5EF4-FFF2-40B4-BE49-F238E27FC236}">
                <a16:creationId xmlns:a16="http://schemas.microsoft.com/office/drawing/2014/main" id="{C07AE3F6-D053-453F-B679-7EE4DE90EB59}"/>
              </a:ext>
            </a:extLst>
          </p:cNvPr>
          <p:cNvSpPr>
            <a:spLocks noGrp="1"/>
          </p:cNvSpPr>
          <p:nvPr>
            <p:ph sz="half" idx="13"/>
          </p:nvPr>
        </p:nvSpPr>
        <p:spPr>
          <a:xfrm>
            <a:off x="4611450" y="1339850"/>
            <a:ext cx="3878262" cy="4878388"/>
          </a:xfrm>
        </p:spPr>
        <p:txBody>
          <a:bodyPr lIns="91440"/>
          <a:lstStyle>
            <a:lvl1pPr>
              <a:spcBef>
                <a:spcPts val="600"/>
              </a:spcBef>
              <a:defRPr sz="1400">
                <a:solidFill>
                  <a:srgbClr val="7A9A3D"/>
                </a:solidFill>
              </a:defRPr>
            </a:lvl1pPr>
            <a:lvl2pPr marL="114300" indent="-114300">
              <a:spcBef>
                <a:spcPts val="600"/>
              </a:spcBef>
              <a:buClr>
                <a:srgbClr val="7A9A3D"/>
              </a:buClr>
              <a:defRPr sz="1200">
                <a:solidFill>
                  <a:srgbClr val="000000"/>
                </a:solidFill>
              </a:defRPr>
            </a:lvl2pPr>
            <a:lvl3pPr marL="228600" indent="-114300">
              <a:spcBef>
                <a:spcPts val="600"/>
              </a:spcBef>
              <a:buClr>
                <a:srgbClr val="7A9A3D"/>
              </a:buClr>
              <a:defRPr sz="1100">
                <a:solidFill>
                  <a:srgbClr val="000000"/>
                </a:solidFill>
              </a:defRPr>
            </a:lvl3pPr>
            <a:lvl4pPr marL="342900" indent="-114300">
              <a:spcBef>
                <a:spcPts val="600"/>
              </a:spcBef>
              <a:buClr>
                <a:srgbClr val="7A9A3D"/>
              </a:buClr>
              <a:defRPr sz="1100">
                <a:solidFill>
                  <a:srgbClr val="000000"/>
                </a:solidFill>
              </a:defRPr>
            </a:lvl4pPr>
            <a:lvl5pPr>
              <a:defRPr sz="105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grpSp>
        <p:nvGrpSpPr>
          <p:cNvPr id="42" name="Group 41">
            <a:extLst>
              <a:ext uri="{FF2B5EF4-FFF2-40B4-BE49-F238E27FC236}">
                <a16:creationId xmlns:a16="http://schemas.microsoft.com/office/drawing/2014/main" id="{DA09C319-0EDE-4E5A-BC82-1E623F8352CB}"/>
              </a:ext>
            </a:extLst>
          </p:cNvPr>
          <p:cNvGrpSpPr/>
          <p:nvPr userDrawn="1"/>
        </p:nvGrpSpPr>
        <p:grpSpPr>
          <a:xfrm>
            <a:off x="7358173" y="6361974"/>
            <a:ext cx="1382376" cy="297562"/>
            <a:chOff x="6923088" y="4475163"/>
            <a:chExt cx="1873251" cy="403225"/>
          </a:xfrm>
        </p:grpSpPr>
        <p:sp>
          <p:nvSpPr>
            <p:cNvPr id="43" name="AutoShape 4">
              <a:extLst>
                <a:ext uri="{FF2B5EF4-FFF2-40B4-BE49-F238E27FC236}">
                  <a16:creationId xmlns:a16="http://schemas.microsoft.com/office/drawing/2014/main" id="{9D1F5A11-E781-44E8-945D-81B879977E4F}"/>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6">
              <a:extLst>
                <a:ext uri="{FF2B5EF4-FFF2-40B4-BE49-F238E27FC236}">
                  <a16:creationId xmlns:a16="http://schemas.microsoft.com/office/drawing/2014/main" id="{09B47E9E-1580-49F4-9A58-7A7D601D20B0}"/>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7">
              <a:extLst>
                <a:ext uri="{FF2B5EF4-FFF2-40B4-BE49-F238E27FC236}">
                  <a16:creationId xmlns:a16="http://schemas.microsoft.com/office/drawing/2014/main" id="{0A1F86DA-305B-4848-89C9-1EA6FFC67EE5}"/>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 name="Freeform 83">
              <a:extLst>
                <a:ext uri="{FF2B5EF4-FFF2-40B4-BE49-F238E27FC236}">
                  <a16:creationId xmlns:a16="http://schemas.microsoft.com/office/drawing/2014/main" id="{80C59BC1-4801-44DA-9C19-D4074D46FCC4}"/>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 name="Freeform 84">
              <a:extLst>
                <a:ext uri="{FF2B5EF4-FFF2-40B4-BE49-F238E27FC236}">
                  <a16:creationId xmlns:a16="http://schemas.microsoft.com/office/drawing/2014/main" id="{BC7B9373-63D3-4C6E-AAFD-A967D6ADD974}"/>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 name="Freeform 85">
              <a:extLst>
                <a:ext uri="{FF2B5EF4-FFF2-40B4-BE49-F238E27FC236}">
                  <a16:creationId xmlns:a16="http://schemas.microsoft.com/office/drawing/2014/main" id="{4FA7EFF2-425F-445D-A942-B79872F12E3F}"/>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86">
              <a:extLst>
                <a:ext uri="{FF2B5EF4-FFF2-40B4-BE49-F238E27FC236}">
                  <a16:creationId xmlns:a16="http://schemas.microsoft.com/office/drawing/2014/main" id="{36488637-FA67-45E3-A502-E27C708C4536}"/>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87">
              <a:extLst>
                <a:ext uri="{FF2B5EF4-FFF2-40B4-BE49-F238E27FC236}">
                  <a16:creationId xmlns:a16="http://schemas.microsoft.com/office/drawing/2014/main" id="{5BBC4447-6A2E-44BB-B793-38938C7E7BED}"/>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88">
              <a:extLst>
                <a:ext uri="{FF2B5EF4-FFF2-40B4-BE49-F238E27FC236}">
                  <a16:creationId xmlns:a16="http://schemas.microsoft.com/office/drawing/2014/main" id="{674EE5EF-D781-48DB-8A73-AD6EB108F30F}"/>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89">
              <a:extLst>
                <a:ext uri="{FF2B5EF4-FFF2-40B4-BE49-F238E27FC236}">
                  <a16:creationId xmlns:a16="http://schemas.microsoft.com/office/drawing/2014/main" id="{12E2C02B-01FF-442D-9D81-E2C60ED29E71}"/>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90">
              <a:extLst>
                <a:ext uri="{FF2B5EF4-FFF2-40B4-BE49-F238E27FC236}">
                  <a16:creationId xmlns:a16="http://schemas.microsoft.com/office/drawing/2014/main" id="{68C11071-1A63-4015-BF8F-34550C75C2B0}"/>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91">
              <a:extLst>
                <a:ext uri="{FF2B5EF4-FFF2-40B4-BE49-F238E27FC236}">
                  <a16:creationId xmlns:a16="http://schemas.microsoft.com/office/drawing/2014/main" id="{A61EDA21-A6FA-4B71-8CB4-94D71F2E6C99}"/>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92">
              <a:extLst>
                <a:ext uri="{FF2B5EF4-FFF2-40B4-BE49-F238E27FC236}">
                  <a16:creationId xmlns:a16="http://schemas.microsoft.com/office/drawing/2014/main" id="{DDB585BF-FBD0-4EDE-8DB8-BA11055BF6B0}"/>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 name="Freeform 93">
              <a:extLst>
                <a:ext uri="{FF2B5EF4-FFF2-40B4-BE49-F238E27FC236}">
                  <a16:creationId xmlns:a16="http://schemas.microsoft.com/office/drawing/2014/main" id="{084F6DF0-9CF9-4E51-9DFF-DD7533FFF30D}"/>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 name="Freeform 94">
              <a:extLst>
                <a:ext uri="{FF2B5EF4-FFF2-40B4-BE49-F238E27FC236}">
                  <a16:creationId xmlns:a16="http://schemas.microsoft.com/office/drawing/2014/main" id="{98B6C9D6-F691-4ADB-B9F2-72440839BD2F}"/>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95">
              <a:extLst>
                <a:ext uri="{FF2B5EF4-FFF2-40B4-BE49-F238E27FC236}">
                  <a16:creationId xmlns:a16="http://schemas.microsoft.com/office/drawing/2014/main" id="{215E52FA-28A5-43B8-8A85-C31039A8EB91}"/>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96">
              <a:extLst>
                <a:ext uri="{FF2B5EF4-FFF2-40B4-BE49-F238E27FC236}">
                  <a16:creationId xmlns:a16="http://schemas.microsoft.com/office/drawing/2014/main" id="{773E8256-0614-4BCC-A77D-C8DF167CDD9B}"/>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97">
              <a:extLst>
                <a:ext uri="{FF2B5EF4-FFF2-40B4-BE49-F238E27FC236}">
                  <a16:creationId xmlns:a16="http://schemas.microsoft.com/office/drawing/2014/main" id="{C5E3F3A9-41A5-4721-8814-3F40431229C9}"/>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 name="Freeform 98">
              <a:extLst>
                <a:ext uri="{FF2B5EF4-FFF2-40B4-BE49-F238E27FC236}">
                  <a16:creationId xmlns:a16="http://schemas.microsoft.com/office/drawing/2014/main" id="{FD56CE07-C8D6-43A0-9CF2-AD5AE6C32568}"/>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 name="Freeform 99">
              <a:extLst>
                <a:ext uri="{FF2B5EF4-FFF2-40B4-BE49-F238E27FC236}">
                  <a16:creationId xmlns:a16="http://schemas.microsoft.com/office/drawing/2014/main" id="{F72FC88A-9101-4C8E-86AC-E430E3CFEA11}"/>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 name="Freeform 100">
              <a:extLst>
                <a:ext uri="{FF2B5EF4-FFF2-40B4-BE49-F238E27FC236}">
                  <a16:creationId xmlns:a16="http://schemas.microsoft.com/office/drawing/2014/main" id="{E6F910A6-EE27-429F-99BA-6FBE75AEA73B}"/>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 name="Freeform 101">
              <a:extLst>
                <a:ext uri="{FF2B5EF4-FFF2-40B4-BE49-F238E27FC236}">
                  <a16:creationId xmlns:a16="http://schemas.microsoft.com/office/drawing/2014/main" id="{DD80E244-8098-4966-995B-7ABD149B81D8}"/>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 name="Freeform 102">
              <a:extLst>
                <a:ext uri="{FF2B5EF4-FFF2-40B4-BE49-F238E27FC236}">
                  <a16:creationId xmlns:a16="http://schemas.microsoft.com/office/drawing/2014/main" id="{6FAD18F6-7472-4C21-AD9E-7C5CB035C46B}"/>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 name="Freeform 103">
              <a:extLst>
                <a:ext uri="{FF2B5EF4-FFF2-40B4-BE49-F238E27FC236}">
                  <a16:creationId xmlns:a16="http://schemas.microsoft.com/office/drawing/2014/main" id="{AD3AE175-B308-43C8-BF2B-C37D402A975B}"/>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 name="Freeform 104">
              <a:extLst>
                <a:ext uri="{FF2B5EF4-FFF2-40B4-BE49-F238E27FC236}">
                  <a16:creationId xmlns:a16="http://schemas.microsoft.com/office/drawing/2014/main" id="{E0C4B8C0-7E59-46C0-BC2B-B2EC0A8093D1}"/>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 name="Freeform 105">
              <a:extLst>
                <a:ext uri="{FF2B5EF4-FFF2-40B4-BE49-F238E27FC236}">
                  <a16:creationId xmlns:a16="http://schemas.microsoft.com/office/drawing/2014/main" id="{9F258654-F1F9-45E8-8BED-58EC02D8C667}"/>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9" name="Slide Number Placeholder 3">
            <a:extLst>
              <a:ext uri="{FF2B5EF4-FFF2-40B4-BE49-F238E27FC236}">
                <a16:creationId xmlns:a16="http://schemas.microsoft.com/office/drawing/2014/main" id="{51BE1863-9FDB-4813-A955-CE3A8C67F159}"/>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70" name="Rectangle 155">
            <a:extLst>
              <a:ext uri="{FF2B5EF4-FFF2-40B4-BE49-F238E27FC236}">
                <a16:creationId xmlns:a16="http://schemas.microsoft.com/office/drawing/2014/main" id="{64FBB80C-F541-457C-95E2-FF3C7F73C3B2}"/>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dirty="0"/>
              <a:t>Production code #</a:t>
            </a:r>
          </a:p>
        </p:txBody>
      </p:sp>
      <p:sp>
        <p:nvSpPr>
          <p:cNvPr id="71" name="Rectangle 176">
            <a:extLst>
              <a:ext uri="{FF2B5EF4-FFF2-40B4-BE49-F238E27FC236}">
                <a16:creationId xmlns:a16="http://schemas.microsoft.com/office/drawing/2014/main" id="{E4AA49A0-4760-4AFC-9CFE-628222CFC0E0}"/>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350708192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Back_Cover_Disclosures">
    <p:spTree>
      <p:nvGrpSpPr>
        <p:cNvPr id="1" name=""/>
        <p:cNvGrpSpPr/>
        <p:nvPr/>
      </p:nvGrpSpPr>
      <p:grpSpPr>
        <a:xfrm>
          <a:off x="0" y="0"/>
          <a:ext cx="0" cy="0"/>
          <a:chOff x="0" y="0"/>
          <a:chExt cx="0" cy="0"/>
        </a:xfrm>
      </p:grpSpPr>
      <p:sp>
        <p:nvSpPr>
          <p:cNvPr id="9" name="Content Placeholder 10">
            <a:extLst>
              <a:ext uri="{FF2B5EF4-FFF2-40B4-BE49-F238E27FC236}">
                <a16:creationId xmlns:a16="http://schemas.microsoft.com/office/drawing/2014/main" id="{17250508-1ECC-4010-B033-B13079CC4BCA}"/>
              </a:ext>
            </a:extLst>
          </p:cNvPr>
          <p:cNvSpPr>
            <a:spLocks noGrp="1"/>
          </p:cNvSpPr>
          <p:nvPr>
            <p:ph sz="quarter" idx="15" hasCustomPrompt="1"/>
          </p:nvPr>
        </p:nvSpPr>
        <p:spPr>
          <a:xfrm>
            <a:off x="324088" y="6526412"/>
            <a:ext cx="711200" cy="214312"/>
          </a:xfrm>
        </p:spPr>
        <p:txBody>
          <a:bodyPr/>
          <a:lstStyle>
            <a:lvl1pPr>
              <a:defRPr sz="700" b="0">
                <a:solidFill>
                  <a:schemeClr val="tx1"/>
                </a:solidFill>
              </a:defRPr>
            </a:lvl1pPr>
            <a:lvl2pPr>
              <a:defRPr sz="700" b="0">
                <a:solidFill>
                  <a:schemeClr val="tx1"/>
                </a:solidFill>
              </a:defRPr>
            </a:lvl2pPr>
            <a:lvl3pPr>
              <a:defRPr sz="700" b="0">
                <a:solidFill>
                  <a:schemeClr val="tx1"/>
                </a:solidFill>
              </a:defRPr>
            </a:lvl3pPr>
            <a:lvl4pPr>
              <a:defRPr sz="700" b="0">
                <a:solidFill>
                  <a:schemeClr val="tx1"/>
                </a:solidFill>
              </a:defRPr>
            </a:lvl4pPr>
            <a:lvl5pPr>
              <a:defRPr sz="700" b="0">
                <a:solidFill>
                  <a:schemeClr val="tx1"/>
                </a:solidFill>
              </a:defRPr>
            </a:lvl5pPr>
          </a:lstStyle>
          <a:p>
            <a:pPr lvl="0"/>
            <a:r>
              <a:rPr lang="en-US" dirty="0"/>
              <a:t>XXXXXX.1.0</a:t>
            </a:r>
          </a:p>
        </p:txBody>
      </p:sp>
      <p:sp>
        <p:nvSpPr>
          <p:cNvPr id="10" name="Content Placeholder 5">
            <a:extLst>
              <a:ext uri="{FF2B5EF4-FFF2-40B4-BE49-F238E27FC236}">
                <a16:creationId xmlns:a16="http://schemas.microsoft.com/office/drawing/2014/main" id="{940CCDDD-48AD-4BFD-880D-5A53479A8DE9}"/>
              </a:ext>
            </a:extLst>
          </p:cNvPr>
          <p:cNvSpPr>
            <a:spLocks noGrp="1"/>
          </p:cNvSpPr>
          <p:nvPr>
            <p:ph sz="quarter" idx="14" hasCustomPrompt="1"/>
          </p:nvPr>
        </p:nvSpPr>
        <p:spPr>
          <a:xfrm>
            <a:off x="1333500" y="6503543"/>
            <a:ext cx="6477000" cy="214312"/>
          </a:xfrm>
        </p:spPr>
        <p:txBody>
          <a:bodyPr/>
          <a:lstStyle>
            <a:lvl1pPr algn="ctr">
              <a:defRPr sz="900" b="0">
                <a:solidFill>
                  <a:schemeClr val="tx1"/>
                </a:solidFill>
              </a:defRPr>
            </a:lvl1pPr>
            <a:lvl2pPr algn="ctr">
              <a:defRPr sz="900" b="0">
                <a:solidFill>
                  <a:schemeClr val="tx1"/>
                </a:solidFill>
              </a:defRPr>
            </a:lvl2pPr>
            <a:lvl3pPr algn="ctr">
              <a:defRPr sz="900" b="0">
                <a:solidFill>
                  <a:schemeClr val="tx1"/>
                </a:solidFill>
              </a:defRPr>
            </a:lvl3pPr>
            <a:lvl4pPr algn="ctr">
              <a:defRPr sz="900" b="0">
                <a:solidFill>
                  <a:schemeClr val="tx1"/>
                </a:solidFill>
              </a:defRPr>
            </a:lvl4pPr>
            <a:lvl5pPr algn="ctr">
              <a:defRPr sz="900" b="0">
                <a:solidFill>
                  <a:schemeClr val="tx1"/>
                </a:solidFill>
              </a:defRPr>
            </a:lvl5pPr>
          </a:lstStyle>
          <a:p>
            <a:pPr lvl="0"/>
            <a:r>
              <a:rPr lang="en-US" altLang="en-US" sz="900" dirty="0"/>
              <a:t>BROKER/DEALER and ADDRESS PLACEHOLDER</a:t>
            </a:r>
            <a:endParaRPr lang="en-US" dirty="0"/>
          </a:p>
        </p:txBody>
      </p:sp>
      <p:sp>
        <p:nvSpPr>
          <p:cNvPr id="11" name="Content Placeholder 2">
            <a:extLst>
              <a:ext uri="{FF2B5EF4-FFF2-40B4-BE49-F238E27FC236}">
                <a16:creationId xmlns:a16="http://schemas.microsoft.com/office/drawing/2014/main" id="{B8D5418A-31BD-4C0F-8CAF-E860A9E82B30}"/>
              </a:ext>
            </a:extLst>
          </p:cNvPr>
          <p:cNvSpPr>
            <a:spLocks noGrp="1"/>
          </p:cNvSpPr>
          <p:nvPr>
            <p:ph idx="13" hasCustomPrompt="1"/>
          </p:nvPr>
        </p:nvSpPr>
        <p:spPr>
          <a:xfrm>
            <a:off x="325661" y="3228975"/>
            <a:ext cx="8506210" cy="2903538"/>
          </a:xfrm>
        </p:spPr>
        <p:txBody>
          <a:bodyPr lIns="91440" anchor="b"/>
          <a:lstStyle>
            <a:lvl1pPr marL="0" indent="0" algn="l" rtl="0" eaLnBrk="1" fontAlgn="base" hangingPunct="1">
              <a:spcBef>
                <a:spcPts val="300"/>
              </a:spcBef>
              <a:spcAft>
                <a:spcPct val="0"/>
              </a:spcAft>
              <a:buClrTx/>
              <a:buSzTx/>
              <a:buFontTx/>
              <a:buNone/>
              <a:defRPr lang="en-US" sz="1000" b="0" dirty="0" smtClean="0">
                <a:solidFill>
                  <a:schemeClr val="tx1"/>
                </a:solidFill>
              </a:defRPr>
            </a:lvl1pPr>
            <a:lvl2pPr>
              <a:spcBef>
                <a:spcPts val="2000"/>
              </a:spcBef>
              <a:defRPr lang="en-US" dirty="0" smtClean="0">
                <a:solidFill>
                  <a:schemeClr val="tx1"/>
                </a:solidFill>
                <a:latin typeface="+mn-lt"/>
              </a:defRPr>
            </a:lvl2pPr>
            <a:lvl3pPr>
              <a:defRPr lang="en-US" sz="1600" dirty="0" smtClean="0">
                <a:solidFill>
                  <a:schemeClr val="accent1"/>
                </a:solidFill>
                <a:latin typeface="+mn-lt"/>
              </a:defRPr>
            </a:lvl3pPr>
            <a:lvl4pPr>
              <a:buClr>
                <a:schemeClr val="bg2"/>
              </a:buClr>
              <a:buSzPct val="80000"/>
              <a:buFont typeface="Arial" pitchFamily="34" charset="0"/>
              <a:buChar char="•"/>
              <a:defRPr sz="1400">
                <a:solidFill>
                  <a:schemeClr val="accent1"/>
                </a:solidFill>
              </a:defRPr>
            </a:lvl4pPr>
          </a:lstStyle>
          <a:p>
            <a:pPr eaLnBrk="1" hangingPunct="1">
              <a:spcBef>
                <a:spcPts val="300"/>
              </a:spcBef>
              <a:buClrTx/>
              <a:buSzTx/>
              <a:buFontTx/>
              <a:buNone/>
            </a:pPr>
            <a:r>
              <a:rPr lang="en-US" sz="1000" dirty="0">
                <a:latin typeface="+mj-lt"/>
              </a:rPr>
              <a:t>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a:t>
            </a:r>
          </a:p>
          <a:p>
            <a:pPr eaLnBrk="1" hangingPunct="1">
              <a:spcBef>
                <a:spcPts val="300"/>
              </a:spcBef>
              <a:buClrTx/>
              <a:buSzTx/>
              <a:buFontTx/>
              <a:buNone/>
            </a:pPr>
            <a:r>
              <a:rPr lang="en-US" sz="1000" b="1" dirty="0">
                <a:latin typeface="+mj-lt"/>
              </a:rPr>
              <a:t>Lorem ipsum e </a:t>
            </a:r>
            <a:r>
              <a:rPr lang="en-US" sz="1000" b="1" dirty="0" err="1">
                <a:latin typeface="+mj-lt"/>
              </a:rPr>
              <a:t>dolore</a:t>
            </a:r>
            <a:r>
              <a:rPr lang="en-US" sz="1000" b="1" dirty="0">
                <a:latin typeface="+mj-lt"/>
              </a:rPr>
              <a:t> sit </a:t>
            </a:r>
            <a:r>
              <a:rPr lang="en-US" sz="1000" b="1" dirty="0" err="1">
                <a:latin typeface="+mj-lt"/>
              </a:rPr>
              <a:t>amet</a:t>
            </a:r>
            <a:r>
              <a:rPr lang="en-US" sz="1000" b="1" dirty="0">
                <a:latin typeface="+mj-lt"/>
              </a:rPr>
              <a:t> con </a:t>
            </a:r>
            <a:r>
              <a:rPr lang="en-US" sz="1000" b="1" dirty="0" err="1">
                <a:latin typeface="+mj-lt"/>
              </a:rPr>
              <a:t>secuatur</a:t>
            </a:r>
            <a:r>
              <a:rPr lang="en-US" sz="1000" b="1" dirty="0">
                <a:latin typeface="+mj-lt"/>
              </a:rPr>
              <a:t> </a:t>
            </a:r>
            <a:r>
              <a:rPr lang="en-US" sz="1000" b="1" dirty="0" err="1">
                <a:latin typeface="+mj-lt"/>
              </a:rPr>
              <a:t>voltare</a:t>
            </a:r>
            <a:r>
              <a:rPr lang="en-US" sz="1000" b="1" dirty="0">
                <a:latin typeface="+mj-lt"/>
              </a:rPr>
              <a:t> sans </a:t>
            </a:r>
            <a:r>
              <a:rPr lang="en-US" sz="1000" b="1" dirty="0" err="1">
                <a:latin typeface="+mj-lt"/>
              </a:rPr>
              <a:t>hitre</a:t>
            </a:r>
            <a:r>
              <a:rPr lang="en-US" sz="1000" b="1" dirty="0">
                <a:latin typeface="+mj-lt"/>
              </a:rPr>
              <a:t> </a:t>
            </a:r>
            <a:r>
              <a:rPr lang="en-US" sz="1000" b="1" dirty="0" err="1">
                <a:latin typeface="+mj-lt"/>
              </a:rPr>
              <a:t>vintaxe</a:t>
            </a:r>
            <a:r>
              <a:rPr lang="en-US" sz="1000" b="1" dirty="0">
                <a:latin typeface="+mj-lt"/>
              </a:rPr>
              <a:t> </a:t>
            </a:r>
            <a:r>
              <a:rPr lang="en-US" sz="1000" b="1" dirty="0" err="1">
                <a:latin typeface="+mj-lt"/>
              </a:rPr>
              <a:t>ellert</a:t>
            </a:r>
            <a:r>
              <a:rPr lang="en-US" sz="1000" b="1" dirty="0">
                <a:latin typeface="+mj-lt"/>
              </a:rPr>
              <a:t>  ipsum e </a:t>
            </a:r>
            <a:r>
              <a:rPr lang="en-US" sz="1000" b="1" dirty="0" err="1">
                <a:latin typeface="+mj-lt"/>
              </a:rPr>
              <a:t>dolore</a:t>
            </a:r>
            <a:r>
              <a:rPr lang="en-US" sz="1000" b="1" dirty="0">
                <a:latin typeface="+mj-lt"/>
              </a:rPr>
              <a:t> sit </a:t>
            </a:r>
            <a:r>
              <a:rPr lang="en-US" sz="1000" b="1" dirty="0" err="1">
                <a:latin typeface="+mj-lt"/>
              </a:rPr>
              <a:t>amet</a:t>
            </a:r>
            <a:r>
              <a:rPr lang="en-US" sz="1000" b="1" dirty="0">
                <a:latin typeface="+mj-lt"/>
              </a:rPr>
              <a:t> con </a:t>
            </a:r>
            <a:r>
              <a:rPr lang="en-US" sz="1000" b="1" dirty="0" err="1">
                <a:latin typeface="+mj-lt"/>
              </a:rPr>
              <a:t>secuatur</a:t>
            </a:r>
            <a:r>
              <a:rPr lang="en-US" sz="1000" b="1" dirty="0">
                <a:latin typeface="+mj-lt"/>
              </a:rPr>
              <a:t> </a:t>
            </a:r>
            <a:r>
              <a:rPr lang="en-US" sz="1000" b="1" dirty="0" err="1">
                <a:latin typeface="+mj-lt"/>
              </a:rPr>
              <a:t>voltare</a:t>
            </a:r>
            <a:r>
              <a:rPr lang="en-US" sz="1000" b="1" dirty="0">
                <a:latin typeface="+mj-lt"/>
              </a:rPr>
              <a:t> sans </a:t>
            </a:r>
            <a:r>
              <a:rPr lang="en-US" sz="1000" b="1" dirty="0" err="1">
                <a:latin typeface="+mj-lt"/>
              </a:rPr>
              <a:t>hitre</a:t>
            </a:r>
            <a:r>
              <a:rPr lang="en-US" sz="1000" b="1" dirty="0">
                <a:latin typeface="+mj-lt"/>
              </a:rPr>
              <a:t> </a:t>
            </a:r>
            <a:r>
              <a:rPr lang="en-US" sz="1000" b="1" dirty="0" err="1">
                <a:latin typeface="+mj-lt"/>
              </a:rPr>
              <a:t>vintaxe</a:t>
            </a:r>
            <a:r>
              <a:rPr lang="en-US" sz="1000" b="1" dirty="0">
                <a:latin typeface="+mj-lt"/>
              </a:rPr>
              <a:t> </a:t>
            </a:r>
            <a:r>
              <a:rPr lang="en-US" sz="1000" b="1" dirty="0" err="1">
                <a:latin typeface="+mj-lt"/>
              </a:rPr>
              <a:t>ellert</a:t>
            </a:r>
            <a:r>
              <a:rPr lang="en-US" sz="1000" b="1" dirty="0">
                <a:latin typeface="+mj-lt"/>
              </a:rPr>
              <a:t>. Lorem ipsum e </a:t>
            </a:r>
            <a:r>
              <a:rPr lang="en-US" sz="1000" b="1" dirty="0" err="1">
                <a:latin typeface="+mj-lt"/>
              </a:rPr>
              <a:t>dolore</a:t>
            </a:r>
            <a:r>
              <a:rPr lang="en-US" sz="1000" b="1" dirty="0">
                <a:latin typeface="+mj-lt"/>
              </a:rPr>
              <a:t> sit </a:t>
            </a:r>
            <a:r>
              <a:rPr lang="en-US" sz="1000" b="1" dirty="0" err="1">
                <a:latin typeface="+mj-lt"/>
              </a:rPr>
              <a:t>amet</a:t>
            </a:r>
            <a:r>
              <a:rPr lang="en-US" sz="1000" b="1" dirty="0">
                <a:latin typeface="+mj-lt"/>
              </a:rPr>
              <a:t> con </a:t>
            </a:r>
            <a:r>
              <a:rPr lang="en-US" sz="1000" b="1" dirty="0" err="1">
                <a:latin typeface="+mj-lt"/>
              </a:rPr>
              <a:t>secuatur</a:t>
            </a:r>
            <a:r>
              <a:rPr lang="en-US" sz="1000" b="1" dirty="0">
                <a:latin typeface="+mj-lt"/>
              </a:rPr>
              <a:t> </a:t>
            </a:r>
            <a:r>
              <a:rPr lang="en-US" sz="1000" b="1" dirty="0" err="1">
                <a:latin typeface="+mj-lt"/>
              </a:rPr>
              <a:t>voltare</a:t>
            </a:r>
            <a:r>
              <a:rPr lang="en-US" sz="1000" b="1" dirty="0">
                <a:latin typeface="+mj-lt"/>
              </a:rPr>
              <a:t> sans </a:t>
            </a:r>
            <a:r>
              <a:rPr lang="en-US" sz="1000" b="1" dirty="0" err="1">
                <a:latin typeface="+mj-lt"/>
              </a:rPr>
              <a:t>hitre</a:t>
            </a:r>
            <a:r>
              <a:rPr lang="en-US" sz="1000" b="1" dirty="0">
                <a:latin typeface="+mj-lt"/>
              </a:rPr>
              <a:t> </a:t>
            </a:r>
            <a:r>
              <a:rPr lang="en-US" sz="1000" b="1" dirty="0" err="1">
                <a:latin typeface="+mj-lt"/>
              </a:rPr>
              <a:t>vintaxe</a:t>
            </a:r>
            <a:r>
              <a:rPr lang="en-US" sz="1000" b="1" dirty="0">
                <a:latin typeface="+mj-lt"/>
              </a:rPr>
              <a:t> </a:t>
            </a:r>
            <a:r>
              <a:rPr lang="en-US" sz="1000" b="1" dirty="0" err="1">
                <a:latin typeface="+mj-lt"/>
              </a:rPr>
              <a:t>ellert</a:t>
            </a:r>
            <a:r>
              <a:rPr lang="en-US" sz="1000" b="1" dirty="0">
                <a:latin typeface="+mj-lt"/>
              </a:rPr>
              <a:t>. Lorem ipsum e </a:t>
            </a:r>
            <a:r>
              <a:rPr lang="en-US" sz="1000" b="1" dirty="0" err="1">
                <a:latin typeface="+mj-lt"/>
              </a:rPr>
              <a:t>dolore</a:t>
            </a:r>
            <a:r>
              <a:rPr lang="en-US" sz="1000" b="1" dirty="0">
                <a:latin typeface="+mj-lt"/>
              </a:rPr>
              <a:t> sit </a:t>
            </a:r>
            <a:r>
              <a:rPr lang="en-US" sz="1000" b="1" dirty="0" err="1">
                <a:latin typeface="+mj-lt"/>
              </a:rPr>
              <a:t>amet</a:t>
            </a:r>
            <a:r>
              <a:rPr lang="en-US" sz="1000" b="1" dirty="0">
                <a:latin typeface="+mj-lt"/>
              </a:rPr>
              <a:t> con </a:t>
            </a:r>
            <a:r>
              <a:rPr lang="en-US" sz="1000" b="1" dirty="0" err="1">
                <a:latin typeface="+mj-lt"/>
              </a:rPr>
              <a:t>secuatur</a:t>
            </a:r>
            <a:r>
              <a:rPr lang="en-US" sz="1000" b="1" dirty="0">
                <a:latin typeface="+mj-lt"/>
              </a:rPr>
              <a:t> </a:t>
            </a:r>
            <a:r>
              <a:rPr lang="en-US" sz="1000" b="1" dirty="0" err="1">
                <a:latin typeface="+mj-lt"/>
              </a:rPr>
              <a:t>voltare</a:t>
            </a:r>
            <a:r>
              <a:rPr lang="en-US" sz="1000" b="1" dirty="0">
                <a:latin typeface="+mj-lt"/>
              </a:rPr>
              <a:t> sans </a:t>
            </a:r>
            <a:r>
              <a:rPr lang="en-US" sz="1000" b="1" dirty="0" err="1">
                <a:latin typeface="+mj-lt"/>
              </a:rPr>
              <a:t>hitre</a:t>
            </a:r>
            <a:r>
              <a:rPr lang="en-US" sz="1000" b="1" dirty="0">
                <a:latin typeface="+mj-lt"/>
              </a:rPr>
              <a:t> </a:t>
            </a:r>
            <a:r>
              <a:rPr lang="en-US" sz="1000" b="1" dirty="0" err="1">
                <a:latin typeface="+mj-lt"/>
              </a:rPr>
              <a:t>vintaxe</a:t>
            </a:r>
            <a:r>
              <a:rPr lang="en-US" sz="1000" b="1" dirty="0">
                <a:latin typeface="+mj-lt"/>
              </a:rPr>
              <a:t> </a:t>
            </a:r>
            <a:r>
              <a:rPr lang="en-US" sz="1000" b="1" dirty="0" err="1">
                <a:latin typeface="+mj-lt"/>
              </a:rPr>
              <a:t>ellert</a:t>
            </a:r>
            <a:r>
              <a:rPr lang="en-US" sz="1000" b="1" dirty="0">
                <a:latin typeface="+mj-lt"/>
              </a:rPr>
              <a:t>. Lorem ipsum e </a:t>
            </a:r>
            <a:r>
              <a:rPr lang="en-US" sz="1000" b="1" dirty="0" err="1">
                <a:latin typeface="+mj-lt"/>
              </a:rPr>
              <a:t>dolore</a:t>
            </a:r>
            <a:r>
              <a:rPr lang="en-US" sz="1000" b="1" dirty="0">
                <a:latin typeface="+mj-lt"/>
              </a:rPr>
              <a:t> sit </a:t>
            </a:r>
            <a:r>
              <a:rPr lang="en-US" sz="1000" b="1" dirty="0" err="1">
                <a:latin typeface="+mj-lt"/>
              </a:rPr>
              <a:t>amet</a:t>
            </a:r>
            <a:r>
              <a:rPr lang="en-US" sz="1000" b="1" dirty="0">
                <a:latin typeface="+mj-lt"/>
              </a:rPr>
              <a:t> con </a:t>
            </a:r>
            <a:r>
              <a:rPr lang="en-US" sz="1000" b="1" dirty="0" err="1">
                <a:latin typeface="+mj-lt"/>
              </a:rPr>
              <a:t>secuatur</a:t>
            </a:r>
            <a:r>
              <a:rPr lang="en-US" sz="1000" b="1" dirty="0">
                <a:latin typeface="+mj-lt"/>
              </a:rPr>
              <a:t> </a:t>
            </a:r>
            <a:r>
              <a:rPr lang="en-US" sz="1000" b="1" dirty="0" err="1">
                <a:latin typeface="+mj-lt"/>
              </a:rPr>
              <a:t>voltare</a:t>
            </a:r>
            <a:r>
              <a:rPr lang="en-US" sz="1000" b="1" dirty="0">
                <a:latin typeface="+mj-lt"/>
              </a:rPr>
              <a:t> sans </a:t>
            </a:r>
            <a:r>
              <a:rPr lang="en-US" sz="1000" b="1" dirty="0" err="1">
                <a:latin typeface="+mj-lt"/>
              </a:rPr>
              <a:t>hitre</a:t>
            </a:r>
            <a:r>
              <a:rPr lang="en-US" sz="1000" b="1" dirty="0">
                <a:latin typeface="+mj-lt"/>
              </a:rPr>
              <a:t> </a:t>
            </a:r>
            <a:r>
              <a:rPr lang="en-US" sz="1000" b="1" dirty="0" err="1">
                <a:latin typeface="+mj-lt"/>
              </a:rPr>
              <a:t>vintaxe</a:t>
            </a:r>
            <a:r>
              <a:rPr lang="en-US" sz="1000" b="1" dirty="0">
                <a:latin typeface="+mj-lt"/>
              </a:rPr>
              <a:t> </a:t>
            </a:r>
            <a:r>
              <a:rPr lang="en-US" sz="1000" b="1" dirty="0" err="1">
                <a:latin typeface="+mj-lt"/>
              </a:rPr>
              <a:t>ellert</a:t>
            </a:r>
            <a:r>
              <a:rPr lang="en-US" sz="1000" b="1" dirty="0">
                <a:latin typeface="+mj-lt"/>
              </a:rPr>
              <a:t>. Lorem ipsum e </a:t>
            </a:r>
            <a:r>
              <a:rPr lang="en-US" sz="1000" b="1" dirty="0" err="1">
                <a:latin typeface="+mj-lt"/>
              </a:rPr>
              <a:t>dolore</a:t>
            </a:r>
            <a:r>
              <a:rPr lang="en-US" sz="1000" b="1" dirty="0">
                <a:latin typeface="+mj-lt"/>
              </a:rPr>
              <a:t> sit </a:t>
            </a:r>
            <a:r>
              <a:rPr lang="en-US" sz="1000" b="1" dirty="0" err="1">
                <a:latin typeface="+mj-lt"/>
              </a:rPr>
              <a:t>amet</a:t>
            </a:r>
            <a:r>
              <a:rPr lang="en-US" sz="1000" b="1" dirty="0">
                <a:latin typeface="+mj-lt"/>
              </a:rPr>
              <a:t> con </a:t>
            </a:r>
            <a:r>
              <a:rPr lang="en-US" sz="1000" b="1" dirty="0" err="1">
                <a:latin typeface="+mj-lt"/>
              </a:rPr>
              <a:t>secuatur</a:t>
            </a:r>
            <a:r>
              <a:rPr lang="en-US" sz="1000" b="1" dirty="0">
                <a:latin typeface="+mj-lt"/>
              </a:rPr>
              <a:t> </a:t>
            </a:r>
            <a:r>
              <a:rPr lang="en-US" sz="1000" b="1" dirty="0" err="1">
                <a:latin typeface="+mj-lt"/>
              </a:rPr>
              <a:t>voltare</a:t>
            </a:r>
            <a:r>
              <a:rPr lang="en-US" sz="1000" b="1" dirty="0">
                <a:latin typeface="+mj-lt"/>
              </a:rPr>
              <a:t> sans </a:t>
            </a:r>
            <a:r>
              <a:rPr lang="en-US" sz="1000" b="1" dirty="0" err="1">
                <a:latin typeface="+mj-lt"/>
              </a:rPr>
              <a:t>hitre</a:t>
            </a:r>
            <a:r>
              <a:rPr lang="en-US" sz="1000" b="1" dirty="0">
                <a:latin typeface="+mj-lt"/>
              </a:rPr>
              <a:t> </a:t>
            </a:r>
            <a:r>
              <a:rPr lang="en-US" sz="1000" b="1" dirty="0" err="1">
                <a:latin typeface="+mj-lt"/>
              </a:rPr>
              <a:t>vintaxe</a:t>
            </a:r>
            <a:r>
              <a:rPr lang="en-US" sz="1000" b="1" dirty="0">
                <a:latin typeface="+mj-lt"/>
              </a:rPr>
              <a:t> </a:t>
            </a:r>
            <a:r>
              <a:rPr lang="en-US" sz="1000" b="1" dirty="0" err="1">
                <a:latin typeface="+mj-lt"/>
              </a:rPr>
              <a:t>ellert</a:t>
            </a:r>
            <a:r>
              <a:rPr lang="en-US" sz="1000" b="1" dirty="0">
                <a:latin typeface="+mj-lt"/>
              </a:rPr>
              <a:t>. Lorem ipsum e </a:t>
            </a:r>
            <a:r>
              <a:rPr lang="en-US" sz="1000" b="1" dirty="0" err="1">
                <a:latin typeface="+mj-lt"/>
              </a:rPr>
              <a:t>dolore</a:t>
            </a:r>
            <a:r>
              <a:rPr lang="en-US" sz="1000" b="1" dirty="0">
                <a:latin typeface="+mj-lt"/>
              </a:rPr>
              <a:t> sit </a:t>
            </a:r>
            <a:r>
              <a:rPr lang="en-US" sz="1000" b="1" dirty="0" err="1">
                <a:latin typeface="+mj-lt"/>
              </a:rPr>
              <a:t>amet</a:t>
            </a:r>
            <a:r>
              <a:rPr lang="en-US" sz="1000" b="1" dirty="0">
                <a:latin typeface="+mj-lt"/>
              </a:rPr>
              <a:t> con </a:t>
            </a:r>
            <a:r>
              <a:rPr lang="en-US" sz="1000" b="1" dirty="0" err="1">
                <a:latin typeface="+mj-lt"/>
              </a:rPr>
              <a:t>secuatur</a:t>
            </a:r>
            <a:r>
              <a:rPr lang="en-US" sz="1000" b="1" dirty="0">
                <a:latin typeface="+mj-lt"/>
              </a:rPr>
              <a:t> </a:t>
            </a:r>
            <a:r>
              <a:rPr lang="en-US" sz="1000" b="1" dirty="0" err="1">
                <a:latin typeface="+mj-lt"/>
              </a:rPr>
              <a:t>voltare</a:t>
            </a:r>
            <a:r>
              <a:rPr lang="en-US" sz="1000" b="1" dirty="0">
                <a:latin typeface="+mj-lt"/>
              </a:rPr>
              <a:t> sans </a:t>
            </a:r>
            <a:r>
              <a:rPr lang="en-US" sz="1000" b="1" dirty="0" err="1">
                <a:latin typeface="+mj-lt"/>
              </a:rPr>
              <a:t>hitre</a:t>
            </a:r>
            <a:r>
              <a:rPr lang="en-US" sz="1000" b="1" dirty="0">
                <a:latin typeface="+mj-lt"/>
              </a:rPr>
              <a:t> </a:t>
            </a:r>
            <a:r>
              <a:rPr lang="en-US" sz="1000" b="1" dirty="0" err="1">
                <a:latin typeface="+mj-lt"/>
              </a:rPr>
              <a:t>vintaxe</a:t>
            </a:r>
            <a:r>
              <a:rPr lang="en-US" sz="1000" b="1" dirty="0">
                <a:latin typeface="+mj-lt"/>
              </a:rPr>
              <a:t> </a:t>
            </a:r>
            <a:r>
              <a:rPr lang="en-US" sz="1000" b="1" dirty="0" err="1">
                <a:latin typeface="+mj-lt"/>
              </a:rPr>
              <a:t>ellert</a:t>
            </a:r>
            <a:r>
              <a:rPr lang="en-US" sz="1000" b="1" dirty="0">
                <a:latin typeface="+mj-lt"/>
              </a:rPr>
              <a:t>. Lorem ipsum e </a:t>
            </a:r>
            <a:r>
              <a:rPr lang="en-US" sz="1000" b="1" dirty="0" err="1">
                <a:latin typeface="+mj-lt"/>
              </a:rPr>
              <a:t>dolore</a:t>
            </a:r>
            <a:r>
              <a:rPr lang="en-US" sz="1000" b="1" dirty="0">
                <a:latin typeface="+mj-lt"/>
              </a:rPr>
              <a:t> sit </a:t>
            </a:r>
            <a:r>
              <a:rPr lang="en-US" sz="1000" b="1" dirty="0" err="1">
                <a:latin typeface="+mj-lt"/>
              </a:rPr>
              <a:t>amet</a:t>
            </a:r>
            <a:r>
              <a:rPr lang="en-US" sz="1000" b="1" dirty="0">
                <a:latin typeface="+mj-lt"/>
              </a:rPr>
              <a:t> con </a:t>
            </a:r>
            <a:r>
              <a:rPr lang="en-US" sz="1000" b="1" dirty="0" err="1">
                <a:latin typeface="+mj-lt"/>
              </a:rPr>
              <a:t>secuatur</a:t>
            </a:r>
            <a:r>
              <a:rPr lang="en-US" sz="1000" b="1" dirty="0">
                <a:latin typeface="+mj-lt"/>
              </a:rPr>
              <a:t> </a:t>
            </a:r>
            <a:r>
              <a:rPr lang="en-US" sz="1000" b="1" dirty="0" err="1">
                <a:latin typeface="+mj-lt"/>
              </a:rPr>
              <a:t>voltare</a:t>
            </a:r>
            <a:r>
              <a:rPr lang="en-US" sz="1000" b="1" dirty="0">
                <a:latin typeface="+mj-lt"/>
              </a:rPr>
              <a:t> sans </a:t>
            </a:r>
            <a:r>
              <a:rPr lang="en-US" sz="1000" b="1" dirty="0" err="1">
                <a:latin typeface="+mj-lt"/>
              </a:rPr>
              <a:t>hitre</a:t>
            </a:r>
            <a:r>
              <a:rPr lang="en-US" sz="1000" b="1" dirty="0">
                <a:latin typeface="+mj-lt"/>
              </a:rPr>
              <a:t> </a:t>
            </a:r>
            <a:r>
              <a:rPr lang="en-US" sz="1000" b="1" dirty="0" err="1">
                <a:latin typeface="+mj-lt"/>
              </a:rPr>
              <a:t>vintaxe</a:t>
            </a:r>
            <a:r>
              <a:rPr lang="en-US" sz="1000" b="1" dirty="0">
                <a:latin typeface="+mj-lt"/>
              </a:rPr>
              <a:t> </a:t>
            </a:r>
            <a:r>
              <a:rPr lang="en-US" sz="1000" b="1" dirty="0" err="1">
                <a:latin typeface="+mj-lt"/>
              </a:rPr>
              <a:t>ellert</a:t>
            </a:r>
            <a:r>
              <a:rPr lang="en-US" sz="1000" b="1" dirty="0">
                <a:latin typeface="+mj-lt"/>
              </a:rPr>
              <a:t>.</a:t>
            </a:r>
          </a:p>
        </p:txBody>
      </p:sp>
      <p:sp>
        <p:nvSpPr>
          <p:cNvPr id="12" name="Content Placeholder 12">
            <a:extLst>
              <a:ext uri="{FF2B5EF4-FFF2-40B4-BE49-F238E27FC236}">
                <a16:creationId xmlns:a16="http://schemas.microsoft.com/office/drawing/2014/main" id="{358AAC87-2257-4354-AC49-598221F6B572}"/>
              </a:ext>
            </a:extLst>
          </p:cNvPr>
          <p:cNvSpPr>
            <a:spLocks noGrp="1"/>
          </p:cNvSpPr>
          <p:nvPr>
            <p:ph sz="quarter" idx="16" hasCustomPrompt="1"/>
          </p:nvPr>
        </p:nvSpPr>
        <p:spPr>
          <a:xfrm>
            <a:off x="7991475" y="6456525"/>
            <a:ext cx="908050" cy="377825"/>
          </a:xfrm>
        </p:spPr>
        <p:txBody>
          <a:bodyPr anchor="b"/>
          <a:lstStyle>
            <a:lvl1pPr algn="r">
              <a:spcBef>
                <a:spcPts val="0"/>
              </a:spcBef>
              <a:defRPr sz="700" b="0">
                <a:solidFill>
                  <a:schemeClr val="tx1"/>
                </a:solidFill>
              </a:defRPr>
            </a:lvl1pPr>
            <a:lvl2pPr algn="r">
              <a:defRPr sz="700" b="0">
                <a:solidFill>
                  <a:schemeClr val="tx1"/>
                </a:solidFill>
              </a:defRPr>
            </a:lvl2pPr>
            <a:lvl3pPr algn="r">
              <a:defRPr sz="700" b="0">
                <a:solidFill>
                  <a:schemeClr val="tx1"/>
                </a:solidFill>
              </a:defRPr>
            </a:lvl3pPr>
            <a:lvl4pPr algn="r">
              <a:defRPr sz="700" b="0">
                <a:solidFill>
                  <a:schemeClr val="tx1"/>
                </a:solidFill>
              </a:defRPr>
            </a:lvl4pPr>
            <a:lvl5pPr algn="r">
              <a:defRPr sz="700" b="0">
                <a:solidFill>
                  <a:schemeClr val="tx1"/>
                </a:solidFill>
              </a:defRPr>
            </a:lvl5pPr>
          </a:lstStyle>
          <a:p>
            <a:pPr lvl="0"/>
            <a:r>
              <a:rPr lang="en-US" dirty="0"/>
              <a:t>1.000000.100</a:t>
            </a:r>
          </a:p>
          <a:p>
            <a:pPr lvl="0"/>
            <a:r>
              <a:rPr lang="en-US" dirty="0"/>
              <a:t>MMYY</a:t>
            </a:r>
          </a:p>
        </p:txBody>
      </p:sp>
    </p:spTree>
    <p:extLst>
      <p:ext uri="{BB962C8B-B14F-4D97-AF65-F5344CB8AC3E}">
        <p14:creationId xmlns:p14="http://schemas.microsoft.com/office/powerpoint/2010/main" val="126952071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FIAM_External_Print_Cover">
    <p:spTree>
      <p:nvGrpSpPr>
        <p:cNvPr id="1" name=""/>
        <p:cNvGrpSpPr/>
        <p:nvPr/>
      </p:nvGrpSpPr>
      <p:grpSpPr>
        <a:xfrm>
          <a:off x="0" y="0"/>
          <a:ext cx="0" cy="0"/>
          <a:chOff x="0" y="0"/>
          <a:chExt cx="0" cy="0"/>
        </a:xfrm>
      </p:grpSpPr>
      <p:pic>
        <p:nvPicPr>
          <p:cNvPr id="45" name="Picture 4" descr="C:\Users\a216024\Desktop\stuff\_PPT_107\PowerPoint_Templates_Samples\_10x7.5_Templates\NEW_FIAM\Covers_secondary_slides\2-7_Covers\LightGray_grayscale.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12688" b="17606"/>
          <a:stretch/>
        </p:blipFill>
        <p:spPr bwMode="auto">
          <a:xfrm>
            <a:off x="0" y="0"/>
            <a:ext cx="9144000" cy="3646714"/>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5" descr="C:\Users\a216024\Desktop\stuff\_PPT_107\PowerPoint_Templates_Samples\_10x7.5_Templates\NEW_FIAM\Covers_secondary_slides\2-7_Covers\ColorBar.png"/>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l="1379" r="1716"/>
          <a:stretch/>
        </p:blipFill>
        <p:spPr bwMode="auto">
          <a:xfrm>
            <a:off x="0" y="3481388"/>
            <a:ext cx="9144000" cy="219075"/>
          </a:xfrm>
          <a:prstGeom prst="rect">
            <a:avLst/>
          </a:prstGeom>
          <a:noFill/>
          <a:extLst>
            <a:ext uri="{909E8E84-426E-40DD-AFC4-6F175D3DCCD1}">
              <a14:hiddenFill xmlns:a14="http://schemas.microsoft.com/office/drawing/2010/main">
                <a:solidFill>
                  <a:srgbClr val="FFFFFF"/>
                </a:solidFill>
              </a14:hiddenFill>
            </a:ext>
          </a:extLst>
        </p:spPr>
      </p:pic>
      <p:grpSp>
        <p:nvGrpSpPr>
          <p:cNvPr id="80" name="Group 79"/>
          <p:cNvGrpSpPr/>
          <p:nvPr userDrawn="1"/>
        </p:nvGrpSpPr>
        <p:grpSpPr>
          <a:xfrm>
            <a:off x="6970734" y="6128901"/>
            <a:ext cx="1839928" cy="396052"/>
            <a:chOff x="6923088" y="4475163"/>
            <a:chExt cx="1873251" cy="403225"/>
          </a:xfrm>
        </p:grpSpPr>
        <p:sp>
          <p:nvSpPr>
            <p:cNvPr id="81" name="AutoShape 4"/>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 name="Freeform 6"/>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 name="Freeform 7"/>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 name="Freeform 83"/>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 name="Freeform 84"/>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 name="Freeform 85"/>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 name="Freeform 86"/>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8" name="Freeform 87"/>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 name="Freeform 88"/>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 name="Freeform 89"/>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 name="Freeform 90"/>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 name="Freeform 91"/>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 name="Freeform 92"/>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 name="Freeform 93"/>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 name="Freeform 94"/>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 name="Freeform 95"/>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 name="Freeform 96"/>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 name="Freeform 97"/>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 name="Freeform 98"/>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 name="Freeform 99"/>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 name="Freeform 100"/>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 name="Freeform 101"/>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 name="Freeform 102"/>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4" name="Freeform 103"/>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5" name="Freeform 104"/>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6" name="Freeform 105"/>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44" name="Text Placeholder 43"/>
          <p:cNvSpPr>
            <a:spLocks noGrp="1"/>
          </p:cNvSpPr>
          <p:nvPr>
            <p:ph type="body" sz="quarter" idx="10"/>
          </p:nvPr>
        </p:nvSpPr>
        <p:spPr>
          <a:xfrm>
            <a:off x="715495" y="3833787"/>
            <a:ext cx="2455544" cy="332365"/>
          </a:xfrm>
        </p:spPr>
        <p:txBody>
          <a:bodyPr/>
          <a:lstStyle>
            <a:lvl1pPr>
              <a:defRPr lang="en-US" sz="1000" b="0" kern="1200" smtClean="0">
                <a:solidFill>
                  <a:srgbClr val="000000"/>
                </a:solidFill>
                <a:latin typeface="Arial"/>
                <a:ea typeface="ＭＳ Ｐゴシック"/>
                <a:cs typeface="ＭＳ Ｐゴシック"/>
              </a:defRPr>
            </a:lvl1pPr>
          </a:lstStyle>
          <a:p>
            <a:pPr lvl="0"/>
            <a:r>
              <a:rPr lang="en-US"/>
              <a:t>Click to edit Master text styles</a:t>
            </a:r>
          </a:p>
        </p:txBody>
      </p:sp>
      <p:sp>
        <p:nvSpPr>
          <p:cNvPr id="53" name="Content Placeholder 52"/>
          <p:cNvSpPr>
            <a:spLocks noGrp="1"/>
          </p:cNvSpPr>
          <p:nvPr>
            <p:ph sz="quarter" idx="12"/>
          </p:nvPr>
        </p:nvSpPr>
        <p:spPr>
          <a:xfrm>
            <a:off x="6280150" y="3842381"/>
            <a:ext cx="2487613" cy="165226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47" name="Rectangle 176"/>
          <p:cNvSpPr>
            <a:spLocks noGrp="1" noChangeArrowheads="1"/>
          </p:cNvSpPr>
          <p:nvPr>
            <p:ph type="ftr" sz="quarter" idx="13"/>
          </p:nvPr>
        </p:nvSpPr>
        <p:spPr>
          <a:xfrm>
            <a:off x="281401" y="5877558"/>
            <a:ext cx="6014623" cy="260350"/>
          </a:xfrm>
        </p:spPr>
        <p:txBody>
          <a:bodyPr anchor="b" anchorCtr="0"/>
          <a:lstStyle>
            <a:lvl1pPr algn="l">
              <a:defRPr sz="800" b="0" smtClean="0">
                <a:solidFill>
                  <a:srgbClr val="000000"/>
                </a:solidFill>
              </a:defRPr>
            </a:lvl1pPr>
          </a:lstStyle>
          <a:p>
            <a:pPr>
              <a:defRPr/>
            </a:pPr>
            <a:r>
              <a:rPr lang="en-US" b="1"/>
              <a:t>Page footer, i.e., For internal use only./For institutional use only.</a:t>
            </a:r>
            <a:endParaRPr lang="en-US" b="1" dirty="0"/>
          </a:p>
        </p:txBody>
      </p:sp>
      <p:sp>
        <p:nvSpPr>
          <p:cNvPr id="72" name="Rectangle 6"/>
          <p:cNvSpPr>
            <a:spLocks noGrp="1" noChangeArrowheads="1"/>
          </p:cNvSpPr>
          <p:nvPr>
            <p:ph type="subTitle" idx="1"/>
          </p:nvPr>
        </p:nvSpPr>
        <p:spPr>
          <a:xfrm>
            <a:off x="685251" y="2091765"/>
            <a:ext cx="7805762" cy="563076"/>
          </a:xfrm>
        </p:spPr>
        <p:txBody>
          <a:bodyPr lIns="100584" rIns="100584"/>
          <a:lstStyle>
            <a:lvl1pPr marL="0" indent="0">
              <a:spcBef>
                <a:spcPts val="0"/>
              </a:spcBef>
              <a:defRPr sz="2000" b="0">
                <a:solidFill>
                  <a:srgbClr val="7A9B3D"/>
                </a:solidFill>
              </a:defRPr>
            </a:lvl1pPr>
          </a:lstStyle>
          <a:p>
            <a:r>
              <a:rPr lang="en-US"/>
              <a:t>Click to edit Master subtitle style</a:t>
            </a:r>
            <a:endParaRPr lang="en-US" dirty="0"/>
          </a:p>
        </p:txBody>
      </p:sp>
      <p:sp>
        <p:nvSpPr>
          <p:cNvPr id="74" name="Text Placeholder 43"/>
          <p:cNvSpPr>
            <a:spLocks noGrp="1"/>
          </p:cNvSpPr>
          <p:nvPr>
            <p:ph type="body" sz="quarter" idx="14" hasCustomPrompt="1"/>
          </p:nvPr>
        </p:nvSpPr>
        <p:spPr>
          <a:xfrm>
            <a:off x="685251" y="2581276"/>
            <a:ext cx="7805762" cy="266850"/>
          </a:xfrm>
        </p:spPr>
        <p:txBody>
          <a:bodyPr lIns="100584" rIns="100584"/>
          <a:lstStyle>
            <a:lvl1pPr>
              <a:spcBef>
                <a:spcPts val="0"/>
              </a:spcBef>
              <a:defRPr lang="en-US" sz="1200" b="0" kern="1200" dirty="0" smtClean="0">
                <a:solidFill>
                  <a:srgbClr val="333F48"/>
                </a:solidFill>
                <a:latin typeface="Arial"/>
                <a:ea typeface="ＭＳ Ｐゴシック" pitchFamily="34" charset="-128"/>
                <a:cs typeface="+mn-cs"/>
              </a:defRPr>
            </a:lvl1pPr>
          </a:lstStyle>
          <a:p>
            <a:pPr lvl="0"/>
            <a:r>
              <a:rPr lang="en-US" dirty="0"/>
              <a:t>Date</a:t>
            </a:r>
          </a:p>
        </p:txBody>
      </p:sp>
      <p:sp>
        <p:nvSpPr>
          <p:cNvPr id="39" name="Rectangle 9"/>
          <p:cNvSpPr>
            <a:spLocks noGrp="1" noChangeArrowheads="1"/>
          </p:cNvSpPr>
          <p:nvPr>
            <p:ph type="title" hasCustomPrompt="1"/>
          </p:nvPr>
        </p:nvSpPr>
        <p:spPr bwMode="auto">
          <a:xfrm>
            <a:off x="685252" y="1581072"/>
            <a:ext cx="7820573" cy="5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b" anchorCtr="0" compatLnSpc="1">
            <a:prstTxWarp prst="textNoShape">
              <a:avLst/>
            </a:prstTxWarp>
          </a:bodyPr>
          <a:lstStyle>
            <a:lvl1pPr>
              <a:defRPr sz="3000">
                <a:solidFill>
                  <a:schemeClr val="bg2"/>
                </a:solidFill>
              </a:defRPr>
            </a:lvl1pPr>
          </a:lstStyle>
          <a:p>
            <a:pPr lvl="0"/>
            <a:r>
              <a:rPr lang="en-US" altLang="en-US" dirty="0"/>
              <a:t>Click To Edit Master Title Style</a:t>
            </a:r>
          </a:p>
        </p:txBody>
      </p:sp>
      <p:pic>
        <p:nvPicPr>
          <p:cNvPr id="48" name="Picture 5"/>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r="1439" b="-2834"/>
          <a:stretch/>
        </p:blipFill>
        <p:spPr bwMode="auto">
          <a:xfrm>
            <a:off x="371883" y="6359447"/>
            <a:ext cx="3848307" cy="100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9" name="Text Box 15"/>
          <p:cNvSpPr txBox="1">
            <a:spLocks noChangeArrowheads="1"/>
          </p:cNvSpPr>
          <p:nvPr userDrawn="1"/>
        </p:nvSpPr>
        <p:spPr bwMode="ltGray">
          <a:xfrm>
            <a:off x="383501" y="5535090"/>
            <a:ext cx="2868716" cy="184652"/>
          </a:xfrm>
          <a:prstGeom prst="rect">
            <a:avLst/>
          </a:prstGeom>
          <a:noFill/>
          <a:ln w="9525">
            <a:solidFill>
              <a:srgbClr val="000000"/>
            </a:solidFill>
            <a:miter lim="800000"/>
            <a:headEnd/>
            <a:tailEnd/>
          </a:ln>
        </p:spPr>
        <p:txBody>
          <a:bodyPr wrap="none" lIns="45711" tIns="45711" rIns="45711" bIns="27427" anchor="ctr">
            <a:spAutoFit/>
          </a:bodyP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fontAlgn="auto">
              <a:lnSpc>
                <a:spcPct val="90000"/>
              </a:lnSpc>
              <a:spcBef>
                <a:spcPts val="0"/>
              </a:spcBef>
              <a:spcAft>
                <a:spcPts val="0"/>
              </a:spcAft>
              <a:defRPr/>
            </a:pPr>
            <a:r>
              <a:rPr lang="en-US" sz="800" b="1" kern="0" dirty="0">
                <a:solidFill>
                  <a:srgbClr val="000000"/>
                </a:solidFill>
                <a:latin typeface="Arial"/>
                <a:cs typeface="+mn-cs"/>
              </a:rPr>
              <a:t>Not FDIC Insured </a:t>
            </a:r>
            <a:r>
              <a:rPr lang="en-US" sz="800" b="1" kern="0" dirty="0">
                <a:solidFill>
                  <a:srgbClr val="000000"/>
                </a:solidFill>
                <a:latin typeface="Arial"/>
                <a:cs typeface="+mn-cs"/>
                <a:sym typeface="Wingdings" pitchFamily="2" charset="2"/>
              </a:rPr>
              <a:t> May Lose Value  No Bank Guarantee</a:t>
            </a:r>
          </a:p>
        </p:txBody>
      </p:sp>
      <p:sp>
        <p:nvSpPr>
          <p:cNvPr id="2" name="Rectangle 1"/>
          <p:cNvSpPr/>
          <p:nvPr userDrawn="1"/>
        </p:nvSpPr>
        <p:spPr>
          <a:xfrm rot="10800000" flipV="1">
            <a:off x="4118281" y="6201176"/>
            <a:ext cx="429600" cy="276999"/>
          </a:xfrm>
          <a:prstGeom prst="rect">
            <a:avLst/>
          </a:prstGeom>
        </p:spPr>
        <p:txBody>
          <a:bodyPr wrap="square">
            <a:spAutoFit/>
          </a:bodyPr>
          <a:lstStyle/>
          <a:p>
            <a:r>
              <a:rPr lang="en-US" b="1" dirty="0">
                <a:solidFill>
                  <a:srgbClr val="000000"/>
                </a:solidFill>
              </a:rPr>
              <a:t>®</a:t>
            </a:r>
            <a:endParaRPr lang="en-US" dirty="0">
              <a:solidFill>
                <a:srgbClr val="000000"/>
              </a:solidFill>
            </a:endParaRPr>
          </a:p>
        </p:txBody>
      </p:sp>
    </p:spTree>
    <p:extLst>
      <p:ext uri="{BB962C8B-B14F-4D97-AF65-F5344CB8AC3E}">
        <p14:creationId xmlns:p14="http://schemas.microsoft.com/office/powerpoint/2010/main" val="410316105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OC/Agenda">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a:noFill/>
          <a:ln w="9525">
            <a:noFill/>
            <a:miter lim="800000"/>
            <a:headEnd/>
            <a:tailEnd/>
          </a:ln>
          <a:effectLst/>
        </p:spPr>
        <p:txBody>
          <a:bodyPr tIns="45720" anchor="t" anchorCtr="0"/>
          <a:lstStyle>
            <a:lvl1pPr>
              <a:defRPr kumimoji="0" lang="en-US" sz="2400" b="0" i="0" u="none" strike="noStrike" kern="0" cap="none" spc="0" normalizeH="0" baseline="0" noProof="0" dirty="0">
                <a:ln>
                  <a:noFill/>
                </a:ln>
                <a:solidFill>
                  <a:srgbClr val="333F48"/>
                </a:solidFill>
                <a:effectLst/>
                <a:uLnTx/>
                <a:uFillTx/>
                <a:latin typeface="+mj-lt"/>
                <a:ea typeface="+mj-ea"/>
                <a:cs typeface="+mj-cs"/>
              </a:defRPr>
            </a:lvl1pPr>
          </a:lstStyle>
          <a:p>
            <a:pPr lvl="0"/>
            <a:r>
              <a:rPr lang="en-US"/>
              <a:t>Click to edit Master title style</a:t>
            </a:r>
            <a:endParaRPr lang="en-US" dirty="0"/>
          </a:p>
        </p:txBody>
      </p:sp>
      <p:sp>
        <p:nvSpPr>
          <p:cNvPr id="10" name="Content Placeholder 9"/>
          <p:cNvSpPr>
            <a:spLocks noGrp="1"/>
          </p:cNvSpPr>
          <p:nvPr>
            <p:ph sz="quarter" idx="13"/>
          </p:nvPr>
        </p:nvSpPr>
        <p:spPr>
          <a:xfrm>
            <a:off x="317115" y="1339850"/>
            <a:ext cx="8188710" cy="4878388"/>
          </a:xfrm>
        </p:spPr>
        <p:txBody>
          <a:bodyPr/>
          <a:lstStyle>
            <a:lvl1pPr marL="227013" indent="-227013">
              <a:spcBef>
                <a:spcPts val="600"/>
              </a:spcBef>
              <a:buClr>
                <a:srgbClr val="7A9B3D"/>
              </a:buClr>
              <a:buSzPct val="100000"/>
              <a:buFont typeface="+mj-lt"/>
              <a:buAutoNum type="arabicPeriod"/>
              <a:defRPr sz="1400" b="0" i="0" baseline="0">
                <a:solidFill>
                  <a:srgbClr val="000000"/>
                </a:solidFill>
                <a:latin typeface="Arial" pitchFamily="34" charset="0"/>
              </a:defRPr>
            </a:lvl1pPr>
            <a:lvl2pPr marL="461963" indent="-217488">
              <a:spcBef>
                <a:spcPts val="600"/>
              </a:spcBef>
              <a:buClr>
                <a:srgbClr val="768692"/>
              </a:buClr>
              <a:buFont typeface="+mj-lt"/>
              <a:buAutoNum type="alphaUcPeriod"/>
              <a:defRPr sz="1200" baseline="0">
                <a:solidFill>
                  <a:srgbClr val="000000"/>
                </a:solidFill>
                <a:latin typeface="Arial" pitchFamily="34" charset="0"/>
              </a:defRPr>
            </a:lvl2pPr>
            <a:lvl3pPr>
              <a:spcBef>
                <a:spcPts val="600"/>
              </a:spcBef>
              <a:buClr>
                <a:srgbClr val="000000"/>
              </a:buClr>
              <a:defRPr baseline="0">
                <a:solidFill>
                  <a:srgbClr val="000000"/>
                </a:solidFill>
              </a:defRPr>
            </a:lvl3pPr>
          </a:lstStyle>
          <a:p>
            <a:pPr lvl="0"/>
            <a:r>
              <a:rPr lang="en-US"/>
              <a:t>Click to edit Master text styles</a:t>
            </a:r>
          </a:p>
          <a:p>
            <a:pPr lvl="1"/>
            <a:r>
              <a:rPr lang="en-US"/>
              <a:t>Second level</a:t>
            </a:r>
          </a:p>
          <a:p>
            <a:pPr lvl="2"/>
            <a:r>
              <a:rPr lang="en-US"/>
              <a:t>Third level</a:t>
            </a:r>
          </a:p>
        </p:txBody>
      </p:sp>
      <p:sp>
        <p:nvSpPr>
          <p:cNvPr id="5" name="Slide Number Placeholder 3"/>
          <p:cNvSpPr>
            <a:spLocks noGrp="1"/>
          </p:cNvSpPr>
          <p:nvPr>
            <p:ph type="sldNum" sz="quarter" idx="14"/>
          </p:nvPr>
        </p:nvSpPr>
        <p:spPr>
          <a:xfrm>
            <a:off x="0" y="6384928"/>
            <a:ext cx="329184"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dirty="0"/>
              <a:t>Page footer, i.e., For internal use only./For institutional use only.</a:t>
            </a:r>
          </a:p>
        </p:txBody>
      </p:sp>
      <p:sp>
        <p:nvSpPr>
          <p:cNvPr id="7"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dirty="0"/>
              <a:t>Production code #</a:t>
            </a:r>
          </a:p>
        </p:txBody>
      </p:sp>
      <p:grpSp>
        <p:nvGrpSpPr>
          <p:cNvPr id="8" name="Group 7"/>
          <p:cNvGrpSpPr/>
          <p:nvPr userDrawn="1"/>
        </p:nvGrpSpPr>
        <p:grpSpPr>
          <a:xfrm>
            <a:off x="7364320" y="6412511"/>
            <a:ext cx="1371600" cy="283464"/>
            <a:chOff x="4291013" y="3178175"/>
            <a:chExt cx="3197225" cy="688975"/>
          </a:xfrm>
        </p:grpSpPr>
        <p:sp>
          <p:nvSpPr>
            <p:cNvPr id="9"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Tree>
    <p:extLst>
      <p:ext uri="{BB962C8B-B14F-4D97-AF65-F5344CB8AC3E}">
        <p14:creationId xmlns:p14="http://schemas.microsoft.com/office/powerpoint/2010/main" val="395254193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Important Information">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lvl1pPr>
              <a:defRPr>
                <a:solidFill>
                  <a:srgbClr val="333F48"/>
                </a:solidFill>
              </a:defRPr>
            </a:lvl1pPr>
          </a:lstStyle>
          <a:p>
            <a:r>
              <a:rPr lang="en-US"/>
              <a:t>Click to edit Master title style</a:t>
            </a:r>
            <a:endParaRPr lang="en-US" dirty="0"/>
          </a:p>
        </p:txBody>
      </p:sp>
      <p:sp>
        <p:nvSpPr>
          <p:cNvPr id="3" name="Content Placeholder 2"/>
          <p:cNvSpPr>
            <a:spLocks noGrp="1"/>
          </p:cNvSpPr>
          <p:nvPr>
            <p:ph idx="1"/>
          </p:nvPr>
        </p:nvSpPr>
        <p:spPr>
          <a:xfrm>
            <a:off x="317115" y="1076325"/>
            <a:ext cx="8188710" cy="4808538"/>
          </a:xfrm>
          <a:noFill/>
          <a:ln w="9525">
            <a:noFill/>
            <a:miter lim="800000"/>
            <a:headEnd/>
            <a:tailEnd/>
          </a:ln>
          <a:effectLst/>
        </p:spPr>
        <p:txBody>
          <a:bodyPr lIns="91440"/>
          <a:lstStyle>
            <a:lvl1pPr marL="0" indent="0" algn="l" rtl="0" eaLnBrk="1" fontAlgn="base" hangingPunct="1">
              <a:spcAft>
                <a:spcPct val="0"/>
              </a:spcAft>
              <a:buSzPct val="40000"/>
              <a:defRPr lang="en-US" sz="1000" b="0" dirty="0" smtClean="0">
                <a:solidFill>
                  <a:srgbClr val="000000"/>
                </a:solidFill>
                <a:latin typeface="+mn-lt"/>
                <a:ea typeface="+mn-ea"/>
                <a:cs typeface="+mn-cs"/>
              </a:defRPr>
            </a:lvl1pPr>
            <a:lvl2pPr marL="0" indent="0" algn="l" rtl="0" eaLnBrk="1" fontAlgn="base" hangingPunct="1">
              <a:spcBef>
                <a:spcPts val="600"/>
              </a:spcBef>
              <a:spcAft>
                <a:spcPct val="0"/>
              </a:spcAft>
              <a:buSzPct val="40000"/>
              <a:buNone/>
              <a:defRPr lang="en-US" sz="1000" b="1" dirty="0">
                <a:solidFill>
                  <a:srgbClr val="000000"/>
                </a:solidFill>
                <a:latin typeface="+mn-lt"/>
                <a:ea typeface="+mn-ea"/>
                <a:cs typeface="+mn-cs"/>
              </a:defRPr>
            </a:lvl2pPr>
          </a:lstStyle>
          <a:p>
            <a:pPr lvl="0"/>
            <a:r>
              <a:rPr lang="en-US"/>
              <a:t>Click to edit Master text styles</a:t>
            </a:r>
          </a:p>
          <a:p>
            <a:pPr lvl="1"/>
            <a:r>
              <a:rPr lang="en-US"/>
              <a:t>Second level</a:t>
            </a:r>
          </a:p>
        </p:txBody>
      </p:sp>
      <p:sp>
        <p:nvSpPr>
          <p:cNvPr id="8" name="Slide Number Placeholder 3"/>
          <p:cNvSpPr>
            <a:spLocks noGrp="1"/>
          </p:cNvSpPr>
          <p:nvPr>
            <p:ph type="sldNum" sz="quarter" idx="14"/>
          </p:nvPr>
        </p:nvSpPr>
        <p:spPr>
          <a:xfrm>
            <a:off x="0" y="6384928"/>
            <a:ext cx="329184"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9"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Page footer, i.e., For internal use only./For institutional use only.</a:t>
            </a:r>
            <a:endParaRPr lang="en-US" dirty="0"/>
          </a:p>
        </p:txBody>
      </p:sp>
      <p:sp>
        <p:nvSpPr>
          <p:cNvPr id="10"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a:t>Production code #</a:t>
            </a:r>
            <a:endParaRPr lang="en-US" dirty="0"/>
          </a:p>
        </p:txBody>
      </p:sp>
      <p:grpSp>
        <p:nvGrpSpPr>
          <p:cNvPr id="11" name="Group 10"/>
          <p:cNvGrpSpPr/>
          <p:nvPr userDrawn="1"/>
        </p:nvGrpSpPr>
        <p:grpSpPr>
          <a:xfrm>
            <a:off x="7364320" y="6412511"/>
            <a:ext cx="1371600" cy="283464"/>
            <a:chOff x="4291013" y="3178175"/>
            <a:chExt cx="3197225" cy="688975"/>
          </a:xfrm>
        </p:grpSpPr>
        <p:sp>
          <p:nvSpPr>
            <p:cNvPr id="12"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Tree>
    <p:extLst>
      <p:ext uri="{BB962C8B-B14F-4D97-AF65-F5344CB8AC3E}">
        <p14:creationId xmlns:p14="http://schemas.microsoft.com/office/powerpoint/2010/main" val="278143428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95570" y="336212"/>
            <a:ext cx="8523174" cy="461665"/>
          </a:xfrm>
        </p:spPr>
        <p:txBody>
          <a:bodyPr vert="horz" lIns="91440" tIns="45720" rIns="91440" bIns="45720" rtlCol="0" anchor="t">
            <a:spAutoFit/>
          </a:bodyPr>
          <a:lstStyle>
            <a:lvl1pPr>
              <a:defRPr lang="en-US" dirty="0">
                <a:solidFill>
                  <a:schemeClr val="tx1">
                    <a:lumMod val="75000"/>
                    <a:lumOff val="25000"/>
                  </a:schemeClr>
                </a:solidFill>
              </a:defRPr>
            </a:lvl1pPr>
          </a:lstStyle>
          <a:p>
            <a:pPr lvl="0">
              <a:lnSpc>
                <a:spcPct val="100000"/>
              </a:lnSpc>
            </a:pPr>
            <a:r>
              <a:rPr lang="en-US" dirty="0"/>
              <a:t>Click to edit Master title style</a:t>
            </a:r>
          </a:p>
        </p:txBody>
      </p:sp>
      <p:sp>
        <p:nvSpPr>
          <p:cNvPr id="6" name="Rectangle 5"/>
          <p:cNvSpPr/>
          <p:nvPr userDrawn="1"/>
        </p:nvSpPr>
        <p:spPr>
          <a:xfrm>
            <a:off x="0" y="3"/>
            <a:ext cx="9144000" cy="142647"/>
          </a:xfrm>
          <a:prstGeom prst="rect">
            <a:avLst/>
          </a:prstGeom>
          <a:solidFill>
            <a:srgbClr val="D4D6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FFFFFF"/>
              </a:solidFill>
              <a:latin typeface="Arial" panose="020B0604020202020204" pitchFamily="34" charset="0"/>
            </a:endParaRPr>
          </a:p>
        </p:txBody>
      </p:sp>
      <p:sp>
        <p:nvSpPr>
          <p:cNvPr id="8" name="Slide Number Placeholder 3"/>
          <p:cNvSpPr>
            <a:spLocks noGrp="1"/>
          </p:cNvSpPr>
          <p:nvPr>
            <p:ph type="sldNum" sz="quarter" idx="14"/>
          </p:nvPr>
        </p:nvSpPr>
        <p:spPr>
          <a:xfrm>
            <a:off x="131630" y="6448491"/>
            <a:ext cx="327880" cy="258533"/>
          </a:xfrm>
          <a:prstGeom prst="rect">
            <a:avLst/>
          </a:prstGeom>
        </p:spPr>
        <p:txBody>
          <a:bodyPr anchor="ctr">
            <a:noAutofit/>
          </a:bodyPr>
          <a:lstStyle>
            <a:lvl1pPr algn="l">
              <a:defRPr sz="800">
                <a:solidFill>
                  <a:schemeClr val="tx1">
                    <a:lumMod val="50000"/>
                    <a:lumOff val="50000"/>
                  </a:schemeClr>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276307352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FIAM_External_Print_Cover_IA">
    <p:spTree>
      <p:nvGrpSpPr>
        <p:cNvPr id="1" name=""/>
        <p:cNvGrpSpPr/>
        <p:nvPr/>
      </p:nvGrpSpPr>
      <p:grpSpPr>
        <a:xfrm>
          <a:off x="0" y="0"/>
          <a:ext cx="0" cy="0"/>
          <a:chOff x="0" y="0"/>
          <a:chExt cx="0" cy="0"/>
        </a:xfrm>
      </p:grpSpPr>
      <p:pic>
        <p:nvPicPr>
          <p:cNvPr id="43" name="Picture 42">
            <a:extLst>
              <a:ext uri="{FF2B5EF4-FFF2-40B4-BE49-F238E27FC236}">
                <a16:creationId xmlns:a16="http://schemas.microsoft.com/office/drawing/2014/main" id="{0D1BD863-8CD3-49D0-A43A-5F0CDC35B02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47" name="Rectangle 176"/>
          <p:cNvSpPr>
            <a:spLocks noGrp="1" noChangeArrowheads="1"/>
          </p:cNvSpPr>
          <p:nvPr>
            <p:ph type="ftr" sz="quarter" idx="13"/>
          </p:nvPr>
        </p:nvSpPr>
        <p:spPr>
          <a:xfrm>
            <a:off x="281401" y="6421008"/>
            <a:ext cx="6014623" cy="260350"/>
          </a:xfrm>
        </p:spPr>
        <p:txBody>
          <a:bodyPr anchor="b" anchorCtr="0"/>
          <a:lstStyle>
            <a:lvl1pPr algn="l">
              <a:defRPr sz="800" b="0" smtClean="0">
                <a:solidFill>
                  <a:srgbClr val="000000"/>
                </a:solidFill>
              </a:defRPr>
            </a:lvl1pPr>
          </a:lstStyle>
          <a:p>
            <a:pPr>
              <a:defRPr/>
            </a:pPr>
            <a:r>
              <a:rPr lang="en-US" b="1" dirty="0"/>
              <a:t>Page footer.  </a:t>
            </a:r>
          </a:p>
        </p:txBody>
      </p:sp>
      <p:sp>
        <p:nvSpPr>
          <p:cNvPr id="44" name="Text Placeholder 43"/>
          <p:cNvSpPr>
            <a:spLocks noGrp="1"/>
          </p:cNvSpPr>
          <p:nvPr>
            <p:ph type="body" sz="quarter" idx="10"/>
          </p:nvPr>
        </p:nvSpPr>
        <p:spPr>
          <a:xfrm>
            <a:off x="715495" y="3833787"/>
            <a:ext cx="2455544" cy="332365"/>
          </a:xfrm>
        </p:spPr>
        <p:txBody>
          <a:bodyPr/>
          <a:lstStyle>
            <a:lvl1pPr>
              <a:defRPr lang="en-US" sz="1000" b="0" kern="1200" smtClean="0">
                <a:solidFill>
                  <a:srgbClr val="000000"/>
                </a:solidFill>
                <a:latin typeface="Arial"/>
                <a:ea typeface="ＭＳ Ｐゴシック"/>
                <a:cs typeface="ＭＳ Ｐゴシック"/>
              </a:defRPr>
            </a:lvl1pPr>
          </a:lstStyle>
          <a:p>
            <a:pPr lvl="0"/>
            <a:r>
              <a:rPr lang="en-US"/>
              <a:t>Click to edit Master text styles</a:t>
            </a:r>
          </a:p>
        </p:txBody>
      </p:sp>
      <p:sp>
        <p:nvSpPr>
          <p:cNvPr id="53" name="Content Placeholder 52"/>
          <p:cNvSpPr>
            <a:spLocks noGrp="1"/>
          </p:cNvSpPr>
          <p:nvPr>
            <p:ph sz="quarter" idx="12"/>
          </p:nvPr>
        </p:nvSpPr>
        <p:spPr>
          <a:xfrm>
            <a:off x="6280150" y="3842381"/>
            <a:ext cx="2487613" cy="165226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72" name="Rectangle 6"/>
          <p:cNvSpPr>
            <a:spLocks noGrp="1" noChangeArrowheads="1"/>
          </p:cNvSpPr>
          <p:nvPr>
            <p:ph type="subTitle" idx="1"/>
          </p:nvPr>
        </p:nvSpPr>
        <p:spPr>
          <a:xfrm>
            <a:off x="685251" y="2091765"/>
            <a:ext cx="7805762" cy="563076"/>
          </a:xfrm>
        </p:spPr>
        <p:txBody>
          <a:bodyPr lIns="100584" rIns="100584"/>
          <a:lstStyle>
            <a:lvl1pPr marL="0" indent="0">
              <a:spcBef>
                <a:spcPts val="0"/>
              </a:spcBef>
              <a:defRPr sz="2000" b="0">
                <a:solidFill>
                  <a:srgbClr val="7A9A3D"/>
                </a:solidFill>
              </a:defRPr>
            </a:lvl1pPr>
          </a:lstStyle>
          <a:p>
            <a:r>
              <a:rPr lang="en-US"/>
              <a:t>Click to edit Master subtitle style</a:t>
            </a:r>
            <a:endParaRPr lang="en-US" dirty="0"/>
          </a:p>
        </p:txBody>
      </p:sp>
      <p:sp>
        <p:nvSpPr>
          <p:cNvPr id="74" name="Text Placeholder 43"/>
          <p:cNvSpPr>
            <a:spLocks noGrp="1"/>
          </p:cNvSpPr>
          <p:nvPr>
            <p:ph type="body" sz="quarter" idx="14" hasCustomPrompt="1"/>
          </p:nvPr>
        </p:nvSpPr>
        <p:spPr>
          <a:xfrm>
            <a:off x="685251" y="2581276"/>
            <a:ext cx="7805762" cy="266850"/>
          </a:xfrm>
        </p:spPr>
        <p:txBody>
          <a:bodyPr lIns="100584" rIns="100584"/>
          <a:lstStyle>
            <a:lvl1pPr>
              <a:spcBef>
                <a:spcPts val="0"/>
              </a:spcBef>
              <a:defRPr lang="en-US" sz="1200" b="0" kern="1200" dirty="0" smtClean="0">
                <a:solidFill>
                  <a:srgbClr val="333F48"/>
                </a:solidFill>
                <a:latin typeface="Arial"/>
                <a:ea typeface="ＭＳ Ｐゴシック" pitchFamily="34" charset="-128"/>
                <a:cs typeface="+mn-cs"/>
              </a:defRPr>
            </a:lvl1pPr>
          </a:lstStyle>
          <a:p>
            <a:pPr lvl="0"/>
            <a:r>
              <a:rPr lang="en-US" dirty="0"/>
              <a:t>Date</a:t>
            </a:r>
          </a:p>
        </p:txBody>
      </p:sp>
      <p:sp>
        <p:nvSpPr>
          <p:cNvPr id="39" name="Rectangle 9"/>
          <p:cNvSpPr>
            <a:spLocks noGrp="1" noChangeArrowheads="1"/>
          </p:cNvSpPr>
          <p:nvPr>
            <p:ph type="title" hasCustomPrompt="1"/>
          </p:nvPr>
        </p:nvSpPr>
        <p:spPr bwMode="auto">
          <a:xfrm>
            <a:off x="685252" y="1581072"/>
            <a:ext cx="7820573" cy="5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b" anchorCtr="0" compatLnSpc="1">
            <a:prstTxWarp prst="textNoShape">
              <a:avLst/>
            </a:prstTxWarp>
          </a:bodyPr>
          <a:lstStyle>
            <a:lvl1pPr>
              <a:defRPr sz="3000">
                <a:solidFill>
                  <a:srgbClr val="333F48"/>
                </a:solidFill>
              </a:defRPr>
            </a:lvl1pPr>
          </a:lstStyle>
          <a:p>
            <a:pPr lvl="0"/>
            <a:r>
              <a:rPr lang="en-US" altLang="en-US" dirty="0"/>
              <a:t>Click To Edit Master Title Style</a:t>
            </a:r>
          </a:p>
        </p:txBody>
      </p:sp>
      <p:grpSp>
        <p:nvGrpSpPr>
          <p:cNvPr id="128" name="Group 127">
            <a:extLst>
              <a:ext uri="{FF2B5EF4-FFF2-40B4-BE49-F238E27FC236}">
                <a16:creationId xmlns:a16="http://schemas.microsoft.com/office/drawing/2014/main" id="{D2D227AE-CAFE-4AB3-AB1C-89F3B55E0722}"/>
              </a:ext>
            </a:extLst>
          </p:cNvPr>
          <p:cNvGrpSpPr/>
          <p:nvPr userDrawn="1"/>
        </p:nvGrpSpPr>
        <p:grpSpPr>
          <a:xfrm>
            <a:off x="7358173" y="6361974"/>
            <a:ext cx="1382376" cy="297562"/>
            <a:chOff x="6923088" y="4475163"/>
            <a:chExt cx="1873251" cy="403225"/>
          </a:xfrm>
        </p:grpSpPr>
        <p:sp>
          <p:nvSpPr>
            <p:cNvPr id="129" name="AutoShape 4">
              <a:extLst>
                <a:ext uri="{FF2B5EF4-FFF2-40B4-BE49-F238E27FC236}">
                  <a16:creationId xmlns:a16="http://schemas.microsoft.com/office/drawing/2014/main" id="{5E120DEF-B40A-4CE9-B26D-8060E8DBACDF}"/>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30" name="Freeform 6">
              <a:extLst>
                <a:ext uri="{FF2B5EF4-FFF2-40B4-BE49-F238E27FC236}">
                  <a16:creationId xmlns:a16="http://schemas.microsoft.com/office/drawing/2014/main" id="{CCFDE2C2-B48C-42C3-BC30-68C0ADC9DB16}"/>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31" name="Freeform 7">
              <a:extLst>
                <a:ext uri="{FF2B5EF4-FFF2-40B4-BE49-F238E27FC236}">
                  <a16:creationId xmlns:a16="http://schemas.microsoft.com/office/drawing/2014/main" id="{E148C66A-8C56-404E-B3CA-D463A4690B60}"/>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32" name="Freeform 83">
              <a:extLst>
                <a:ext uri="{FF2B5EF4-FFF2-40B4-BE49-F238E27FC236}">
                  <a16:creationId xmlns:a16="http://schemas.microsoft.com/office/drawing/2014/main" id="{B286DFDF-9604-49BE-8835-296DA52725C2}"/>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33" name="Freeform 84">
              <a:extLst>
                <a:ext uri="{FF2B5EF4-FFF2-40B4-BE49-F238E27FC236}">
                  <a16:creationId xmlns:a16="http://schemas.microsoft.com/office/drawing/2014/main" id="{536F82F0-C9F0-44DB-92D0-AD081D722539}"/>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34" name="Freeform 85">
              <a:extLst>
                <a:ext uri="{FF2B5EF4-FFF2-40B4-BE49-F238E27FC236}">
                  <a16:creationId xmlns:a16="http://schemas.microsoft.com/office/drawing/2014/main" id="{FA2B1132-6E1E-42BE-841F-6DB6DA058216}"/>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35" name="Freeform 86">
              <a:extLst>
                <a:ext uri="{FF2B5EF4-FFF2-40B4-BE49-F238E27FC236}">
                  <a16:creationId xmlns:a16="http://schemas.microsoft.com/office/drawing/2014/main" id="{1605D23B-3245-4081-A709-BC2936596163}"/>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36" name="Freeform 87">
              <a:extLst>
                <a:ext uri="{FF2B5EF4-FFF2-40B4-BE49-F238E27FC236}">
                  <a16:creationId xmlns:a16="http://schemas.microsoft.com/office/drawing/2014/main" id="{DD1011A3-8CCE-477C-88EA-2174C0DC1BE3}"/>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37" name="Freeform 88">
              <a:extLst>
                <a:ext uri="{FF2B5EF4-FFF2-40B4-BE49-F238E27FC236}">
                  <a16:creationId xmlns:a16="http://schemas.microsoft.com/office/drawing/2014/main" id="{F11F5921-88A4-48C1-B4F6-EA6717F32F9C}"/>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38" name="Freeform 89">
              <a:extLst>
                <a:ext uri="{FF2B5EF4-FFF2-40B4-BE49-F238E27FC236}">
                  <a16:creationId xmlns:a16="http://schemas.microsoft.com/office/drawing/2014/main" id="{CA718F0A-66A1-4570-9BE3-D9F9EC9750B7}"/>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39" name="Freeform 90">
              <a:extLst>
                <a:ext uri="{FF2B5EF4-FFF2-40B4-BE49-F238E27FC236}">
                  <a16:creationId xmlns:a16="http://schemas.microsoft.com/office/drawing/2014/main" id="{F6EAF93E-D2E6-4C24-B453-AAEAFC13E3D3}"/>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40" name="Freeform 91">
              <a:extLst>
                <a:ext uri="{FF2B5EF4-FFF2-40B4-BE49-F238E27FC236}">
                  <a16:creationId xmlns:a16="http://schemas.microsoft.com/office/drawing/2014/main" id="{8D652D86-C2B9-4E83-9167-23634BE72EDC}"/>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41" name="Freeform 92">
              <a:extLst>
                <a:ext uri="{FF2B5EF4-FFF2-40B4-BE49-F238E27FC236}">
                  <a16:creationId xmlns:a16="http://schemas.microsoft.com/office/drawing/2014/main" id="{92B43175-B9D1-455D-8FAE-3D2BF6571276}"/>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42" name="Freeform 93">
              <a:extLst>
                <a:ext uri="{FF2B5EF4-FFF2-40B4-BE49-F238E27FC236}">
                  <a16:creationId xmlns:a16="http://schemas.microsoft.com/office/drawing/2014/main" id="{76879D52-1795-452B-AD79-74CF3084E9B6}"/>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43" name="Freeform 94">
              <a:extLst>
                <a:ext uri="{FF2B5EF4-FFF2-40B4-BE49-F238E27FC236}">
                  <a16:creationId xmlns:a16="http://schemas.microsoft.com/office/drawing/2014/main" id="{C74CCD1A-A742-473F-8636-72B0E8B205FB}"/>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44" name="Freeform 95">
              <a:extLst>
                <a:ext uri="{FF2B5EF4-FFF2-40B4-BE49-F238E27FC236}">
                  <a16:creationId xmlns:a16="http://schemas.microsoft.com/office/drawing/2014/main" id="{312AF483-E8B8-41EE-ABBD-CBDC6A4CA5E7}"/>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45" name="Freeform 96">
              <a:extLst>
                <a:ext uri="{FF2B5EF4-FFF2-40B4-BE49-F238E27FC236}">
                  <a16:creationId xmlns:a16="http://schemas.microsoft.com/office/drawing/2014/main" id="{A6466488-2DBE-4B8B-B63D-1B2D019DF36C}"/>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46" name="Freeform 97">
              <a:extLst>
                <a:ext uri="{FF2B5EF4-FFF2-40B4-BE49-F238E27FC236}">
                  <a16:creationId xmlns:a16="http://schemas.microsoft.com/office/drawing/2014/main" id="{BD5F4D07-DCEA-41C3-AE5B-B7271E672936}"/>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47" name="Freeform 98">
              <a:extLst>
                <a:ext uri="{FF2B5EF4-FFF2-40B4-BE49-F238E27FC236}">
                  <a16:creationId xmlns:a16="http://schemas.microsoft.com/office/drawing/2014/main" id="{42EEE7BD-DCD2-49F7-8A7C-C0D0601C37FD}"/>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48" name="Freeform 99">
              <a:extLst>
                <a:ext uri="{FF2B5EF4-FFF2-40B4-BE49-F238E27FC236}">
                  <a16:creationId xmlns:a16="http://schemas.microsoft.com/office/drawing/2014/main" id="{5CFD22A1-E673-4B23-9D36-3B74DE70ECE2}"/>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49" name="Freeform 100">
              <a:extLst>
                <a:ext uri="{FF2B5EF4-FFF2-40B4-BE49-F238E27FC236}">
                  <a16:creationId xmlns:a16="http://schemas.microsoft.com/office/drawing/2014/main" id="{7C20FD0C-F35B-4F21-AF3B-81530E295BEB}"/>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50" name="Freeform 101">
              <a:extLst>
                <a:ext uri="{FF2B5EF4-FFF2-40B4-BE49-F238E27FC236}">
                  <a16:creationId xmlns:a16="http://schemas.microsoft.com/office/drawing/2014/main" id="{C68C6C2F-09B5-4244-BEBB-F85457E11A54}"/>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51" name="Freeform 102">
              <a:extLst>
                <a:ext uri="{FF2B5EF4-FFF2-40B4-BE49-F238E27FC236}">
                  <a16:creationId xmlns:a16="http://schemas.microsoft.com/office/drawing/2014/main" id="{6C7F753E-CE23-4F01-9F10-DCE622C71ABB}"/>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52" name="Freeform 103">
              <a:extLst>
                <a:ext uri="{FF2B5EF4-FFF2-40B4-BE49-F238E27FC236}">
                  <a16:creationId xmlns:a16="http://schemas.microsoft.com/office/drawing/2014/main" id="{12385579-35FD-4613-ABF4-9392759FFF98}"/>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53" name="Freeform 104">
              <a:extLst>
                <a:ext uri="{FF2B5EF4-FFF2-40B4-BE49-F238E27FC236}">
                  <a16:creationId xmlns:a16="http://schemas.microsoft.com/office/drawing/2014/main" id="{2BB633EA-47EC-47FB-AFB9-0C8E97548B32}"/>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54" name="Freeform 105">
              <a:extLst>
                <a:ext uri="{FF2B5EF4-FFF2-40B4-BE49-F238E27FC236}">
                  <a16:creationId xmlns:a16="http://schemas.microsoft.com/office/drawing/2014/main" id="{D9F0450F-CF35-40ED-BB19-255159FDD4F0}"/>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41" name="Picture Placeholder 47">
            <a:extLst>
              <a:ext uri="{FF2B5EF4-FFF2-40B4-BE49-F238E27FC236}">
                <a16:creationId xmlns:a16="http://schemas.microsoft.com/office/drawing/2014/main" id="{6C52F923-6647-4E5F-AF1F-9539EA63609B}"/>
              </a:ext>
            </a:extLst>
          </p:cNvPr>
          <p:cNvSpPr>
            <a:spLocks noGrp="1"/>
          </p:cNvSpPr>
          <p:nvPr>
            <p:ph type="pic" sz="quarter" idx="11" hasCustomPrompt="1"/>
          </p:nvPr>
        </p:nvSpPr>
        <p:spPr>
          <a:xfrm>
            <a:off x="804672" y="4105656"/>
            <a:ext cx="2424112" cy="609600"/>
          </a:xfrm>
          <a:noFill/>
        </p:spPr>
        <p:txBody>
          <a:bodyPr anchor="ctr"/>
          <a:lstStyle>
            <a:lvl1pPr>
              <a:defRPr sz="1000" b="0"/>
            </a:lvl1pPr>
          </a:lstStyle>
          <a:p>
            <a:pPr lvl="0"/>
            <a:r>
              <a:rPr lang="en-US" noProof="0" dirty="0"/>
              <a:t>Click icon to add logo</a:t>
            </a:r>
          </a:p>
        </p:txBody>
      </p:sp>
    </p:spTree>
    <p:extLst>
      <p:ext uri="{BB962C8B-B14F-4D97-AF65-F5344CB8AC3E}">
        <p14:creationId xmlns:p14="http://schemas.microsoft.com/office/powerpoint/2010/main" val="1969980676"/>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FIAM_External_Print_Cover_BD">
    <p:spTree>
      <p:nvGrpSpPr>
        <p:cNvPr id="1" name=""/>
        <p:cNvGrpSpPr/>
        <p:nvPr/>
      </p:nvGrpSpPr>
      <p:grpSpPr>
        <a:xfrm>
          <a:off x="0" y="0"/>
          <a:ext cx="0" cy="0"/>
          <a:chOff x="0" y="0"/>
          <a:chExt cx="0" cy="0"/>
        </a:xfrm>
      </p:grpSpPr>
      <p:pic>
        <p:nvPicPr>
          <p:cNvPr id="43" name="Picture 42">
            <a:extLst>
              <a:ext uri="{FF2B5EF4-FFF2-40B4-BE49-F238E27FC236}">
                <a16:creationId xmlns:a16="http://schemas.microsoft.com/office/drawing/2014/main" id="{0D1BD863-8CD3-49D0-A43A-5F0CDC35B02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47" name="Rectangle 176"/>
          <p:cNvSpPr>
            <a:spLocks noGrp="1" noChangeArrowheads="1"/>
          </p:cNvSpPr>
          <p:nvPr>
            <p:ph type="ftr" sz="quarter" idx="13"/>
          </p:nvPr>
        </p:nvSpPr>
        <p:spPr>
          <a:xfrm>
            <a:off x="281401" y="6421008"/>
            <a:ext cx="6014623" cy="260350"/>
          </a:xfrm>
        </p:spPr>
        <p:txBody>
          <a:bodyPr anchor="b" anchorCtr="0"/>
          <a:lstStyle>
            <a:lvl1pPr algn="l">
              <a:defRPr sz="800" b="0" smtClean="0">
                <a:solidFill>
                  <a:srgbClr val="000000"/>
                </a:solidFill>
              </a:defRPr>
            </a:lvl1pPr>
          </a:lstStyle>
          <a:p>
            <a:pPr>
              <a:defRPr/>
            </a:pPr>
            <a:r>
              <a:rPr lang="en-US" b="1" dirty="0"/>
              <a:t>Page footer.  </a:t>
            </a:r>
          </a:p>
        </p:txBody>
      </p:sp>
      <p:sp>
        <p:nvSpPr>
          <p:cNvPr id="44" name="Text Placeholder 43"/>
          <p:cNvSpPr>
            <a:spLocks noGrp="1"/>
          </p:cNvSpPr>
          <p:nvPr>
            <p:ph type="body" sz="quarter" idx="10"/>
          </p:nvPr>
        </p:nvSpPr>
        <p:spPr>
          <a:xfrm>
            <a:off x="715495" y="3833787"/>
            <a:ext cx="2455544" cy="332365"/>
          </a:xfrm>
        </p:spPr>
        <p:txBody>
          <a:bodyPr/>
          <a:lstStyle>
            <a:lvl1pPr>
              <a:defRPr lang="en-US" sz="1000" b="0" kern="1200" smtClean="0">
                <a:solidFill>
                  <a:srgbClr val="000000"/>
                </a:solidFill>
                <a:latin typeface="Arial"/>
                <a:ea typeface="ＭＳ Ｐゴシック"/>
                <a:cs typeface="ＭＳ Ｐゴシック"/>
              </a:defRPr>
            </a:lvl1pPr>
          </a:lstStyle>
          <a:p>
            <a:pPr lvl="0"/>
            <a:r>
              <a:rPr lang="en-US"/>
              <a:t>Click to edit Master text styles</a:t>
            </a:r>
          </a:p>
        </p:txBody>
      </p:sp>
      <p:sp>
        <p:nvSpPr>
          <p:cNvPr id="53" name="Content Placeholder 52"/>
          <p:cNvSpPr>
            <a:spLocks noGrp="1"/>
          </p:cNvSpPr>
          <p:nvPr>
            <p:ph sz="quarter" idx="12"/>
          </p:nvPr>
        </p:nvSpPr>
        <p:spPr>
          <a:xfrm>
            <a:off x="6280150" y="3842381"/>
            <a:ext cx="2487613" cy="165226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72" name="Rectangle 6"/>
          <p:cNvSpPr>
            <a:spLocks noGrp="1" noChangeArrowheads="1"/>
          </p:cNvSpPr>
          <p:nvPr>
            <p:ph type="subTitle" idx="1"/>
          </p:nvPr>
        </p:nvSpPr>
        <p:spPr>
          <a:xfrm>
            <a:off x="685251" y="2091765"/>
            <a:ext cx="7805762" cy="563076"/>
          </a:xfrm>
        </p:spPr>
        <p:txBody>
          <a:bodyPr lIns="100584" rIns="100584"/>
          <a:lstStyle>
            <a:lvl1pPr marL="0" indent="0">
              <a:spcBef>
                <a:spcPts val="0"/>
              </a:spcBef>
              <a:defRPr sz="2000" b="0">
                <a:solidFill>
                  <a:srgbClr val="7A9A3D"/>
                </a:solidFill>
              </a:defRPr>
            </a:lvl1pPr>
          </a:lstStyle>
          <a:p>
            <a:r>
              <a:rPr lang="en-US"/>
              <a:t>Click to edit Master subtitle style</a:t>
            </a:r>
            <a:endParaRPr lang="en-US" dirty="0"/>
          </a:p>
        </p:txBody>
      </p:sp>
      <p:sp>
        <p:nvSpPr>
          <p:cNvPr id="74" name="Text Placeholder 43"/>
          <p:cNvSpPr>
            <a:spLocks noGrp="1"/>
          </p:cNvSpPr>
          <p:nvPr>
            <p:ph type="body" sz="quarter" idx="14" hasCustomPrompt="1"/>
          </p:nvPr>
        </p:nvSpPr>
        <p:spPr>
          <a:xfrm>
            <a:off x="685251" y="2581276"/>
            <a:ext cx="7805762" cy="266850"/>
          </a:xfrm>
        </p:spPr>
        <p:txBody>
          <a:bodyPr lIns="100584" rIns="100584"/>
          <a:lstStyle>
            <a:lvl1pPr>
              <a:spcBef>
                <a:spcPts val="0"/>
              </a:spcBef>
              <a:defRPr lang="en-US" sz="1200" b="0" kern="1200" dirty="0" smtClean="0">
                <a:solidFill>
                  <a:srgbClr val="333F48"/>
                </a:solidFill>
                <a:latin typeface="Arial"/>
                <a:ea typeface="ＭＳ Ｐゴシック" pitchFamily="34" charset="-128"/>
                <a:cs typeface="+mn-cs"/>
              </a:defRPr>
            </a:lvl1pPr>
          </a:lstStyle>
          <a:p>
            <a:pPr lvl="0"/>
            <a:r>
              <a:rPr lang="en-US" dirty="0"/>
              <a:t>Date</a:t>
            </a:r>
          </a:p>
        </p:txBody>
      </p:sp>
      <p:sp>
        <p:nvSpPr>
          <p:cNvPr id="39" name="Rectangle 9"/>
          <p:cNvSpPr>
            <a:spLocks noGrp="1" noChangeArrowheads="1"/>
          </p:cNvSpPr>
          <p:nvPr>
            <p:ph type="title" hasCustomPrompt="1"/>
          </p:nvPr>
        </p:nvSpPr>
        <p:spPr bwMode="auto">
          <a:xfrm>
            <a:off x="685252" y="1581072"/>
            <a:ext cx="7820573" cy="5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b" anchorCtr="0" compatLnSpc="1">
            <a:prstTxWarp prst="textNoShape">
              <a:avLst/>
            </a:prstTxWarp>
          </a:bodyPr>
          <a:lstStyle>
            <a:lvl1pPr>
              <a:defRPr sz="3000">
                <a:solidFill>
                  <a:srgbClr val="333F48"/>
                </a:solidFill>
              </a:defRPr>
            </a:lvl1pPr>
          </a:lstStyle>
          <a:p>
            <a:pPr lvl="0"/>
            <a:r>
              <a:rPr lang="en-US" altLang="en-US" dirty="0"/>
              <a:t>Click To Edit Master Title Style</a:t>
            </a:r>
          </a:p>
        </p:txBody>
      </p:sp>
      <p:grpSp>
        <p:nvGrpSpPr>
          <p:cNvPr id="128" name="Group 127">
            <a:extLst>
              <a:ext uri="{FF2B5EF4-FFF2-40B4-BE49-F238E27FC236}">
                <a16:creationId xmlns:a16="http://schemas.microsoft.com/office/drawing/2014/main" id="{D2D227AE-CAFE-4AB3-AB1C-89F3B55E0722}"/>
              </a:ext>
            </a:extLst>
          </p:cNvPr>
          <p:cNvGrpSpPr/>
          <p:nvPr userDrawn="1"/>
        </p:nvGrpSpPr>
        <p:grpSpPr>
          <a:xfrm>
            <a:off x="7358173" y="6361974"/>
            <a:ext cx="1382376" cy="297562"/>
            <a:chOff x="6923088" y="4475163"/>
            <a:chExt cx="1873251" cy="403225"/>
          </a:xfrm>
        </p:grpSpPr>
        <p:sp>
          <p:nvSpPr>
            <p:cNvPr id="129" name="AutoShape 4">
              <a:extLst>
                <a:ext uri="{FF2B5EF4-FFF2-40B4-BE49-F238E27FC236}">
                  <a16:creationId xmlns:a16="http://schemas.microsoft.com/office/drawing/2014/main" id="{5E120DEF-B40A-4CE9-B26D-8060E8DBACDF}"/>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30" name="Freeform 6">
              <a:extLst>
                <a:ext uri="{FF2B5EF4-FFF2-40B4-BE49-F238E27FC236}">
                  <a16:creationId xmlns:a16="http://schemas.microsoft.com/office/drawing/2014/main" id="{CCFDE2C2-B48C-42C3-BC30-68C0ADC9DB16}"/>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31" name="Freeform 7">
              <a:extLst>
                <a:ext uri="{FF2B5EF4-FFF2-40B4-BE49-F238E27FC236}">
                  <a16:creationId xmlns:a16="http://schemas.microsoft.com/office/drawing/2014/main" id="{E148C66A-8C56-404E-B3CA-D463A4690B60}"/>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32" name="Freeform 83">
              <a:extLst>
                <a:ext uri="{FF2B5EF4-FFF2-40B4-BE49-F238E27FC236}">
                  <a16:creationId xmlns:a16="http://schemas.microsoft.com/office/drawing/2014/main" id="{B286DFDF-9604-49BE-8835-296DA52725C2}"/>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33" name="Freeform 84">
              <a:extLst>
                <a:ext uri="{FF2B5EF4-FFF2-40B4-BE49-F238E27FC236}">
                  <a16:creationId xmlns:a16="http://schemas.microsoft.com/office/drawing/2014/main" id="{536F82F0-C9F0-44DB-92D0-AD081D722539}"/>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34" name="Freeform 85">
              <a:extLst>
                <a:ext uri="{FF2B5EF4-FFF2-40B4-BE49-F238E27FC236}">
                  <a16:creationId xmlns:a16="http://schemas.microsoft.com/office/drawing/2014/main" id="{FA2B1132-6E1E-42BE-841F-6DB6DA058216}"/>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35" name="Freeform 86">
              <a:extLst>
                <a:ext uri="{FF2B5EF4-FFF2-40B4-BE49-F238E27FC236}">
                  <a16:creationId xmlns:a16="http://schemas.microsoft.com/office/drawing/2014/main" id="{1605D23B-3245-4081-A709-BC2936596163}"/>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36" name="Freeform 87">
              <a:extLst>
                <a:ext uri="{FF2B5EF4-FFF2-40B4-BE49-F238E27FC236}">
                  <a16:creationId xmlns:a16="http://schemas.microsoft.com/office/drawing/2014/main" id="{DD1011A3-8CCE-477C-88EA-2174C0DC1BE3}"/>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37" name="Freeform 88">
              <a:extLst>
                <a:ext uri="{FF2B5EF4-FFF2-40B4-BE49-F238E27FC236}">
                  <a16:creationId xmlns:a16="http://schemas.microsoft.com/office/drawing/2014/main" id="{F11F5921-88A4-48C1-B4F6-EA6717F32F9C}"/>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38" name="Freeform 89">
              <a:extLst>
                <a:ext uri="{FF2B5EF4-FFF2-40B4-BE49-F238E27FC236}">
                  <a16:creationId xmlns:a16="http://schemas.microsoft.com/office/drawing/2014/main" id="{CA718F0A-66A1-4570-9BE3-D9F9EC9750B7}"/>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39" name="Freeform 90">
              <a:extLst>
                <a:ext uri="{FF2B5EF4-FFF2-40B4-BE49-F238E27FC236}">
                  <a16:creationId xmlns:a16="http://schemas.microsoft.com/office/drawing/2014/main" id="{F6EAF93E-D2E6-4C24-B453-AAEAFC13E3D3}"/>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40" name="Freeform 91">
              <a:extLst>
                <a:ext uri="{FF2B5EF4-FFF2-40B4-BE49-F238E27FC236}">
                  <a16:creationId xmlns:a16="http://schemas.microsoft.com/office/drawing/2014/main" id="{8D652D86-C2B9-4E83-9167-23634BE72EDC}"/>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41" name="Freeform 92">
              <a:extLst>
                <a:ext uri="{FF2B5EF4-FFF2-40B4-BE49-F238E27FC236}">
                  <a16:creationId xmlns:a16="http://schemas.microsoft.com/office/drawing/2014/main" id="{92B43175-B9D1-455D-8FAE-3D2BF6571276}"/>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42" name="Freeform 93">
              <a:extLst>
                <a:ext uri="{FF2B5EF4-FFF2-40B4-BE49-F238E27FC236}">
                  <a16:creationId xmlns:a16="http://schemas.microsoft.com/office/drawing/2014/main" id="{76879D52-1795-452B-AD79-74CF3084E9B6}"/>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43" name="Freeform 94">
              <a:extLst>
                <a:ext uri="{FF2B5EF4-FFF2-40B4-BE49-F238E27FC236}">
                  <a16:creationId xmlns:a16="http://schemas.microsoft.com/office/drawing/2014/main" id="{C74CCD1A-A742-473F-8636-72B0E8B205FB}"/>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44" name="Freeform 95">
              <a:extLst>
                <a:ext uri="{FF2B5EF4-FFF2-40B4-BE49-F238E27FC236}">
                  <a16:creationId xmlns:a16="http://schemas.microsoft.com/office/drawing/2014/main" id="{312AF483-E8B8-41EE-ABBD-CBDC6A4CA5E7}"/>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45" name="Freeform 96">
              <a:extLst>
                <a:ext uri="{FF2B5EF4-FFF2-40B4-BE49-F238E27FC236}">
                  <a16:creationId xmlns:a16="http://schemas.microsoft.com/office/drawing/2014/main" id="{A6466488-2DBE-4B8B-B63D-1B2D019DF36C}"/>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46" name="Freeform 97">
              <a:extLst>
                <a:ext uri="{FF2B5EF4-FFF2-40B4-BE49-F238E27FC236}">
                  <a16:creationId xmlns:a16="http://schemas.microsoft.com/office/drawing/2014/main" id="{BD5F4D07-DCEA-41C3-AE5B-B7271E672936}"/>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47" name="Freeform 98">
              <a:extLst>
                <a:ext uri="{FF2B5EF4-FFF2-40B4-BE49-F238E27FC236}">
                  <a16:creationId xmlns:a16="http://schemas.microsoft.com/office/drawing/2014/main" id="{42EEE7BD-DCD2-49F7-8A7C-C0D0601C37FD}"/>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48" name="Freeform 99">
              <a:extLst>
                <a:ext uri="{FF2B5EF4-FFF2-40B4-BE49-F238E27FC236}">
                  <a16:creationId xmlns:a16="http://schemas.microsoft.com/office/drawing/2014/main" id="{5CFD22A1-E673-4B23-9D36-3B74DE70ECE2}"/>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49" name="Freeform 100">
              <a:extLst>
                <a:ext uri="{FF2B5EF4-FFF2-40B4-BE49-F238E27FC236}">
                  <a16:creationId xmlns:a16="http://schemas.microsoft.com/office/drawing/2014/main" id="{7C20FD0C-F35B-4F21-AF3B-81530E295BEB}"/>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50" name="Freeform 101">
              <a:extLst>
                <a:ext uri="{FF2B5EF4-FFF2-40B4-BE49-F238E27FC236}">
                  <a16:creationId xmlns:a16="http://schemas.microsoft.com/office/drawing/2014/main" id="{C68C6C2F-09B5-4244-BEBB-F85457E11A54}"/>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51" name="Freeform 102">
              <a:extLst>
                <a:ext uri="{FF2B5EF4-FFF2-40B4-BE49-F238E27FC236}">
                  <a16:creationId xmlns:a16="http://schemas.microsoft.com/office/drawing/2014/main" id="{6C7F753E-CE23-4F01-9F10-DCE622C71ABB}"/>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52" name="Freeform 103">
              <a:extLst>
                <a:ext uri="{FF2B5EF4-FFF2-40B4-BE49-F238E27FC236}">
                  <a16:creationId xmlns:a16="http://schemas.microsoft.com/office/drawing/2014/main" id="{12385579-35FD-4613-ABF4-9392759FFF98}"/>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53" name="Freeform 104">
              <a:extLst>
                <a:ext uri="{FF2B5EF4-FFF2-40B4-BE49-F238E27FC236}">
                  <a16:creationId xmlns:a16="http://schemas.microsoft.com/office/drawing/2014/main" id="{2BB633EA-47EC-47FB-AFB9-0C8E97548B32}"/>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54" name="Freeform 105">
              <a:extLst>
                <a:ext uri="{FF2B5EF4-FFF2-40B4-BE49-F238E27FC236}">
                  <a16:creationId xmlns:a16="http://schemas.microsoft.com/office/drawing/2014/main" id="{D9F0450F-CF35-40ED-BB19-255159FDD4F0}"/>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40" name="Text Box 15">
            <a:extLst>
              <a:ext uri="{FF2B5EF4-FFF2-40B4-BE49-F238E27FC236}">
                <a16:creationId xmlns:a16="http://schemas.microsoft.com/office/drawing/2014/main" id="{0A048701-0B3B-4484-8FA4-71B513212D10}"/>
              </a:ext>
            </a:extLst>
          </p:cNvPr>
          <p:cNvSpPr txBox="1">
            <a:spLocks noChangeArrowheads="1"/>
          </p:cNvSpPr>
          <p:nvPr userDrawn="1"/>
        </p:nvSpPr>
        <p:spPr bwMode="ltGray">
          <a:xfrm>
            <a:off x="353273" y="6275679"/>
            <a:ext cx="2868716" cy="184652"/>
          </a:xfrm>
          <a:prstGeom prst="rect">
            <a:avLst/>
          </a:prstGeom>
          <a:noFill/>
          <a:ln w="9525">
            <a:solidFill>
              <a:srgbClr val="000000"/>
            </a:solidFill>
            <a:miter lim="800000"/>
            <a:headEnd/>
            <a:tailEnd/>
          </a:ln>
        </p:spPr>
        <p:txBody>
          <a:bodyPr wrap="none" lIns="45711" tIns="45711" rIns="45711" bIns="27427" anchor="ctr">
            <a:spAutoFit/>
          </a:bodyP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fontAlgn="auto">
              <a:lnSpc>
                <a:spcPct val="90000"/>
              </a:lnSpc>
              <a:spcBef>
                <a:spcPts val="0"/>
              </a:spcBef>
              <a:spcAft>
                <a:spcPts val="0"/>
              </a:spcAft>
              <a:defRPr/>
            </a:pPr>
            <a:r>
              <a:rPr lang="en-US" sz="800" b="1" kern="0" dirty="0">
                <a:solidFill>
                  <a:srgbClr val="000000"/>
                </a:solidFill>
                <a:latin typeface="Arial"/>
                <a:cs typeface="+mn-cs"/>
              </a:rPr>
              <a:t>Not FDIC Insured </a:t>
            </a:r>
            <a:r>
              <a:rPr lang="en-US" sz="800" b="1" kern="0" dirty="0">
                <a:solidFill>
                  <a:srgbClr val="000000"/>
                </a:solidFill>
                <a:latin typeface="Arial"/>
                <a:cs typeface="+mn-cs"/>
                <a:sym typeface="Wingdings" pitchFamily="2" charset="2"/>
              </a:rPr>
              <a:t> May Lose Value  No Bank Guarantee</a:t>
            </a:r>
          </a:p>
        </p:txBody>
      </p:sp>
      <p:sp>
        <p:nvSpPr>
          <p:cNvPr id="41" name="Picture Placeholder 47">
            <a:extLst>
              <a:ext uri="{FF2B5EF4-FFF2-40B4-BE49-F238E27FC236}">
                <a16:creationId xmlns:a16="http://schemas.microsoft.com/office/drawing/2014/main" id="{C468ECCA-D6CD-4381-A8CA-63E89EBEB43A}"/>
              </a:ext>
            </a:extLst>
          </p:cNvPr>
          <p:cNvSpPr>
            <a:spLocks noGrp="1"/>
          </p:cNvSpPr>
          <p:nvPr>
            <p:ph type="pic" sz="quarter" idx="11" hasCustomPrompt="1"/>
          </p:nvPr>
        </p:nvSpPr>
        <p:spPr>
          <a:xfrm>
            <a:off x="804672" y="4105656"/>
            <a:ext cx="2424112" cy="609600"/>
          </a:xfrm>
          <a:noFill/>
        </p:spPr>
        <p:txBody>
          <a:bodyPr anchor="ctr"/>
          <a:lstStyle>
            <a:lvl1pPr>
              <a:defRPr sz="1000" b="0"/>
            </a:lvl1pPr>
          </a:lstStyle>
          <a:p>
            <a:pPr lvl="0"/>
            <a:r>
              <a:rPr lang="en-US" noProof="0" dirty="0"/>
              <a:t>Click icon to add logo</a:t>
            </a:r>
          </a:p>
        </p:txBody>
      </p:sp>
    </p:spTree>
    <p:extLst>
      <p:ext uri="{BB962C8B-B14F-4D97-AF65-F5344CB8AC3E}">
        <p14:creationId xmlns:p14="http://schemas.microsoft.com/office/powerpoint/2010/main" val="2454568236"/>
      </p:ext>
    </p:extLst>
  </p:cSld>
  <p:clrMapOvr>
    <a:masterClrMapping/>
  </p:clrMapOvr>
  <p:extLst>
    <p:ext uri="{DCECCB84-F9BA-43D5-87BE-67443E8EF086}">
      <p15:sldGuideLst xmlns:p15="http://schemas.microsoft.com/office/powerpoint/2012/main">
        <p15:guide id="1" orient="horz" pos="4200">
          <p15:clr>
            <a:srgbClr val="FBAE40"/>
          </p15:clr>
        </p15:guide>
        <p15:guide id="2" pos="504">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GIS Cover">
    <p:spTree>
      <p:nvGrpSpPr>
        <p:cNvPr id="1" name=""/>
        <p:cNvGrpSpPr/>
        <p:nvPr/>
      </p:nvGrpSpPr>
      <p:grpSpPr>
        <a:xfrm>
          <a:off x="0" y="0"/>
          <a:ext cx="0" cy="0"/>
          <a:chOff x="0" y="0"/>
          <a:chExt cx="0" cy="0"/>
        </a:xfrm>
      </p:grpSpPr>
      <p:pic>
        <p:nvPicPr>
          <p:cNvPr id="43" name="Picture 42">
            <a:extLst>
              <a:ext uri="{FF2B5EF4-FFF2-40B4-BE49-F238E27FC236}">
                <a16:creationId xmlns:a16="http://schemas.microsoft.com/office/drawing/2014/main" id="{0D1BD863-8CD3-49D0-A43A-5F0CDC35B02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38" name="Picture 37">
            <a:extLst>
              <a:ext uri="{FF2B5EF4-FFF2-40B4-BE49-F238E27FC236}">
                <a16:creationId xmlns:a16="http://schemas.microsoft.com/office/drawing/2014/main" id="{92EE3B39-64EE-4DDC-A575-0B2059D644D3}"/>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62741"/>
          <a:stretch/>
        </p:blipFill>
        <p:spPr>
          <a:xfrm>
            <a:off x="802002" y="532741"/>
            <a:ext cx="2987046" cy="134009"/>
          </a:xfrm>
          <a:prstGeom prst="rect">
            <a:avLst/>
          </a:prstGeom>
        </p:spPr>
      </p:pic>
      <p:sp>
        <p:nvSpPr>
          <p:cNvPr id="47" name="Rectangle 176"/>
          <p:cNvSpPr>
            <a:spLocks noGrp="1" noChangeArrowheads="1"/>
          </p:cNvSpPr>
          <p:nvPr>
            <p:ph type="ftr" sz="quarter" idx="13"/>
          </p:nvPr>
        </p:nvSpPr>
        <p:spPr>
          <a:xfrm>
            <a:off x="281401" y="6421008"/>
            <a:ext cx="6014623" cy="260350"/>
          </a:xfrm>
        </p:spPr>
        <p:txBody>
          <a:bodyPr anchor="b" anchorCtr="0"/>
          <a:lstStyle>
            <a:lvl1pPr algn="l">
              <a:defRPr sz="800" b="0" smtClean="0">
                <a:solidFill>
                  <a:srgbClr val="000000"/>
                </a:solidFill>
              </a:defRPr>
            </a:lvl1pPr>
          </a:lstStyle>
          <a:p>
            <a:pPr>
              <a:defRPr/>
            </a:pPr>
            <a:r>
              <a:rPr lang="en-US" b="1" dirty="0"/>
              <a:t>Page footer.  </a:t>
            </a:r>
          </a:p>
        </p:txBody>
      </p:sp>
      <p:sp>
        <p:nvSpPr>
          <p:cNvPr id="53" name="Content Placeholder 52"/>
          <p:cNvSpPr>
            <a:spLocks noGrp="1"/>
          </p:cNvSpPr>
          <p:nvPr>
            <p:ph sz="quarter" idx="12"/>
          </p:nvPr>
        </p:nvSpPr>
        <p:spPr>
          <a:xfrm>
            <a:off x="6280150" y="3842381"/>
            <a:ext cx="2487613" cy="165226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a:t>Click to edit Master text styles</a:t>
            </a:r>
          </a:p>
          <a:p>
            <a:pPr lvl="1"/>
            <a:r>
              <a:rPr lang="en-US"/>
              <a:t>Second level</a:t>
            </a:r>
          </a:p>
        </p:txBody>
      </p:sp>
      <p:grpSp>
        <p:nvGrpSpPr>
          <p:cNvPr id="128" name="Group 127">
            <a:extLst>
              <a:ext uri="{FF2B5EF4-FFF2-40B4-BE49-F238E27FC236}">
                <a16:creationId xmlns:a16="http://schemas.microsoft.com/office/drawing/2014/main" id="{D2D227AE-CAFE-4AB3-AB1C-89F3B55E0722}"/>
              </a:ext>
            </a:extLst>
          </p:cNvPr>
          <p:cNvGrpSpPr/>
          <p:nvPr userDrawn="1"/>
        </p:nvGrpSpPr>
        <p:grpSpPr>
          <a:xfrm>
            <a:off x="7358173" y="6361974"/>
            <a:ext cx="1382376" cy="297562"/>
            <a:chOff x="6923088" y="4475163"/>
            <a:chExt cx="1873251" cy="403225"/>
          </a:xfrm>
        </p:grpSpPr>
        <p:sp>
          <p:nvSpPr>
            <p:cNvPr id="129" name="AutoShape 4">
              <a:extLst>
                <a:ext uri="{FF2B5EF4-FFF2-40B4-BE49-F238E27FC236}">
                  <a16:creationId xmlns:a16="http://schemas.microsoft.com/office/drawing/2014/main" id="{5E120DEF-B40A-4CE9-B26D-8060E8DBACDF}"/>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30" name="Freeform 6">
              <a:extLst>
                <a:ext uri="{FF2B5EF4-FFF2-40B4-BE49-F238E27FC236}">
                  <a16:creationId xmlns:a16="http://schemas.microsoft.com/office/drawing/2014/main" id="{CCFDE2C2-B48C-42C3-BC30-68C0ADC9DB16}"/>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31" name="Freeform 7">
              <a:extLst>
                <a:ext uri="{FF2B5EF4-FFF2-40B4-BE49-F238E27FC236}">
                  <a16:creationId xmlns:a16="http://schemas.microsoft.com/office/drawing/2014/main" id="{E148C66A-8C56-404E-B3CA-D463A4690B60}"/>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32" name="Freeform 83">
              <a:extLst>
                <a:ext uri="{FF2B5EF4-FFF2-40B4-BE49-F238E27FC236}">
                  <a16:creationId xmlns:a16="http://schemas.microsoft.com/office/drawing/2014/main" id="{B286DFDF-9604-49BE-8835-296DA52725C2}"/>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33" name="Freeform 84">
              <a:extLst>
                <a:ext uri="{FF2B5EF4-FFF2-40B4-BE49-F238E27FC236}">
                  <a16:creationId xmlns:a16="http://schemas.microsoft.com/office/drawing/2014/main" id="{536F82F0-C9F0-44DB-92D0-AD081D722539}"/>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34" name="Freeform 85">
              <a:extLst>
                <a:ext uri="{FF2B5EF4-FFF2-40B4-BE49-F238E27FC236}">
                  <a16:creationId xmlns:a16="http://schemas.microsoft.com/office/drawing/2014/main" id="{FA2B1132-6E1E-42BE-841F-6DB6DA058216}"/>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35" name="Freeform 86">
              <a:extLst>
                <a:ext uri="{FF2B5EF4-FFF2-40B4-BE49-F238E27FC236}">
                  <a16:creationId xmlns:a16="http://schemas.microsoft.com/office/drawing/2014/main" id="{1605D23B-3245-4081-A709-BC2936596163}"/>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36" name="Freeform 87">
              <a:extLst>
                <a:ext uri="{FF2B5EF4-FFF2-40B4-BE49-F238E27FC236}">
                  <a16:creationId xmlns:a16="http://schemas.microsoft.com/office/drawing/2014/main" id="{DD1011A3-8CCE-477C-88EA-2174C0DC1BE3}"/>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37" name="Freeform 88">
              <a:extLst>
                <a:ext uri="{FF2B5EF4-FFF2-40B4-BE49-F238E27FC236}">
                  <a16:creationId xmlns:a16="http://schemas.microsoft.com/office/drawing/2014/main" id="{F11F5921-88A4-48C1-B4F6-EA6717F32F9C}"/>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38" name="Freeform 89">
              <a:extLst>
                <a:ext uri="{FF2B5EF4-FFF2-40B4-BE49-F238E27FC236}">
                  <a16:creationId xmlns:a16="http://schemas.microsoft.com/office/drawing/2014/main" id="{CA718F0A-66A1-4570-9BE3-D9F9EC9750B7}"/>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39" name="Freeform 90">
              <a:extLst>
                <a:ext uri="{FF2B5EF4-FFF2-40B4-BE49-F238E27FC236}">
                  <a16:creationId xmlns:a16="http://schemas.microsoft.com/office/drawing/2014/main" id="{F6EAF93E-D2E6-4C24-B453-AAEAFC13E3D3}"/>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40" name="Freeform 91">
              <a:extLst>
                <a:ext uri="{FF2B5EF4-FFF2-40B4-BE49-F238E27FC236}">
                  <a16:creationId xmlns:a16="http://schemas.microsoft.com/office/drawing/2014/main" id="{8D652D86-C2B9-4E83-9167-23634BE72EDC}"/>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41" name="Freeform 92">
              <a:extLst>
                <a:ext uri="{FF2B5EF4-FFF2-40B4-BE49-F238E27FC236}">
                  <a16:creationId xmlns:a16="http://schemas.microsoft.com/office/drawing/2014/main" id="{92B43175-B9D1-455D-8FAE-3D2BF6571276}"/>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42" name="Freeform 93">
              <a:extLst>
                <a:ext uri="{FF2B5EF4-FFF2-40B4-BE49-F238E27FC236}">
                  <a16:creationId xmlns:a16="http://schemas.microsoft.com/office/drawing/2014/main" id="{76879D52-1795-452B-AD79-74CF3084E9B6}"/>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43" name="Freeform 94">
              <a:extLst>
                <a:ext uri="{FF2B5EF4-FFF2-40B4-BE49-F238E27FC236}">
                  <a16:creationId xmlns:a16="http://schemas.microsoft.com/office/drawing/2014/main" id="{C74CCD1A-A742-473F-8636-72B0E8B205FB}"/>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44" name="Freeform 95">
              <a:extLst>
                <a:ext uri="{FF2B5EF4-FFF2-40B4-BE49-F238E27FC236}">
                  <a16:creationId xmlns:a16="http://schemas.microsoft.com/office/drawing/2014/main" id="{312AF483-E8B8-41EE-ABBD-CBDC6A4CA5E7}"/>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45" name="Freeform 96">
              <a:extLst>
                <a:ext uri="{FF2B5EF4-FFF2-40B4-BE49-F238E27FC236}">
                  <a16:creationId xmlns:a16="http://schemas.microsoft.com/office/drawing/2014/main" id="{A6466488-2DBE-4B8B-B63D-1B2D019DF36C}"/>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46" name="Freeform 97">
              <a:extLst>
                <a:ext uri="{FF2B5EF4-FFF2-40B4-BE49-F238E27FC236}">
                  <a16:creationId xmlns:a16="http://schemas.microsoft.com/office/drawing/2014/main" id="{BD5F4D07-DCEA-41C3-AE5B-B7271E672936}"/>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47" name="Freeform 98">
              <a:extLst>
                <a:ext uri="{FF2B5EF4-FFF2-40B4-BE49-F238E27FC236}">
                  <a16:creationId xmlns:a16="http://schemas.microsoft.com/office/drawing/2014/main" id="{42EEE7BD-DCD2-49F7-8A7C-C0D0601C37FD}"/>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48" name="Freeform 99">
              <a:extLst>
                <a:ext uri="{FF2B5EF4-FFF2-40B4-BE49-F238E27FC236}">
                  <a16:creationId xmlns:a16="http://schemas.microsoft.com/office/drawing/2014/main" id="{5CFD22A1-E673-4B23-9D36-3B74DE70ECE2}"/>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49" name="Freeform 100">
              <a:extLst>
                <a:ext uri="{FF2B5EF4-FFF2-40B4-BE49-F238E27FC236}">
                  <a16:creationId xmlns:a16="http://schemas.microsoft.com/office/drawing/2014/main" id="{7C20FD0C-F35B-4F21-AF3B-81530E295BEB}"/>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50" name="Freeform 101">
              <a:extLst>
                <a:ext uri="{FF2B5EF4-FFF2-40B4-BE49-F238E27FC236}">
                  <a16:creationId xmlns:a16="http://schemas.microsoft.com/office/drawing/2014/main" id="{C68C6C2F-09B5-4244-BEBB-F85457E11A54}"/>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51" name="Freeform 102">
              <a:extLst>
                <a:ext uri="{FF2B5EF4-FFF2-40B4-BE49-F238E27FC236}">
                  <a16:creationId xmlns:a16="http://schemas.microsoft.com/office/drawing/2014/main" id="{6C7F753E-CE23-4F01-9F10-DCE622C71ABB}"/>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52" name="Freeform 103">
              <a:extLst>
                <a:ext uri="{FF2B5EF4-FFF2-40B4-BE49-F238E27FC236}">
                  <a16:creationId xmlns:a16="http://schemas.microsoft.com/office/drawing/2014/main" id="{12385579-35FD-4613-ABF4-9392759FFF98}"/>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53" name="Freeform 104">
              <a:extLst>
                <a:ext uri="{FF2B5EF4-FFF2-40B4-BE49-F238E27FC236}">
                  <a16:creationId xmlns:a16="http://schemas.microsoft.com/office/drawing/2014/main" id="{2BB633EA-47EC-47FB-AFB9-0C8E97548B32}"/>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54" name="Freeform 105">
              <a:extLst>
                <a:ext uri="{FF2B5EF4-FFF2-40B4-BE49-F238E27FC236}">
                  <a16:creationId xmlns:a16="http://schemas.microsoft.com/office/drawing/2014/main" id="{D9F0450F-CF35-40ED-BB19-255159FDD4F0}"/>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48" name="Text Placeholder 43">
            <a:extLst>
              <a:ext uri="{FF2B5EF4-FFF2-40B4-BE49-F238E27FC236}">
                <a16:creationId xmlns:a16="http://schemas.microsoft.com/office/drawing/2014/main" id="{05F790A2-A05C-4359-BF8D-44DB6E962950}"/>
              </a:ext>
            </a:extLst>
          </p:cNvPr>
          <p:cNvSpPr>
            <a:spLocks noGrp="1"/>
          </p:cNvSpPr>
          <p:nvPr>
            <p:ph type="body" sz="quarter" idx="10" hasCustomPrompt="1"/>
          </p:nvPr>
        </p:nvSpPr>
        <p:spPr>
          <a:xfrm>
            <a:off x="715495" y="3833787"/>
            <a:ext cx="2455544" cy="332365"/>
          </a:xfrm>
        </p:spPr>
        <p:txBody>
          <a:bodyPr/>
          <a:lstStyle>
            <a:lvl1pPr>
              <a:defRPr lang="en-US" sz="1000" b="1" kern="1200" smtClean="0">
                <a:solidFill>
                  <a:srgbClr val="000000"/>
                </a:solidFill>
                <a:latin typeface="Arial"/>
                <a:ea typeface="ＭＳ Ｐゴシック"/>
                <a:cs typeface="ＭＳ Ｐゴシック"/>
              </a:defRPr>
            </a:lvl1pPr>
          </a:lstStyle>
          <a:p>
            <a:pPr marL="0" indent="0"/>
            <a:r>
              <a:rPr lang="en-US" sz="1200" dirty="0"/>
              <a:t>Global Institutional Solutions</a:t>
            </a:r>
            <a:br>
              <a:rPr lang="en-US" sz="1200" dirty="0"/>
            </a:br>
            <a:endParaRPr lang="en-US" sz="1200" dirty="0"/>
          </a:p>
        </p:txBody>
      </p:sp>
      <p:sp>
        <p:nvSpPr>
          <p:cNvPr id="49" name="Rectangle 6">
            <a:extLst>
              <a:ext uri="{FF2B5EF4-FFF2-40B4-BE49-F238E27FC236}">
                <a16:creationId xmlns:a16="http://schemas.microsoft.com/office/drawing/2014/main" id="{6726F523-A941-4D12-A72D-5434A48C82B7}"/>
              </a:ext>
            </a:extLst>
          </p:cNvPr>
          <p:cNvSpPr>
            <a:spLocks noGrp="1" noChangeArrowheads="1"/>
          </p:cNvSpPr>
          <p:nvPr>
            <p:ph type="subTitle" idx="1"/>
          </p:nvPr>
        </p:nvSpPr>
        <p:spPr>
          <a:xfrm>
            <a:off x="685251" y="2091765"/>
            <a:ext cx="7805762" cy="563076"/>
          </a:xfrm>
        </p:spPr>
        <p:txBody>
          <a:bodyPr lIns="100584" rIns="100584"/>
          <a:lstStyle>
            <a:lvl1pPr marL="0" indent="0">
              <a:spcBef>
                <a:spcPts val="0"/>
              </a:spcBef>
              <a:defRPr sz="2600" b="0">
                <a:solidFill>
                  <a:srgbClr val="7A9B3D"/>
                </a:solidFill>
              </a:defRPr>
            </a:lvl1pPr>
          </a:lstStyle>
          <a:p>
            <a:r>
              <a:rPr lang="en-US"/>
              <a:t>Click to edit Master subtitle style</a:t>
            </a:r>
            <a:endParaRPr lang="en-US" dirty="0"/>
          </a:p>
        </p:txBody>
      </p:sp>
      <p:sp>
        <p:nvSpPr>
          <p:cNvPr id="50" name="Text Placeholder 43">
            <a:extLst>
              <a:ext uri="{FF2B5EF4-FFF2-40B4-BE49-F238E27FC236}">
                <a16:creationId xmlns:a16="http://schemas.microsoft.com/office/drawing/2014/main" id="{B313B328-7802-487D-8859-99EFDE1A2DEF}"/>
              </a:ext>
            </a:extLst>
          </p:cNvPr>
          <p:cNvSpPr>
            <a:spLocks noGrp="1"/>
          </p:cNvSpPr>
          <p:nvPr>
            <p:ph type="body" sz="quarter" idx="14" hasCustomPrompt="1"/>
          </p:nvPr>
        </p:nvSpPr>
        <p:spPr>
          <a:xfrm>
            <a:off x="685251" y="2581276"/>
            <a:ext cx="7805762" cy="266850"/>
          </a:xfrm>
        </p:spPr>
        <p:txBody>
          <a:bodyPr lIns="100584" rIns="100584"/>
          <a:lstStyle>
            <a:lvl1pPr>
              <a:spcBef>
                <a:spcPts val="0"/>
              </a:spcBef>
              <a:defRPr lang="en-US" sz="1200" b="0" kern="1200" dirty="0" smtClean="0">
                <a:solidFill>
                  <a:srgbClr val="333F48"/>
                </a:solidFill>
                <a:latin typeface="Arial"/>
                <a:ea typeface="ＭＳ Ｐゴシック" pitchFamily="34" charset="-128"/>
                <a:cs typeface="+mn-cs"/>
              </a:defRPr>
            </a:lvl1pPr>
          </a:lstStyle>
          <a:p>
            <a:pPr lvl="0"/>
            <a:r>
              <a:rPr lang="en-US" dirty="0"/>
              <a:t>Date</a:t>
            </a:r>
          </a:p>
        </p:txBody>
      </p:sp>
      <p:sp>
        <p:nvSpPr>
          <p:cNvPr id="51" name="Rectangle 50">
            <a:extLst>
              <a:ext uri="{FF2B5EF4-FFF2-40B4-BE49-F238E27FC236}">
                <a16:creationId xmlns:a16="http://schemas.microsoft.com/office/drawing/2014/main" id="{69C0C95F-7139-44A8-BB4A-2C3AFC1DC2CD}"/>
              </a:ext>
            </a:extLst>
          </p:cNvPr>
          <p:cNvSpPr/>
          <p:nvPr userDrawn="1"/>
        </p:nvSpPr>
        <p:spPr>
          <a:xfrm>
            <a:off x="700490" y="1901645"/>
            <a:ext cx="1356462" cy="276999"/>
          </a:xfrm>
          <a:prstGeom prst="rect">
            <a:avLst/>
          </a:prstGeom>
        </p:spPr>
        <p:txBody>
          <a:bodyPr wrap="none">
            <a:spAutoFit/>
          </a:bodyPr>
          <a:lstStyle/>
          <a:p>
            <a:r>
              <a:rPr lang="en-US" b="1" dirty="0">
                <a:solidFill>
                  <a:srgbClr val="333F48"/>
                </a:solidFill>
                <a:latin typeface="Arial"/>
                <a:cs typeface="+mn-cs"/>
              </a:rPr>
              <a:t>Presentation to:</a:t>
            </a:r>
            <a:endParaRPr lang="en-US" dirty="0">
              <a:solidFill>
                <a:srgbClr val="000000"/>
              </a:solidFill>
              <a:latin typeface="Arial"/>
              <a:cs typeface="+mn-cs"/>
            </a:endParaRPr>
          </a:p>
        </p:txBody>
      </p:sp>
    </p:spTree>
    <p:extLst>
      <p:ext uri="{BB962C8B-B14F-4D97-AF65-F5344CB8AC3E}">
        <p14:creationId xmlns:p14="http://schemas.microsoft.com/office/powerpoint/2010/main" val="1503831602"/>
      </p:ext>
    </p:extLst>
  </p:cSld>
  <p:clrMapOvr>
    <a:masterClrMapping/>
  </p:clrMapOvr>
  <p:extLst>
    <p:ext uri="{DCECCB84-F9BA-43D5-87BE-67443E8EF086}">
      <p15:sldGuideLst xmlns:p15="http://schemas.microsoft.com/office/powerpoint/2012/main">
        <p15:guide id="1" orient="horz" pos="4200">
          <p15:clr>
            <a:srgbClr val="FBAE40"/>
          </p15:clr>
        </p15:guide>
        <p15:guide id="2" pos="504">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FIAM_Internal_Print_Cover_Presenters-Left">
    <p:spTree>
      <p:nvGrpSpPr>
        <p:cNvPr id="1" name=""/>
        <p:cNvGrpSpPr/>
        <p:nvPr/>
      </p:nvGrpSpPr>
      <p:grpSpPr>
        <a:xfrm>
          <a:off x="0" y="0"/>
          <a:ext cx="0" cy="0"/>
          <a:chOff x="0" y="0"/>
          <a:chExt cx="0" cy="0"/>
        </a:xfrm>
      </p:grpSpPr>
      <p:pic>
        <p:nvPicPr>
          <p:cNvPr id="48" name="Picture 47">
            <a:extLst>
              <a:ext uri="{FF2B5EF4-FFF2-40B4-BE49-F238E27FC236}">
                <a16:creationId xmlns:a16="http://schemas.microsoft.com/office/drawing/2014/main" id="{2E9F67E0-69E9-49A7-9178-F37F20AB25C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pSp>
        <p:nvGrpSpPr>
          <p:cNvPr id="56" name="Group 55">
            <a:extLst>
              <a:ext uri="{FF2B5EF4-FFF2-40B4-BE49-F238E27FC236}">
                <a16:creationId xmlns:a16="http://schemas.microsoft.com/office/drawing/2014/main" id="{37D2BAC2-4174-47A3-A306-325A697F4BF5}"/>
              </a:ext>
            </a:extLst>
          </p:cNvPr>
          <p:cNvGrpSpPr/>
          <p:nvPr userDrawn="1"/>
        </p:nvGrpSpPr>
        <p:grpSpPr>
          <a:xfrm>
            <a:off x="7358173" y="6361974"/>
            <a:ext cx="1382376" cy="297562"/>
            <a:chOff x="6923088" y="4475163"/>
            <a:chExt cx="1873251" cy="403225"/>
          </a:xfrm>
        </p:grpSpPr>
        <p:sp>
          <p:nvSpPr>
            <p:cNvPr id="57" name="AutoShape 4">
              <a:extLst>
                <a:ext uri="{FF2B5EF4-FFF2-40B4-BE49-F238E27FC236}">
                  <a16:creationId xmlns:a16="http://schemas.microsoft.com/office/drawing/2014/main" id="{8B8236BF-A1F4-4AF9-AF18-B1725EEDF1C8}"/>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8" name="Freeform 6">
              <a:extLst>
                <a:ext uri="{FF2B5EF4-FFF2-40B4-BE49-F238E27FC236}">
                  <a16:creationId xmlns:a16="http://schemas.microsoft.com/office/drawing/2014/main" id="{750D2FF4-4FB3-4AB3-A41E-E8F7B6FF1D93}"/>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9" name="Freeform 7">
              <a:extLst>
                <a:ext uri="{FF2B5EF4-FFF2-40B4-BE49-F238E27FC236}">
                  <a16:creationId xmlns:a16="http://schemas.microsoft.com/office/drawing/2014/main" id="{339F89E1-6D2A-4D59-9D15-DDA82073D3F2}"/>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0" name="Freeform 83">
              <a:extLst>
                <a:ext uri="{FF2B5EF4-FFF2-40B4-BE49-F238E27FC236}">
                  <a16:creationId xmlns:a16="http://schemas.microsoft.com/office/drawing/2014/main" id="{C511B55F-F6BE-4366-A189-8653E79F4D87}"/>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1" name="Freeform 84">
              <a:extLst>
                <a:ext uri="{FF2B5EF4-FFF2-40B4-BE49-F238E27FC236}">
                  <a16:creationId xmlns:a16="http://schemas.microsoft.com/office/drawing/2014/main" id="{22F2FBBD-701B-46B3-83EF-8B19041B6FBE}"/>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2" name="Freeform 85">
              <a:extLst>
                <a:ext uri="{FF2B5EF4-FFF2-40B4-BE49-F238E27FC236}">
                  <a16:creationId xmlns:a16="http://schemas.microsoft.com/office/drawing/2014/main" id="{1C9FA1AB-8487-4725-A349-64581318AE58}"/>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3" name="Freeform 86">
              <a:extLst>
                <a:ext uri="{FF2B5EF4-FFF2-40B4-BE49-F238E27FC236}">
                  <a16:creationId xmlns:a16="http://schemas.microsoft.com/office/drawing/2014/main" id="{DDEE2F38-BDFA-4F6B-B054-31F282493519}"/>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4" name="Freeform 87">
              <a:extLst>
                <a:ext uri="{FF2B5EF4-FFF2-40B4-BE49-F238E27FC236}">
                  <a16:creationId xmlns:a16="http://schemas.microsoft.com/office/drawing/2014/main" id="{FF2EE765-ADCA-4144-9632-87914858CDA9}"/>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5" name="Freeform 88">
              <a:extLst>
                <a:ext uri="{FF2B5EF4-FFF2-40B4-BE49-F238E27FC236}">
                  <a16:creationId xmlns:a16="http://schemas.microsoft.com/office/drawing/2014/main" id="{AE8A08AC-A834-4F8E-BFA2-4C3D9F65AA10}"/>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6" name="Freeform 89">
              <a:extLst>
                <a:ext uri="{FF2B5EF4-FFF2-40B4-BE49-F238E27FC236}">
                  <a16:creationId xmlns:a16="http://schemas.microsoft.com/office/drawing/2014/main" id="{D248C4F7-CE2E-4578-A6E8-EF557C69ABF7}"/>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7" name="Freeform 90">
              <a:extLst>
                <a:ext uri="{FF2B5EF4-FFF2-40B4-BE49-F238E27FC236}">
                  <a16:creationId xmlns:a16="http://schemas.microsoft.com/office/drawing/2014/main" id="{E67C1FF2-C9E1-4CBC-8BE3-D014A754AADD}"/>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8" name="Freeform 91">
              <a:extLst>
                <a:ext uri="{FF2B5EF4-FFF2-40B4-BE49-F238E27FC236}">
                  <a16:creationId xmlns:a16="http://schemas.microsoft.com/office/drawing/2014/main" id="{B77330CD-CDAF-4CF3-AAF0-65FD6D02A9EE}"/>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9" name="Freeform 92">
              <a:extLst>
                <a:ext uri="{FF2B5EF4-FFF2-40B4-BE49-F238E27FC236}">
                  <a16:creationId xmlns:a16="http://schemas.microsoft.com/office/drawing/2014/main" id="{85F23BA4-F5B5-4F7F-A050-CE2D4025A9A9}"/>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70" name="Freeform 93">
              <a:extLst>
                <a:ext uri="{FF2B5EF4-FFF2-40B4-BE49-F238E27FC236}">
                  <a16:creationId xmlns:a16="http://schemas.microsoft.com/office/drawing/2014/main" id="{9D41893C-D348-40DE-AE84-781201483138}"/>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71" name="Freeform 94">
              <a:extLst>
                <a:ext uri="{FF2B5EF4-FFF2-40B4-BE49-F238E27FC236}">
                  <a16:creationId xmlns:a16="http://schemas.microsoft.com/office/drawing/2014/main" id="{673A8E7B-EBAD-42F6-BBFB-1973AEFF0B8B}"/>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72" name="Freeform 95">
              <a:extLst>
                <a:ext uri="{FF2B5EF4-FFF2-40B4-BE49-F238E27FC236}">
                  <a16:creationId xmlns:a16="http://schemas.microsoft.com/office/drawing/2014/main" id="{0C1A8A7E-F3D7-42C1-9012-D3E027942538}"/>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73" name="Freeform 96">
              <a:extLst>
                <a:ext uri="{FF2B5EF4-FFF2-40B4-BE49-F238E27FC236}">
                  <a16:creationId xmlns:a16="http://schemas.microsoft.com/office/drawing/2014/main" id="{C113B37C-5692-4452-A175-B8689A633FA8}"/>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74" name="Freeform 97">
              <a:extLst>
                <a:ext uri="{FF2B5EF4-FFF2-40B4-BE49-F238E27FC236}">
                  <a16:creationId xmlns:a16="http://schemas.microsoft.com/office/drawing/2014/main" id="{BD37DD38-8B53-4B9C-B71B-8DCCFC03F476}"/>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75" name="Freeform 98">
              <a:extLst>
                <a:ext uri="{FF2B5EF4-FFF2-40B4-BE49-F238E27FC236}">
                  <a16:creationId xmlns:a16="http://schemas.microsoft.com/office/drawing/2014/main" id="{9B806109-D094-439B-97DB-E46F96FA6F54}"/>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76" name="Freeform 99">
              <a:extLst>
                <a:ext uri="{FF2B5EF4-FFF2-40B4-BE49-F238E27FC236}">
                  <a16:creationId xmlns:a16="http://schemas.microsoft.com/office/drawing/2014/main" id="{2491E5E4-E154-41B2-B1ED-85C42453C70C}"/>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77" name="Freeform 100">
              <a:extLst>
                <a:ext uri="{FF2B5EF4-FFF2-40B4-BE49-F238E27FC236}">
                  <a16:creationId xmlns:a16="http://schemas.microsoft.com/office/drawing/2014/main" id="{765C1F64-02AD-4525-9057-89EB9ED335B3}"/>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78" name="Freeform 101">
              <a:extLst>
                <a:ext uri="{FF2B5EF4-FFF2-40B4-BE49-F238E27FC236}">
                  <a16:creationId xmlns:a16="http://schemas.microsoft.com/office/drawing/2014/main" id="{76E0FCE8-B1BC-4233-9199-D9673FFC3841}"/>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79" name="Freeform 102">
              <a:extLst>
                <a:ext uri="{FF2B5EF4-FFF2-40B4-BE49-F238E27FC236}">
                  <a16:creationId xmlns:a16="http://schemas.microsoft.com/office/drawing/2014/main" id="{CA807538-407E-462D-9681-CA1A524E5702}"/>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0" name="Freeform 103">
              <a:extLst>
                <a:ext uri="{FF2B5EF4-FFF2-40B4-BE49-F238E27FC236}">
                  <a16:creationId xmlns:a16="http://schemas.microsoft.com/office/drawing/2014/main" id="{7FAF642D-5B9B-4AB7-A44A-A52E96B83A55}"/>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2" name="Freeform 104">
              <a:extLst>
                <a:ext uri="{FF2B5EF4-FFF2-40B4-BE49-F238E27FC236}">
                  <a16:creationId xmlns:a16="http://schemas.microsoft.com/office/drawing/2014/main" id="{C07E4C1C-7FC4-4366-A26F-A5D4C78C3275}"/>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3" name="Freeform 105">
              <a:extLst>
                <a:ext uri="{FF2B5EF4-FFF2-40B4-BE49-F238E27FC236}">
                  <a16:creationId xmlns:a16="http://schemas.microsoft.com/office/drawing/2014/main" id="{0C982428-9F7B-45D4-B837-95EC646E7C60}"/>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43" name="Rectangle 6"/>
          <p:cNvSpPr>
            <a:spLocks noGrp="1" noChangeArrowheads="1"/>
          </p:cNvSpPr>
          <p:nvPr>
            <p:ph type="subTitle" idx="1"/>
          </p:nvPr>
        </p:nvSpPr>
        <p:spPr>
          <a:xfrm>
            <a:off x="685251" y="2091765"/>
            <a:ext cx="7805762" cy="563076"/>
          </a:xfrm>
        </p:spPr>
        <p:txBody>
          <a:bodyPr lIns="100584" rIns="100584"/>
          <a:lstStyle>
            <a:lvl1pPr marL="0" indent="0">
              <a:spcBef>
                <a:spcPts val="0"/>
              </a:spcBef>
              <a:defRPr sz="2000" b="0">
                <a:solidFill>
                  <a:srgbClr val="7A9B3D"/>
                </a:solidFill>
              </a:defRPr>
            </a:lvl1pPr>
          </a:lstStyle>
          <a:p>
            <a:r>
              <a:rPr lang="en-US"/>
              <a:t>Click to edit Master subtitle style</a:t>
            </a:r>
            <a:endParaRPr lang="en-US" dirty="0"/>
          </a:p>
        </p:txBody>
      </p:sp>
      <p:sp>
        <p:nvSpPr>
          <p:cNvPr id="42" name="Text Placeholder 43"/>
          <p:cNvSpPr>
            <a:spLocks noGrp="1"/>
          </p:cNvSpPr>
          <p:nvPr>
            <p:ph type="body" sz="quarter" idx="14" hasCustomPrompt="1"/>
          </p:nvPr>
        </p:nvSpPr>
        <p:spPr>
          <a:xfrm>
            <a:off x="685251" y="2581276"/>
            <a:ext cx="7805762" cy="266850"/>
          </a:xfrm>
        </p:spPr>
        <p:txBody>
          <a:bodyPr lIns="100584" rIns="100584"/>
          <a:lstStyle>
            <a:lvl1pPr>
              <a:spcBef>
                <a:spcPts val="0"/>
              </a:spcBef>
              <a:defRPr lang="en-US" sz="1200" b="0" kern="1200" dirty="0" smtClean="0">
                <a:solidFill>
                  <a:srgbClr val="333F48"/>
                </a:solidFill>
                <a:latin typeface="Arial"/>
                <a:ea typeface="ＭＳ Ｐゴシック" pitchFamily="34" charset="-128"/>
                <a:cs typeface="+mn-cs"/>
              </a:defRPr>
            </a:lvl1pPr>
          </a:lstStyle>
          <a:p>
            <a:pPr lvl="0"/>
            <a:r>
              <a:rPr lang="en-US" dirty="0"/>
              <a:t>Date</a:t>
            </a:r>
          </a:p>
        </p:txBody>
      </p:sp>
      <p:sp>
        <p:nvSpPr>
          <p:cNvPr id="81" name="Content Placeholder 52"/>
          <p:cNvSpPr txBox="1">
            <a:spLocks/>
          </p:cNvSpPr>
          <p:nvPr userDrawn="1"/>
        </p:nvSpPr>
        <p:spPr>
          <a:xfrm>
            <a:off x="704301" y="3842381"/>
            <a:ext cx="2487613" cy="1652265"/>
          </a:xfrm>
          <a:prstGeom prst="rect">
            <a:avLst/>
          </a:prstGeom>
        </p:spPr>
        <p:txBody>
          <a:bodyPr lIns="100584" rIns="100584"/>
          <a:lstStyle>
            <a:lvl1pPr marL="0" indent="0" algn="l" rtl="0" eaLnBrk="0" fontAlgn="base" hangingPunct="0">
              <a:spcBef>
                <a:spcPts val="1200"/>
              </a:spcBef>
              <a:spcAft>
                <a:spcPct val="0"/>
              </a:spcAft>
              <a:buClr>
                <a:schemeClr val="bg1"/>
              </a:buClr>
              <a:buNone/>
              <a:tabLst>
                <a:tab pos="120626" algn="l"/>
                <a:tab pos="299978" algn="l"/>
                <a:tab pos="1034844" algn="l"/>
              </a:tabLst>
              <a:defRPr lang="en-US" sz="1000" b="1" kern="1200" dirty="0" smtClean="0">
                <a:solidFill>
                  <a:schemeClr val="tx1"/>
                </a:solidFill>
                <a:latin typeface="Arial" charset="0"/>
                <a:ea typeface="ＭＳ Ｐゴシック" charset="-128"/>
                <a:cs typeface="+mn-cs"/>
              </a:defRPr>
            </a:lvl1pPr>
            <a:lvl2pPr marL="0" indent="0" algn="l" rtl="0" eaLnBrk="0" fontAlgn="base" hangingPunct="0">
              <a:spcBef>
                <a:spcPct val="20000"/>
              </a:spcBef>
              <a:spcAft>
                <a:spcPct val="0"/>
              </a:spcAft>
              <a:buClr>
                <a:schemeClr val="bg1"/>
              </a:buClr>
              <a:buFontTx/>
              <a:buNone/>
              <a:tabLst>
                <a:tab pos="120626" algn="l"/>
                <a:tab pos="299978" algn="l"/>
                <a:tab pos="1034844" algn="l"/>
              </a:tabLst>
              <a:defRPr lang="en-US" sz="1000" b="1" i="1" kern="1200" dirty="0" smtClean="0">
                <a:solidFill>
                  <a:schemeClr val="tx1"/>
                </a:solidFill>
                <a:latin typeface="Arial" charset="0"/>
                <a:ea typeface="ＭＳ Ｐゴシック" charset="-128"/>
                <a:cs typeface="+mn-cs"/>
              </a:defRPr>
            </a:lvl2pPr>
            <a:lvl3pPr marL="326960" indent="0" algn="l" rtl="0" eaLnBrk="0" fontAlgn="base" hangingPunct="0">
              <a:spcBef>
                <a:spcPct val="20000"/>
              </a:spcBef>
              <a:spcAft>
                <a:spcPct val="0"/>
              </a:spcAft>
              <a:buClr>
                <a:schemeClr val="bg1"/>
              </a:buClr>
              <a:buNone/>
              <a:tabLst>
                <a:tab pos="120626" algn="l"/>
                <a:tab pos="299978" algn="l"/>
                <a:tab pos="1034844" algn="l"/>
              </a:tabLst>
              <a:defRPr sz="1200" b="1">
                <a:solidFill>
                  <a:schemeClr val="accent2"/>
                </a:solidFill>
                <a:latin typeface="+mn-lt"/>
              </a:defRPr>
            </a:lvl3pPr>
            <a:lvl4pPr marL="914218" indent="-114277" algn="l" rtl="0" eaLnBrk="0" fontAlgn="base" hangingPunct="0">
              <a:spcBef>
                <a:spcPct val="20000"/>
              </a:spcBef>
              <a:spcAft>
                <a:spcPct val="0"/>
              </a:spcAft>
              <a:buClr>
                <a:schemeClr val="accent1"/>
              </a:buClr>
              <a:buChar char="•"/>
              <a:tabLst>
                <a:tab pos="120626" algn="l"/>
                <a:tab pos="299978" algn="l"/>
                <a:tab pos="1034844" algn="l"/>
              </a:tabLst>
              <a:defRPr sz="1600" b="1">
                <a:solidFill>
                  <a:schemeClr val="tx1"/>
                </a:solidFill>
                <a:latin typeface="+mn-lt"/>
              </a:defRPr>
            </a:lvl4pPr>
            <a:lvl5pPr marL="1142772" indent="-114277" algn="l" rtl="0" eaLnBrk="0" fontAlgn="base" hangingPunct="0">
              <a:spcBef>
                <a:spcPct val="20000"/>
              </a:spcBef>
              <a:spcAft>
                <a:spcPct val="0"/>
              </a:spcAft>
              <a:buClr>
                <a:schemeClr val="accent1"/>
              </a:buClr>
              <a:buChar char="•"/>
              <a:tabLst>
                <a:tab pos="120626" algn="l"/>
                <a:tab pos="299978" algn="l"/>
                <a:tab pos="1034844" algn="l"/>
              </a:tabLst>
              <a:defRPr sz="1600" b="1">
                <a:solidFill>
                  <a:schemeClr val="tx1"/>
                </a:solidFill>
                <a:latin typeface="+mn-lt"/>
              </a:defRPr>
            </a:lvl5pPr>
            <a:lvl6pPr marL="2514096" indent="-228554" algn="l" rtl="0" fontAlgn="base">
              <a:spcBef>
                <a:spcPct val="20000"/>
              </a:spcBef>
              <a:spcAft>
                <a:spcPct val="0"/>
              </a:spcAft>
              <a:buChar char="»"/>
              <a:defRPr sz="2000">
                <a:solidFill>
                  <a:schemeClr val="tx1"/>
                </a:solidFill>
                <a:latin typeface="+mn-lt"/>
              </a:defRPr>
            </a:lvl6pPr>
            <a:lvl7pPr marL="2971205" indent="-228554" algn="l" rtl="0" fontAlgn="base">
              <a:spcBef>
                <a:spcPct val="20000"/>
              </a:spcBef>
              <a:spcAft>
                <a:spcPct val="0"/>
              </a:spcAft>
              <a:buChar char="»"/>
              <a:defRPr sz="2000">
                <a:solidFill>
                  <a:schemeClr val="tx1"/>
                </a:solidFill>
                <a:latin typeface="+mn-lt"/>
              </a:defRPr>
            </a:lvl7pPr>
            <a:lvl8pPr marL="3428314" indent="-228554" algn="l" rtl="0" fontAlgn="base">
              <a:spcBef>
                <a:spcPct val="20000"/>
              </a:spcBef>
              <a:spcAft>
                <a:spcPct val="0"/>
              </a:spcAft>
              <a:buChar char="»"/>
              <a:defRPr sz="2000">
                <a:solidFill>
                  <a:schemeClr val="tx1"/>
                </a:solidFill>
                <a:latin typeface="+mn-lt"/>
              </a:defRPr>
            </a:lvl8pPr>
            <a:lvl9pPr marL="3885423" indent="-228554" algn="l" rtl="0" fontAlgn="base">
              <a:spcBef>
                <a:spcPct val="20000"/>
              </a:spcBef>
              <a:spcAft>
                <a:spcPct val="0"/>
              </a:spcAft>
              <a:buChar char="»"/>
              <a:defRPr sz="2000">
                <a:solidFill>
                  <a:schemeClr val="tx1"/>
                </a:solidFill>
                <a:latin typeface="+mn-lt"/>
              </a:defRPr>
            </a:lvl9pPr>
          </a:lstStyle>
          <a:p>
            <a:pPr>
              <a:buClr>
                <a:srgbClr val="FFFFFF"/>
              </a:buClr>
            </a:pPr>
            <a:endParaRPr b="0">
              <a:solidFill>
                <a:srgbClr val="000000"/>
              </a:solidFill>
              <a:latin typeface="Arial"/>
            </a:endParaRPr>
          </a:p>
        </p:txBody>
      </p:sp>
      <p:sp>
        <p:nvSpPr>
          <p:cNvPr id="120" name="Content Placeholder 52"/>
          <p:cNvSpPr>
            <a:spLocks noGrp="1"/>
          </p:cNvSpPr>
          <p:nvPr>
            <p:ph sz="quarter" idx="12"/>
          </p:nvPr>
        </p:nvSpPr>
        <p:spPr>
          <a:xfrm>
            <a:off x="704301" y="3978275"/>
            <a:ext cx="2576513" cy="178752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121" name="Content Placeholder 52"/>
          <p:cNvSpPr>
            <a:spLocks noGrp="1"/>
          </p:cNvSpPr>
          <p:nvPr>
            <p:ph sz="quarter" idx="15"/>
          </p:nvPr>
        </p:nvSpPr>
        <p:spPr>
          <a:xfrm>
            <a:off x="3396990" y="3978275"/>
            <a:ext cx="2576513" cy="178752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41" name="Rectangle 9"/>
          <p:cNvSpPr>
            <a:spLocks noGrp="1" noChangeArrowheads="1"/>
          </p:cNvSpPr>
          <p:nvPr>
            <p:ph type="title" hasCustomPrompt="1"/>
          </p:nvPr>
        </p:nvSpPr>
        <p:spPr bwMode="auto">
          <a:xfrm>
            <a:off x="685251" y="1581072"/>
            <a:ext cx="7805762" cy="5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b" anchorCtr="0" compatLnSpc="1">
            <a:prstTxWarp prst="textNoShape">
              <a:avLst/>
            </a:prstTxWarp>
          </a:bodyPr>
          <a:lstStyle>
            <a:lvl1pPr>
              <a:defRPr sz="3000">
                <a:solidFill>
                  <a:schemeClr val="bg2"/>
                </a:solidFill>
              </a:defRPr>
            </a:lvl1pPr>
          </a:lstStyle>
          <a:p>
            <a:pPr lvl="0"/>
            <a:r>
              <a:rPr lang="en-US" altLang="en-US" dirty="0"/>
              <a:t>Click To Edit Master Title Style</a:t>
            </a:r>
          </a:p>
        </p:txBody>
      </p:sp>
      <p:sp>
        <p:nvSpPr>
          <p:cNvPr id="84" name="Rectangle 176">
            <a:extLst>
              <a:ext uri="{FF2B5EF4-FFF2-40B4-BE49-F238E27FC236}">
                <a16:creationId xmlns:a16="http://schemas.microsoft.com/office/drawing/2014/main" id="{BC09911A-462B-46F7-AD5F-24FAF02F2217}"/>
              </a:ext>
            </a:extLst>
          </p:cNvPr>
          <p:cNvSpPr>
            <a:spLocks noGrp="1" noChangeArrowheads="1"/>
          </p:cNvSpPr>
          <p:nvPr>
            <p:ph type="ftr" sz="quarter" idx="13"/>
          </p:nvPr>
        </p:nvSpPr>
        <p:spPr>
          <a:xfrm>
            <a:off x="281401" y="6421008"/>
            <a:ext cx="6014623" cy="260350"/>
          </a:xfrm>
        </p:spPr>
        <p:txBody>
          <a:bodyPr anchor="b" anchorCtr="0"/>
          <a:lstStyle>
            <a:lvl1pPr algn="l">
              <a:defRPr sz="800" b="0" smtClean="0">
                <a:solidFill>
                  <a:srgbClr val="000000"/>
                </a:solidFill>
              </a:defRPr>
            </a:lvl1pPr>
          </a:lstStyle>
          <a:p>
            <a:pPr>
              <a:defRPr/>
            </a:pPr>
            <a:endParaRPr lang="en-US" dirty="0"/>
          </a:p>
          <a:p>
            <a:pPr>
              <a:defRPr/>
            </a:pPr>
            <a:r>
              <a:rPr lang="en-US" b="1" dirty="0"/>
              <a:t>Page footer.  </a:t>
            </a:r>
            <a:r>
              <a:rPr lang="en-US" dirty="0"/>
              <a:t>l  © 20XX FMR LLC. All rights reserved.</a:t>
            </a:r>
            <a:endParaRPr lang="en-US" b="1" dirty="0"/>
          </a:p>
        </p:txBody>
      </p:sp>
      <p:pic>
        <p:nvPicPr>
          <p:cNvPr id="39" name="Picture 38">
            <a:extLst>
              <a:ext uri="{FF2B5EF4-FFF2-40B4-BE49-F238E27FC236}">
                <a16:creationId xmlns:a16="http://schemas.microsoft.com/office/drawing/2014/main" id="{19EEFCD7-37DE-4E1C-9841-147079ACF1C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62741"/>
          <a:stretch/>
        </p:blipFill>
        <p:spPr>
          <a:xfrm>
            <a:off x="802002" y="532741"/>
            <a:ext cx="2987046" cy="134009"/>
          </a:xfrm>
          <a:prstGeom prst="rect">
            <a:avLst/>
          </a:prstGeom>
        </p:spPr>
      </p:pic>
    </p:spTree>
    <p:extLst>
      <p:ext uri="{BB962C8B-B14F-4D97-AF65-F5344CB8AC3E}">
        <p14:creationId xmlns:p14="http://schemas.microsoft.com/office/powerpoint/2010/main" val="154117789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lvl1pPr>
              <a:defRPr>
                <a:solidFill>
                  <a:srgbClr val="333F48"/>
                </a:solidFill>
              </a:defRPr>
            </a:lvl1pPr>
          </a:lstStyle>
          <a:p>
            <a:r>
              <a:rPr lang="en-US"/>
              <a:t>Click to edit Master title style</a:t>
            </a:r>
            <a:endParaRPr lang="en-US" dirty="0"/>
          </a:p>
        </p:txBody>
      </p:sp>
      <p:sp>
        <p:nvSpPr>
          <p:cNvPr id="8"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9"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a:t>201607-20094</a:t>
            </a:r>
            <a:endParaRPr lang="en-US" dirty="0"/>
          </a:p>
        </p:txBody>
      </p:sp>
      <p:grpSp>
        <p:nvGrpSpPr>
          <p:cNvPr id="10" name="Group 9"/>
          <p:cNvGrpSpPr/>
          <p:nvPr userDrawn="1"/>
        </p:nvGrpSpPr>
        <p:grpSpPr>
          <a:xfrm>
            <a:off x="7364320" y="6412511"/>
            <a:ext cx="1371600" cy="283464"/>
            <a:chOff x="4291013" y="3178175"/>
            <a:chExt cx="3197225" cy="688975"/>
          </a:xfrm>
        </p:grpSpPr>
        <p:sp>
          <p:nvSpPr>
            <p:cNvPr id="11"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6"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28397789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reserve="1">
  <p:cSld name="Print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58488" name="Rectangle 56"/>
          <p:cNvSpPr>
            <a:spLocks noGrp="1" noChangeArrowheads="1"/>
          </p:cNvSpPr>
          <p:nvPr>
            <p:ph type="ctrTitle"/>
          </p:nvPr>
        </p:nvSpPr>
        <p:spPr>
          <a:xfrm>
            <a:off x="679879" y="2040360"/>
            <a:ext cx="7825945" cy="608013"/>
          </a:xfrm>
          <a:ln algn="ctr"/>
        </p:spPr>
        <p:txBody>
          <a:bodyPr lIns="91440" tIns="45720" anchor="b"/>
          <a:lstStyle>
            <a:lvl1pPr>
              <a:defRPr sz="2800">
                <a:solidFill>
                  <a:srgbClr val="333F48"/>
                </a:solidFill>
              </a:defRPr>
            </a:lvl1pPr>
          </a:lstStyle>
          <a:p>
            <a:r>
              <a:rPr lang="en-US"/>
              <a:t>Click to edit Master title style</a:t>
            </a:r>
            <a:endParaRPr lang="en-US" dirty="0"/>
          </a:p>
        </p:txBody>
      </p:sp>
      <p:sp>
        <p:nvSpPr>
          <p:cNvPr id="658489" name="Rectangle 57"/>
          <p:cNvSpPr>
            <a:spLocks noGrp="1" noChangeArrowheads="1"/>
          </p:cNvSpPr>
          <p:nvPr>
            <p:ph type="subTitle" idx="1"/>
          </p:nvPr>
        </p:nvSpPr>
        <p:spPr>
          <a:xfrm>
            <a:off x="679880" y="2752344"/>
            <a:ext cx="7825946" cy="283464"/>
          </a:xfrm>
          <a:ln algn="ctr"/>
        </p:spPr>
        <p:txBody>
          <a:bodyPr tIns="0"/>
          <a:lstStyle>
            <a:lvl1pPr marL="0" indent="0" algn="l" rtl="0" fontAlgn="base">
              <a:lnSpc>
                <a:spcPct val="100000"/>
              </a:lnSpc>
              <a:spcBef>
                <a:spcPct val="0"/>
              </a:spcBef>
              <a:spcAft>
                <a:spcPct val="0"/>
              </a:spcAft>
              <a:defRPr lang="en-US" sz="2000" b="0" kern="1200" dirty="0">
                <a:solidFill>
                  <a:srgbClr val="768692"/>
                </a:solidFill>
                <a:latin typeface="Arial"/>
                <a:ea typeface="ＭＳ Ｐゴシック" pitchFamily="34" charset="-128"/>
                <a:cs typeface="+mn-cs"/>
              </a:defRPr>
            </a:lvl1pPr>
          </a:lstStyle>
          <a:p>
            <a:r>
              <a:rPr lang="en-US"/>
              <a:t>Click to edit Master subtitle style</a:t>
            </a:r>
            <a:endParaRPr lang="en-US" dirty="0"/>
          </a:p>
        </p:txBody>
      </p:sp>
      <p:sp>
        <p:nvSpPr>
          <p:cNvPr id="60" name="Rectangle 176"/>
          <p:cNvSpPr>
            <a:spLocks noGrp="1" noChangeArrowheads="1"/>
          </p:cNvSpPr>
          <p:nvPr>
            <p:ph type="ftr" sz="quarter" idx="13"/>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cxnSp>
        <p:nvCxnSpPr>
          <p:cNvPr id="6" name="Straight Connector 5"/>
          <p:cNvCxnSpPr/>
          <p:nvPr userDrawn="1"/>
        </p:nvCxnSpPr>
        <p:spPr bwMode="auto">
          <a:xfrm>
            <a:off x="791746" y="2642460"/>
            <a:ext cx="8352254" cy="0"/>
          </a:xfrm>
          <a:prstGeom prst="line">
            <a:avLst/>
          </a:prstGeom>
          <a:solidFill>
            <a:srgbClr val="009681"/>
          </a:solidFill>
          <a:ln w="9525" cap="flat" cmpd="sng" algn="ctr">
            <a:solidFill>
              <a:srgbClr val="768692"/>
            </a:solidFill>
            <a:prstDash val="solid"/>
            <a:round/>
            <a:headEnd type="none" w="med" len="med"/>
            <a:tailEnd type="none" w="med" len="med"/>
          </a:ln>
          <a:effectLst/>
        </p:spPr>
      </p:cxnSp>
      <p:grpSp>
        <p:nvGrpSpPr>
          <p:cNvPr id="89" name="Group 88">
            <a:extLst>
              <a:ext uri="{FF2B5EF4-FFF2-40B4-BE49-F238E27FC236}">
                <a16:creationId xmlns:a16="http://schemas.microsoft.com/office/drawing/2014/main" id="{991DE967-0F82-408F-B89A-AE232A778E53}"/>
              </a:ext>
            </a:extLst>
          </p:cNvPr>
          <p:cNvGrpSpPr/>
          <p:nvPr userDrawn="1"/>
        </p:nvGrpSpPr>
        <p:grpSpPr>
          <a:xfrm>
            <a:off x="7358173" y="6361974"/>
            <a:ext cx="1382376" cy="297562"/>
            <a:chOff x="6923088" y="4475163"/>
            <a:chExt cx="1873251" cy="403225"/>
          </a:xfrm>
        </p:grpSpPr>
        <p:sp>
          <p:nvSpPr>
            <p:cNvPr id="90" name="AutoShape 4">
              <a:extLst>
                <a:ext uri="{FF2B5EF4-FFF2-40B4-BE49-F238E27FC236}">
                  <a16:creationId xmlns:a16="http://schemas.microsoft.com/office/drawing/2014/main" id="{C79E7ACA-A263-4539-87E6-BB3032A565AA}"/>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1" name="Freeform 6">
              <a:extLst>
                <a:ext uri="{FF2B5EF4-FFF2-40B4-BE49-F238E27FC236}">
                  <a16:creationId xmlns:a16="http://schemas.microsoft.com/office/drawing/2014/main" id="{3CD4FC34-780F-4C6A-9C1E-6E2EEF836D95}"/>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2" name="Freeform 7">
              <a:extLst>
                <a:ext uri="{FF2B5EF4-FFF2-40B4-BE49-F238E27FC236}">
                  <a16:creationId xmlns:a16="http://schemas.microsoft.com/office/drawing/2014/main" id="{AC5BB2A0-5794-42B6-9410-3747DA00DA15}"/>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3" name="Freeform 83">
              <a:extLst>
                <a:ext uri="{FF2B5EF4-FFF2-40B4-BE49-F238E27FC236}">
                  <a16:creationId xmlns:a16="http://schemas.microsoft.com/office/drawing/2014/main" id="{C6E5C4C3-0AB4-4023-8682-F0AD227294CB}"/>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4" name="Freeform 84">
              <a:extLst>
                <a:ext uri="{FF2B5EF4-FFF2-40B4-BE49-F238E27FC236}">
                  <a16:creationId xmlns:a16="http://schemas.microsoft.com/office/drawing/2014/main" id="{B97EA17F-E820-4EFF-8C60-95A06BCDF11D}"/>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5" name="Freeform 85">
              <a:extLst>
                <a:ext uri="{FF2B5EF4-FFF2-40B4-BE49-F238E27FC236}">
                  <a16:creationId xmlns:a16="http://schemas.microsoft.com/office/drawing/2014/main" id="{131E540F-55D2-4006-8834-0F1FD1907314}"/>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6" name="Freeform 86">
              <a:extLst>
                <a:ext uri="{FF2B5EF4-FFF2-40B4-BE49-F238E27FC236}">
                  <a16:creationId xmlns:a16="http://schemas.microsoft.com/office/drawing/2014/main" id="{7D987961-3243-40A6-90CA-00D9AD162875}"/>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7" name="Freeform 87">
              <a:extLst>
                <a:ext uri="{FF2B5EF4-FFF2-40B4-BE49-F238E27FC236}">
                  <a16:creationId xmlns:a16="http://schemas.microsoft.com/office/drawing/2014/main" id="{ABD33F16-3509-4F80-988B-665950CB0ABC}"/>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8" name="Freeform 88">
              <a:extLst>
                <a:ext uri="{FF2B5EF4-FFF2-40B4-BE49-F238E27FC236}">
                  <a16:creationId xmlns:a16="http://schemas.microsoft.com/office/drawing/2014/main" id="{DB1ED5A2-3B59-4AF0-AAE6-0501EDDB26AC}"/>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9" name="Freeform 89">
              <a:extLst>
                <a:ext uri="{FF2B5EF4-FFF2-40B4-BE49-F238E27FC236}">
                  <a16:creationId xmlns:a16="http://schemas.microsoft.com/office/drawing/2014/main" id="{2106603A-8F39-42D6-B1DE-070FA0889A24}"/>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0" name="Freeform 90">
              <a:extLst>
                <a:ext uri="{FF2B5EF4-FFF2-40B4-BE49-F238E27FC236}">
                  <a16:creationId xmlns:a16="http://schemas.microsoft.com/office/drawing/2014/main" id="{D72B8D90-A6D2-4469-AD0F-753A37590509}"/>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1" name="Freeform 91">
              <a:extLst>
                <a:ext uri="{FF2B5EF4-FFF2-40B4-BE49-F238E27FC236}">
                  <a16:creationId xmlns:a16="http://schemas.microsoft.com/office/drawing/2014/main" id="{4086A718-DC10-4ABD-9A39-16979BFA7BC5}"/>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2" name="Freeform 92">
              <a:extLst>
                <a:ext uri="{FF2B5EF4-FFF2-40B4-BE49-F238E27FC236}">
                  <a16:creationId xmlns:a16="http://schemas.microsoft.com/office/drawing/2014/main" id="{1812FAEA-94DB-40EC-9B4F-B679C51A0EC6}"/>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3" name="Freeform 93">
              <a:extLst>
                <a:ext uri="{FF2B5EF4-FFF2-40B4-BE49-F238E27FC236}">
                  <a16:creationId xmlns:a16="http://schemas.microsoft.com/office/drawing/2014/main" id="{BA5E2700-F933-47D2-862C-A932A805ACB4}"/>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4" name="Freeform 94">
              <a:extLst>
                <a:ext uri="{FF2B5EF4-FFF2-40B4-BE49-F238E27FC236}">
                  <a16:creationId xmlns:a16="http://schemas.microsoft.com/office/drawing/2014/main" id="{0847955D-0A8E-45C2-8997-36D1499E7884}"/>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5" name="Freeform 95">
              <a:extLst>
                <a:ext uri="{FF2B5EF4-FFF2-40B4-BE49-F238E27FC236}">
                  <a16:creationId xmlns:a16="http://schemas.microsoft.com/office/drawing/2014/main" id="{17A8DFA0-F304-4C63-84BD-624306BBB1D6}"/>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6" name="Freeform 96">
              <a:extLst>
                <a:ext uri="{FF2B5EF4-FFF2-40B4-BE49-F238E27FC236}">
                  <a16:creationId xmlns:a16="http://schemas.microsoft.com/office/drawing/2014/main" id="{B95E7678-6DD0-4442-98C6-25A0965E8677}"/>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7" name="Freeform 97">
              <a:extLst>
                <a:ext uri="{FF2B5EF4-FFF2-40B4-BE49-F238E27FC236}">
                  <a16:creationId xmlns:a16="http://schemas.microsoft.com/office/drawing/2014/main" id="{2BCDC77B-2728-463D-82CF-73C96D77BFDF}"/>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8" name="Freeform 98">
              <a:extLst>
                <a:ext uri="{FF2B5EF4-FFF2-40B4-BE49-F238E27FC236}">
                  <a16:creationId xmlns:a16="http://schemas.microsoft.com/office/drawing/2014/main" id="{00173041-5C5E-4364-A960-B9F14DF6920E}"/>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9" name="Freeform 99">
              <a:extLst>
                <a:ext uri="{FF2B5EF4-FFF2-40B4-BE49-F238E27FC236}">
                  <a16:creationId xmlns:a16="http://schemas.microsoft.com/office/drawing/2014/main" id="{5B0A6D3D-9806-4EF1-8579-E41C636148B4}"/>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10" name="Freeform 100">
              <a:extLst>
                <a:ext uri="{FF2B5EF4-FFF2-40B4-BE49-F238E27FC236}">
                  <a16:creationId xmlns:a16="http://schemas.microsoft.com/office/drawing/2014/main" id="{8D4ADC7B-2D9B-4B07-A90D-211BD4DCB60F}"/>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11" name="Freeform 101">
              <a:extLst>
                <a:ext uri="{FF2B5EF4-FFF2-40B4-BE49-F238E27FC236}">
                  <a16:creationId xmlns:a16="http://schemas.microsoft.com/office/drawing/2014/main" id="{9965128A-520F-4D47-831E-7C40AC7A83C6}"/>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12" name="Freeform 102">
              <a:extLst>
                <a:ext uri="{FF2B5EF4-FFF2-40B4-BE49-F238E27FC236}">
                  <a16:creationId xmlns:a16="http://schemas.microsoft.com/office/drawing/2014/main" id="{A4DD5B32-4303-4B40-BE62-DD6157C9CE62}"/>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13" name="Freeform 103">
              <a:extLst>
                <a:ext uri="{FF2B5EF4-FFF2-40B4-BE49-F238E27FC236}">
                  <a16:creationId xmlns:a16="http://schemas.microsoft.com/office/drawing/2014/main" id="{40ED94EA-2D3E-4BDC-8C6C-75AD6879FA04}"/>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14" name="Freeform 104">
              <a:extLst>
                <a:ext uri="{FF2B5EF4-FFF2-40B4-BE49-F238E27FC236}">
                  <a16:creationId xmlns:a16="http://schemas.microsoft.com/office/drawing/2014/main" id="{54780562-5C1B-44EA-BDBB-F1B15F1C136B}"/>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15" name="Freeform 105">
              <a:extLst>
                <a:ext uri="{FF2B5EF4-FFF2-40B4-BE49-F238E27FC236}">
                  <a16:creationId xmlns:a16="http://schemas.microsoft.com/office/drawing/2014/main" id="{50AA1CE6-E207-402A-B793-294ED2A09D42}"/>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Tree>
    <p:extLst>
      <p:ext uri="{BB962C8B-B14F-4D97-AF65-F5344CB8AC3E}">
        <p14:creationId xmlns:p14="http://schemas.microsoft.com/office/powerpoint/2010/main" val="1374207648"/>
      </p:ext>
    </p:extLst>
  </p:cSld>
  <p:clrMapOvr>
    <a:masterClrMapping/>
  </p:clrMapOvr>
  <p:extLst>
    <p:ext uri="{DCECCB84-F9BA-43D5-87BE-67443E8EF086}">
      <p15:sldGuideLst xmlns:p15="http://schemas.microsoft.com/office/powerpoint/2012/main">
        <p15:guide id="1" orient="horz" pos="4200">
          <p15:clr>
            <a:srgbClr val="FBAE40"/>
          </p15:clr>
        </p15:guide>
        <p15:guide id="4" pos="5496">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Print Divider Speaker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58488" name="Rectangle 56"/>
          <p:cNvSpPr>
            <a:spLocks noGrp="1" noChangeArrowheads="1"/>
          </p:cNvSpPr>
          <p:nvPr>
            <p:ph type="ctrTitle"/>
          </p:nvPr>
        </p:nvSpPr>
        <p:spPr>
          <a:xfrm>
            <a:off x="679879" y="2040360"/>
            <a:ext cx="7825945" cy="608013"/>
          </a:xfrm>
          <a:ln algn="ctr"/>
        </p:spPr>
        <p:txBody>
          <a:bodyPr lIns="91440" tIns="45720" anchor="b"/>
          <a:lstStyle>
            <a:lvl1pPr>
              <a:defRPr sz="2800">
                <a:solidFill>
                  <a:srgbClr val="333F48"/>
                </a:solidFill>
              </a:defRPr>
            </a:lvl1pPr>
          </a:lstStyle>
          <a:p>
            <a:r>
              <a:rPr lang="en-US"/>
              <a:t>Click to edit Master title style</a:t>
            </a:r>
            <a:endParaRPr lang="en-US" dirty="0"/>
          </a:p>
        </p:txBody>
      </p:sp>
      <p:sp>
        <p:nvSpPr>
          <p:cNvPr id="658489" name="Rectangle 57"/>
          <p:cNvSpPr>
            <a:spLocks noGrp="1" noChangeArrowheads="1"/>
          </p:cNvSpPr>
          <p:nvPr>
            <p:ph type="subTitle" idx="1"/>
          </p:nvPr>
        </p:nvSpPr>
        <p:spPr>
          <a:xfrm>
            <a:off x="679880" y="2819387"/>
            <a:ext cx="7825945" cy="282925"/>
          </a:xfrm>
          <a:ln algn="ctr"/>
        </p:spPr>
        <p:txBody>
          <a:bodyPr tIns="0"/>
          <a:lstStyle>
            <a:lvl1pPr marL="0" indent="0" algn="l" rtl="0" fontAlgn="base">
              <a:lnSpc>
                <a:spcPct val="100000"/>
              </a:lnSpc>
              <a:spcBef>
                <a:spcPts val="600"/>
              </a:spcBef>
              <a:spcAft>
                <a:spcPct val="0"/>
              </a:spcAft>
              <a:defRPr lang="en-US" sz="1600" b="1" kern="1200" baseline="0" dirty="0">
                <a:solidFill>
                  <a:srgbClr val="768692"/>
                </a:solidFill>
                <a:latin typeface="Arial"/>
                <a:ea typeface="ＭＳ Ｐゴシック" pitchFamily="34" charset="-128"/>
                <a:cs typeface="+mn-cs"/>
              </a:defRPr>
            </a:lvl1pPr>
          </a:lstStyle>
          <a:p>
            <a:r>
              <a:rPr lang="en-US"/>
              <a:t>Click to edit Master subtitle style</a:t>
            </a:r>
            <a:endParaRPr lang="en-US" dirty="0"/>
          </a:p>
        </p:txBody>
      </p:sp>
      <p:cxnSp>
        <p:nvCxnSpPr>
          <p:cNvPr id="6" name="Straight Connector 5"/>
          <p:cNvCxnSpPr/>
          <p:nvPr userDrawn="1"/>
        </p:nvCxnSpPr>
        <p:spPr bwMode="auto">
          <a:xfrm>
            <a:off x="791746" y="2642460"/>
            <a:ext cx="8352254" cy="0"/>
          </a:xfrm>
          <a:prstGeom prst="line">
            <a:avLst/>
          </a:prstGeom>
          <a:solidFill>
            <a:srgbClr val="009681"/>
          </a:solidFill>
          <a:ln w="9525" cap="flat" cmpd="sng" algn="ctr">
            <a:solidFill>
              <a:srgbClr val="768692"/>
            </a:solidFill>
            <a:prstDash val="solid"/>
            <a:round/>
            <a:headEnd type="none" w="med" len="med"/>
            <a:tailEnd type="none" w="med" len="med"/>
          </a:ln>
          <a:effectLst/>
        </p:spPr>
      </p:cxnSp>
      <p:grpSp>
        <p:nvGrpSpPr>
          <p:cNvPr id="61" name="Group 60">
            <a:extLst>
              <a:ext uri="{FF2B5EF4-FFF2-40B4-BE49-F238E27FC236}">
                <a16:creationId xmlns:a16="http://schemas.microsoft.com/office/drawing/2014/main" id="{3EF48CAB-2355-427D-924E-A3C73D558CC0}"/>
              </a:ext>
            </a:extLst>
          </p:cNvPr>
          <p:cNvGrpSpPr/>
          <p:nvPr userDrawn="1"/>
        </p:nvGrpSpPr>
        <p:grpSpPr>
          <a:xfrm>
            <a:off x="7358173" y="6361974"/>
            <a:ext cx="1382376" cy="297562"/>
            <a:chOff x="6923088" y="4475163"/>
            <a:chExt cx="1873251" cy="403225"/>
          </a:xfrm>
        </p:grpSpPr>
        <p:sp>
          <p:nvSpPr>
            <p:cNvPr id="62" name="AutoShape 4">
              <a:extLst>
                <a:ext uri="{FF2B5EF4-FFF2-40B4-BE49-F238E27FC236}">
                  <a16:creationId xmlns:a16="http://schemas.microsoft.com/office/drawing/2014/main" id="{88F61506-36CF-4E28-A2C9-50C6F1D3E7EA}"/>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3" name="Freeform 6">
              <a:extLst>
                <a:ext uri="{FF2B5EF4-FFF2-40B4-BE49-F238E27FC236}">
                  <a16:creationId xmlns:a16="http://schemas.microsoft.com/office/drawing/2014/main" id="{73C51A6E-0D3D-4E49-962B-03B20A133E87}"/>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4" name="Freeform 7">
              <a:extLst>
                <a:ext uri="{FF2B5EF4-FFF2-40B4-BE49-F238E27FC236}">
                  <a16:creationId xmlns:a16="http://schemas.microsoft.com/office/drawing/2014/main" id="{BFBB4A40-9F9E-492F-A7C4-F537841EF997}"/>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5" name="Freeform 83">
              <a:extLst>
                <a:ext uri="{FF2B5EF4-FFF2-40B4-BE49-F238E27FC236}">
                  <a16:creationId xmlns:a16="http://schemas.microsoft.com/office/drawing/2014/main" id="{E0757797-0F34-4362-9192-0FE6E5D5173E}"/>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6" name="Freeform 84">
              <a:extLst>
                <a:ext uri="{FF2B5EF4-FFF2-40B4-BE49-F238E27FC236}">
                  <a16:creationId xmlns:a16="http://schemas.microsoft.com/office/drawing/2014/main" id="{D3A178E0-80C8-403E-B76D-F2AFD23DC598}"/>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7" name="Freeform 85">
              <a:extLst>
                <a:ext uri="{FF2B5EF4-FFF2-40B4-BE49-F238E27FC236}">
                  <a16:creationId xmlns:a16="http://schemas.microsoft.com/office/drawing/2014/main" id="{A421C42C-F506-4D4F-AA27-AC6649BA3F01}"/>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8" name="Freeform 86">
              <a:extLst>
                <a:ext uri="{FF2B5EF4-FFF2-40B4-BE49-F238E27FC236}">
                  <a16:creationId xmlns:a16="http://schemas.microsoft.com/office/drawing/2014/main" id="{729B0490-C9D6-4DBB-903A-C2F59D882E77}"/>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9" name="Freeform 87">
              <a:extLst>
                <a:ext uri="{FF2B5EF4-FFF2-40B4-BE49-F238E27FC236}">
                  <a16:creationId xmlns:a16="http://schemas.microsoft.com/office/drawing/2014/main" id="{062DA5E6-2BC9-4B3D-8269-FC39B0A87F02}"/>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70" name="Freeform 88">
              <a:extLst>
                <a:ext uri="{FF2B5EF4-FFF2-40B4-BE49-F238E27FC236}">
                  <a16:creationId xmlns:a16="http://schemas.microsoft.com/office/drawing/2014/main" id="{B62BD2CA-35DA-43EC-ADD6-9A7645ACAF0F}"/>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71" name="Freeform 89">
              <a:extLst>
                <a:ext uri="{FF2B5EF4-FFF2-40B4-BE49-F238E27FC236}">
                  <a16:creationId xmlns:a16="http://schemas.microsoft.com/office/drawing/2014/main" id="{7AEC0B98-C6CD-4FAF-A048-2B9D584D113F}"/>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72" name="Freeform 90">
              <a:extLst>
                <a:ext uri="{FF2B5EF4-FFF2-40B4-BE49-F238E27FC236}">
                  <a16:creationId xmlns:a16="http://schemas.microsoft.com/office/drawing/2014/main" id="{A89FA9C4-A3F0-4CBC-A3C7-1383AB133D89}"/>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73" name="Freeform 91">
              <a:extLst>
                <a:ext uri="{FF2B5EF4-FFF2-40B4-BE49-F238E27FC236}">
                  <a16:creationId xmlns:a16="http://schemas.microsoft.com/office/drawing/2014/main" id="{7E22A295-35E8-46A8-AE0D-0B878370A1E5}"/>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74" name="Freeform 92">
              <a:extLst>
                <a:ext uri="{FF2B5EF4-FFF2-40B4-BE49-F238E27FC236}">
                  <a16:creationId xmlns:a16="http://schemas.microsoft.com/office/drawing/2014/main" id="{04507016-C573-4138-968A-8C0096A114BE}"/>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75" name="Freeform 93">
              <a:extLst>
                <a:ext uri="{FF2B5EF4-FFF2-40B4-BE49-F238E27FC236}">
                  <a16:creationId xmlns:a16="http://schemas.microsoft.com/office/drawing/2014/main" id="{B2E70FFA-0DA9-40E1-9E0F-7C78D061FB05}"/>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76" name="Freeform 94">
              <a:extLst>
                <a:ext uri="{FF2B5EF4-FFF2-40B4-BE49-F238E27FC236}">
                  <a16:creationId xmlns:a16="http://schemas.microsoft.com/office/drawing/2014/main" id="{984CCE0A-9A73-4F22-9558-658EB334C6C6}"/>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77" name="Freeform 95">
              <a:extLst>
                <a:ext uri="{FF2B5EF4-FFF2-40B4-BE49-F238E27FC236}">
                  <a16:creationId xmlns:a16="http://schemas.microsoft.com/office/drawing/2014/main" id="{F951CC34-18E7-4AF8-9426-5F72C121F696}"/>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78" name="Freeform 96">
              <a:extLst>
                <a:ext uri="{FF2B5EF4-FFF2-40B4-BE49-F238E27FC236}">
                  <a16:creationId xmlns:a16="http://schemas.microsoft.com/office/drawing/2014/main" id="{6F2985CA-8E29-4063-8731-E5F2BD1D8B53}"/>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79" name="Freeform 97">
              <a:extLst>
                <a:ext uri="{FF2B5EF4-FFF2-40B4-BE49-F238E27FC236}">
                  <a16:creationId xmlns:a16="http://schemas.microsoft.com/office/drawing/2014/main" id="{5780A8E9-9129-4E4F-A3D0-4CAEEC8200EC}"/>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0" name="Freeform 98">
              <a:extLst>
                <a:ext uri="{FF2B5EF4-FFF2-40B4-BE49-F238E27FC236}">
                  <a16:creationId xmlns:a16="http://schemas.microsoft.com/office/drawing/2014/main" id="{137BAF9B-4A9F-4CD8-B122-71BCB60C9215}"/>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1" name="Freeform 99">
              <a:extLst>
                <a:ext uri="{FF2B5EF4-FFF2-40B4-BE49-F238E27FC236}">
                  <a16:creationId xmlns:a16="http://schemas.microsoft.com/office/drawing/2014/main" id="{0C1228B8-0324-4403-AEF6-FCC4AB492C1C}"/>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2" name="Freeform 100">
              <a:extLst>
                <a:ext uri="{FF2B5EF4-FFF2-40B4-BE49-F238E27FC236}">
                  <a16:creationId xmlns:a16="http://schemas.microsoft.com/office/drawing/2014/main" id="{B181299C-0CF4-44EA-97F9-852F64FEAEC9}"/>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3" name="Freeform 101">
              <a:extLst>
                <a:ext uri="{FF2B5EF4-FFF2-40B4-BE49-F238E27FC236}">
                  <a16:creationId xmlns:a16="http://schemas.microsoft.com/office/drawing/2014/main" id="{0F5CD9DF-80B7-459E-BDE7-37FB8B95C2C7}"/>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4" name="Freeform 102">
              <a:extLst>
                <a:ext uri="{FF2B5EF4-FFF2-40B4-BE49-F238E27FC236}">
                  <a16:creationId xmlns:a16="http://schemas.microsoft.com/office/drawing/2014/main" id="{E5CE1E15-24A0-4D9A-A134-E24CABC9C586}"/>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5" name="Freeform 103">
              <a:extLst>
                <a:ext uri="{FF2B5EF4-FFF2-40B4-BE49-F238E27FC236}">
                  <a16:creationId xmlns:a16="http://schemas.microsoft.com/office/drawing/2014/main" id="{D022E516-EE17-4E1A-91D7-26798C179342}"/>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6" name="Freeform 104">
              <a:extLst>
                <a:ext uri="{FF2B5EF4-FFF2-40B4-BE49-F238E27FC236}">
                  <a16:creationId xmlns:a16="http://schemas.microsoft.com/office/drawing/2014/main" id="{99FC2710-29FD-4CB1-A61F-B17E55A42D26}"/>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7" name="Freeform 105">
              <a:extLst>
                <a:ext uri="{FF2B5EF4-FFF2-40B4-BE49-F238E27FC236}">
                  <a16:creationId xmlns:a16="http://schemas.microsoft.com/office/drawing/2014/main" id="{CA07087F-3570-4D22-B714-C015539D263C}"/>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88" name="Rectangle 176">
            <a:extLst>
              <a:ext uri="{FF2B5EF4-FFF2-40B4-BE49-F238E27FC236}">
                <a16:creationId xmlns:a16="http://schemas.microsoft.com/office/drawing/2014/main" id="{F63D2447-968D-4391-82CF-99220D3851CF}"/>
              </a:ext>
            </a:extLst>
          </p:cNvPr>
          <p:cNvSpPr>
            <a:spLocks noGrp="1" noChangeArrowheads="1"/>
          </p:cNvSpPr>
          <p:nvPr>
            <p:ph type="ftr" sz="quarter" idx="13"/>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4154152595"/>
      </p:ext>
    </p:extLst>
  </p:cSld>
  <p:clrMapOvr>
    <a:masterClrMapping/>
  </p:clrMapOvr>
  <p:extLst>
    <p:ext uri="{DCECCB84-F9BA-43D5-87BE-67443E8EF086}">
      <p15:sldGuideLst xmlns:p15="http://schemas.microsoft.com/office/powerpoint/2012/main">
        <p15:guide id="1" orient="horz" pos="4200">
          <p15:clr>
            <a:srgbClr val="FBAE40"/>
          </p15:clr>
        </p15:guide>
        <p15:guide id="2" pos="288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OC/Agenda">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a:noFill/>
          <a:ln w="9525">
            <a:noFill/>
            <a:miter lim="800000"/>
            <a:headEnd/>
            <a:tailEnd/>
          </a:ln>
          <a:effectLst/>
        </p:spPr>
        <p:txBody>
          <a:bodyPr tIns="45720" anchor="t" anchorCtr="0"/>
          <a:lstStyle>
            <a:lvl1pPr>
              <a:defRPr kumimoji="0" lang="en-US" sz="2400" b="0" i="0" u="none" strike="noStrike" kern="0" cap="none" spc="0" normalizeH="0" baseline="0" noProof="0" dirty="0">
                <a:ln>
                  <a:noFill/>
                </a:ln>
                <a:solidFill>
                  <a:srgbClr val="333F48"/>
                </a:solidFill>
                <a:effectLst/>
                <a:uLnTx/>
                <a:uFillTx/>
                <a:latin typeface="+mj-lt"/>
                <a:ea typeface="+mj-ea"/>
                <a:cs typeface="+mj-cs"/>
              </a:defRPr>
            </a:lvl1pPr>
          </a:lstStyle>
          <a:p>
            <a:pPr lvl="0"/>
            <a:r>
              <a:rPr lang="en-US"/>
              <a:t>Click to edit Master title style</a:t>
            </a:r>
            <a:endParaRPr lang="en-US" dirty="0"/>
          </a:p>
        </p:txBody>
      </p:sp>
      <p:sp>
        <p:nvSpPr>
          <p:cNvPr id="10" name="Content Placeholder 9"/>
          <p:cNvSpPr>
            <a:spLocks noGrp="1"/>
          </p:cNvSpPr>
          <p:nvPr>
            <p:ph sz="quarter" idx="13"/>
          </p:nvPr>
        </p:nvSpPr>
        <p:spPr>
          <a:xfrm>
            <a:off x="317115" y="1264280"/>
            <a:ext cx="8188710" cy="3602443"/>
          </a:xfrm>
        </p:spPr>
        <p:txBody>
          <a:bodyPr/>
          <a:lstStyle>
            <a:lvl1pPr marL="227013" indent="-227013">
              <a:spcBef>
                <a:spcPts val="600"/>
              </a:spcBef>
              <a:buClr>
                <a:srgbClr val="7A9B3D"/>
              </a:buClr>
              <a:buSzPct val="100000"/>
              <a:buFont typeface="+mj-lt"/>
              <a:buAutoNum type="arabicPeriod"/>
              <a:defRPr sz="1400" b="0" i="0" baseline="0">
                <a:solidFill>
                  <a:srgbClr val="000000"/>
                </a:solidFill>
                <a:latin typeface="Arial" pitchFamily="34" charset="0"/>
              </a:defRPr>
            </a:lvl1pPr>
            <a:lvl2pPr marL="461963" indent="-217488">
              <a:spcBef>
                <a:spcPts val="600"/>
              </a:spcBef>
              <a:buClr>
                <a:srgbClr val="768692"/>
              </a:buClr>
              <a:buFont typeface="+mj-lt"/>
              <a:buAutoNum type="alphaUcPeriod"/>
              <a:defRPr sz="1200" baseline="0">
                <a:solidFill>
                  <a:srgbClr val="000000"/>
                </a:solidFill>
                <a:latin typeface="Arial" pitchFamily="34" charset="0"/>
              </a:defRPr>
            </a:lvl2pPr>
            <a:lvl3pPr>
              <a:spcBef>
                <a:spcPts val="600"/>
              </a:spcBef>
              <a:buClr>
                <a:srgbClr val="000000"/>
              </a:buClr>
              <a:defRPr baseline="0">
                <a:solidFill>
                  <a:srgbClr val="000000"/>
                </a:solidFill>
              </a:defRPr>
            </a:lvl3pPr>
          </a:lstStyle>
          <a:p>
            <a:pPr lvl="0"/>
            <a:r>
              <a:rPr lang="en-US"/>
              <a:t>Click to edit Master text styles</a:t>
            </a:r>
          </a:p>
          <a:p>
            <a:pPr lvl="1"/>
            <a:r>
              <a:rPr lang="en-US"/>
              <a:t>Second level</a:t>
            </a:r>
          </a:p>
          <a:p>
            <a:pPr lvl="2"/>
            <a:r>
              <a:rPr lang="en-US"/>
              <a:t>Third level</a:t>
            </a:r>
          </a:p>
        </p:txBody>
      </p:sp>
      <p:sp>
        <p:nvSpPr>
          <p:cNvPr id="5"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dirty="0"/>
              <a:t>Page footer, i.e., For institutional use only.</a:t>
            </a:r>
          </a:p>
        </p:txBody>
      </p:sp>
      <p:sp>
        <p:nvSpPr>
          <p:cNvPr id="7"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dirty="0"/>
              <a:t>Production code #</a:t>
            </a:r>
          </a:p>
        </p:txBody>
      </p:sp>
      <p:sp>
        <p:nvSpPr>
          <p:cNvPr id="36" name="Text Box 5">
            <a:extLst>
              <a:ext uri="{FF2B5EF4-FFF2-40B4-BE49-F238E27FC236}">
                <a16:creationId xmlns:a16="http://schemas.microsoft.com/office/drawing/2014/main" id="{7B9E22C7-D90B-4DA1-A370-85A989E67D69}"/>
              </a:ext>
            </a:extLst>
          </p:cNvPr>
          <p:cNvSpPr txBox="1">
            <a:spLocks noChangeArrowheads="1"/>
          </p:cNvSpPr>
          <p:nvPr userDrawn="1"/>
        </p:nvSpPr>
        <p:spPr bwMode="auto">
          <a:xfrm>
            <a:off x="320038" y="6336792"/>
            <a:ext cx="6844022" cy="219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anchor="b"/>
          <a:lstStyle>
            <a:lvl1pPr eaLnBrk="0" hangingPunct="0">
              <a:spcBef>
                <a:spcPct val="20000"/>
              </a:spcBef>
              <a:buSzPct val="40000"/>
              <a:defRPr sz="1600" b="1">
                <a:solidFill>
                  <a:schemeClr val="accent1"/>
                </a:solidFill>
                <a:latin typeface="Arial" charset="0"/>
              </a:defRPr>
            </a:lvl1pPr>
            <a:lvl2pPr marL="742950" indent="-285750" eaLnBrk="0" hangingPunct="0">
              <a:spcBef>
                <a:spcPct val="20000"/>
              </a:spcBef>
              <a:buClr>
                <a:srgbClr val="978981"/>
              </a:buClr>
              <a:buChar char="•"/>
              <a:defRPr sz="1400">
                <a:solidFill>
                  <a:schemeClr val="tx1"/>
                </a:solidFill>
                <a:latin typeface="Arial" charset="0"/>
              </a:defRPr>
            </a:lvl2pPr>
            <a:lvl3pPr marL="1143000" indent="-228600" eaLnBrk="0" hangingPunct="0">
              <a:spcBef>
                <a:spcPct val="20000"/>
              </a:spcBef>
              <a:buClr>
                <a:schemeClr val="accent1"/>
              </a:buClr>
              <a:buFont typeface="Arial" charset="0"/>
              <a:buChar char="–"/>
              <a:defRPr sz="1200">
                <a:solidFill>
                  <a:schemeClr val="accent1"/>
                </a:solidFill>
                <a:latin typeface="Arial" charset="0"/>
              </a:defRPr>
            </a:lvl3pPr>
            <a:lvl4pPr marL="1600200" indent="-228600" eaLnBrk="0" hangingPunct="0">
              <a:spcBef>
                <a:spcPct val="20000"/>
              </a:spcBef>
              <a:buFont typeface="Arial" charset="0"/>
              <a:buChar char="•"/>
              <a:defRPr sz="1200">
                <a:solidFill>
                  <a:srgbClr val="4C5F6C"/>
                </a:solidFill>
                <a:latin typeface="Arial" charset="0"/>
              </a:defRPr>
            </a:lvl4pPr>
            <a:lvl5pPr marL="2057400" indent="-228600" eaLnBrk="0" hangingPunct="0">
              <a:lnSpc>
                <a:spcPts val="2400"/>
              </a:lnSpc>
              <a:defRPr sz="1400">
                <a:solidFill>
                  <a:schemeClr val="tx1"/>
                </a:solidFill>
                <a:latin typeface="Arial" charset="0"/>
              </a:defRPr>
            </a:lvl5pPr>
            <a:lvl6pPr marL="2514600" indent="-228600" eaLnBrk="0" fontAlgn="base" hangingPunct="0">
              <a:lnSpc>
                <a:spcPts val="2400"/>
              </a:lnSpc>
              <a:spcBef>
                <a:spcPct val="0"/>
              </a:spcBef>
              <a:spcAft>
                <a:spcPct val="0"/>
              </a:spcAft>
              <a:defRPr sz="1400">
                <a:solidFill>
                  <a:schemeClr val="tx1"/>
                </a:solidFill>
                <a:latin typeface="Arial" charset="0"/>
              </a:defRPr>
            </a:lvl6pPr>
            <a:lvl7pPr marL="2971800" indent="-228600" eaLnBrk="0" fontAlgn="base" hangingPunct="0">
              <a:lnSpc>
                <a:spcPts val="2400"/>
              </a:lnSpc>
              <a:spcBef>
                <a:spcPct val="0"/>
              </a:spcBef>
              <a:spcAft>
                <a:spcPct val="0"/>
              </a:spcAft>
              <a:defRPr sz="1400">
                <a:solidFill>
                  <a:schemeClr val="tx1"/>
                </a:solidFill>
                <a:latin typeface="Arial" charset="0"/>
              </a:defRPr>
            </a:lvl7pPr>
            <a:lvl8pPr marL="3429000" indent="-228600" eaLnBrk="0" fontAlgn="base" hangingPunct="0">
              <a:lnSpc>
                <a:spcPts val="2400"/>
              </a:lnSpc>
              <a:spcBef>
                <a:spcPct val="0"/>
              </a:spcBef>
              <a:spcAft>
                <a:spcPct val="0"/>
              </a:spcAft>
              <a:defRPr sz="1400">
                <a:solidFill>
                  <a:schemeClr val="tx1"/>
                </a:solidFill>
                <a:latin typeface="Arial" charset="0"/>
              </a:defRPr>
            </a:lvl8pPr>
            <a:lvl9pPr marL="3886200" indent="-228600" eaLnBrk="0" fontAlgn="base" hangingPunct="0">
              <a:lnSpc>
                <a:spcPts val="2400"/>
              </a:lnSpc>
              <a:spcBef>
                <a:spcPct val="0"/>
              </a:spcBef>
              <a:spcAft>
                <a:spcPct val="0"/>
              </a:spcAft>
              <a:defRPr sz="1400">
                <a:solidFill>
                  <a:schemeClr val="tx1"/>
                </a:solidFill>
                <a:latin typeface="Arial" charset="0"/>
              </a:defRPr>
            </a:lvl9pPr>
          </a:lstStyle>
          <a:p>
            <a:pPr eaLnBrk="1" hangingPunct="1">
              <a:spcBef>
                <a:spcPct val="0"/>
              </a:spcBef>
              <a:spcAft>
                <a:spcPts val="300"/>
              </a:spcAft>
              <a:buSzTx/>
              <a:defRPr/>
            </a:pPr>
            <a:r>
              <a:rPr lang="en-US" sz="800" b="0" i="1" kern="0" dirty="0">
                <a:solidFill>
                  <a:srgbClr val="000000"/>
                </a:solidFill>
                <a:latin typeface="Arial" panose="020B0604020202020204" pitchFamily="34" charset="0"/>
                <a:cs typeface="+mn-cs"/>
              </a:rPr>
              <a:t>Current performance may substantially differ from, and could be significantly lower than, performance shown due to recent significant market volatility. Please contact FIAM for updated performance numbers after the tenth business day following quarter end.</a:t>
            </a:r>
          </a:p>
          <a:p>
            <a:pPr eaLnBrk="1" hangingPunct="1">
              <a:spcBef>
                <a:spcPct val="0"/>
              </a:spcBef>
              <a:spcAft>
                <a:spcPts val="300"/>
              </a:spcAft>
              <a:buSzTx/>
              <a:defRPr/>
            </a:pPr>
            <a:r>
              <a:rPr lang="en-US" altLang="en-US" sz="800" b="0" i="1" kern="0" dirty="0">
                <a:solidFill>
                  <a:srgbClr val="000000"/>
                </a:solidFill>
                <a:latin typeface="Arial" panose="020B0604020202020204" pitchFamily="34" charset="0"/>
                <a:cs typeface="+mn-cs"/>
              </a:rPr>
              <a:t>This document does not make an offer or solicitation to buy or sell any securities or services, and is not investment advice. FIAM does not provide legal or tax advice and we encourage you to consult your own lawyer, accountant, or other advisor before making an investment.</a:t>
            </a:r>
          </a:p>
          <a:p>
            <a:pPr eaLnBrk="1" hangingPunct="1">
              <a:spcBef>
                <a:spcPct val="0"/>
              </a:spcBef>
              <a:spcAft>
                <a:spcPts val="300"/>
              </a:spcAft>
              <a:buSzTx/>
              <a:defRPr/>
            </a:pPr>
            <a:r>
              <a:rPr lang="en-US" altLang="en-US" sz="800" b="0" i="1" kern="0" dirty="0">
                <a:solidFill>
                  <a:srgbClr val="000000"/>
                </a:solidFill>
                <a:latin typeface="Arial" panose="020B0604020202020204" pitchFamily="34" charset="0"/>
                <a:cs typeface="+mn-cs"/>
              </a:rPr>
              <a:t>Information provided in this document is for informational and educational purposes only. To the extent any investment information in this material is deemed to be a recommendation, it is not meant to be impartial investment advice or advice in a fiduciary capacity and is not intended to be used as a primary basis for you or your client’s investment decisions. Fidelity and its representatives may have a conflict of interest in the products or services mentioned in this material because they have a financial interest in them, and receive compensation, directly or indirectly, in connection with the management, distribution, and/or servicing of these products or services, including Fidelity funds, certain third-party funds and products, and certain investment services. </a:t>
            </a:r>
          </a:p>
          <a:p>
            <a:pPr>
              <a:lnSpc>
                <a:spcPts val="1000"/>
              </a:lnSpc>
              <a:spcBef>
                <a:spcPct val="0"/>
              </a:spcBef>
              <a:spcAft>
                <a:spcPts val="300"/>
              </a:spcAft>
              <a:buSzTx/>
            </a:pPr>
            <a:r>
              <a:rPr lang="en-US" altLang="en-US" sz="800" b="0" dirty="0">
                <a:solidFill>
                  <a:srgbClr val="000000"/>
                </a:solidFill>
                <a:latin typeface="Arial" panose="020B0604020202020204" pitchFamily="34" charset="0"/>
                <a:cs typeface="+mn-cs"/>
              </a:rPr>
              <a:t>See “Important Information” for a discussion of performance data, some of the principal risks related to any of the investment strategies </a:t>
            </a:r>
            <a:br>
              <a:rPr lang="en-US" altLang="en-US" sz="800" b="0" dirty="0">
                <a:solidFill>
                  <a:srgbClr val="000000"/>
                </a:solidFill>
                <a:latin typeface="Arial" panose="020B0604020202020204" pitchFamily="34" charset="0"/>
                <a:cs typeface="+mn-cs"/>
              </a:rPr>
            </a:br>
            <a:r>
              <a:rPr lang="en-US" altLang="en-US" sz="800" b="0" dirty="0">
                <a:solidFill>
                  <a:srgbClr val="000000"/>
                </a:solidFill>
                <a:latin typeface="Arial" panose="020B0604020202020204" pitchFamily="34" charset="0"/>
                <a:cs typeface="+mn-cs"/>
              </a:rPr>
              <a:t>referred to in this presentation, and other information related to this presentation.</a:t>
            </a:r>
          </a:p>
        </p:txBody>
      </p:sp>
      <p:grpSp>
        <p:nvGrpSpPr>
          <p:cNvPr id="35" name="Group 34">
            <a:extLst>
              <a:ext uri="{FF2B5EF4-FFF2-40B4-BE49-F238E27FC236}">
                <a16:creationId xmlns:a16="http://schemas.microsoft.com/office/drawing/2014/main" id="{B525258B-2348-4903-9B4F-BE4C6EF94DEB}"/>
              </a:ext>
            </a:extLst>
          </p:cNvPr>
          <p:cNvGrpSpPr/>
          <p:nvPr userDrawn="1"/>
        </p:nvGrpSpPr>
        <p:grpSpPr>
          <a:xfrm>
            <a:off x="7358173" y="6361974"/>
            <a:ext cx="1382376" cy="297562"/>
            <a:chOff x="6923088" y="4475163"/>
            <a:chExt cx="1873251" cy="403225"/>
          </a:xfrm>
        </p:grpSpPr>
        <p:sp>
          <p:nvSpPr>
            <p:cNvPr id="37" name="AutoShape 4">
              <a:extLst>
                <a:ext uri="{FF2B5EF4-FFF2-40B4-BE49-F238E27FC236}">
                  <a16:creationId xmlns:a16="http://schemas.microsoft.com/office/drawing/2014/main" id="{FC4144FC-C037-499B-8A95-5F0B44B0FEB7}"/>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8" name="Freeform 6">
              <a:extLst>
                <a:ext uri="{FF2B5EF4-FFF2-40B4-BE49-F238E27FC236}">
                  <a16:creationId xmlns:a16="http://schemas.microsoft.com/office/drawing/2014/main" id="{6B2ACA95-5637-488E-85A5-1732CCB24885}"/>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9" name="Freeform 7">
              <a:extLst>
                <a:ext uri="{FF2B5EF4-FFF2-40B4-BE49-F238E27FC236}">
                  <a16:creationId xmlns:a16="http://schemas.microsoft.com/office/drawing/2014/main" id="{C77C09E5-AC02-47A1-AFAF-3EEE9D22EAC4}"/>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0" name="Freeform 83">
              <a:extLst>
                <a:ext uri="{FF2B5EF4-FFF2-40B4-BE49-F238E27FC236}">
                  <a16:creationId xmlns:a16="http://schemas.microsoft.com/office/drawing/2014/main" id="{F281DB8F-02B0-4E7E-9CEA-91F763EA3C82}"/>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1" name="Freeform 84">
              <a:extLst>
                <a:ext uri="{FF2B5EF4-FFF2-40B4-BE49-F238E27FC236}">
                  <a16:creationId xmlns:a16="http://schemas.microsoft.com/office/drawing/2014/main" id="{923F942A-B607-4731-BF3F-24104CDAB12B}"/>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2" name="Freeform 85">
              <a:extLst>
                <a:ext uri="{FF2B5EF4-FFF2-40B4-BE49-F238E27FC236}">
                  <a16:creationId xmlns:a16="http://schemas.microsoft.com/office/drawing/2014/main" id="{5DF8A0F3-DEE1-4AEC-9A0D-23C1A8CEBDD5}"/>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3" name="Freeform 86">
              <a:extLst>
                <a:ext uri="{FF2B5EF4-FFF2-40B4-BE49-F238E27FC236}">
                  <a16:creationId xmlns:a16="http://schemas.microsoft.com/office/drawing/2014/main" id="{0459FFCA-840D-4211-B211-7C59287653FF}"/>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4" name="Freeform 87">
              <a:extLst>
                <a:ext uri="{FF2B5EF4-FFF2-40B4-BE49-F238E27FC236}">
                  <a16:creationId xmlns:a16="http://schemas.microsoft.com/office/drawing/2014/main" id="{41319F0C-F4AD-438F-B97A-3980E05A1B17}"/>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5" name="Freeform 88">
              <a:extLst>
                <a:ext uri="{FF2B5EF4-FFF2-40B4-BE49-F238E27FC236}">
                  <a16:creationId xmlns:a16="http://schemas.microsoft.com/office/drawing/2014/main" id="{A5D8392A-27E2-4989-8942-EE284BCD9820}"/>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6" name="Freeform 89">
              <a:extLst>
                <a:ext uri="{FF2B5EF4-FFF2-40B4-BE49-F238E27FC236}">
                  <a16:creationId xmlns:a16="http://schemas.microsoft.com/office/drawing/2014/main" id="{BE4CB943-0848-4D80-A244-C2DB4C491711}"/>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7" name="Freeform 90">
              <a:extLst>
                <a:ext uri="{FF2B5EF4-FFF2-40B4-BE49-F238E27FC236}">
                  <a16:creationId xmlns:a16="http://schemas.microsoft.com/office/drawing/2014/main" id="{1E015C79-2C79-4220-8420-629436D62394}"/>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8" name="Freeform 91">
              <a:extLst>
                <a:ext uri="{FF2B5EF4-FFF2-40B4-BE49-F238E27FC236}">
                  <a16:creationId xmlns:a16="http://schemas.microsoft.com/office/drawing/2014/main" id="{B17F6FBF-8DA0-45D5-9040-A8C6570FDF86}"/>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9" name="Freeform 92">
              <a:extLst>
                <a:ext uri="{FF2B5EF4-FFF2-40B4-BE49-F238E27FC236}">
                  <a16:creationId xmlns:a16="http://schemas.microsoft.com/office/drawing/2014/main" id="{9E026874-0653-4EAF-A72F-F609A8B73E2E}"/>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0" name="Freeform 93">
              <a:extLst>
                <a:ext uri="{FF2B5EF4-FFF2-40B4-BE49-F238E27FC236}">
                  <a16:creationId xmlns:a16="http://schemas.microsoft.com/office/drawing/2014/main" id="{D3E9F9FB-41CB-4DB8-8086-EB8467ED13AB}"/>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1" name="Freeform 94">
              <a:extLst>
                <a:ext uri="{FF2B5EF4-FFF2-40B4-BE49-F238E27FC236}">
                  <a16:creationId xmlns:a16="http://schemas.microsoft.com/office/drawing/2014/main" id="{FD982413-8F97-4A7D-82BD-A65DD9B3DB99}"/>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2" name="Freeform 95">
              <a:extLst>
                <a:ext uri="{FF2B5EF4-FFF2-40B4-BE49-F238E27FC236}">
                  <a16:creationId xmlns:a16="http://schemas.microsoft.com/office/drawing/2014/main" id="{D50CB561-8EF5-4308-A455-6D096E075268}"/>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3" name="Freeform 96">
              <a:extLst>
                <a:ext uri="{FF2B5EF4-FFF2-40B4-BE49-F238E27FC236}">
                  <a16:creationId xmlns:a16="http://schemas.microsoft.com/office/drawing/2014/main" id="{FFBC8FBE-606C-4CB3-91E1-ED06ECBB17D0}"/>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4" name="Freeform 97">
              <a:extLst>
                <a:ext uri="{FF2B5EF4-FFF2-40B4-BE49-F238E27FC236}">
                  <a16:creationId xmlns:a16="http://schemas.microsoft.com/office/drawing/2014/main" id="{36FE0ABF-E345-4E5D-8A63-70BAA6FEA256}"/>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5" name="Freeform 98">
              <a:extLst>
                <a:ext uri="{FF2B5EF4-FFF2-40B4-BE49-F238E27FC236}">
                  <a16:creationId xmlns:a16="http://schemas.microsoft.com/office/drawing/2014/main" id="{9267DB30-623D-42E8-92A2-BCF5C69429D3}"/>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6" name="Freeform 99">
              <a:extLst>
                <a:ext uri="{FF2B5EF4-FFF2-40B4-BE49-F238E27FC236}">
                  <a16:creationId xmlns:a16="http://schemas.microsoft.com/office/drawing/2014/main" id="{2E9CA577-8AA9-44EE-AB3E-82147EBFA5D6}"/>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7" name="Freeform 100">
              <a:extLst>
                <a:ext uri="{FF2B5EF4-FFF2-40B4-BE49-F238E27FC236}">
                  <a16:creationId xmlns:a16="http://schemas.microsoft.com/office/drawing/2014/main" id="{001D08BA-9184-4F00-A861-33F8C6DEDC89}"/>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8" name="Freeform 101">
              <a:extLst>
                <a:ext uri="{FF2B5EF4-FFF2-40B4-BE49-F238E27FC236}">
                  <a16:creationId xmlns:a16="http://schemas.microsoft.com/office/drawing/2014/main" id="{BA954CEC-7B7F-4CD7-9D37-D5FA9D58C0CF}"/>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9" name="Freeform 102">
              <a:extLst>
                <a:ext uri="{FF2B5EF4-FFF2-40B4-BE49-F238E27FC236}">
                  <a16:creationId xmlns:a16="http://schemas.microsoft.com/office/drawing/2014/main" id="{05817761-5784-4D7A-9010-24FD70B35031}"/>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0" name="Freeform 103">
              <a:extLst>
                <a:ext uri="{FF2B5EF4-FFF2-40B4-BE49-F238E27FC236}">
                  <a16:creationId xmlns:a16="http://schemas.microsoft.com/office/drawing/2014/main" id="{DC420559-C599-43E4-9F87-D5F7BF1439F6}"/>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1" name="Freeform 104">
              <a:extLst>
                <a:ext uri="{FF2B5EF4-FFF2-40B4-BE49-F238E27FC236}">
                  <a16:creationId xmlns:a16="http://schemas.microsoft.com/office/drawing/2014/main" id="{F8E5C600-936F-456C-A0F3-165AAD26D9E3}"/>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2" name="Freeform 105">
              <a:extLst>
                <a:ext uri="{FF2B5EF4-FFF2-40B4-BE49-F238E27FC236}">
                  <a16:creationId xmlns:a16="http://schemas.microsoft.com/office/drawing/2014/main" id="{D08DAE1D-ADBB-440D-9E07-7C279B157E9A}"/>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Tree>
    <p:extLst>
      <p:ext uri="{BB962C8B-B14F-4D97-AF65-F5344CB8AC3E}">
        <p14:creationId xmlns:p14="http://schemas.microsoft.com/office/powerpoint/2010/main" val="204093829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OC/Agenda_CFA">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a:noFill/>
          <a:ln w="9525">
            <a:noFill/>
            <a:miter lim="800000"/>
            <a:headEnd/>
            <a:tailEnd/>
          </a:ln>
          <a:effectLst/>
        </p:spPr>
        <p:txBody>
          <a:bodyPr tIns="45720" anchor="t" anchorCtr="0"/>
          <a:lstStyle>
            <a:lvl1pPr>
              <a:defRPr kumimoji="0" lang="en-US" sz="2400" b="0" i="0" u="none" strike="noStrike" kern="0" cap="none" spc="0" normalizeH="0" baseline="0" noProof="0" dirty="0">
                <a:ln>
                  <a:noFill/>
                </a:ln>
                <a:solidFill>
                  <a:srgbClr val="333F48"/>
                </a:solidFill>
                <a:effectLst/>
                <a:uLnTx/>
                <a:uFillTx/>
                <a:latin typeface="+mj-lt"/>
                <a:ea typeface="+mj-ea"/>
                <a:cs typeface="+mj-cs"/>
              </a:defRPr>
            </a:lvl1pPr>
          </a:lstStyle>
          <a:p>
            <a:pPr lvl="0"/>
            <a:r>
              <a:rPr lang="en-US"/>
              <a:t>Click to edit Master title style</a:t>
            </a:r>
            <a:endParaRPr lang="en-US" dirty="0"/>
          </a:p>
        </p:txBody>
      </p:sp>
      <p:sp>
        <p:nvSpPr>
          <p:cNvPr id="10" name="Content Placeholder 9"/>
          <p:cNvSpPr>
            <a:spLocks noGrp="1"/>
          </p:cNvSpPr>
          <p:nvPr>
            <p:ph sz="quarter" idx="13"/>
          </p:nvPr>
        </p:nvSpPr>
        <p:spPr>
          <a:xfrm>
            <a:off x="317115" y="1264280"/>
            <a:ext cx="8188710" cy="3670457"/>
          </a:xfrm>
        </p:spPr>
        <p:txBody>
          <a:bodyPr/>
          <a:lstStyle>
            <a:lvl1pPr marL="227013" indent="-227013">
              <a:spcBef>
                <a:spcPts val="600"/>
              </a:spcBef>
              <a:buClr>
                <a:srgbClr val="7A9B3D"/>
              </a:buClr>
              <a:buSzPct val="100000"/>
              <a:buFont typeface="+mj-lt"/>
              <a:buAutoNum type="arabicPeriod"/>
              <a:defRPr sz="1400" b="0" i="0" baseline="0">
                <a:solidFill>
                  <a:srgbClr val="000000"/>
                </a:solidFill>
                <a:latin typeface="Arial" pitchFamily="34" charset="0"/>
              </a:defRPr>
            </a:lvl1pPr>
            <a:lvl2pPr marL="461963" indent="-217488">
              <a:spcBef>
                <a:spcPts val="600"/>
              </a:spcBef>
              <a:buClr>
                <a:srgbClr val="768692"/>
              </a:buClr>
              <a:buFont typeface="+mj-lt"/>
              <a:buAutoNum type="alphaUcPeriod"/>
              <a:defRPr sz="1200" baseline="0">
                <a:solidFill>
                  <a:srgbClr val="000000"/>
                </a:solidFill>
                <a:latin typeface="Arial" pitchFamily="34" charset="0"/>
              </a:defRPr>
            </a:lvl2pPr>
            <a:lvl3pPr>
              <a:spcBef>
                <a:spcPts val="600"/>
              </a:spcBef>
              <a:buClr>
                <a:srgbClr val="000000"/>
              </a:buClr>
              <a:defRPr baseline="0">
                <a:solidFill>
                  <a:srgbClr val="000000"/>
                </a:solidFill>
              </a:defRPr>
            </a:lvl3pPr>
          </a:lstStyle>
          <a:p>
            <a:pPr lvl="0"/>
            <a:r>
              <a:rPr lang="en-US"/>
              <a:t>Click to edit Master text styles</a:t>
            </a:r>
          </a:p>
          <a:p>
            <a:pPr lvl="1"/>
            <a:r>
              <a:rPr lang="en-US"/>
              <a:t>Second level</a:t>
            </a:r>
          </a:p>
          <a:p>
            <a:pPr lvl="2"/>
            <a:r>
              <a:rPr lang="en-US"/>
              <a:t>Third level</a:t>
            </a:r>
          </a:p>
        </p:txBody>
      </p:sp>
      <p:sp>
        <p:nvSpPr>
          <p:cNvPr id="5"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dirty="0"/>
              <a:t>Page footer, i.e., For institutional use only.</a:t>
            </a:r>
          </a:p>
        </p:txBody>
      </p:sp>
      <p:sp>
        <p:nvSpPr>
          <p:cNvPr id="7"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dirty="0"/>
              <a:t>Production code #</a:t>
            </a:r>
          </a:p>
        </p:txBody>
      </p:sp>
      <p:grpSp>
        <p:nvGrpSpPr>
          <p:cNvPr id="35" name="Group 34">
            <a:extLst>
              <a:ext uri="{FF2B5EF4-FFF2-40B4-BE49-F238E27FC236}">
                <a16:creationId xmlns:a16="http://schemas.microsoft.com/office/drawing/2014/main" id="{5C89791D-B2CB-4A97-8110-87E045E85EE3}"/>
              </a:ext>
            </a:extLst>
          </p:cNvPr>
          <p:cNvGrpSpPr/>
          <p:nvPr userDrawn="1"/>
        </p:nvGrpSpPr>
        <p:grpSpPr>
          <a:xfrm>
            <a:off x="7358173" y="6361974"/>
            <a:ext cx="1382376" cy="297562"/>
            <a:chOff x="6923088" y="4475163"/>
            <a:chExt cx="1873251" cy="403225"/>
          </a:xfrm>
        </p:grpSpPr>
        <p:sp>
          <p:nvSpPr>
            <p:cNvPr id="37" name="AutoShape 4">
              <a:extLst>
                <a:ext uri="{FF2B5EF4-FFF2-40B4-BE49-F238E27FC236}">
                  <a16:creationId xmlns:a16="http://schemas.microsoft.com/office/drawing/2014/main" id="{256E42B7-8D40-456D-8837-CE990224176A}"/>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8" name="Freeform 6">
              <a:extLst>
                <a:ext uri="{FF2B5EF4-FFF2-40B4-BE49-F238E27FC236}">
                  <a16:creationId xmlns:a16="http://schemas.microsoft.com/office/drawing/2014/main" id="{CEC5AC92-1445-4A45-B5FA-35F1132B2086}"/>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9" name="Freeform 7">
              <a:extLst>
                <a:ext uri="{FF2B5EF4-FFF2-40B4-BE49-F238E27FC236}">
                  <a16:creationId xmlns:a16="http://schemas.microsoft.com/office/drawing/2014/main" id="{8D9ABD88-51F6-44D2-8638-4499CF72EB4F}"/>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0" name="Freeform 83">
              <a:extLst>
                <a:ext uri="{FF2B5EF4-FFF2-40B4-BE49-F238E27FC236}">
                  <a16:creationId xmlns:a16="http://schemas.microsoft.com/office/drawing/2014/main" id="{AB894C49-45C2-4236-87FC-911492E384C7}"/>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1" name="Freeform 84">
              <a:extLst>
                <a:ext uri="{FF2B5EF4-FFF2-40B4-BE49-F238E27FC236}">
                  <a16:creationId xmlns:a16="http://schemas.microsoft.com/office/drawing/2014/main" id="{06413496-CFDB-4B8E-B601-04A8AE8379AE}"/>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2" name="Freeform 85">
              <a:extLst>
                <a:ext uri="{FF2B5EF4-FFF2-40B4-BE49-F238E27FC236}">
                  <a16:creationId xmlns:a16="http://schemas.microsoft.com/office/drawing/2014/main" id="{F6660DA9-6CF5-43A3-BDEB-61ED91AC4875}"/>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3" name="Freeform 86">
              <a:extLst>
                <a:ext uri="{FF2B5EF4-FFF2-40B4-BE49-F238E27FC236}">
                  <a16:creationId xmlns:a16="http://schemas.microsoft.com/office/drawing/2014/main" id="{517CC972-00A3-4A21-80CC-05D21668455A}"/>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4" name="Freeform 87">
              <a:extLst>
                <a:ext uri="{FF2B5EF4-FFF2-40B4-BE49-F238E27FC236}">
                  <a16:creationId xmlns:a16="http://schemas.microsoft.com/office/drawing/2014/main" id="{D67C55F2-0C06-4A38-867C-6CD74DA2F0E6}"/>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5" name="Freeform 88">
              <a:extLst>
                <a:ext uri="{FF2B5EF4-FFF2-40B4-BE49-F238E27FC236}">
                  <a16:creationId xmlns:a16="http://schemas.microsoft.com/office/drawing/2014/main" id="{0B2C50D3-2919-4B8E-9EE3-508C84B3F4C9}"/>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6" name="Freeform 89">
              <a:extLst>
                <a:ext uri="{FF2B5EF4-FFF2-40B4-BE49-F238E27FC236}">
                  <a16:creationId xmlns:a16="http://schemas.microsoft.com/office/drawing/2014/main" id="{464087C1-209E-4381-BB3E-9855B415D051}"/>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7" name="Freeform 90">
              <a:extLst>
                <a:ext uri="{FF2B5EF4-FFF2-40B4-BE49-F238E27FC236}">
                  <a16:creationId xmlns:a16="http://schemas.microsoft.com/office/drawing/2014/main" id="{9C5CC6E1-99CD-46AA-8EA8-66ECA3BB6743}"/>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8" name="Freeform 91">
              <a:extLst>
                <a:ext uri="{FF2B5EF4-FFF2-40B4-BE49-F238E27FC236}">
                  <a16:creationId xmlns:a16="http://schemas.microsoft.com/office/drawing/2014/main" id="{100564BC-C7D5-4130-8CA4-B74818772BB9}"/>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9" name="Freeform 92">
              <a:extLst>
                <a:ext uri="{FF2B5EF4-FFF2-40B4-BE49-F238E27FC236}">
                  <a16:creationId xmlns:a16="http://schemas.microsoft.com/office/drawing/2014/main" id="{3C5592C7-46B8-440B-9A9B-4BBA10E9A852}"/>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0" name="Freeform 93">
              <a:extLst>
                <a:ext uri="{FF2B5EF4-FFF2-40B4-BE49-F238E27FC236}">
                  <a16:creationId xmlns:a16="http://schemas.microsoft.com/office/drawing/2014/main" id="{B7ED3C6E-0450-46C4-B598-8CF656E61874}"/>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1" name="Freeform 94">
              <a:extLst>
                <a:ext uri="{FF2B5EF4-FFF2-40B4-BE49-F238E27FC236}">
                  <a16:creationId xmlns:a16="http://schemas.microsoft.com/office/drawing/2014/main" id="{AD2B1F3E-7445-4B4C-9528-DB5B631C9489}"/>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2" name="Freeform 95">
              <a:extLst>
                <a:ext uri="{FF2B5EF4-FFF2-40B4-BE49-F238E27FC236}">
                  <a16:creationId xmlns:a16="http://schemas.microsoft.com/office/drawing/2014/main" id="{6A229020-7EF4-44A6-A13C-EAEEBD8AA53D}"/>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3" name="Freeform 96">
              <a:extLst>
                <a:ext uri="{FF2B5EF4-FFF2-40B4-BE49-F238E27FC236}">
                  <a16:creationId xmlns:a16="http://schemas.microsoft.com/office/drawing/2014/main" id="{6A9AD9C9-D486-4508-8EBF-5607B6D0F060}"/>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4" name="Freeform 97">
              <a:extLst>
                <a:ext uri="{FF2B5EF4-FFF2-40B4-BE49-F238E27FC236}">
                  <a16:creationId xmlns:a16="http://schemas.microsoft.com/office/drawing/2014/main" id="{E7B98288-CFE9-4541-AE6E-E1AD9A387086}"/>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5" name="Freeform 98">
              <a:extLst>
                <a:ext uri="{FF2B5EF4-FFF2-40B4-BE49-F238E27FC236}">
                  <a16:creationId xmlns:a16="http://schemas.microsoft.com/office/drawing/2014/main" id="{EC441BBE-D691-48C4-8144-9252918CC3BB}"/>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6" name="Freeform 99">
              <a:extLst>
                <a:ext uri="{FF2B5EF4-FFF2-40B4-BE49-F238E27FC236}">
                  <a16:creationId xmlns:a16="http://schemas.microsoft.com/office/drawing/2014/main" id="{926F933F-6516-44DF-BD19-8DE4F4256134}"/>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7" name="Freeform 100">
              <a:extLst>
                <a:ext uri="{FF2B5EF4-FFF2-40B4-BE49-F238E27FC236}">
                  <a16:creationId xmlns:a16="http://schemas.microsoft.com/office/drawing/2014/main" id="{7D55741F-239C-4ACB-9617-839C2C76A953}"/>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8" name="Freeform 101">
              <a:extLst>
                <a:ext uri="{FF2B5EF4-FFF2-40B4-BE49-F238E27FC236}">
                  <a16:creationId xmlns:a16="http://schemas.microsoft.com/office/drawing/2014/main" id="{97BA2CBA-119F-417A-A3D5-615918135136}"/>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9" name="Freeform 102">
              <a:extLst>
                <a:ext uri="{FF2B5EF4-FFF2-40B4-BE49-F238E27FC236}">
                  <a16:creationId xmlns:a16="http://schemas.microsoft.com/office/drawing/2014/main" id="{25CE3DC2-26FB-4D97-9877-C6F95846336A}"/>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0" name="Freeform 103">
              <a:extLst>
                <a:ext uri="{FF2B5EF4-FFF2-40B4-BE49-F238E27FC236}">
                  <a16:creationId xmlns:a16="http://schemas.microsoft.com/office/drawing/2014/main" id="{7140E4E0-8622-4F41-8E64-43A97C658F97}"/>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1" name="Freeform 104">
              <a:extLst>
                <a:ext uri="{FF2B5EF4-FFF2-40B4-BE49-F238E27FC236}">
                  <a16:creationId xmlns:a16="http://schemas.microsoft.com/office/drawing/2014/main" id="{0C14C9C0-D305-4FCB-872A-AB351588739B}"/>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2" name="Freeform 105">
              <a:extLst>
                <a:ext uri="{FF2B5EF4-FFF2-40B4-BE49-F238E27FC236}">
                  <a16:creationId xmlns:a16="http://schemas.microsoft.com/office/drawing/2014/main" id="{E56ECF2C-32AC-43B5-B663-5A5BD09CDC3C}"/>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Tree>
    <p:extLst>
      <p:ext uri="{BB962C8B-B14F-4D97-AF65-F5344CB8AC3E}">
        <p14:creationId xmlns:p14="http://schemas.microsoft.com/office/powerpoint/2010/main" val="236045074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OC/Agenda_FIL">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a:noFill/>
          <a:ln w="9525">
            <a:noFill/>
            <a:miter lim="800000"/>
            <a:headEnd/>
            <a:tailEnd/>
          </a:ln>
          <a:effectLst/>
        </p:spPr>
        <p:txBody>
          <a:bodyPr tIns="45720" anchor="t" anchorCtr="0"/>
          <a:lstStyle>
            <a:lvl1pPr>
              <a:defRPr kumimoji="0" lang="en-US" sz="2400" b="0" i="0" u="none" strike="noStrike" kern="0" cap="none" spc="0" normalizeH="0" baseline="0" noProof="0" dirty="0">
                <a:ln>
                  <a:noFill/>
                </a:ln>
                <a:solidFill>
                  <a:srgbClr val="333F48"/>
                </a:solidFill>
                <a:effectLst/>
                <a:uLnTx/>
                <a:uFillTx/>
                <a:latin typeface="+mj-lt"/>
                <a:ea typeface="+mj-ea"/>
                <a:cs typeface="+mj-cs"/>
              </a:defRPr>
            </a:lvl1pPr>
          </a:lstStyle>
          <a:p>
            <a:pPr lvl="0"/>
            <a:r>
              <a:rPr lang="en-US"/>
              <a:t>Click to edit Master title style</a:t>
            </a:r>
            <a:endParaRPr lang="en-US" dirty="0"/>
          </a:p>
        </p:txBody>
      </p:sp>
      <p:sp>
        <p:nvSpPr>
          <p:cNvPr id="10" name="Content Placeholder 9"/>
          <p:cNvSpPr>
            <a:spLocks noGrp="1"/>
          </p:cNvSpPr>
          <p:nvPr>
            <p:ph sz="quarter" idx="13"/>
          </p:nvPr>
        </p:nvSpPr>
        <p:spPr>
          <a:xfrm>
            <a:off x="317115" y="1264280"/>
            <a:ext cx="8188710" cy="3879131"/>
          </a:xfrm>
        </p:spPr>
        <p:txBody>
          <a:bodyPr/>
          <a:lstStyle>
            <a:lvl1pPr marL="227013" indent="-227013">
              <a:spcBef>
                <a:spcPts val="600"/>
              </a:spcBef>
              <a:buClr>
                <a:srgbClr val="7A9B3D"/>
              </a:buClr>
              <a:buSzPct val="100000"/>
              <a:buFont typeface="+mj-lt"/>
              <a:buAutoNum type="arabicPeriod"/>
              <a:defRPr sz="1400" b="0" i="0" baseline="0">
                <a:solidFill>
                  <a:srgbClr val="000000"/>
                </a:solidFill>
                <a:latin typeface="Arial" pitchFamily="34" charset="0"/>
              </a:defRPr>
            </a:lvl1pPr>
            <a:lvl2pPr marL="461963" indent="-217488">
              <a:spcBef>
                <a:spcPts val="600"/>
              </a:spcBef>
              <a:buClr>
                <a:srgbClr val="768692"/>
              </a:buClr>
              <a:buFont typeface="+mj-lt"/>
              <a:buAutoNum type="alphaUcPeriod"/>
              <a:defRPr sz="1200" baseline="0">
                <a:solidFill>
                  <a:srgbClr val="000000"/>
                </a:solidFill>
                <a:latin typeface="Arial" pitchFamily="34" charset="0"/>
              </a:defRPr>
            </a:lvl2pPr>
            <a:lvl3pPr>
              <a:spcBef>
                <a:spcPts val="600"/>
              </a:spcBef>
              <a:buClr>
                <a:srgbClr val="000000"/>
              </a:buClr>
              <a:defRPr baseline="0">
                <a:solidFill>
                  <a:srgbClr val="000000"/>
                </a:solidFill>
              </a:defRPr>
            </a:lvl3pPr>
          </a:lstStyle>
          <a:p>
            <a:pPr lvl="0"/>
            <a:r>
              <a:rPr lang="en-US"/>
              <a:t>Click to edit Master text styles</a:t>
            </a:r>
          </a:p>
          <a:p>
            <a:pPr lvl="1"/>
            <a:r>
              <a:rPr lang="en-US"/>
              <a:t>Second level</a:t>
            </a:r>
          </a:p>
          <a:p>
            <a:pPr lvl="2"/>
            <a:r>
              <a:rPr lang="en-US"/>
              <a:t>Third level</a:t>
            </a:r>
          </a:p>
        </p:txBody>
      </p:sp>
      <p:sp>
        <p:nvSpPr>
          <p:cNvPr id="5"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dirty="0"/>
              <a:t>Page footer, i.e., For institutional use only.</a:t>
            </a:r>
          </a:p>
        </p:txBody>
      </p:sp>
      <p:sp>
        <p:nvSpPr>
          <p:cNvPr id="7"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dirty="0"/>
              <a:t>Production code #</a:t>
            </a:r>
          </a:p>
        </p:txBody>
      </p:sp>
      <p:sp>
        <p:nvSpPr>
          <p:cNvPr id="36" name="Text Box 5"/>
          <p:cNvSpPr txBox="1">
            <a:spLocks noChangeArrowheads="1"/>
          </p:cNvSpPr>
          <p:nvPr userDrawn="1"/>
        </p:nvSpPr>
        <p:spPr bwMode="auto">
          <a:xfrm>
            <a:off x="320040" y="6189203"/>
            <a:ext cx="6715550" cy="367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anchor="b"/>
          <a:lstStyle>
            <a:lvl1pPr eaLnBrk="0" hangingPunct="0">
              <a:spcBef>
                <a:spcPct val="20000"/>
              </a:spcBef>
              <a:buSzPct val="40000"/>
              <a:defRPr sz="1600" b="1">
                <a:solidFill>
                  <a:schemeClr val="accent1"/>
                </a:solidFill>
                <a:latin typeface="Arial" charset="0"/>
              </a:defRPr>
            </a:lvl1pPr>
            <a:lvl2pPr marL="742950" indent="-285750" eaLnBrk="0" hangingPunct="0">
              <a:spcBef>
                <a:spcPct val="20000"/>
              </a:spcBef>
              <a:buClr>
                <a:srgbClr val="978981"/>
              </a:buClr>
              <a:buChar char="•"/>
              <a:defRPr sz="1400">
                <a:solidFill>
                  <a:schemeClr val="tx1"/>
                </a:solidFill>
                <a:latin typeface="Arial" charset="0"/>
              </a:defRPr>
            </a:lvl2pPr>
            <a:lvl3pPr marL="1143000" indent="-228600" eaLnBrk="0" hangingPunct="0">
              <a:spcBef>
                <a:spcPct val="20000"/>
              </a:spcBef>
              <a:buClr>
                <a:schemeClr val="accent1"/>
              </a:buClr>
              <a:buFont typeface="Arial" charset="0"/>
              <a:buChar char="–"/>
              <a:defRPr sz="1200">
                <a:solidFill>
                  <a:schemeClr val="accent1"/>
                </a:solidFill>
                <a:latin typeface="Arial" charset="0"/>
              </a:defRPr>
            </a:lvl3pPr>
            <a:lvl4pPr marL="1600200" indent="-228600" eaLnBrk="0" hangingPunct="0">
              <a:spcBef>
                <a:spcPct val="20000"/>
              </a:spcBef>
              <a:buFont typeface="Arial" charset="0"/>
              <a:buChar char="•"/>
              <a:defRPr sz="1200">
                <a:solidFill>
                  <a:srgbClr val="4C5F6C"/>
                </a:solidFill>
                <a:latin typeface="Arial" charset="0"/>
              </a:defRPr>
            </a:lvl4pPr>
            <a:lvl5pPr marL="2057400" indent="-228600" eaLnBrk="0" hangingPunct="0">
              <a:lnSpc>
                <a:spcPts val="2400"/>
              </a:lnSpc>
              <a:defRPr sz="1400">
                <a:solidFill>
                  <a:schemeClr val="tx1"/>
                </a:solidFill>
                <a:latin typeface="Arial" charset="0"/>
              </a:defRPr>
            </a:lvl5pPr>
            <a:lvl6pPr marL="2514600" indent="-228600" eaLnBrk="0" fontAlgn="base" hangingPunct="0">
              <a:lnSpc>
                <a:spcPts val="2400"/>
              </a:lnSpc>
              <a:spcBef>
                <a:spcPct val="0"/>
              </a:spcBef>
              <a:spcAft>
                <a:spcPct val="0"/>
              </a:spcAft>
              <a:defRPr sz="1400">
                <a:solidFill>
                  <a:schemeClr val="tx1"/>
                </a:solidFill>
                <a:latin typeface="Arial" charset="0"/>
              </a:defRPr>
            </a:lvl6pPr>
            <a:lvl7pPr marL="2971800" indent="-228600" eaLnBrk="0" fontAlgn="base" hangingPunct="0">
              <a:lnSpc>
                <a:spcPts val="2400"/>
              </a:lnSpc>
              <a:spcBef>
                <a:spcPct val="0"/>
              </a:spcBef>
              <a:spcAft>
                <a:spcPct val="0"/>
              </a:spcAft>
              <a:defRPr sz="1400">
                <a:solidFill>
                  <a:schemeClr val="tx1"/>
                </a:solidFill>
                <a:latin typeface="Arial" charset="0"/>
              </a:defRPr>
            </a:lvl7pPr>
            <a:lvl8pPr marL="3429000" indent="-228600" eaLnBrk="0" fontAlgn="base" hangingPunct="0">
              <a:lnSpc>
                <a:spcPts val="2400"/>
              </a:lnSpc>
              <a:spcBef>
                <a:spcPct val="0"/>
              </a:spcBef>
              <a:spcAft>
                <a:spcPct val="0"/>
              </a:spcAft>
              <a:defRPr sz="1400">
                <a:solidFill>
                  <a:schemeClr val="tx1"/>
                </a:solidFill>
                <a:latin typeface="Arial" charset="0"/>
              </a:defRPr>
            </a:lvl8pPr>
            <a:lvl9pPr marL="3886200" indent="-228600" eaLnBrk="0" fontAlgn="base" hangingPunct="0">
              <a:lnSpc>
                <a:spcPts val="2400"/>
              </a:lnSpc>
              <a:spcBef>
                <a:spcPct val="0"/>
              </a:spcBef>
              <a:spcAft>
                <a:spcPct val="0"/>
              </a:spcAft>
              <a:defRPr sz="1400">
                <a:solidFill>
                  <a:schemeClr val="tx1"/>
                </a:solidFill>
                <a:latin typeface="Arial" charset="0"/>
              </a:defRPr>
            </a:lvl9pPr>
          </a:lstStyle>
          <a:p>
            <a:pPr>
              <a:lnSpc>
                <a:spcPts val="1000"/>
              </a:lnSpc>
              <a:spcBef>
                <a:spcPct val="0"/>
              </a:spcBef>
              <a:spcAft>
                <a:spcPts val="300"/>
              </a:spcAft>
              <a:buSzTx/>
              <a:defRPr/>
            </a:pPr>
            <a:r>
              <a:rPr lang="en-US" sz="800" b="0" i="1" kern="0" dirty="0">
                <a:solidFill>
                  <a:srgbClr val="000000"/>
                </a:solidFill>
                <a:latin typeface="Arial"/>
                <a:cs typeface="+mn-cs"/>
              </a:rPr>
              <a:t>Current performance may substantially differ from, and could be significantly lower than, performance shown due to recent significant market volatility. Please contact FIAM for updated performance numbers after the tenth business day following quarter end.</a:t>
            </a:r>
            <a:endParaRPr lang="en-US" altLang="en-US" sz="800" b="0" dirty="0">
              <a:solidFill>
                <a:srgbClr val="000000"/>
              </a:solidFill>
              <a:latin typeface="Arial"/>
              <a:cs typeface="+mn-cs"/>
            </a:endParaRPr>
          </a:p>
          <a:p>
            <a:pPr>
              <a:lnSpc>
                <a:spcPts val="1000"/>
              </a:lnSpc>
              <a:spcBef>
                <a:spcPct val="0"/>
              </a:spcBef>
              <a:spcAft>
                <a:spcPts val="300"/>
              </a:spcAft>
              <a:buSzTx/>
            </a:pPr>
            <a:r>
              <a:rPr lang="en-US" altLang="en-US" sz="800" b="0" dirty="0">
                <a:solidFill>
                  <a:srgbClr val="000000"/>
                </a:solidFill>
                <a:latin typeface="Arial"/>
                <a:cs typeface="+mn-cs"/>
              </a:rPr>
              <a:t>See “Important Information” for a discussion of performance data, some of the principal risks related to any of the investment strategies referred to in this presentation, </a:t>
            </a:r>
            <a:r>
              <a:rPr lang="en-US" altLang="en-US" sz="800" b="0" dirty="0">
                <a:solidFill>
                  <a:srgbClr val="FF0000"/>
                </a:solidFill>
                <a:latin typeface="Arial"/>
                <a:cs typeface="+mn-cs"/>
              </a:rPr>
              <a:t>professional designations and how they are obtained, </a:t>
            </a:r>
            <a:r>
              <a:rPr lang="en-US" altLang="en-US" sz="800" b="0" dirty="0">
                <a:solidFill>
                  <a:srgbClr val="000000"/>
                </a:solidFill>
                <a:latin typeface="Arial"/>
                <a:cs typeface="+mn-cs"/>
              </a:rPr>
              <a:t>and other information related to this presentation.</a:t>
            </a:r>
          </a:p>
        </p:txBody>
      </p:sp>
      <p:grpSp>
        <p:nvGrpSpPr>
          <p:cNvPr id="35" name="Group 34">
            <a:extLst>
              <a:ext uri="{FF2B5EF4-FFF2-40B4-BE49-F238E27FC236}">
                <a16:creationId xmlns:a16="http://schemas.microsoft.com/office/drawing/2014/main" id="{9B671028-E48D-40C5-8ACD-C05FDF7D449F}"/>
              </a:ext>
            </a:extLst>
          </p:cNvPr>
          <p:cNvGrpSpPr/>
          <p:nvPr userDrawn="1"/>
        </p:nvGrpSpPr>
        <p:grpSpPr>
          <a:xfrm>
            <a:off x="7358173" y="6361974"/>
            <a:ext cx="1382376" cy="297562"/>
            <a:chOff x="6923088" y="4475163"/>
            <a:chExt cx="1873251" cy="403225"/>
          </a:xfrm>
        </p:grpSpPr>
        <p:sp>
          <p:nvSpPr>
            <p:cNvPr id="37" name="AutoShape 4">
              <a:extLst>
                <a:ext uri="{FF2B5EF4-FFF2-40B4-BE49-F238E27FC236}">
                  <a16:creationId xmlns:a16="http://schemas.microsoft.com/office/drawing/2014/main" id="{41A0A4C3-79DD-40B6-8BC6-D9EE8117E164}"/>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8" name="Freeform 6">
              <a:extLst>
                <a:ext uri="{FF2B5EF4-FFF2-40B4-BE49-F238E27FC236}">
                  <a16:creationId xmlns:a16="http://schemas.microsoft.com/office/drawing/2014/main" id="{06A09DE6-1F7D-487C-89F5-0133C2811EF1}"/>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9" name="Freeform 7">
              <a:extLst>
                <a:ext uri="{FF2B5EF4-FFF2-40B4-BE49-F238E27FC236}">
                  <a16:creationId xmlns:a16="http://schemas.microsoft.com/office/drawing/2014/main" id="{BC537B18-1528-4582-A10A-FD2BFCA85C9B}"/>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0" name="Freeform 83">
              <a:extLst>
                <a:ext uri="{FF2B5EF4-FFF2-40B4-BE49-F238E27FC236}">
                  <a16:creationId xmlns:a16="http://schemas.microsoft.com/office/drawing/2014/main" id="{A763B7BA-5F06-45F4-B336-0D7F28991AC1}"/>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1" name="Freeform 84">
              <a:extLst>
                <a:ext uri="{FF2B5EF4-FFF2-40B4-BE49-F238E27FC236}">
                  <a16:creationId xmlns:a16="http://schemas.microsoft.com/office/drawing/2014/main" id="{B59244BE-4416-4E71-8CFD-E3148F4E65B4}"/>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2" name="Freeform 85">
              <a:extLst>
                <a:ext uri="{FF2B5EF4-FFF2-40B4-BE49-F238E27FC236}">
                  <a16:creationId xmlns:a16="http://schemas.microsoft.com/office/drawing/2014/main" id="{D7CB18BD-454C-4083-ACF8-08A15D7DE79D}"/>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3" name="Freeform 86">
              <a:extLst>
                <a:ext uri="{FF2B5EF4-FFF2-40B4-BE49-F238E27FC236}">
                  <a16:creationId xmlns:a16="http://schemas.microsoft.com/office/drawing/2014/main" id="{94B7FE36-E6D8-48D3-A920-E17EA9D8FF8A}"/>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4" name="Freeform 87">
              <a:extLst>
                <a:ext uri="{FF2B5EF4-FFF2-40B4-BE49-F238E27FC236}">
                  <a16:creationId xmlns:a16="http://schemas.microsoft.com/office/drawing/2014/main" id="{91500554-36B6-48B3-B52C-B65BB750F0AF}"/>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5" name="Freeform 88">
              <a:extLst>
                <a:ext uri="{FF2B5EF4-FFF2-40B4-BE49-F238E27FC236}">
                  <a16:creationId xmlns:a16="http://schemas.microsoft.com/office/drawing/2014/main" id="{242806E8-1993-4314-9125-9F718CD2463F}"/>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6" name="Freeform 89">
              <a:extLst>
                <a:ext uri="{FF2B5EF4-FFF2-40B4-BE49-F238E27FC236}">
                  <a16:creationId xmlns:a16="http://schemas.microsoft.com/office/drawing/2014/main" id="{D4AFA8A6-1EEC-415E-BB42-399FE44894EE}"/>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7" name="Freeform 90">
              <a:extLst>
                <a:ext uri="{FF2B5EF4-FFF2-40B4-BE49-F238E27FC236}">
                  <a16:creationId xmlns:a16="http://schemas.microsoft.com/office/drawing/2014/main" id="{99DC5ADB-9A49-4B3F-930C-28D84D6505AC}"/>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8" name="Freeform 91">
              <a:extLst>
                <a:ext uri="{FF2B5EF4-FFF2-40B4-BE49-F238E27FC236}">
                  <a16:creationId xmlns:a16="http://schemas.microsoft.com/office/drawing/2014/main" id="{AED2E847-3F3A-4514-BF00-2256431A212D}"/>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9" name="Freeform 92">
              <a:extLst>
                <a:ext uri="{FF2B5EF4-FFF2-40B4-BE49-F238E27FC236}">
                  <a16:creationId xmlns:a16="http://schemas.microsoft.com/office/drawing/2014/main" id="{5AD1B40E-46E6-4893-B807-94DA6F5E0C6B}"/>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0" name="Freeform 93">
              <a:extLst>
                <a:ext uri="{FF2B5EF4-FFF2-40B4-BE49-F238E27FC236}">
                  <a16:creationId xmlns:a16="http://schemas.microsoft.com/office/drawing/2014/main" id="{BAEC2E29-1A2F-4FB2-AEAC-2728E44A0D66}"/>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1" name="Freeform 94">
              <a:extLst>
                <a:ext uri="{FF2B5EF4-FFF2-40B4-BE49-F238E27FC236}">
                  <a16:creationId xmlns:a16="http://schemas.microsoft.com/office/drawing/2014/main" id="{2D42C520-E013-4E29-B604-496C5C1FF3FA}"/>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2" name="Freeform 95">
              <a:extLst>
                <a:ext uri="{FF2B5EF4-FFF2-40B4-BE49-F238E27FC236}">
                  <a16:creationId xmlns:a16="http://schemas.microsoft.com/office/drawing/2014/main" id="{B7DD14D4-C960-46FA-8A45-D56F5C19EAD4}"/>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3" name="Freeform 96">
              <a:extLst>
                <a:ext uri="{FF2B5EF4-FFF2-40B4-BE49-F238E27FC236}">
                  <a16:creationId xmlns:a16="http://schemas.microsoft.com/office/drawing/2014/main" id="{E16CF84E-5E30-4B1D-A884-C3C46A6FCD54}"/>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4" name="Freeform 97">
              <a:extLst>
                <a:ext uri="{FF2B5EF4-FFF2-40B4-BE49-F238E27FC236}">
                  <a16:creationId xmlns:a16="http://schemas.microsoft.com/office/drawing/2014/main" id="{FCAFF8C7-3F9F-4B5D-992B-894297B50B97}"/>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5" name="Freeform 98">
              <a:extLst>
                <a:ext uri="{FF2B5EF4-FFF2-40B4-BE49-F238E27FC236}">
                  <a16:creationId xmlns:a16="http://schemas.microsoft.com/office/drawing/2014/main" id="{3C7CE6E6-40FF-4BFB-AF55-B1ACB79E45B4}"/>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6" name="Freeform 99">
              <a:extLst>
                <a:ext uri="{FF2B5EF4-FFF2-40B4-BE49-F238E27FC236}">
                  <a16:creationId xmlns:a16="http://schemas.microsoft.com/office/drawing/2014/main" id="{9053C78C-E959-476C-B6BE-1F5CD9988B1D}"/>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7" name="Freeform 100">
              <a:extLst>
                <a:ext uri="{FF2B5EF4-FFF2-40B4-BE49-F238E27FC236}">
                  <a16:creationId xmlns:a16="http://schemas.microsoft.com/office/drawing/2014/main" id="{6B650DC3-F60E-4D00-B0B4-6826F061302A}"/>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8" name="Freeform 101">
              <a:extLst>
                <a:ext uri="{FF2B5EF4-FFF2-40B4-BE49-F238E27FC236}">
                  <a16:creationId xmlns:a16="http://schemas.microsoft.com/office/drawing/2014/main" id="{92A617C5-EA9A-4E5E-BCA5-D29DDB093EB1}"/>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9" name="Freeform 102">
              <a:extLst>
                <a:ext uri="{FF2B5EF4-FFF2-40B4-BE49-F238E27FC236}">
                  <a16:creationId xmlns:a16="http://schemas.microsoft.com/office/drawing/2014/main" id="{7664EE20-78C2-4457-88D7-0E7298C674FC}"/>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0" name="Freeform 103">
              <a:extLst>
                <a:ext uri="{FF2B5EF4-FFF2-40B4-BE49-F238E27FC236}">
                  <a16:creationId xmlns:a16="http://schemas.microsoft.com/office/drawing/2014/main" id="{33D15C1A-04E9-463A-8619-EDB39EBA46BB}"/>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1" name="Freeform 104">
              <a:extLst>
                <a:ext uri="{FF2B5EF4-FFF2-40B4-BE49-F238E27FC236}">
                  <a16:creationId xmlns:a16="http://schemas.microsoft.com/office/drawing/2014/main" id="{2AD3A8A6-2731-4BC1-B17D-F9165A963F23}"/>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2" name="Freeform 105">
              <a:extLst>
                <a:ext uri="{FF2B5EF4-FFF2-40B4-BE49-F238E27FC236}">
                  <a16:creationId xmlns:a16="http://schemas.microsoft.com/office/drawing/2014/main" id="{53B0DC82-B3F2-4112-B778-9F65A4293160}"/>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Tree>
    <p:extLst>
      <p:ext uri="{BB962C8B-B14F-4D97-AF65-F5344CB8AC3E}">
        <p14:creationId xmlns:p14="http://schemas.microsoft.com/office/powerpoint/2010/main" val="319197487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lvl1pPr>
              <a:defRPr>
                <a:solidFill>
                  <a:srgbClr val="333F48"/>
                </a:solidFill>
              </a:defRPr>
            </a:lvl1pPr>
          </a:lstStyle>
          <a:p>
            <a:r>
              <a:rPr lang="en-US"/>
              <a:t>Click to edit Master title style</a:t>
            </a:r>
            <a:endParaRPr lang="en-US" dirty="0"/>
          </a:p>
        </p:txBody>
      </p:sp>
      <p:grpSp>
        <p:nvGrpSpPr>
          <p:cNvPr id="33" name="Group 32">
            <a:extLst>
              <a:ext uri="{FF2B5EF4-FFF2-40B4-BE49-F238E27FC236}">
                <a16:creationId xmlns:a16="http://schemas.microsoft.com/office/drawing/2014/main" id="{0F62616B-A113-49C2-BCA3-32AFDB89CBE2}"/>
              </a:ext>
            </a:extLst>
          </p:cNvPr>
          <p:cNvGrpSpPr/>
          <p:nvPr userDrawn="1"/>
        </p:nvGrpSpPr>
        <p:grpSpPr>
          <a:xfrm>
            <a:off x="7358173" y="6361974"/>
            <a:ext cx="1382376" cy="297562"/>
            <a:chOff x="6923088" y="4475163"/>
            <a:chExt cx="1873251" cy="403225"/>
          </a:xfrm>
        </p:grpSpPr>
        <p:sp>
          <p:nvSpPr>
            <p:cNvPr id="34" name="AutoShape 4">
              <a:extLst>
                <a:ext uri="{FF2B5EF4-FFF2-40B4-BE49-F238E27FC236}">
                  <a16:creationId xmlns:a16="http://schemas.microsoft.com/office/drawing/2014/main" id="{49D58BA8-C307-41D7-A988-42E097D1EF76}"/>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5" name="Freeform 6">
              <a:extLst>
                <a:ext uri="{FF2B5EF4-FFF2-40B4-BE49-F238E27FC236}">
                  <a16:creationId xmlns:a16="http://schemas.microsoft.com/office/drawing/2014/main" id="{99E6BBF1-6900-43FC-B106-808C1203D52D}"/>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7" name="Freeform 7">
              <a:extLst>
                <a:ext uri="{FF2B5EF4-FFF2-40B4-BE49-F238E27FC236}">
                  <a16:creationId xmlns:a16="http://schemas.microsoft.com/office/drawing/2014/main" id="{1CAA1F79-AF27-468E-8586-71EF43CE357A}"/>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8" name="Freeform 83">
              <a:extLst>
                <a:ext uri="{FF2B5EF4-FFF2-40B4-BE49-F238E27FC236}">
                  <a16:creationId xmlns:a16="http://schemas.microsoft.com/office/drawing/2014/main" id="{25628C13-6D93-4F00-8ED8-90737568691A}"/>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9" name="Freeform 84">
              <a:extLst>
                <a:ext uri="{FF2B5EF4-FFF2-40B4-BE49-F238E27FC236}">
                  <a16:creationId xmlns:a16="http://schemas.microsoft.com/office/drawing/2014/main" id="{85C9C7A1-11FD-4D2C-8EDF-4833DE82B50F}"/>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0" name="Freeform 85">
              <a:extLst>
                <a:ext uri="{FF2B5EF4-FFF2-40B4-BE49-F238E27FC236}">
                  <a16:creationId xmlns:a16="http://schemas.microsoft.com/office/drawing/2014/main" id="{713E574F-4758-48CF-8C5C-4B0FEAD58DBC}"/>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1" name="Freeform 86">
              <a:extLst>
                <a:ext uri="{FF2B5EF4-FFF2-40B4-BE49-F238E27FC236}">
                  <a16:creationId xmlns:a16="http://schemas.microsoft.com/office/drawing/2014/main" id="{5095EFD8-8B78-4FEF-966C-2B785E288D2C}"/>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2" name="Freeform 87">
              <a:extLst>
                <a:ext uri="{FF2B5EF4-FFF2-40B4-BE49-F238E27FC236}">
                  <a16:creationId xmlns:a16="http://schemas.microsoft.com/office/drawing/2014/main" id="{E1B3AF36-9DB0-4539-A4AF-978F6A19D6B3}"/>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3" name="Freeform 88">
              <a:extLst>
                <a:ext uri="{FF2B5EF4-FFF2-40B4-BE49-F238E27FC236}">
                  <a16:creationId xmlns:a16="http://schemas.microsoft.com/office/drawing/2014/main" id="{F15062CC-7097-4E22-AE5F-F76A8333AC1D}"/>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4" name="Freeform 89">
              <a:extLst>
                <a:ext uri="{FF2B5EF4-FFF2-40B4-BE49-F238E27FC236}">
                  <a16:creationId xmlns:a16="http://schemas.microsoft.com/office/drawing/2014/main" id="{62041FF7-97A2-4A11-9271-8D11EF1B6F17}"/>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5" name="Freeform 90">
              <a:extLst>
                <a:ext uri="{FF2B5EF4-FFF2-40B4-BE49-F238E27FC236}">
                  <a16:creationId xmlns:a16="http://schemas.microsoft.com/office/drawing/2014/main" id="{866430AE-6669-4687-886A-98B81A7EF4AC}"/>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6" name="Freeform 91">
              <a:extLst>
                <a:ext uri="{FF2B5EF4-FFF2-40B4-BE49-F238E27FC236}">
                  <a16:creationId xmlns:a16="http://schemas.microsoft.com/office/drawing/2014/main" id="{57909145-25A0-4EAB-B40E-FBACBBFF5AE0}"/>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7" name="Freeform 92">
              <a:extLst>
                <a:ext uri="{FF2B5EF4-FFF2-40B4-BE49-F238E27FC236}">
                  <a16:creationId xmlns:a16="http://schemas.microsoft.com/office/drawing/2014/main" id="{62666816-D824-4ACC-8078-CCF01B95645F}"/>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8" name="Freeform 93">
              <a:extLst>
                <a:ext uri="{FF2B5EF4-FFF2-40B4-BE49-F238E27FC236}">
                  <a16:creationId xmlns:a16="http://schemas.microsoft.com/office/drawing/2014/main" id="{1F0724D1-2EFF-4A05-AA97-B428B60B54AA}"/>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9" name="Freeform 94">
              <a:extLst>
                <a:ext uri="{FF2B5EF4-FFF2-40B4-BE49-F238E27FC236}">
                  <a16:creationId xmlns:a16="http://schemas.microsoft.com/office/drawing/2014/main" id="{D34C7757-1028-46E7-A0FC-91415EC881CB}"/>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0" name="Freeform 95">
              <a:extLst>
                <a:ext uri="{FF2B5EF4-FFF2-40B4-BE49-F238E27FC236}">
                  <a16:creationId xmlns:a16="http://schemas.microsoft.com/office/drawing/2014/main" id="{36C1B6E4-AA6D-4CF5-B8E3-594DC6CE63A1}"/>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1" name="Freeform 96">
              <a:extLst>
                <a:ext uri="{FF2B5EF4-FFF2-40B4-BE49-F238E27FC236}">
                  <a16:creationId xmlns:a16="http://schemas.microsoft.com/office/drawing/2014/main" id="{DF1C8D13-DF52-4DA1-BA6C-7FDF9DC5423E}"/>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2" name="Freeform 97">
              <a:extLst>
                <a:ext uri="{FF2B5EF4-FFF2-40B4-BE49-F238E27FC236}">
                  <a16:creationId xmlns:a16="http://schemas.microsoft.com/office/drawing/2014/main" id="{0B1E1E0F-7A95-4895-BC4B-813467036ACD}"/>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3" name="Freeform 98">
              <a:extLst>
                <a:ext uri="{FF2B5EF4-FFF2-40B4-BE49-F238E27FC236}">
                  <a16:creationId xmlns:a16="http://schemas.microsoft.com/office/drawing/2014/main" id="{1724219D-3EC2-412F-BEDC-0B04B4D64F07}"/>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4" name="Freeform 99">
              <a:extLst>
                <a:ext uri="{FF2B5EF4-FFF2-40B4-BE49-F238E27FC236}">
                  <a16:creationId xmlns:a16="http://schemas.microsoft.com/office/drawing/2014/main" id="{66CE2863-34C9-4A02-9B77-AFA590051207}"/>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5" name="Freeform 100">
              <a:extLst>
                <a:ext uri="{FF2B5EF4-FFF2-40B4-BE49-F238E27FC236}">
                  <a16:creationId xmlns:a16="http://schemas.microsoft.com/office/drawing/2014/main" id="{80C1B223-C089-47E5-927C-E60A5CDCA764}"/>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6" name="Freeform 101">
              <a:extLst>
                <a:ext uri="{FF2B5EF4-FFF2-40B4-BE49-F238E27FC236}">
                  <a16:creationId xmlns:a16="http://schemas.microsoft.com/office/drawing/2014/main" id="{058054D3-04AE-4AA2-873C-35A5A9D314DF}"/>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7" name="Freeform 102">
              <a:extLst>
                <a:ext uri="{FF2B5EF4-FFF2-40B4-BE49-F238E27FC236}">
                  <a16:creationId xmlns:a16="http://schemas.microsoft.com/office/drawing/2014/main" id="{CC748DEB-C39E-42D7-937A-08EF61FC5D31}"/>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8" name="Freeform 103">
              <a:extLst>
                <a:ext uri="{FF2B5EF4-FFF2-40B4-BE49-F238E27FC236}">
                  <a16:creationId xmlns:a16="http://schemas.microsoft.com/office/drawing/2014/main" id="{B18D9B0F-C3B3-45D2-BAAC-62562A3321F1}"/>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9" name="Freeform 104">
              <a:extLst>
                <a:ext uri="{FF2B5EF4-FFF2-40B4-BE49-F238E27FC236}">
                  <a16:creationId xmlns:a16="http://schemas.microsoft.com/office/drawing/2014/main" id="{88CA10C9-6D49-426A-B008-08E0E8E944BC}"/>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0" name="Freeform 105">
              <a:extLst>
                <a:ext uri="{FF2B5EF4-FFF2-40B4-BE49-F238E27FC236}">
                  <a16:creationId xmlns:a16="http://schemas.microsoft.com/office/drawing/2014/main" id="{070CAC55-C633-45AA-A07A-C0957C583FFD}"/>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61" name="Slide Number Placeholder 3">
            <a:extLst>
              <a:ext uri="{FF2B5EF4-FFF2-40B4-BE49-F238E27FC236}">
                <a16:creationId xmlns:a16="http://schemas.microsoft.com/office/drawing/2014/main" id="{EF524037-F5D0-4428-9CA5-C04BEDCCDDDB}"/>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2" name="Rectangle 155">
            <a:extLst>
              <a:ext uri="{FF2B5EF4-FFF2-40B4-BE49-F238E27FC236}">
                <a16:creationId xmlns:a16="http://schemas.microsoft.com/office/drawing/2014/main" id="{2B1046A9-03EE-49D1-911F-F1D3C9D50387}"/>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dirty="0"/>
              <a:t>Production code #</a:t>
            </a:r>
          </a:p>
        </p:txBody>
      </p:sp>
      <p:sp>
        <p:nvSpPr>
          <p:cNvPr id="63" name="Rectangle 176">
            <a:extLst>
              <a:ext uri="{FF2B5EF4-FFF2-40B4-BE49-F238E27FC236}">
                <a16:creationId xmlns:a16="http://schemas.microsoft.com/office/drawing/2014/main" id="{3D2F4685-1C9C-46FB-9AD7-3D8BB399C73D}"/>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264260097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p>
            <a:r>
              <a:rPr lang="en-US"/>
              <a:t>Click to edit Master title style</a:t>
            </a:r>
            <a:endParaRPr lang="en-US" dirty="0"/>
          </a:p>
        </p:txBody>
      </p:sp>
      <p:sp>
        <p:nvSpPr>
          <p:cNvPr id="7" name="Content Placeholder 2"/>
          <p:cNvSpPr>
            <a:spLocks noGrp="1"/>
          </p:cNvSpPr>
          <p:nvPr>
            <p:ph idx="13"/>
          </p:nvPr>
        </p:nvSpPr>
        <p:spPr>
          <a:xfrm>
            <a:off x="325661" y="1339850"/>
            <a:ext cx="8188710" cy="4878388"/>
          </a:xfrm>
        </p:spPr>
        <p:txBody>
          <a:bodyPr lIns="91440"/>
          <a:lstStyle>
            <a:lvl1pPr marL="0" indent="0" algn="l" rtl="0" fontAlgn="base">
              <a:spcBef>
                <a:spcPts val="480"/>
              </a:spcBef>
              <a:spcAft>
                <a:spcPct val="0"/>
              </a:spcAft>
              <a:buSzPct val="40000"/>
              <a:defRPr lang="en-US" sz="1600" b="1" dirty="0" smtClean="0">
                <a:solidFill>
                  <a:srgbClr val="7A9A3D"/>
                </a:solidFill>
                <a:latin typeface="+mn-lt"/>
                <a:ea typeface="+mn-ea"/>
                <a:cs typeface="+mn-cs"/>
              </a:defRPr>
            </a:lvl1pPr>
            <a:lvl2pPr>
              <a:spcBef>
                <a:spcPts val="2000"/>
              </a:spcBef>
              <a:defRPr lang="en-US" dirty="0" smtClean="0">
                <a:solidFill>
                  <a:schemeClr val="tx1"/>
                </a:solidFill>
                <a:latin typeface="+mn-lt"/>
              </a:defRPr>
            </a:lvl2pPr>
            <a:lvl3pPr>
              <a:defRPr lang="en-US" sz="1600" dirty="0" smtClean="0">
                <a:solidFill>
                  <a:schemeClr val="accent1"/>
                </a:solidFill>
                <a:latin typeface="+mn-lt"/>
              </a:defRPr>
            </a:lvl3pPr>
            <a:lvl4pPr>
              <a:buClr>
                <a:schemeClr val="bg2"/>
              </a:buClr>
              <a:buSzPct val="80000"/>
              <a:buFont typeface="Arial" pitchFamily="34" charset="0"/>
              <a:buChar char="•"/>
              <a:defRPr sz="1400">
                <a:solidFill>
                  <a:schemeClr val="accent1"/>
                </a:solidFill>
              </a:defRPr>
            </a:lvl4pPr>
          </a:lstStyle>
          <a:p>
            <a:pPr lvl="0"/>
            <a:r>
              <a:rPr lang="en-US"/>
              <a:t>Click to edit Master text styles</a:t>
            </a:r>
          </a:p>
        </p:txBody>
      </p:sp>
      <p:grpSp>
        <p:nvGrpSpPr>
          <p:cNvPr id="34" name="Group 33">
            <a:extLst>
              <a:ext uri="{FF2B5EF4-FFF2-40B4-BE49-F238E27FC236}">
                <a16:creationId xmlns:a16="http://schemas.microsoft.com/office/drawing/2014/main" id="{7645B271-DC5A-455C-972F-184CD6F75FE1}"/>
              </a:ext>
            </a:extLst>
          </p:cNvPr>
          <p:cNvGrpSpPr/>
          <p:nvPr userDrawn="1"/>
        </p:nvGrpSpPr>
        <p:grpSpPr>
          <a:xfrm>
            <a:off x="7358173" y="6361974"/>
            <a:ext cx="1382376" cy="297562"/>
            <a:chOff x="6923088" y="4475163"/>
            <a:chExt cx="1873251" cy="403225"/>
          </a:xfrm>
        </p:grpSpPr>
        <p:sp>
          <p:nvSpPr>
            <p:cNvPr id="35" name="AutoShape 4">
              <a:extLst>
                <a:ext uri="{FF2B5EF4-FFF2-40B4-BE49-F238E27FC236}">
                  <a16:creationId xmlns:a16="http://schemas.microsoft.com/office/drawing/2014/main" id="{981F299B-B30A-4200-882E-A1DB110E54A1}"/>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6" name="Freeform 6">
              <a:extLst>
                <a:ext uri="{FF2B5EF4-FFF2-40B4-BE49-F238E27FC236}">
                  <a16:creationId xmlns:a16="http://schemas.microsoft.com/office/drawing/2014/main" id="{8CB19815-5037-45FC-9786-8C9AD1058016}"/>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7" name="Freeform 7">
              <a:extLst>
                <a:ext uri="{FF2B5EF4-FFF2-40B4-BE49-F238E27FC236}">
                  <a16:creationId xmlns:a16="http://schemas.microsoft.com/office/drawing/2014/main" id="{210663C0-C8F9-403A-8CD2-C1F7CF8FC2BF}"/>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9" name="Freeform 83">
              <a:extLst>
                <a:ext uri="{FF2B5EF4-FFF2-40B4-BE49-F238E27FC236}">
                  <a16:creationId xmlns:a16="http://schemas.microsoft.com/office/drawing/2014/main" id="{8158FE4D-784E-459F-A960-4E125DF0F251}"/>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0" name="Freeform 84">
              <a:extLst>
                <a:ext uri="{FF2B5EF4-FFF2-40B4-BE49-F238E27FC236}">
                  <a16:creationId xmlns:a16="http://schemas.microsoft.com/office/drawing/2014/main" id="{84E0C97A-D15D-41FF-A250-6C5D06F3172F}"/>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1" name="Freeform 85">
              <a:extLst>
                <a:ext uri="{FF2B5EF4-FFF2-40B4-BE49-F238E27FC236}">
                  <a16:creationId xmlns:a16="http://schemas.microsoft.com/office/drawing/2014/main" id="{9286D920-7349-4DA5-8098-FBBBA4142274}"/>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2" name="Freeform 86">
              <a:extLst>
                <a:ext uri="{FF2B5EF4-FFF2-40B4-BE49-F238E27FC236}">
                  <a16:creationId xmlns:a16="http://schemas.microsoft.com/office/drawing/2014/main" id="{C1B434F8-ADCA-4E47-AE1A-49F89DAFECC5}"/>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3" name="Freeform 87">
              <a:extLst>
                <a:ext uri="{FF2B5EF4-FFF2-40B4-BE49-F238E27FC236}">
                  <a16:creationId xmlns:a16="http://schemas.microsoft.com/office/drawing/2014/main" id="{282F5851-8545-4EE9-A625-19BE3095ACB6}"/>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4" name="Freeform 88">
              <a:extLst>
                <a:ext uri="{FF2B5EF4-FFF2-40B4-BE49-F238E27FC236}">
                  <a16:creationId xmlns:a16="http://schemas.microsoft.com/office/drawing/2014/main" id="{D6AB1CC1-1D24-4B74-A27D-D1B8A703D991}"/>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5" name="Freeform 89">
              <a:extLst>
                <a:ext uri="{FF2B5EF4-FFF2-40B4-BE49-F238E27FC236}">
                  <a16:creationId xmlns:a16="http://schemas.microsoft.com/office/drawing/2014/main" id="{3862B34B-4D7E-4367-ABFC-C70AAC34F925}"/>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6" name="Freeform 90">
              <a:extLst>
                <a:ext uri="{FF2B5EF4-FFF2-40B4-BE49-F238E27FC236}">
                  <a16:creationId xmlns:a16="http://schemas.microsoft.com/office/drawing/2014/main" id="{E5F1F9C5-A51C-4CC0-8DF0-465C55D60173}"/>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7" name="Freeform 91">
              <a:extLst>
                <a:ext uri="{FF2B5EF4-FFF2-40B4-BE49-F238E27FC236}">
                  <a16:creationId xmlns:a16="http://schemas.microsoft.com/office/drawing/2014/main" id="{569D52C3-EFFA-4F6C-88D6-95C2B8F81034}"/>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8" name="Freeform 92">
              <a:extLst>
                <a:ext uri="{FF2B5EF4-FFF2-40B4-BE49-F238E27FC236}">
                  <a16:creationId xmlns:a16="http://schemas.microsoft.com/office/drawing/2014/main" id="{42ED9E5F-C2B4-42A4-AA2A-AF48941C81EB}"/>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9" name="Freeform 93">
              <a:extLst>
                <a:ext uri="{FF2B5EF4-FFF2-40B4-BE49-F238E27FC236}">
                  <a16:creationId xmlns:a16="http://schemas.microsoft.com/office/drawing/2014/main" id="{CC43DE98-B858-4BA0-96D4-87DABB0B9042}"/>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0" name="Freeform 94">
              <a:extLst>
                <a:ext uri="{FF2B5EF4-FFF2-40B4-BE49-F238E27FC236}">
                  <a16:creationId xmlns:a16="http://schemas.microsoft.com/office/drawing/2014/main" id="{C77B781B-7A72-4CD0-B5D7-93667054DEC7}"/>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1" name="Freeform 95">
              <a:extLst>
                <a:ext uri="{FF2B5EF4-FFF2-40B4-BE49-F238E27FC236}">
                  <a16:creationId xmlns:a16="http://schemas.microsoft.com/office/drawing/2014/main" id="{65A1C4BE-A361-43C9-9F99-35D7D96B6351}"/>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2" name="Freeform 96">
              <a:extLst>
                <a:ext uri="{FF2B5EF4-FFF2-40B4-BE49-F238E27FC236}">
                  <a16:creationId xmlns:a16="http://schemas.microsoft.com/office/drawing/2014/main" id="{A0712A7E-616F-4D72-9D69-992C6EECD487}"/>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3" name="Freeform 97">
              <a:extLst>
                <a:ext uri="{FF2B5EF4-FFF2-40B4-BE49-F238E27FC236}">
                  <a16:creationId xmlns:a16="http://schemas.microsoft.com/office/drawing/2014/main" id="{622CAA9B-3BBB-4A0A-9F4F-A55FF6A4F70F}"/>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4" name="Freeform 98">
              <a:extLst>
                <a:ext uri="{FF2B5EF4-FFF2-40B4-BE49-F238E27FC236}">
                  <a16:creationId xmlns:a16="http://schemas.microsoft.com/office/drawing/2014/main" id="{05FA4D1B-0AF0-478D-9483-3C9AD781F457}"/>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5" name="Freeform 99">
              <a:extLst>
                <a:ext uri="{FF2B5EF4-FFF2-40B4-BE49-F238E27FC236}">
                  <a16:creationId xmlns:a16="http://schemas.microsoft.com/office/drawing/2014/main" id="{759E997B-853C-4C4C-A139-FCA7C81D155F}"/>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6" name="Freeform 100">
              <a:extLst>
                <a:ext uri="{FF2B5EF4-FFF2-40B4-BE49-F238E27FC236}">
                  <a16:creationId xmlns:a16="http://schemas.microsoft.com/office/drawing/2014/main" id="{986E164C-CF11-4423-93E0-CE6765080049}"/>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7" name="Freeform 101">
              <a:extLst>
                <a:ext uri="{FF2B5EF4-FFF2-40B4-BE49-F238E27FC236}">
                  <a16:creationId xmlns:a16="http://schemas.microsoft.com/office/drawing/2014/main" id="{2BA4917F-73B1-42C6-8A7A-BC93E1E70930}"/>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8" name="Freeform 102">
              <a:extLst>
                <a:ext uri="{FF2B5EF4-FFF2-40B4-BE49-F238E27FC236}">
                  <a16:creationId xmlns:a16="http://schemas.microsoft.com/office/drawing/2014/main" id="{5219F6E5-979C-417D-B1BC-F638E25EC2C3}"/>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9" name="Freeform 103">
              <a:extLst>
                <a:ext uri="{FF2B5EF4-FFF2-40B4-BE49-F238E27FC236}">
                  <a16:creationId xmlns:a16="http://schemas.microsoft.com/office/drawing/2014/main" id="{A50A41F6-9858-47F8-8C00-C523EFC2667E}"/>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0" name="Freeform 104">
              <a:extLst>
                <a:ext uri="{FF2B5EF4-FFF2-40B4-BE49-F238E27FC236}">
                  <a16:creationId xmlns:a16="http://schemas.microsoft.com/office/drawing/2014/main" id="{D34DAA34-328E-42B7-AEF3-A67AF79B1509}"/>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1" name="Freeform 105">
              <a:extLst>
                <a:ext uri="{FF2B5EF4-FFF2-40B4-BE49-F238E27FC236}">
                  <a16:creationId xmlns:a16="http://schemas.microsoft.com/office/drawing/2014/main" id="{09E02178-BC20-4656-8320-DBEE2C2D78BF}"/>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62" name="Slide Number Placeholder 3">
            <a:extLst>
              <a:ext uri="{FF2B5EF4-FFF2-40B4-BE49-F238E27FC236}">
                <a16:creationId xmlns:a16="http://schemas.microsoft.com/office/drawing/2014/main" id="{4BACBA7A-3B9C-4FA4-BE9B-2701ADADA166}"/>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3" name="Rectangle 155">
            <a:extLst>
              <a:ext uri="{FF2B5EF4-FFF2-40B4-BE49-F238E27FC236}">
                <a16:creationId xmlns:a16="http://schemas.microsoft.com/office/drawing/2014/main" id="{14E214B7-BB48-4178-B022-500F2BA5A5EF}"/>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dirty="0"/>
              <a:t>Production code #</a:t>
            </a:r>
          </a:p>
        </p:txBody>
      </p:sp>
      <p:sp>
        <p:nvSpPr>
          <p:cNvPr id="64" name="Rectangle 176">
            <a:extLst>
              <a:ext uri="{FF2B5EF4-FFF2-40B4-BE49-F238E27FC236}">
                <a16:creationId xmlns:a16="http://schemas.microsoft.com/office/drawing/2014/main" id="{1206BE26-E5C7-4ADA-8A9A-41BDC4C42A8A}"/>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2332577257"/>
      </p:ext>
    </p:extLst>
  </p:cSld>
  <p:clrMapOvr>
    <a:masterClrMapping/>
  </p:clrMapOvr>
  <p:extLst>
    <p:ext uri="{DCECCB84-F9BA-43D5-87BE-67443E8EF086}">
      <p15:sldGuideLst xmlns:p15="http://schemas.microsoft.com/office/powerpoint/2012/main">
        <p15:guide id="1" orient="horz" pos="2160">
          <p15:clr>
            <a:srgbClr val="FBAE40"/>
          </p15:clr>
        </p15:guide>
        <p15:guide id="2" pos="264">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41248"/>
          </a:xfrm>
        </p:spPr>
        <p:txBody>
          <a:bodyPr/>
          <a:lstStyle>
            <a:lvl1pPr>
              <a:defRPr>
                <a:solidFill>
                  <a:srgbClr val="333F48"/>
                </a:solidFill>
              </a:defRPr>
            </a:lvl1pPr>
          </a:lstStyle>
          <a:p>
            <a:r>
              <a:rPr lang="en-US"/>
              <a:t>Click to edit Master title style</a:t>
            </a:r>
            <a:endParaRPr lang="en-US" dirty="0"/>
          </a:p>
        </p:txBody>
      </p:sp>
      <p:sp>
        <p:nvSpPr>
          <p:cNvPr id="11" name="Content Placeholder 2"/>
          <p:cNvSpPr>
            <a:spLocks noGrp="1"/>
          </p:cNvSpPr>
          <p:nvPr>
            <p:ph idx="12"/>
          </p:nvPr>
        </p:nvSpPr>
        <p:spPr>
          <a:xfrm>
            <a:off x="325661" y="1339850"/>
            <a:ext cx="8188710" cy="4878388"/>
          </a:xfrm>
        </p:spPr>
        <p:txBody>
          <a:bodyPr lIns="91440"/>
          <a:lstStyle>
            <a:lvl1pPr marL="0" indent="0" algn="l" rtl="0" fontAlgn="base">
              <a:spcBef>
                <a:spcPts val="480"/>
              </a:spcBef>
              <a:spcAft>
                <a:spcPct val="0"/>
              </a:spcAft>
              <a:buSzPct val="40000"/>
              <a:defRPr lang="en-US" sz="1600" b="1" dirty="0" smtClean="0">
                <a:solidFill>
                  <a:srgbClr val="7A9B3D"/>
                </a:solidFill>
                <a:latin typeface="+mn-lt"/>
                <a:ea typeface="+mn-ea"/>
                <a:cs typeface="+mn-cs"/>
              </a:defRPr>
            </a:lvl1pPr>
            <a:lvl2pPr marL="114300" indent="-114300">
              <a:spcBef>
                <a:spcPts val="288"/>
              </a:spcBef>
              <a:buClr>
                <a:srgbClr val="7A9B3D"/>
              </a:buClr>
              <a:defRPr lang="en-US" dirty="0" smtClean="0">
                <a:solidFill>
                  <a:srgbClr val="000000"/>
                </a:solidFill>
                <a:latin typeface="+mn-lt"/>
              </a:defRPr>
            </a:lvl2pPr>
            <a:lvl3pPr marL="228600" indent="-114300">
              <a:buClr>
                <a:srgbClr val="768692"/>
              </a:buClr>
              <a:defRPr lang="en-US" sz="1200" dirty="0" smtClean="0">
                <a:solidFill>
                  <a:srgbClr val="000000"/>
                </a:solidFill>
                <a:latin typeface="+mn-lt"/>
              </a:defRPr>
            </a:lvl3pPr>
            <a:lvl4pPr marL="342900" indent="-114300">
              <a:buClr>
                <a:srgbClr val="000000"/>
              </a:buClr>
              <a:buSzPct val="100000"/>
              <a:buFont typeface="Arial" pitchFamily="34" charset="0"/>
              <a:buChar char="•"/>
              <a:defRPr sz="1200">
                <a:solidFill>
                  <a:srgbClr val="000000"/>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grpSp>
        <p:nvGrpSpPr>
          <p:cNvPr id="34" name="Group 33">
            <a:extLst>
              <a:ext uri="{FF2B5EF4-FFF2-40B4-BE49-F238E27FC236}">
                <a16:creationId xmlns:a16="http://schemas.microsoft.com/office/drawing/2014/main" id="{F35FDC46-FBEF-4D3A-824F-AA5527F6B538}"/>
              </a:ext>
            </a:extLst>
          </p:cNvPr>
          <p:cNvGrpSpPr/>
          <p:nvPr userDrawn="1"/>
        </p:nvGrpSpPr>
        <p:grpSpPr>
          <a:xfrm>
            <a:off x="7358173" y="6361974"/>
            <a:ext cx="1382376" cy="297562"/>
            <a:chOff x="6923088" y="4475163"/>
            <a:chExt cx="1873251" cy="403225"/>
          </a:xfrm>
        </p:grpSpPr>
        <p:sp>
          <p:nvSpPr>
            <p:cNvPr id="35" name="AutoShape 4">
              <a:extLst>
                <a:ext uri="{FF2B5EF4-FFF2-40B4-BE49-F238E27FC236}">
                  <a16:creationId xmlns:a16="http://schemas.microsoft.com/office/drawing/2014/main" id="{13B1E680-6021-422B-8A8E-1B306778B234}"/>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6" name="Freeform 6">
              <a:extLst>
                <a:ext uri="{FF2B5EF4-FFF2-40B4-BE49-F238E27FC236}">
                  <a16:creationId xmlns:a16="http://schemas.microsoft.com/office/drawing/2014/main" id="{E8025A2B-E398-4697-A9E2-8F0FC31A0D85}"/>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7" name="Freeform 7">
              <a:extLst>
                <a:ext uri="{FF2B5EF4-FFF2-40B4-BE49-F238E27FC236}">
                  <a16:creationId xmlns:a16="http://schemas.microsoft.com/office/drawing/2014/main" id="{C43F9FE8-4030-4823-AFFC-53EC41D610C8}"/>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8" name="Freeform 83">
              <a:extLst>
                <a:ext uri="{FF2B5EF4-FFF2-40B4-BE49-F238E27FC236}">
                  <a16:creationId xmlns:a16="http://schemas.microsoft.com/office/drawing/2014/main" id="{84CFA8D7-B7EA-4C49-8B7B-52F2EBD40D72}"/>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9" name="Freeform 84">
              <a:extLst>
                <a:ext uri="{FF2B5EF4-FFF2-40B4-BE49-F238E27FC236}">
                  <a16:creationId xmlns:a16="http://schemas.microsoft.com/office/drawing/2014/main" id="{E5FA71CE-1849-4F2B-BBF1-D88DF543601E}"/>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1" name="Freeform 85">
              <a:extLst>
                <a:ext uri="{FF2B5EF4-FFF2-40B4-BE49-F238E27FC236}">
                  <a16:creationId xmlns:a16="http://schemas.microsoft.com/office/drawing/2014/main" id="{B09D7E37-F1F3-4A71-A11A-DFFB32209D19}"/>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2" name="Freeform 86">
              <a:extLst>
                <a:ext uri="{FF2B5EF4-FFF2-40B4-BE49-F238E27FC236}">
                  <a16:creationId xmlns:a16="http://schemas.microsoft.com/office/drawing/2014/main" id="{A2B61984-2AF8-42DC-88E5-6AC6F527AD9A}"/>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3" name="Freeform 87">
              <a:extLst>
                <a:ext uri="{FF2B5EF4-FFF2-40B4-BE49-F238E27FC236}">
                  <a16:creationId xmlns:a16="http://schemas.microsoft.com/office/drawing/2014/main" id="{C07FC06A-2E9C-4A48-BBD3-6327F3653272}"/>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4" name="Freeform 88">
              <a:extLst>
                <a:ext uri="{FF2B5EF4-FFF2-40B4-BE49-F238E27FC236}">
                  <a16:creationId xmlns:a16="http://schemas.microsoft.com/office/drawing/2014/main" id="{BC929529-3872-4564-916D-B78F3A022AC1}"/>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5" name="Freeform 89">
              <a:extLst>
                <a:ext uri="{FF2B5EF4-FFF2-40B4-BE49-F238E27FC236}">
                  <a16:creationId xmlns:a16="http://schemas.microsoft.com/office/drawing/2014/main" id="{76C611A8-28A4-4EB7-8E8D-5709B0A9C09D}"/>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6" name="Freeform 90">
              <a:extLst>
                <a:ext uri="{FF2B5EF4-FFF2-40B4-BE49-F238E27FC236}">
                  <a16:creationId xmlns:a16="http://schemas.microsoft.com/office/drawing/2014/main" id="{2A3387E9-C969-42C4-8C31-01B08251BC3A}"/>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7" name="Freeform 91">
              <a:extLst>
                <a:ext uri="{FF2B5EF4-FFF2-40B4-BE49-F238E27FC236}">
                  <a16:creationId xmlns:a16="http://schemas.microsoft.com/office/drawing/2014/main" id="{302AB622-4561-41BC-BC82-5C875ED588E4}"/>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8" name="Freeform 92">
              <a:extLst>
                <a:ext uri="{FF2B5EF4-FFF2-40B4-BE49-F238E27FC236}">
                  <a16:creationId xmlns:a16="http://schemas.microsoft.com/office/drawing/2014/main" id="{E60D74BB-AE92-4309-8898-038C88CD68C4}"/>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9" name="Freeform 93">
              <a:extLst>
                <a:ext uri="{FF2B5EF4-FFF2-40B4-BE49-F238E27FC236}">
                  <a16:creationId xmlns:a16="http://schemas.microsoft.com/office/drawing/2014/main" id="{8B265CB2-CFC3-48F3-A867-1D7250C38C07}"/>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0" name="Freeform 94">
              <a:extLst>
                <a:ext uri="{FF2B5EF4-FFF2-40B4-BE49-F238E27FC236}">
                  <a16:creationId xmlns:a16="http://schemas.microsoft.com/office/drawing/2014/main" id="{67D6C386-B58F-4756-AEDA-323448941B69}"/>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1" name="Freeform 95">
              <a:extLst>
                <a:ext uri="{FF2B5EF4-FFF2-40B4-BE49-F238E27FC236}">
                  <a16:creationId xmlns:a16="http://schemas.microsoft.com/office/drawing/2014/main" id="{A8EC6758-D67A-4DF6-B788-44C3EA3AE253}"/>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2" name="Freeform 96">
              <a:extLst>
                <a:ext uri="{FF2B5EF4-FFF2-40B4-BE49-F238E27FC236}">
                  <a16:creationId xmlns:a16="http://schemas.microsoft.com/office/drawing/2014/main" id="{C765FFF5-FEC7-4B2F-BE49-019DD1B75BC0}"/>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3" name="Freeform 97">
              <a:extLst>
                <a:ext uri="{FF2B5EF4-FFF2-40B4-BE49-F238E27FC236}">
                  <a16:creationId xmlns:a16="http://schemas.microsoft.com/office/drawing/2014/main" id="{4037D999-CE4B-40FE-BDE3-6257E3833FE6}"/>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4" name="Freeform 98">
              <a:extLst>
                <a:ext uri="{FF2B5EF4-FFF2-40B4-BE49-F238E27FC236}">
                  <a16:creationId xmlns:a16="http://schemas.microsoft.com/office/drawing/2014/main" id="{670E1E2A-C6E4-432C-91D5-5002B80FA31E}"/>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5" name="Freeform 99">
              <a:extLst>
                <a:ext uri="{FF2B5EF4-FFF2-40B4-BE49-F238E27FC236}">
                  <a16:creationId xmlns:a16="http://schemas.microsoft.com/office/drawing/2014/main" id="{F4A5B3F1-45B2-446A-85C8-AE25FB0A14B0}"/>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6" name="Freeform 100">
              <a:extLst>
                <a:ext uri="{FF2B5EF4-FFF2-40B4-BE49-F238E27FC236}">
                  <a16:creationId xmlns:a16="http://schemas.microsoft.com/office/drawing/2014/main" id="{04268254-A1B1-43E8-9769-A0BD433D5D0E}"/>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7" name="Freeform 101">
              <a:extLst>
                <a:ext uri="{FF2B5EF4-FFF2-40B4-BE49-F238E27FC236}">
                  <a16:creationId xmlns:a16="http://schemas.microsoft.com/office/drawing/2014/main" id="{F2EDB0F0-6E60-47F6-A679-89912AB17CC3}"/>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8" name="Freeform 102">
              <a:extLst>
                <a:ext uri="{FF2B5EF4-FFF2-40B4-BE49-F238E27FC236}">
                  <a16:creationId xmlns:a16="http://schemas.microsoft.com/office/drawing/2014/main" id="{9305A429-8E7E-40EB-87BD-88486F37CD0D}"/>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9" name="Freeform 103">
              <a:extLst>
                <a:ext uri="{FF2B5EF4-FFF2-40B4-BE49-F238E27FC236}">
                  <a16:creationId xmlns:a16="http://schemas.microsoft.com/office/drawing/2014/main" id="{D39023A5-E518-4444-8B57-73531A0F3B21}"/>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0" name="Freeform 104">
              <a:extLst>
                <a:ext uri="{FF2B5EF4-FFF2-40B4-BE49-F238E27FC236}">
                  <a16:creationId xmlns:a16="http://schemas.microsoft.com/office/drawing/2014/main" id="{00BFEA3B-6363-498A-9DCB-1DDD6916076F}"/>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1" name="Freeform 105">
              <a:extLst>
                <a:ext uri="{FF2B5EF4-FFF2-40B4-BE49-F238E27FC236}">
                  <a16:creationId xmlns:a16="http://schemas.microsoft.com/office/drawing/2014/main" id="{0665DFAE-7DC0-4298-A731-4646C37AFEE5}"/>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62" name="Slide Number Placeholder 3">
            <a:extLst>
              <a:ext uri="{FF2B5EF4-FFF2-40B4-BE49-F238E27FC236}">
                <a16:creationId xmlns:a16="http://schemas.microsoft.com/office/drawing/2014/main" id="{AE8437CA-0496-4DD5-9905-A7ABC5A38B93}"/>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3" name="Rectangle 155">
            <a:extLst>
              <a:ext uri="{FF2B5EF4-FFF2-40B4-BE49-F238E27FC236}">
                <a16:creationId xmlns:a16="http://schemas.microsoft.com/office/drawing/2014/main" id="{D9284EF3-CC3D-477B-A455-E4730B2DF686}"/>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dirty="0"/>
              <a:t>Production code #</a:t>
            </a:r>
          </a:p>
        </p:txBody>
      </p:sp>
      <p:sp>
        <p:nvSpPr>
          <p:cNvPr id="64" name="Rectangle 176">
            <a:extLst>
              <a:ext uri="{FF2B5EF4-FFF2-40B4-BE49-F238E27FC236}">
                <a16:creationId xmlns:a16="http://schemas.microsoft.com/office/drawing/2014/main" id="{5F21FBC4-709C-41E5-B2BD-D589A058990C}"/>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2243929084"/>
      </p:ext>
    </p:extLst>
  </p:cSld>
  <p:clrMapOvr>
    <a:masterClrMapping/>
  </p:clrMapOvr>
  <p:extLst>
    <p:ext uri="{DCECCB84-F9BA-43D5-87BE-67443E8EF086}">
      <p15:sldGuideLst xmlns:p15="http://schemas.microsoft.com/office/powerpoint/2012/main">
        <p15:guide id="1" orient="horz" pos="2160">
          <p15:clr>
            <a:srgbClr val="FBAE40"/>
          </p15:clr>
        </p15:guide>
        <p15:guide id="2" pos="264">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ulleted List - with subhead">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41248"/>
          </a:xfrm>
        </p:spPr>
        <p:txBody>
          <a:bodyPr/>
          <a:lstStyle/>
          <a:p>
            <a:r>
              <a:rPr lang="en-US"/>
              <a:t>Click to edit Master title style</a:t>
            </a:r>
            <a:endParaRPr lang="en-US" dirty="0"/>
          </a:p>
        </p:txBody>
      </p:sp>
      <p:sp>
        <p:nvSpPr>
          <p:cNvPr id="11" name="Content Placeholder 2"/>
          <p:cNvSpPr>
            <a:spLocks noGrp="1"/>
          </p:cNvSpPr>
          <p:nvPr>
            <p:ph idx="12"/>
          </p:nvPr>
        </p:nvSpPr>
        <p:spPr>
          <a:xfrm>
            <a:off x="325661" y="1339850"/>
            <a:ext cx="8188710" cy="4878388"/>
          </a:xfrm>
        </p:spPr>
        <p:txBody>
          <a:bodyPr lIns="91440"/>
          <a:lstStyle>
            <a:lvl1pPr marL="0" indent="0" algn="l" rtl="0" fontAlgn="base">
              <a:spcBef>
                <a:spcPts val="480"/>
              </a:spcBef>
              <a:spcAft>
                <a:spcPct val="0"/>
              </a:spcAft>
              <a:buSzPct val="40000"/>
              <a:defRPr lang="en-US" sz="1400" b="1" dirty="0" smtClean="0">
                <a:solidFill>
                  <a:srgbClr val="7A9B3D"/>
                </a:solidFill>
                <a:latin typeface="+mn-lt"/>
                <a:ea typeface="+mn-ea"/>
                <a:cs typeface="+mn-cs"/>
              </a:defRPr>
            </a:lvl1pPr>
            <a:lvl2pPr marL="114300" indent="-114300">
              <a:spcBef>
                <a:spcPts val="288"/>
              </a:spcBef>
              <a:buClr>
                <a:srgbClr val="7A9B3D"/>
              </a:buClr>
              <a:defRPr lang="en-US" sz="1200" dirty="0" smtClean="0">
                <a:solidFill>
                  <a:srgbClr val="000000"/>
                </a:solidFill>
                <a:latin typeface="+mn-lt"/>
              </a:defRPr>
            </a:lvl2pPr>
            <a:lvl3pPr marL="228600" indent="-114300">
              <a:buClr>
                <a:srgbClr val="7A9A3D"/>
              </a:buClr>
              <a:defRPr lang="en-US" sz="1100" dirty="0" smtClean="0">
                <a:solidFill>
                  <a:srgbClr val="000000"/>
                </a:solidFill>
                <a:latin typeface="+mn-lt"/>
              </a:defRPr>
            </a:lvl3pPr>
            <a:lvl4pPr marL="342900" indent="-114300">
              <a:buClr>
                <a:srgbClr val="7A9A3D"/>
              </a:buClr>
              <a:buSzPct val="100000"/>
              <a:buFont typeface="Arial" pitchFamily="34" charset="0"/>
              <a:buChar char="•"/>
              <a:defRPr sz="1100">
                <a:solidFill>
                  <a:srgbClr val="000000"/>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grpSp>
        <p:nvGrpSpPr>
          <p:cNvPr id="34" name="Group 33">
            <a:extLst>
              <a:ext uri="{FF2B5EF4-FFF2-40B4-BE49-F238E27FC236}">
                <a16:creationId xmlns:a16="http://schemas.microsoft.com/office/drawing/2014/main" id="{D28BA5D5-7577-4DB0-9BC0-1966AD89CF1A}"/>
              </a:ext>
            </a:extLst>
          </p:cNvPr>
          <p:cNvGrpSpPr/>
          <p:nvPr userDrawn="1"/>
        </p:nvGrpSpPr>
        <p:grpSpPr>
          <a:xfrm>
            <a:off x="7358173" y="6361974"/>
            <a:ext cx="1382376" cy="297562"/>
            <a:chOff x="6923088" y="4475163"/>
            <a:chExt cx="1873251" cy="403225"/>
          </a:xfrm>
        </p:grpSpPr>
        <p:sp>
          <p:nvSpPr>
            <p:cNvPr id="35" name="AutoShape 4">
              <a:extLst>
                <a:ext uri="{FF2B5EF4-FFF2-40B4-BE49-F238E27FC236}">
                  <a16:creationId xmlns:a16="http://schemas.microsoft.com/office/drawing/2014/main" id="{81528732-0B22-455F-8181-76F748DA3CCA}"/>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6" name="Freeform 6">
              <a:extLst>
                <a:ext uri="{FF2B5EF4-FFF2-40B4-BE49-F238E27FC236}">
                  <a16:creationId xmlns:a16="http://schemas.microsoft.com/office/drawing/2014/main" id="{5A6B5828-B285-4B2A-87A0-0FBC6A49E983}"/>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7" name="Freeform 7">
              <a:extLst>
                <a:ext uri="{FF2B5EF4-FFF2-40B4-BE49-F238E27FC236}">
                  <a16:creationId xmlns:a16="http://schemas.microsoft.com/office/drawing/2014/main" id="{BA9A7A8C-0055-48D8-8CDB-835865091C57}"/>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8" name="Freeform 83">
              <a:extLst>
                <a:ext uri="{FF2B5EF4-FFF2-40B4-BE49-F238E27FC236}">
                  <a16:creationId xmlns:a16="http://schemas.microsoft.com/office/drawing/2014/main" id="{10EB657C-BE66-4635-89D3-1E933230114F}"/>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9" name="Freeform 84">
              <a:extLst>
                <a:ext uri="{FF2B5EF4-FFF2-40B4-BE49-F238E27FC236}">
                  <a16:creationId xmlns:a16="http://schemas.microsoft.com/office/drawing/2014/main" id="{5EDFA9F8-4FAD-46D1-8ABC-D231E3876DE2}"/>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1" name="Freeform 85">
              <a:extLst>
                <a:ext uri="{FF2B5EF4-FFF2-40B4-BE49-F238E27FC236}">
                  <a16:creationId xmlns:a16="http://schemas.microsoft.com/office/drawing/2014/main" id="{C807C58D-1491-44D6-9716-89F7B7746AFE}"/>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2" name="Freeform 86">
              <a:extLst>
                <a:ext uri="{FF2B5EF4-FFF2-40B4-BE49-F238E27FC236}">
                  <a16:creationId xmlns:a16="http://schemas.microsoft.com/office/drawing/2014/main" id="{5594BE26-E188-4C15-88D4-6634A095626F}"/>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3" name="Freeform 87">
              <a:extLst>
                <a:ext uri="{FF2B5EF4-FFF2-40B4-BE49-F238E27FC236}">
                  <a16:creationId xmlns:a16="http://schemas.microsoft.com/office/drawing/2014/main" id="{9C261F2B-017C-492C-83EC-7327405AED5C}"/>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4" name="Freeform 88">
              <a:extLst>
                <a:ext uri="{FF2B5EF4-FFF2-40B4-BE49-F238E27FC236}">
                  <a16:creationId xmlns:a16="http://schemas.microsoft.com/office/drawing/2014/main" id="{36F6085D-3297-4DE4-A169-3C2B8E42B575}"/>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5" name="Freeform 89">
              <a:extLst>
                <a:ext uri="{FF2B5EF4-FFF2-40B4-BE49-F238E27FC236}">
                  <a16:creationId xmlns:a16="http://schemas.microsoft.com/office/drawing/2014/main" id="{B3C2FE72-800A-4FC4-BB26-44492DBDFCE5}"/>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6" name="Freeform 90">
              <a:extLst>
                <a:ext uri="{FF2B5EF4-FFF2-40B4-BE49-F238E27FC236}">
                  <a16:creationId xmlns:a16="http://schemas.microsoft.com/office/drawing/2014/main" id="{185F0E5E-F44E-47BE-84B9-016C499FF549}"/>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7" name="Freeform 91">
              <a:extLst>
                <a:ext uri="{FF2B5EF4-FFF2-40B4-BE49-F238E27FC236}">
                  <a16:creationId xmlns:a16="http://schemas.microsoft.com/office/drawing/2014/main" id="{6202E0E2-C79A-46B7-8A4B-618E59D30316}"/>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8" name="Freeform 92">
              <a:extLst>
                <a:ext uri="{FF2B5EF4-FFF2-40B4-BE49-F238E27FC236}">
                  <a16:creationId xmlns:a16="http://schemas.microsoft.com/office/drawing/2014/main" id="{52D8B876-4146-41FC-90E5-EB069956E4F4}"/>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9" name="Freeform 93">
              <a:extLst>
                <a:ext uri="{FF2B5EF4-FFF2-40B4-BE49-F238E27FC236}">
                  <a16:creationId xmlns:a16="http://schemas.microsoft.com/office/drawing/2014/main" id="{41EDBBAC-DC0B-4BD0-9310-D6838B3F6E38}"/>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0" name="Freeform 94">
              <a:extLst>
                <a:ext uri="{FF2B5EF4-FFF2-40B4-BE49-F238E27FC236}">
                  <a16:creationId xmlns:a16="http://schemas.microsoft.com/office/drawing/2014/main" id="{84ACC00C-F95C-4B32-BF4F-3411850639EA}"/>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1" name="Freeform 95">
              <a:extLst>
                <a:ext uri="{FF2B5EF4-FFF2-40B4-BE49-F238E27FC236}">
                  <a16:creationId xmlns:a16="http://schemas.microsoft.com/office/drawing/2014/main" id="{417D68F0-30E3-4096-A9F7-CEDEAC64534B}"/>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2" name="Freeform 96">
              <a:extLst>
                <a:ext uri="{FF2B5EF4-FFF2-40B4-BE49-F238E27FC236}">
                  <a16:creationId xmlns:a16="http://schemas.microsoft.com/office/drawing/2014/main" id="{859C69A3-C929-4929-BC3B-138672DDCDE4}"/>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3" name="Freeform 97">
              <a:extLst>
                <a:ext uri="{FF2B5EF4-FFF2-40B4-BE49-F238E27FC236}">
                  <a16:creationId xmlns:a16="http://schemas.microsoft.com/office/drawing/2014/main" id="{1716567F-37F9-49DF-B000-78B220024D1B}"/>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4" name="Freeform 98">
              <a:extLst>
                <a:ext uri="{FF2B5EF4-FFF2-40B4-BE49-F238E27FC236}">
                  <a16:creationId xmlns:a16="http://schemas.microsoft.com/office/drawing/2014/main" id="{E5138AFD-F944-4D25-91A7-6B6003B813B3}"/>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5" name="Freeform 99">
              <a:extLst>
                <a:ext uri="{FF2B5EF4-FFF2-40B4-BE49-F238E27FC236}">
                  <a16:creationId xmlns:a16="http://schemas.microsoft.com/office/drawing/2014/main" id="{B956A5F5-A12F-416D-BE39-E5525A328EE2}"/>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6" name="Freeform 100">
              <a:extLst>
                <a:ext uri="{FF2B5EF4-FFF2-40B4-BE49-F238E27FC236}">
                  <a16:creationId xmlns:a16="http://schemas.microsoft.com/office/drawing/2014/main" id="{CB57E0C9-1534-4789-BE5D-72C287BE68D9}"/>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7" name="Freeform 101">
              <a:extLst>
                <a:ext uri="{FF2B5EF4-FFF2-40B4-BE49-F238E27FC236}">
                  <a16:creationId xmlns:a16="http://schemas.microsoft.com/office/drawing/2014/main" id="{FC7E3BDF-8DC5-4B7B-B4A9-836F3873BE34}"/>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8" name="Freeform 102">
              <a:extLst>
                <a:ext uri="{FF2B5EF4-FFF2-40B4-BE49-F238E27FC236}">
                  <a16:creationId xmlns:a16="http://schemas.microsoft.com/office/drawing/2014/main" id="{B9EB18AF-CC98-464A-871E-F56D7D66EC9B}"/>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9" name="Freeform 103">
              <a:extLst>
                <a:ext uri="{FF2B5EF4-FFF2-40B4-BE49-F238E27FC236}">
                  <a16:creationId xmlns:a16="http://schemas.microsoft.com/office/drawing/2014/main" id="{A5234D59-E2B2-44AA-BA14-4A6AB7455855}"/>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0" name="Freeform 104">
              <a:extLst>
                <a:ext uri="{FF2B5EF4-FFF2-40B4-BE49-F238E27FC236}">
                  <a16:creationId xmlns:a16="http://schemas.microsoft.com/office/drawing/2014/main" id="{2730BDAA-DA90-48A3-AAF4-09E47007FAF1}"/>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1" name="Freeform 105">
              <a:extLst>
                <a:ext uri="{FF2B5EF4-FFF2-40B4-BE49-F238E27FC236}">
                  <a16:creationId xmlns:a16="http://schemas.microsoft.com/office/drawing/2014/main" id="{F603AB9B-36DA-4AEA-9C6F-2246A6643BAB}"/>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62" name="Slide Number Placeholder 3">
            <a:extLst>
              <a:ext uri="{FF2B5EF4-FFF2-40B4-BE49-F238E27FC236}">
                <a16:creationId xmlns:a16="http://schemas.microsoft.com/office/drawing/2014/main" id="{4A053A76-615F-4FBA-B14F-6384383F7E56}"/>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3" name="Rectangle 155">
            <a:extLst>
              <a:ext uri="{FF2B5EF4-FFF2-40B4-BE49-F238E27FC236}">
                <a16:creationId xmlns:a16="http://schemas.microsoft.com/office/drawing/2014/main" id="{239E84CF-F60D-4345-ABF5-5413EBC827D4}"/>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dirty="0"/>
              <a:t>Production code #</a:t>
            </a:r>
          </a:p>
        </p:txBody>
      </p:sp>
      <p:sp>
        <p:nvSpPr>
          <p:cNvPr id="64" name="Rectangle 176">
            <a:extLst>
              <a:ext uri="{FF2B5EF4-FFF2-40B4-BE49-F238E27FC236}">
                <a16:creationId xmlns:a16="http://schemas.microsoft.com/office/drawing/2014/main" id="{8E42AD6F-48FC-4927-9EA5-C0808419781D}"/>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1656631850"/>
      </p:ext>
    </p:extLst>
  </p:cSld>
  <p:clrMapOvr>
    <a:masterClrMapping/>
  </p:clrMapOvr>
  <p:extLst>
    <p:ext uri="{DCECCB84-F9BA-43D5-87BE-67443E8EF086}">
      <p15:sldGuideLst xmlns:p15="http://schemas.microsoft.com/office/powerpoint/2012/main">
        <p15:guide id="1" orient="horz" pos="2160">
          <p15:clr>
            <a:srgbClr val="FBAE40"/>
          </p15:clr>
        </p15:guide>
        <p15:guide id="2" pos="264">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mportant Information">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lvl1pPr>
              <a:defRPr>
                <a:solidFill>
                  <a:srgbClr val="333F48"/>
                </a:solidFill>
              </a:defRPr>
            </a:lvl1pPr>
          </a:lstStyle>
          <a:p>
            <a:r>
              <a:rPr lang="en-US"/>
              <a:t>Click to edit Master title style</a:t>
            </a:r>
            <a:endParaRPr lang="en-US" dirty="0"/>
          </a:p>
        </p:txBody>
      </p:sp>
      <p:sp>
        <p:nvSpPr>
          <p:cNvPr id="3" name="Content Placeholder 2"/>
          <p:cNvSpPr>
            <a:spLocks noGrp="1"/>
          </p:cNvSpPr>
          <p:nvPr>
            <p:ph idx="1"/>
          </p:nvPr>
        </p:nvSpPr>
        <p:spPr>
          <a:xfrm>
            <a:off x="325661" y="1076325"/>
            <a:ext cx="8188710" cy="4808538"/>
          </a:xfrm>
          <a:noFill/>
          <a:ln w="9525">
            <a:noFill/>
            <a:miter lim="800000"/>
            <a:headEnd/>
            <a:tailEnd/>
          </a:ln>
          <a:effectLst/>
        </p:spPr>
        <p:txBody>
          <a:bodyPr lIns="91440"/>
          <a:lstStyle>
            <a:lvl1pPr marL="0" indent="0" algn="l" rtl="0" eaLnBrk="1" fontAlgn="base" hangingPunct="1">
              <a:spcAft>
                <a:spcPct val="0"/>
              </a:spcAft>
              <a:buSzPct val="40000"/>
              <a:defRPr lang="en-US" sz="1000" b="0" dirty="0" smtClean="0">
                <a:solidFill>
                  <a:srgbClr val="000000"/>
                </a:solidFill>
                <a:latin typeface="+mn-lt"/>
                <a:ea typeface="+mn-ea"/>
                <a:cs typeface="+mn-cs"/>
              </a:defRPr>
            </a:lvl1pPr>
            <a:lvl2pPr marL="0" indent="0" algn="l" rtl="0" eaLnBrk="1" fontAlgn="base" hangingPunct="1">
              <a:spcBef>
                <a:spcPts val="600"/>
              </a:spcBef>
              <a:spcAft>
                <a:spcPct val="0"/>
              </a:spcAft>
              <a:buSzPct val="40000"/>
              <a:buNone/>
              <a:defRPr lang="en-US" sz="1000" b="1" dirty="0">
                <a:solidFill>
                  <a:srgbClr val="000000"/>
                </a:solidFill>
                <a:latin typeface="+mn-lt"/>
                <a:ea typeface="+mn-ea"/>
                <a:cs typeface="+mn-cs"/>
              </a:defRPr>
            </a:lvl2pPr>
          </a:lstStyle>
          <a:p>
            <a:pPr lvl="0"/>
            <a:r>
              <a:rPr lang="en-US"/>
              <a:t>Click to edit Master text styles</a:t>
            </a:r>
          </a:p>
          <a:p>
            <a:pPr lvl="1"/>
            <a:r>
              <a:rPr lang="en-US"/>
              <a:t>Second level</a:t>
            </a:r>
          </a:p>
        </p:txBody>
      </p:sp>
      <p:grpSp>
        <p:nvGrpSpPr>
          <p:cNvPr id="34" name="Group 33">
            <a:extLst>
              <a:ext uri="{FF2B5EF4-FFF2-40B4-BE49-F238E27FC236}">
                <a16:creationId xmlns:a16="http://schemas.microsoft.com/office/drawing/2014/main" id="{840E14F0-3EE3-4127-BC16-D3F3953FFE3F}"/>
              </a:ext>
            </a:extLst>
          </p:cNvPr>
          <p:cNvGrpSpPr/>
          <p:nvPr userDrawn="1"/>
        </p:nvGrpSpPr>
        <p:grpSpPr>
          <a:xfrm>
            <a:off x="7358173" y="6361974"/>
            <a:ext cx="1382376" cy="297562"/>
            <a:chOff x="6923088" y="4475163"/>
            <a:chExt cx="1873251" cy="403225"/>
          </a:xfrm>
        </p:grpSpPr>
        <p:sp>
          <p:nvSpPr>
            <p:cNvPr id="35" name="AutoShape 4">
              <a:extLst>
                <a:ext uri="{FF2B5EF4-FFF2-40B4-BE49-F238E27FC236}">
                  <a16:creationId xmlns:a16="http://schemas.microsoft.com/office/drawing/2014/main" id="{6CD5F173-C5BB-4F2E-848B-68E571D2511E}"/>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6" name="Freeform 6">
              <a:extLst>
                <a:ext uri="{FF2B5EF4-FFF2-40B4-BE49-F238E27FC236}">
                  <a16:creationId xmlns:a16="http://schemas.microsoft.com/office/drawing/2014/main" id="{F35D1E52-C58A-4226-814B-B889E5D392A2}"/>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8" name="Freeform 7">
              <a:extLst>
                <a:ext uri="{FF2B5EF4-FFF2-40B4-BE49-F238E27FC236}">
                  <a16:creationId xmlns:a16="http://schemas.microsoft.com/office/drawing/2014/main" id="{3931309B-69B1-4504-BC9E-723A4E648811}"/>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9" name="Freeform 83">
              <a:extLst>
                <a:ext uri="{FF2B5EF4-FFF2-40B4-BE49-F238E27FC236}">
                  <a16:creationId xmlns:a16="http://schemas.microsoft.com/office/drawing/2014/main" id="{E71D54FB-4ABD-4C44-B32E-1CE4D98AD4B3}"/>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0" name="Freeform 84">
              <a:extLst>
                <a:ext uri="{FF2B5EF4-FFF2-40B4-BE49-F238E27FC236}">
                  <a16:creationId xmlns:a16="http://schemas.microsoft.com/office/drawing/2014/main" id="{6FC76818-6D97-40AA-97B0-54614807A538}"/>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1" name="Freeform 85">
              <a:extLst>
                <a:ext uri="{FF2B5EF4-FFF2-40B4-BE49-F238E27FC236}">
                  <a16:creationId xmlns:a16="http://schemas.microsoft.com/office/drawing/2014/main" id="{7DFFF7DB-1434-4536-8069-7E21C8D1B9E3}"/>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2" name="Freeform 86">
              <a:extLst>
                <a:ext uri="{FF2B5EF4-FFF2-40B4-BE49-F238E27FC236}">
                  <a16:creationId xmlns:a16="http://schemas.microsoft.com/office/drawing/2014/main" id="{23BA871E-A0EA-41BA-8724-5CABEF76296C}"/>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3" name="Freeform 87">
              <a:extLst>
                <a:ext uri="{FF2B5EF4-FFF2-40B4-BE49-F238E27FC236}">
                  <a16:creationId xmlns:a16="http://schemas.microsoft.com/office/drawing/2014/main" id="{5F7C586C-3E26-4206-A96B-DA86E954214E}"/>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4" name="Freeform 88">
              <a:extLst>
                <a:ext uri="{FF2B5EF4-FFF2-40B4-BE49-F238E27FC236}">
                  <a16:creationId xmlns:a16="http://schemas.microsoft.com/office/drawing/2014/main" id="{CFE70E27-46F5-465B-9F57-F55E3CEF8736}"/>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5" name="Freeform 89">
              <a:extLst>
                <a:ext uri="{FF2B5EF4-FFF2-40B4-BE49-F238E27FC236}">
                  <a16:creationId xmlns:a16="http://schemas.microsoft.com/office/drawing/2014/main" id="{7FAE27B7-D81B-4001-834F-776859495AA1}"/>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6" name="Freeform 90">
              <a:extLst>
                <a:ext uri="{FF2B5EF4-FFF2-40B4-BE49-F238E27FC236}">
                  <a16:creationId xmlns:a16="http://schemas.microsoft.com/office/drawing/2014/main" id="{4AE5BF09-27E6-4688-B9C4-19E2671CA566}"/>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7" name="Freeform 91">
              <a:extLst>
                <a:ext uri="{FF2B5EF4-FFF2-40B4-BE49-F238E27FC236}">
                  <a16:creationId xmlns:a16="http://schemas.microsoft.com/office/drawing/2014/main" id="{8810B2AB-A2BA-46AC-86CE-C8DB6C050979}"/>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8" name="Freeform 92">
              <a:extLst>
                <a:ext uri="{FF2B5EF4-FFF2-40B4-BE49-F238E27FC236}">
                  <a16:creationId xmlns:a16="http://schemas.microsoft.com/office/drawing/2014/main" id="{F0E21CE3-1B3A-48A2-8777-3ACB130A176F}"/>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9" name="Freeform 93">
              <a:extLst>
                <a:ext uri="{FF2B5EF4-FFF2-40B4-BE49-F238E27FC236}">
                  <a16:creationId xmlns:a16="http://schemas.microsoft.com/office/drawing/2014/main" id="{0E106C86-6E92-414C-8C1F-193ABA3372F2}"/>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0" name="Freeform 94">
              <a:extLst>
                <a:ext uri="{FF2B5EF4-FFF2-40B4-BE49-F238E27FC236}">
                  <a16:creationId xmlns:a16="http://schemas.microsoft.com/office/drawing/2014/main" id="{7FFBAE3E-1E34-4024-8E12-C6A804E61E90}"/>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1" name="Freeform 95">
              <a:extLst>
                <a:ext uri="{FF2B5EF4-FFF2-40B4-BE49-F238E27FC236}">
                  <a16:creationId xmlns:a16="http://schemas.microsoft.com/office/drawing/2014/main" id="{34A75038-5822-4211-8429-EEE73276E055}"/>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2" name="Freeform 96">
              <a:extLst>
                <a:ext uri="{FF2B5EF4-FFF2-40B4-BE49-F238E27FC236}">
                  <a16:creationId xmlns:a16="http://schemas.microsoft.com/office/drawing/2014/main" id="{693F0C95-0D69-4520-8F8E-82883B076B30}"/>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3" name="Freeform 97">
              <a:extLst>
                <a:ext uri="{FF2B5EF4-FFF2-40B4-BE49-F238E27FC236}">
                  <a16:creationId xmlns:a16="http://schemas.microsoft.com/office/drawing/2014/main" id="{2DCC514B-8D65-4A2F-B9D3-A26B2C512584}"/>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4" name="Freeform 98">
              <a:extLst>
                <a:ext uri="{FF2B5EF4-FFF2-40B4-BE49-F238E27FC236}">
                  <a16:creationId xmlns:a16="http://schemas.microsoft.com/office/drawing/2014/main" id="{86B9EC89-49BC-4B67-9837-B486AC5DA24B}"/>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5" name="Freeform 99">
              <a:extLst>
                <a:ext uri="{FF2B5EF4-FFF2-40B4-BE49-F238E27FC236}">
                  <a16:creationId xmlns:a16="http://schemas.microsoft.com/office/drawing/2014/main" id="{07013593-EDCD-49A4-8483-37A94E197F46}"/>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6" name="Freeform 100">
              <a:extLst>
                <a:ext uri="{FF2B5EF4-FFF2-40B4-BE49-F238E27FC236}">
                  <a16:creationId xmlns:a16="http://schemas.microsoft.com/office/drawing/2014/main" id="{E4C82CFE-24C2-4335-91A1-786AA56B78AE}"/>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7" name="Freeform 101">
              <a:extLst>
                <a:ext uri="{FF2B5EF4-FFF2-40B4-BE49-F238E27FC236}">
                  <a16:creationId xmlns:a16="http://schemas.microsoft.com/office/drawing/2014/main" id="{269AE1D0-2ED3-45BA-8B41-5958312CC5FE}"/>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8" name="Freeform 102">
              <a:extLst>
                <a:ext uri="{FF2B5EF4-FFF2-40B4-BE49-F238E27FC236}">
                  <a16:creationId xmlns:a16="http://schemas.microsoft.com/office/drawing/2014/main" id="{293258D7-F5FB-43FE-946C-050D5A534B0B}"/>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9" name="Freeform 103">
              <a:extLst>
                <a:ext uri="{FF2B5EF4-FFF2-40B4-BE49-F238E27FC236}">
                  <a16:creationId xmlns:a16="http://schemas.microsoft.com/office/drawing/2014/main" id="{ED28C0B7-779D-48AC-B3D7-2EE77B274C6C}"/>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0" name="Freeform 104">
              <a:extLst>
                <a:ext uri="{FF2B5EF4-FFF2-40B4-BE49-F238E27FC236}">
                  <a16:creationId xmlns:a16="http://schemas.microsoft.com/office/drawing/2014/main" id="{F91BA0B7-9AA1-4A35-A3B5-1DF23E7E6BC0}"/>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1" name="Freeform 105">
              <a:extLst>
                <a:ext uri="{FF2B5EF4-FFF2-40B4-BE49-F238E27FC236}">
                  <a16:creationId xmlns:a16="http://schemas.microsoft.com/office/drawing/2014/main" id="{0CD9D2F1-AB4D-41BA-BB3A-ABD0BB2DB8FD}"/>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62" name="Slide Number Placeholder 3">
            <a:extLst>
              <a:ext uri="{FF2B5EF4-FFF2-40B4-BE49-F238E27FC236}">
                <a16:creationId xmlns:a16="http://schemas.microsoft.com/office/drawing/2014/main" id="{9A263509-98AC-4546-B2C5-DF2F4C4F986A}"/>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3" name="Rectangle 155">
            <a:extLst>
              <a:ext uri="{FF2B5EF4-FFF2-40B4-BE49-F238E27FC236}">
                <a16:creationId xmlns:a16="http://schemas.microsoft.com/office/drawing/2014/main" id="{5EDCB748-D9FF-41F0-9AE5-3D6778696294}"/>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dirty="0"/>
              <a:t>Production code #</a:t>
            </a:r>
          </a:p>
        </p:txBody>
      </p:sp>
      <p:sp>
        <p:nvSpPr>
          <p:cNvPr id="64" name="Rectangle 176">
            <a:extLst>
              <a:ext uri="{FF2B5EF4-FFF2-40B4-BE49-F238E27FC236}">
                <a16:creationId xmlns:a16="http://schemas.microsoft.com/office/drawing/2014/main" id="{B1F08EC2-0348-4B46-8C6D-BF6EDFBBBD44}"/>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356848309"/>
      </p:ext>
    </p:extLst>
  </p:cSld>
  <p:clrMapOvr>
    <a:masterClrMapping/>
  </p:clrMapOvr>
  <p:extLst>
    <p:ext uri="{DCECCB84-F9BA-43D5-87BE-67443E8EF086}">
      <p15:sldGuideLst xmlns:p15="http://schemas.microsoft.com/office/powerpoint/2012/main">
        <p15:guide id="1" orient="horz" pos="2160">
          <p15:clr>
            <a:srgbClr val="FBAE40"/>
          </p15:clr>
        </p15:guide>
        <p15:guide id="2" pos="26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p>
            <a:r>
              <a:rPr lang="en-US"/>
              <a:t>Click to edit Master title style</a:t>
            </a:r>
            <a:endParaRPr lang="en-US" dirty="0"/>
          </a:p>
        </p:txBody>
      </p:sp>
      <p:sp>
        <p:nvSpPr>
          <p:cNvPr id="7" name="Content Placeholder 2"/>
          <p:cNvSpPr>
            <a:spLocks noGrp="1"/>
          </p:cNvSpPr>
          <p:nvPr>
            <p:ph idx="13"/>
          </p:nvPr>
        </p:nvSpPr>
        <p:spPr>
          <a:xfrm>
            <a:off x="317115" y="1339850"/>
            <a:ext cx="8188710" cy="4878388"/>
          </a:xfrm>
        </p:spPr>
        <p:txBody>
          <a:bodyPr lIns="91440"/>
          <a:lstStyle>
            <a:lvl1pPr marL="0" indent="0" algn="l" rtl="0" fontAlgn="base">
              <a:spcBef>
                <a:spcPts val="480"/>
              </a:spcBef>
              <a:spcAft>
                <a:spcPct val="0"/>
              </a:spcAft>
              <a:buSzPct val="40000"/>
              <a:defRPr lang="en-US" sz="1600" b="1" dirty="0" smtClean="0">
                <a:solidFill>
                  <a:schemeClr val="accent3"/>
                </a:solidFill>
                <a:latin typeface="+mn-lt"/>
                <a:ea typeface="+mn-ea"/>
                <a:cs typeface="+mn-cs"/>
              </a:defRPr>
            </a:lvl1pPr>
            <a:lvl2pPr>
              <a:spcBef>
                <a:spcPts val="2000"/>
              </a:spcBef>
              <a:defRPr lang="en-US" dirty="0" smtClean="0">
                <a:solidFill>
                  <a:schemeClr val="tx1"/>
                </a:solidFill>
                <a:latin typeface="+mn-lt"/>
              </a:defRPr>
            </a:lvl2pPr>
            <a:lvl3pPr>
              <a:defRPr lang="en-US" sz="1600" dirty="0" smtClean="0">
                <a:solidFill>
                  <a:schemeClr val="accent1"/>
                </a:solidFill>
                <a:latin typeface="+mn-lt"/>
              </a:defRPr>
            </a:lvl3pPr>
            <a:lvl4pPr>
              <a:buClr>
                <a:schemeClr val="bg2"/>
              </a:buClr>
              <a:buSzPct val="80000"/>
              <a:buFont typeface="Arial" pitchFamily="34" charset="0"/>
              <a:buChar char="•"/>
              <a:defRPr sz="1400">
                <a:solidFill>
                  <a:schemeClr val="accent1"/>
                </a:solidFill>
              </a:defRPr>
            </a:lvl4pPr>
          </a:lstStyle>
          <a:p>
            <a:pPr lvl="0"/>
            <a:r>
              <a:rPr lang="en-US"/>
              <a:t>Click to edit Master text styles</a:t>
            </a:r>
          </a:p>
        </p:txBody>
      </p:sp>
      <p:sp>
        <p:nvSpPr>
          <p:cNvPr id="10"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11"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a:t>201607-20094</a:t>
            </a:r>
            <a:endParaRPr lang="en-US" dirty="0"/>
          </a:p>
        </p:txBody>
      </p:sp>
      <p:grpSp>
        <p:nvGrpSpPr>
          <p:cNvPr id="12" name="Group 11"/>
          <p:cNvGrpSpPr/>
          <p:nvPr userDrawn="1"/>
        </p:nvGrpSpPr>
        <p:grpSpPr>
          <a:xfrm>
            <a:off x="7364320" y="6412511"/>
            <a:ext cx="1371600" cy="283464"/>
            <a:chOff x="4291013" y="3178175"/>
            <a:chExt cx="3197225" cy="688975"/>
          </a:xfrm>
        </p:grpSpPr>
        <p:sp>
          <p:nvSpPr>
            <p:cNvPr id="13"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8"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253526117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iography">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p>
            <a:r>
              <a:rPr lang="en-US"/>
              <a:t>Click to edit Master title style</a:t>
            </a:r>
            <a:endParaRPr lang="en-US" dirty="0"/>
          </a:p>
        </p:txBody>
      </p:sp>
      <p:sp>
        <p:nvSpPr>
          <p:cNvPr id="3" name="Content Placeholder 2"/>
          <p:cNvSpPr>
            <a:spLocks noGrp="1"/>
          </p:cNvSpPr>
          <p:nvPr>
            <p:ph idx="1"/>
          </p:nvPr>
        </p:nvSpPr>
        <p:spPr>
          <a:xfrm>
            <a:off x="325661" y="1073258"/>
            <a:ext cx="8188710" cy="439305"/>
          </a:xfrm>
        </p:spPr>
        <p:txBody>
          <a:bodyPr lIns="91440"/>
          <a:lstStyle>
            <a:lvl1pPr marL="0" indent="0">
              <a:spcBef>
                <a:spcPts val="0"/>
              </a:spcBef>
              <a:defRPr lang="en-US" sz="1200" b="1" dirty="0" smtClean="0">
                <a:solidFill>
                  <a:srgbClr val="7A9A3D"/>
                </a:solidFill>
                <a:latin typeface="+mn-lt"/>
                <a:ea typeface="+mn-ea"/>
                <a:cs typeface="+mn-cs"/>
              </a:defRPr>
            </a:lvl1pPr>
            <a:lvl2pPr marL="0" indent="0">
              <a:spcBef>
                <a:spcPts val="0"/>
              </a:spcBef>
              <a:buNone/>
              <a:defRPr sz="1200" b="0" i="1">
                <a:solidFill>
                  <a:srgbClr val="7A9A3D"/>
                </a:solidFill>
              </a:defRPr>
            </a:lvl2pPr>
          </a:lstStyle>
          <a:p>
            <a:pPr lvl="0"/>
            <a:r>
              <a:rPr lang="en-US"/>
              <a:t>Click to edit Master text styles</a:t>
            </a:r>
          </a:p>
          <a:p>
            <a:pPr lvl="1"/>
            <a:r>
              <a:rPr lang="en-US"/>
              <a:t>Second level</a:t>
            </a:r>
          </a:p>
        </p:txBody>
      </p:sp>
      <p:sp>
        <p:nvSpPr>
          <p:cNvPr id="10" name="Content Placeholder 9"/>
          <p:cNvSpPr>
            <a:spLocks noGrp="1"/>
          </p:cNvSpPr>
          <p:nvPr>
            <p:ph sz="quarter" idx="13"/>
          </p:nvPr>
        </p:nvSpPr>
        <p:spPr>
          <a:xfrm>
            <a:off x="325661" y="1526850"/>
            <a:ext cx="8188710" cy="4691387"/>
          </a:xfrm>
        </p:spPr>
        <p:txBody>
          <a:bodyPr lIns="91440"/>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5" name="Group 34">
            <a:extLst>
              <a:ext uri="{FF2B5EF4-FFF2-40B4-BE49-F238E27FC236}">
                <a16:creationId xmlns:a16="http://schemas.microsoft.com/office/drawing/2014/main" id="{C75946E2-9CE1-4073-B70C-BBB1984B336B}"/>
              </a:ext>
            </a:extLst>
          </p:cNvPr>
          <p:cNvGrpSpPr/>
          <p:nvPr userDrawn="1"/>
        </p:nvGrpSpPr>
        <p:grpSpPr>
          <a:xfrm>
            <a:off x="7358173" y="6361974"/>
            <a:ext cx="1382376" cy="297562"/>
            <a:chOff x="6923088" y="4475163"/>
            <a:chExt cx="1873251" cy="403225"/>
          </a:xfrm>
        </p:grpSpPr>
        <p:sp>
          <p:nvSpPr>
            <p:cNvPr id="36" name="AutoShape 4">
              <a:extLst>
                <a:ext uri="{FF2B5EF4-FFF2-40B4-BE49-F238E27FC236}">
                  <a16:creationId xmlns:a16="http://schemas.microsoft.com/office/drawing/2014/main" id="{2064C2BD-8DD3-4C25-B8AC-2511CF7EA6EF}"/>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7" name="Freeform 6">
              <a:extLst>
                <a:ext uri="{FF2B5EF4-FFF2-40B4-BE49-F238E27FC236}">
                  <a16:creationId xmlns:a16="http://schemas.microsoft.com/office/drawing/2014/main" id="{93C5C3B7-4D48-473C-9C5D-A7CC88B7C54C}"/>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8" name="Freeform 7">
              <a:extLst>
                <a:ext uri="{FF2B5EF4-FFF2-40B4-BE49-F238E27FC236}">
                  <a16:creationId xmlns:a16="http://schemas.microsoft.com/office/drawing/2014/main" id="{531D8C9A-73C8-49F6-8615-D07EC3D32C40}"/>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0" name="Freeform 83">
              <a:extLst>
                <a:ext uri="{FF2B5EF4-FFF2-40B4-BE49-F238E27FC236}">
                  <a16:creationId xmlns:a16="http://schemas.microsoft.com/office/drawing/2014/main" id="{6D2B5CD5-7073-41ED-A84D-6573FC02C1C8}"/>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1" name="Freeform 84">
              <a:extLst>
                <a:ext uri="{FF2B5EF4-FFF2-40B4-BE49-F238E27FC236}">
                  <a16:creationId xmlns:a16="http://schemas.microsoft.com/office/drawing/2014/main" id="{7569C185-1C46-46A0-A03E-24819C436803}"/>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2" name="Freeform 85">
              <a:extLst>
                <a:ext uri="{FF2B5EF4-FFF2-40B4-BE49-F238E27FC236}">
                  <a16:creationId xmlns:a16="http://schemas.microsoft.com/office/drawing/2014/main" id="{46F20CF6-25E8-4222-B486-9A86E0E46A37}"/>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3" name="Freeform 86">
              <a:extLst>
                <a:ext uri="{FF2B5EF4-FFF2-40B4-BE49-F238E27FC236}">
                  <a16:creationId xmlns:a16="http://schemas.microsoft.com/office/drawing/2014/main" id="{6FF91587-F189-49E6-B5D5-940D53155449}"/>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4" name="Freeform 87">
              <a:extLst>
                <a:ext uri="{FF2B5EF4-FFF2-40B4-BE49-F238E27FC236}">
                  <a16:creationId xmlns:a16="http://schemas.microsoft.com/office/drawing/2014/main" id="{0CA455CC-F50E-4794-8937-E59F4FAFEA6E}"/>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5" name="Freeform 88">
              <a:extLst>
                <a:ext uri="{FF2B5EF4-FFF2-40B4-BE49-F238E27FC236}">
                  <a16:creationId xmlns:a16="http://schemas.microsoft.com/office/drawing/2014/main" id="{3EE40542-ADA6-4C3B-8A70-A65519704A9B}"/>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6" name="Freeform 89">
              <a:extLst>
                <a:ext uri="{FF2B5EF4-FFF2-40B4-BE49-F238E27FC236}">
                  <a16:creationId xmlns:a16="http://schemas.microsoft.com/office/drawing/2014/main" id="{7B3B4879-B6C1-4F74-BDCF-5F19BB04E0F4}"/>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7" name="Freeform 90">
              <a:extLst>
                <a:ext uri="{FF2B5EF4-FFF2-40B4-BE49-F238E27FC236}">
                  <a16:creationId xmlns:a16="http://schemas.microsoft.com/office/drawing/2014/main" id="{E4BC8AEB-A584-479B-8EEF-2AE54D5872B7}"/>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8" name="Freeform 91">
              <a:extLst>
                <a:ext uri="{FF2B5EF4-FFF2-40B4-BE49-F238E27FC236}">
                  <a16:creationId xmlns:a16="http://schemas.microsoft.com/office/drawing/2014/main" id="{D18A4DCC-C243-4E3F-A2E2-0D29AD7D002A}"/>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9" name="Freeform 92">
              <a:extLst>
                <a:ext uri="{FF2B5EF4-FFF2-40B4-BE49-F238E27FC236}">
                  <a16:creationId xmlns:a16="http://schemas.microsoft.com/office/drawing/2014/main" id="{4D5F04D4-1A7F-41A0-A0E2-BCF50E27D5C6}"/>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0" name="Freeform 93">
              <a:extLst>
                <a:ext uri="{FF2B5EF4-FFF2-40B4-BE49-F238E27FC236}">
                  <a16:creationId xmlns:a16="http://schemas.microsoft.com/office/drawing/2014/main" id="{F96DDB2D-2296-402A-9FB9-212112A5001F}"/>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1" name="Freeform 94">
              <a:extLst>
                <a:ext uri="{FF2B5EF4-FFF2-40B4-BE49-F238E27FC236}">
                  <a16:creationId xmlns:a16="http://schemas.microsoft.com/office/drawing/2014/main" id="{2F742842-62E0-472A-B09A-2A7D39017EB8}"/>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2" name="Freeform 95">
              <a:extLst>
                <a:ext uri="{FF2B5EF4-FFF2-40B4-BE49-F238E27FC236}">
                  <a16:creationId xmlns:a16="http://schemas.microsoft.com/office/drawing/2014/main" id="{E7229456-9A67-45F4-ABC1-C2770B0268FA}"/>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3" name="Freeform 96">
              <a:extLst>
                <a:ext uri="{FF2B5EF4-FFF2-40B4-BE49-F238E27FC236}">
                  <a16:creationId xmlns:a16="http://schemas.microsoft.com/office/drawing/2014/main" id="{1F9751DB-34CD-46BB-B4BC-6259060855F0}"/>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4" name="Freeform 97">
              <a:extLst>
                <a:ext uri="{FF2B5EF4-FFF2-40B4-BE49-F238E27FC236}">
                  <a16:creationId xmlns:a16="http://schemas.microsoft.com/office/drawing/2014/main" id="{5ABC6AFB-E816-4431-A76A-68A3A63D2E44}"/>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5" name="Freeform 98">
              <a:extLst>
                <a:ext uri="{FF2B5EF4-FFF2-40B4-BE49-F238E27FC236}">
                  <a16:creationId xmlns:a16="http://schemas.microsoft.com/office/drawing/2014/main" id="{60E91C8F-F1CE-4BBB-BB3E-56924AB9AC02}"/>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6" name="Freeform 99">
              <a:extLst>
                <a:ext uri="{FF2B5EF4-FFF2-40B4-BE49-F238E27FC236}">
                  <a16:creationId xmlns:a16="http://schemas.microsoft.com/office/drawing/2014/main" id="{0144D498-DBBB-48AB-9938-6860296C54C0}"/>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7" name="Freeform 100">
              <a:extLst>
                <a:ext uri="{FF2B5EF4-FFF2-40B4-BE49-F238E27FC236}">
                  <a16:creationId xmlns:a16="http://schemas.microsoft.com/office/drawing/2014/main" id="{57DA06B8-E74A-4A4F-A5C6-D228C33D4C07}"/>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8" name="Freeform 101">
              <a:extLst>
                <a:ext uri="{FF2B5EF4-FFF2-40B4-BE49-F238E27FC236}">
                  <a16:creationId xmlns:a16="http://schemas.microsoft.com/office/drawing/2014/main" id="{9EE94CD4-EF90-465E-99B0-5D8FE5E0954C}"/>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9" name="Freeform 102">
              <a:extLst>
                <a:ext uri="{FF2B5EF4-FFF2-40B4-BE49-F238E27FC236}">
                  <a16:creationId xmlns:a16="http://schemas.microsoft.com/office/drawing/2014/main" id="{C0D9FFE4-3F0B-4424-9C2B-7BE6269B031E}"/>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0" name="Freeform 103">
              <a:extLst>
                <a:ext uri="{FF2B5EF4-FFF2-40B4-BE49-F238E27FC236}">
                  <a16:creationId xmlns:a16="http://schemas.microsoft.com/office/drawing/2014/main" id="{689B4BCD-46B5-40D0-9B5E-0928400345C7}"/>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1" name="Freeform 104">
              <a:extLst>
                <a:ext uri="{FF2B5EF4-FFF2-40B4-BE49-F238E27FC236}">
                  <a16:creationId xmlns:a16="http://schemas.microsoft.com/office/drawing/2014/main" id="{2BE4801D-4A50-4671-B276-15040C725153}"/>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2" name="Freeform 105">
              <a:extLst>
                <a:ext uri="{FF2B5EF4-FFF2-40B4-BE49-F238E27FC236}">
                  <a16:creationId xmlns:a16="http://schemas.microsoft.com/office/drawing/2014/main" id="{9B3CA6D7-EDFA-45F6-A972-C4764E2EF71D}"/>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63" name="Slide Number Placeholder 3">
            <a:extLst>
              <a:ext uri="{FF2B5EF4-FFF2-40B4-BE49-F238E27FC236}">
                <a16:creationId xmlns:a16="http://schemas.microsoft.com/office/drawing/2014/main" id="{7EA345A8-99C1-46D2-B43D-EBB13DCF1ED2}"/>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4" name="Rectangle 155">
            <a:extLst>
              <a:ext uri="{FF2B5EF4-FFF2-40B4-BE49-F238E27FC236}">
                <a16:creationId xmlns:a16="http://schemas.microsoft.com/office/drawing/2014/main" id="{89581FD7-1A7A-4D55-96D3-115BEF36627D}"/>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dirty="0"/>
              <a:t>Production code #</a:t>
            </a:r>
          </a:p>
        </p:txBody>
      </p:sp>
      <p:sp>
        <p:nvSpPr>
          <p:cNvPr id="65" name="Rectangle 176">
            <a:extLst>
              <a:ext uri="{FF2B5EF4-FFF2-40B4-BE49-F238E27FC236}">
                <a16:creationId xmlns:a16="http://schemas.microsoft.com/office/drawing/2014/main" id="{9906DF31-BFC5-4876-8473-BB825737ABD0}"/>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1270581302"/>
      </p:ext>
    </p:extLst>
  </p:cSld>
  <p:clrMapOvr>
    <a:masterClrMapping/>
  </p:clrMapOvr>
  <p:extLst>
    <p:ext uri="{DCECCB84-F9BA-43D5-87BE-67443E8EF086}">
      <p15:sldGuideLst xmlns:p15="http://schemas.microsoft.com/office/powerpoint/2012/main">
        <p15:guide id="1" orient="horz" pos="2160">
          <p15:clr>
            <a:srgbClr val="FBAE40"/>
          </p15:clr>
        </p15:guide>
        <p15:guide id="2" pos="264">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iography 2">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7948" cy="838200"/>
          </a:xfrm>
        </p:spPr>
        <p:txBody>
          <a:bodyPr/>
          <a:lstStyle/>
          <a:p>
            <a:r>
              <a:rPr lang="en-US"/>
              <a:t>Click to edit Master title style</a:t>
            </a:r>
            <a:endParaRPr lang="en-US" dirty="0"/>
          </a:p>
        </p:txBody>
      </p:sp>
      <p:sp>
        <p:nvSpPr>
          <p:cNvPr id="3" name="Content Placeholder 2"/>
          <p:cNvSpPr>
            <a:spLocks noGrp="1"/>
          </p:cNvSpPr>
          <p:nvPr>
            <p:ph idx="1"/>
          </p:nvPr>
        </p:nvSpPr>
        <p:spPr>
          <a:xfrm>
            <a:off x="325661" y="1073258"/>
            <a:ext cx="8187948" cy="439305"/>
          </a:xfrm>
        </p:spPr>
        <p:txBody>
          <a:bodyPr lIns="91440"/>
          <a:lstStyle>
            <a:lvl1pPr marL="0" indent="0">
              <a:spcBef>
                <a:spcPts val="0"/>
              </a:spcBef>
              <a:defRPr lang="en-US" sz="1200" b="1" dirty="0" smtClean="0">
                <a:solidFill>
                  <a:srgbClr val="7A9A3D"/>
                </a:solidFill>
                <a:latin typeface="+mn-lt"/>
                <a:ea typeface="+mn-ea"/>
                <a:cs typeface="+mn-cs"/>
              </a:defRPr>
            </a:lvl1pPr>
            <a:lvl2pPr marL="0" indent="0">
              <a:spcBef>
                <a:spcPts val="0"/>
              </a:spcBef>
              <a:buNone/>
              <a:defRPr sz="1200" b="0" i="1">
                <a:solidFill>
                  <a:srgbClr val="7A9A3D"/>
                </a:solidFill>
              </a:defRPr>
            </a:lvl2pPr>
          </a:lstStyle>
          <a:p>
            <a:pPr lvl="0"/>
            <a:r>
              <a:rPr lang="en-US"/>
              <a:t>Click to edit Master text styles</a:t>
            </a:r>
          </a:p>
          <a:p>
            <a:pPr lvl="1"/>
            <a:r>
              <a:rPr lang="en-US"/>
              <a:t>Second level</a:t>
            </a:r>
          </a:p>
        </p:txBody>
      </p:sp>
      <p:sp>
        <p:nvSpPr>
          <p:cNvPr id="10" name="Content Placeholder 9"/>
          <p:cNvSpPr>
            <a:spLocks noGrp="1"/>
          </p:cNvSpPr>
          <p:nvPr>
            <p:ph sz="quarter" idx="13"/>
          </p:nvPr>
        </p:nvSpPr>
        <p:spPr>
          <a:xfrm>
            <a:off x="325661" y="1526851"/>
            <a:ext cx="8188710" cy="1902149"/>
          </a:xfrm>
        </p:spPr>
        <p:txBody>
          <a:bodyPr lIns="91440"/>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p:cNvSpPr>
            <a:spLocks noGrp="1"/>
          </p:cNvSpPr>
          <p:nvPr>
            <p:ph idx="17"/>
          </p:nvPr>
        </p:nvSpPr>
        <p:spPr>
          <a:xfrm>
            <a:off x="325661" y="3666458"/>
            <a:ext cx="8188710" cy="439305"/>
          </a:xfrm>
        </p:spPr>
        <p:txBody>
          <a:bodyPr lIns="91440"/>
          <a:lstStyle>
            <a:lvl1pPr marL="0" indent="0">
              <a:spcBef>
                <a:spcPts val="0"/>
              </a:spcBef>
              <a:defRPr lang="en-US" sz="1200" b="1" dirty="0" smtClean="0">
                <a:solidFill>
                  <a:srgbClr val="7A9A3D"/>
                </a:solidFill>
                <a:latin typeface="+mn-lt"/>
                <a:ea typeface="+mn-ea"/>
                <a:cs typeface="+mn-cs"/>
              </a:defRPr>
            </a:lvl1pPr>
            <a:lvl2pPr marL="0" indent="0">
              <a:spcBef>
                <a:spcPts val="0"/>
              </a:spcBef>
              <a:buNone/>
              <a:defRPr sz="1200" b="0" i="1">
                <a:solidFill>
                  <a:srgbClr val="7A9A3D"/>
                </a:solidFill>
              </a:defRPr>
            </a:lvl2pPr>
          </a:lstStyle>
          <a:p>
            <a:pPr lvl="0"/>
            <a:r>
              <a:rPr lang="en-US"/>
              <a:t>Click to edit Master text styles</a:t>
            </a:r>
          </a:p>
          <a:p>
            <a:pPr lvl="1"/>
            <a:r>
              <a:rPr lang="en-US"/>
              <a:t>Second level</a:t>
            </a:r>
          </a:p>
        </p:txBody>
      </p:sp>
      <p:sp>
        <p:nvSpPr>
          <p:cNvPr id="9" name="Content Placeholder 9"/>
          <p:cNvSpPr>
            <a:spLocks noGrp="1"/>
          </p:cNvSpPr>
          <p:nvPr>
            <p:ph sz="quarter" idx="18"/>
          </p:nvPr>
        </p:nvSpPr>
        <p:spPr>
          <a:xfrm>
            <a:off x="325661" y="4120051"/>
            <a:ext cx="8188710" cy="1902149"/>
          </a:xfrm>
        </p:spPr>
        <p:txBody>
          <a:bodyPr lIns="91440"/>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7" name="Group 36">
            <a:extLst>
              <a:ext uri="{FF2B5EF4-FFF2-40B4-BE49-F238E27FC236}">
                <a16:creationId xmlns:a16="http://schemas.microsoft.com/office/drawing/2014/main" id="{AD47060C-9B45-4CFF-98F4-FE27989B6517}"/>
              </a:ext>
            </a:extLst>
          </p:cNvPr>
          <p:cNvGrpSpPr/>
          <p:nvPr userDrawn="1"/>
        </p:nvGrpSpPr>
        <p:grpSpPr>
          <a:xfrm>
            <a:off x="7358173" y="6361974"/>
            <a:ext cx="1382376" cy="297562"/>
            <a:chOff x="6923088" y="4475163"/>
            <a:chExt cx="1873251" cy="403225"/>
          </a:xfrm>
        </p:grpSpPr>
        <p:sp>
          <p:nvSpPr>
            <p:cNvPr id="38" name="AutoShape 4">
              <a:extLst>
                <a:ext uri="{FF2B5EF4-FFF2-40B4-BE49-F238E27FC236}">
                  <a16:creationId xmlns:a16="http://schemas.microsoft.com/office/drawing/2014/main" id="{A50C7966-165F-4807-AFEA-C12F2BCA17FB}"/>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9" name="Freeform 6">
              <a:extLst>
                <a:ext uri="{FF2B5EF4-FFF2-40B4-BE49-F238E27FC236}">
                  <a16:creationId xmlns:a16="http://schemas.microsoft.com/office/drawing/2014/main" id="{2D416542-B102-488D-BF19-9EDA79075042}"/>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0" name="Freeform 7">
              <a:extLst>
                <a:ext uri="{FF2B5EF4-FFF2-40B4-BE49-F238E27FC236}">
                  <a16:creationId xmlns:a16="http://schemas.microsoft.com/office/drawing/2014/main" id="{20EA49BF-25F1-44C7-B3A3-56209FB69046}"/>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2" name="Freeform 83">
              <a:extLst>
                <a:ext uri="{FF2B5EF4-FFF2-40B4-BE49-F238E27FC236}">
                  <a16:creationId xmlns:a16="http://schemas.microsoft.com/office/drawing/2014/main" id="{93865A9A-4077-40DF-807C-57106D5F955A}"/>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3" name="Freeform 84">
              <a:extLst>
                <a:ext uri="{FF2B5EF4-FFF2-40B4-BE49-F238E27FC236}">
                  <a16:creationId xmlns:a16="http://schemas.microsoft.com/office/drawing/2014/main" id="{FC0FB584-1254-43CD-9B50-F7E305FCF015}"/>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4" name="Freeform 85">
              <a:extLst>
                <a:ext uri="{FF2B5EF4-FFF2-40B4-BE49-F238E27FC236}">
                  <a16:creationId xmlns:a16="http://schemas.microsoft.com/office/drawing/2014/main" id="{EF08544E-126E-4F54-A00B-6F0382B734E3}"/>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5" name="Freeform 86">
              <a:extLst>
                <a:ext uri="{FF2B5EF4-FFF2-40B4-BE49-F238E27FC236}">
                  <a16:creationId xmlns:a16="http://schemas.microsoft.com/office/drawing/2014/main" id="{B7C8C951-F508-45D9-904C-71C7B64EA3D0}"/>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6" name="Freeform 87">
              <a:extLst>
                <a:ext uri="{FF2B5EF4-FFF2-40B4-BE49-F238E27FC236}">
                  <a16:creationId xmlns:a16="http://schemas.microsoft.com/office/drawing/2014/main" id="{BF59C57B-5654-43F0-BA0C-E27B3C2F62F0}"/>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7" name="Freeform 88">
              <a:extLst>
                <a:ext uri="{FF2B5EF4-FFF2-40B4-BE49-F238E27FC236}">
                  <a16:creationId xmlns:a16="http://schemas.microsoft.com/office/drawing/2014/main" id="{B2B8E467-EB9C-43CB-ABBD-81EF05FBA74B}"/>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8" name="Freeform 89">
              <a:extLst>
                <a:ext uri="{FF2B5EF4-FFF2-40B4-BE49-F238E27FC236}">
                  <a16:creationId xmlns:a16="http://schemas.microsoft.com/office/drawing/2014/main" id="{5729355F-EB63-44E1-96E2-095C971F95BC}"/>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9" name="Freeform 90">
              <a:extLst>
                <a:ext uri="{FF2B5EF4-FFF2-40B4-BE49-F238E27FC236}">
                  <a16:creationId xmlns:a16="http://schemas.microsoft.com/office/drawing/2014/main" id="{B2BD55CF-6ED1-4857-B856-B55BE2966D11}"/>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0" name="Freeform 91">
              <a:extLst>
                <a:ext uri="{FF2B5EF4-FFF2-40B4-BE49-F238E27FC236}">
                  <a16:creationId xmlns:a16="http://schemas.microsoft.com/office/drawing/2014/main" id="{91FFB3E8-240C-4EBF-9A50-5B17BEB0AEDD}"/>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1" name="Freeform 92">
              <a:extLst>
                <a:ext uri="{FF2B5EF4-FFF2-40B4-BE49-F238E27FC236}">
                  <a16:creationId xmlns:a16="http://schemas.microsoft.com/office/drawing/2014/main" id="{0F7093E9-640F-4B9B-83B9-27422D4BBCEA}"/>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2" name="Freeform 93">
              <a:extLst>
                <a:ext uri="{FF2B5EF4-FFF2-40B4-BE49-F238E27FC236}">
                  <a16:creationId xmlns:a16="http://schemas.microsoft.com/office/drawing/2014/main" id="{CDDE04FA-9432-48D8-9E57-ABC89785B966}"/>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3" name="Freeform 94">
              <a:extLst>
                <a:ext uri="{FF2B5EF4-FFF2-40B4-BE49-F238E27FC236}">
                  <a16:creationId xmlns:a16="http://schemas.microsoft.com/office/drawing/2014/main" id="{9FB26D40-47C6-47E5-9FC7-3A94E8B3C66B}"/>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4" name="Freeform 95">
              <a:extLst>
                <a:ext uri="{FF2B5EF4-FFF2-40B4-BE49-F238E27FC236}">
                  <a16:creationId xmlns:a16="http://schemas.microsoft.com/office/drawing/2014/main" id="{F4507BC5-5154-4DFC-842E-135C92100B92}"/>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5" name="Freeform 96">
              <a:extLst>
                <a:ext uri="{FF2B5EF4-FFF2-40B4-BE49-F238E27FC236}">
                  <a16:creationId xmlns:a16="http://schemas.microsoft.com/office/drawing/2014/main" id="{75387EE5-700A-4DDE-AE3A-90A6F5B94044}"/>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6" name="Freeform 97">
              <a:extLst>
                <a:ext uri="{FF2B5EF4-FFF2-40B4-BE49-F238E27FC236}">
                  <a16:creationId xmlns:a16="http://schemas.microsoft.com/office/drawing/2014/main" id="{9758482D-85DB-4DDF-B79B-7B188F9F0143}"/>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7" name="Freeform 98">
              <a:extLst>
                <a:ext uri="{FF2B5EF4-FFF2-40B4-BE49-F238E27FC236}">
                  <a16:creationId xmlns:a16="http://schemas.microsoft.com/office/drawing/2014/main" id="{EF151CAF-7ED9-42DE-B1B9-1AACB59758C2}"/>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8" name="Freeform 99">
              <a:extLst>
                <a:ext uri="{FF2B5EF4-FFF2-40B4-BE49-F238E27FC236}">
                  <a16:creationId xmlns:a16="http://schemas.microsoft.com/office/drawing/2014/main" id="{A792E0C4-20CF-4AC8-9F70-AE8E83B4A35C}"/>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9" name="Freeform 100">
              <a:extLst>
                <a:ext uri="{FF2B5EF4-FFF2-40B4-BE49-F238E27FC236}">
                  <a16:creationId xmlns:a16="http://schemas.microsoft.com/office/drawing/2014/main" id="{39DBB25B-35A5-4398-A82F-C9BA146E9BD3}"/>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0" name="Freeform 101">
              <a:extLst>
                <a:ext uri="{FF2B5EF4-FFF2-40B4-BE49-F238E27FC236}">
                  <a16:creationId xmlns:a16="http://schemas.microsoft.com/office/drawing/2014/main" id="{79A902AC-2DE8-4C34-BB27-7ABE95066A6C}"/>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1" name="Freeform 102">
              <a:extLst>
                <a:ext uri="{FF2B5EF4-FFF2-40B4-BE49-F238E27FC236}">
                  <a16:creationId xmlns:a16="http://schemas.microsoft.com/office/drawing/2014/main" id="{8561171B-2D21-495A-B71C-95D9A80939CD}"/>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2" name="Freeform 103">
              <a:extLst>
                <a:ext uri="{FF2B5EF4-FFF2-40B4-BE49-F238E27FC236}">
                  <a16:creationId xmlns:a16="http://schemas.microsoft.com/office/drawing/2014/main" id="{864D7054-9BEE-4BF3-968D-6A0C5C3D31CE}"/>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3" name="Freeform 104">
              <a:extLst>
                <a:ext uri="{FF2B5EF4-FFF2-40B4-BE49-F238E27FC236}">
                  <a16:creationId xmlns:a16="http://schemas.microsoft.com/office/drawing/2014/main" id="{CC385E1A-8F4F-4C9D-9CF5-375C670B1017}"/>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4" name="Freeform 105">
              <a:extLst>
                <a:ext uri="{FF2B5EF4-FFF2-40B4-BE49-F238E27FC236}">
                  <a16:creationId xmlns:a16="http://schemas.microsoft.com/office/drawing/2014/main" id="{7895869E-4BC5-4BA7-AF72-8FC48EFE9BF7}"/>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65" name="Slide Number Placeholder 3">
            <a:extLst>
              <a:ext uri="{FF2B5EF4-FFF2-40B4-BE49-F238E27FC236}">
                <a16:creationId xmlns:a16="http://schemas.microsoft.com/office/drawing/2014/main" id="{E8A4DA1C-022C-486D-AE72-319ED27E49CB}"/>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6" name="Rectangle 155">
            <a:extLst>
              <a:ext uri="{FF2B5EF4-FFF2-40B4-BE49-F238E27FC236}">
                <a16:creationId xmlns:a16="http://schemas.microsoft.com/office/drawing/2014/main" id="{F5375835-282B-48B9-BA05-8C7189097404}"/>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dirty="0"/>
              <a:t>Production code #</a:t>
            </a:r>
          </a:p>
        </p:txBody>
      </p:sp>
      <p:sp>
        <p:nvSpPr>
          <p:cNvPr id="67" name="Rectangle 176">
            <a:extLst>
              <a:ext uri="{FF2B5EF4-FFF2-40B4-BE49-F238E27FC236}">
                <a16:creationId xmlns:a16="http://schemas.microsoft.com/office/drawing/2014/main" id="{1E8B0D02-E4F8-412E-BDB8-086E6FE9CF00}"/>
              </a:ext>
            </a:extLst>
          </p:cNvPr>
          <p:cNvSpPr>
            <a:spLocks noGrp="1" noChangeArrowheads="1"/>
          </p:cNvSpPr>
          <p:nvPr>
            <p:ph type="ftr" sz="quarter" idx="19"/>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775595067"/>
      </p:ext>
    </p:extLst>
  </p:cSld>
  <p:clrMapOvr>
    <a:masterClrMapping/>
  </p:clrMapOvr>
  <p:extLst>
    <p:ext uri="{DCECCB84-F9BA-43D5-87BE-67443E8EF086}">
      <p15:sldGuideLst xmlns:p15="http://schemas.microsoft.com/office/powerpoint/2012/main">
        <p15:guide id="1" orient="horz" pos="2160">
          <p15:clr>
            <a:srgbClr val="FBAE40"/>
          </p15:clr>
        </p15:guide>
        <p15:guide id="2" pos="264">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73742" cy="838200"/>
          </a:xfrm>
        </p:spPr>
        <p:txBody>
          <a:bodyPr/>
          <a:lstStyle/>
          <a:p>
            <a:r>
              <a:rPr lang="en-US"/>
              <a:t>Click to edit Master title style</a:t>
            </a:r>
            <a:endParaRPr lang="en-US" dirty="0"/>
          </a:p>
        </p:txBody>
      </p:sp>
      <p:sp>
        <p:nvSpPr>
          <p:cNvPr id="3" name="Content Placeholder 2"/>
          <p:cNvSpPr>
            <a:spLocks noGrp="1"/>
          </p:cNvSpPr>
          <p:nvPr>
            <p:ph sz="half" idx="1"/>
          </p:nvPr>
        </p:nvSpPr>
        <p:spPr>
          <a:xfrm>
            <a:off x="325661" y="1339850"/>
            <a:ext cx="3878262" cy="4878388"/>
          </a:xfrm>
        </p:spPr>
        <p:txBody>
          <a:bodyPr lIns="91440"/>
          <a:lstStyle>
            <a:lvl1pPr>
              <a:spcBef>
                <a:spcPts val="600"/>
              </a:spcBef>
              <a:defRPr sz="1400">
                <a:solidFill>
                  <a:srgbClr val="7A9A3D"/>
                </a:solidFill>
              </a:defRPr>
            </a:lvl1pPr>
            <a:lvl2pPr marL="114300" indent="-114300">
              <a:spcBef>
                <a:spcPts val="600"/>
              </a:spcBef>
              <a:buClr>
                <a:srgbClr val="7A9A3D"/>
              </a:buClr>
              <a:defRPr sz="1200">
                <a:solidFill>
                  <a:srgbClr val="000000"/>
                </a:solidFill>
              </a:defRPr>
            </a:lvl2pPr>
            <a:lvl3pPr marL="228600" indent="-114300">
              <a:spcBef>
                <a:spcPts val="600"/>
              </a:spcBef>
              <a:buClr>
                <a:srgbClr val="7A9A3D"/>
              </a:buClr>
              <a:defRPr sz="1100">
                <a:solidFill>
                  <a:srgbClr val="000000"/>
                </a:solidFill>
              </a:defRPr>
            </a:lvl3pPr>
            <a:lvl4pPr marL="342900" indent="-114300">
              <a:spcBef>
                <a:spcPts val="600"/>
              </a:spcBef>
              <a:buClr>
                <a:srgbClr val="7A9A3D"/>
              </a:buClr>
              <a:defRPr sz="1100">
                <a:solidFill>
                  <a:srgbClr val="000000"/>
                </a:solidFill>
              </a:defRPr>
            </a:lvl4pPr>
            <a:lvl5pPr>
              <a:defRPr sz="105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2"/>
          <p:cNvSpPr>
            <a:spLocks noGrp="1"/>
          </p:cNvSpPr>
          <p:nvPr>
            <p:ph sz="half" idx="13"/>
          </p:nvPr>
        </p:nvSpPr>
        <p:spPr>
          <a:xfrm>
            <a:off x="4611450" y="1339850"/>
            <a:ext cx="3878262" cy="4878388"/>
          </a:xfrm>
        </p:spPr>
        <p:txBody>
          <a:bodyPr lIns="91440"/>
          <a:lstStyle>
            <a:lvl1pPr>
              <a:spcBef>
                <a:spcPts val="600"/>
              </a:spcBef>
              <a:defRPr sz="1400">
                <a:solidFill>
                  <a:srgbClr val="7A9A3D"/>
                </a:solidFill>
              </a:defRPr>
            </a:lvl1pPr>
            <a:lvl2pPr marL="114300" indent="-114300">
              <a:spcBef>
                <a:spcPts val="600"/>
              </a:spcBef>
              <a:buClr>
                <a:srgbClr val="7A9A3D"/>
              </a:buClr>
              <a:defRPr sz="1200">
                <a:solidFill>
                  <a:srgbClr val="000000"/>
                </a:solidFill>
              </a:defRPr>
            </a:lvl2pPr>
            <a:lvl3pPr marL="228600" indent="-114300">
              <a:spcBef>
                <a:spcPts val="600"/>
              </a:spcBef>
              <a:buClr>
                <a:srgbClr val="7A9A3D"/>
              </a:buClr>
              <a:defRPr sz="1100">
                <a:solidFill>
                  <a:srgbClr val="000000"/>
                </a:solidFill>
              </a:defRPr>
            </a:lvl3pPr>
            <a:lvl4pPr marL="342900" indent="-114300">
              <a:spcBef>
                <a:spcPts val="600"/>
              </a:spcBef>
              <a:buClr>
                <a:srgbClr val="7A9A3D"/>
              </a:buClr>
              <a:defRPr sz="1100">
                <a:solidFill>
                  <a:srgbClr val="000000"/>
                </a:solidFill>
              </a:defRPr>
            </a:lvl4pPr>
            <a:lvl5pPr>
              <a:defRPr sz="105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grpSp>
        <p:nvGrpSpPr>
          <p:cNvPr id="35" name="Group 34">
            <a:extLst>
              <a:ext uri="{FF2B5EF4-FFF2-40B4-BE49-F238E27FC236}">
                <a16:creationId xmlns:a16="http://schemas.microsoft.com/office/drawing/2014/main" id="{2AFCA40D-8F58-429B-B9CC-8837A21EB90D}"/>
              </a:ext>
            </a:extLst>
          </p:cNvPr>
          <p:cNvGrpSpPr/>
          <p:nvPr userDrawn="1"/>
        </p:nvGrpSpPr>
        <p:grpSpPr>
          <a:xfrm>
            <a:off x="7358173" y="6361974"/>
            <a:ext cx="1382376" cy="297562"/>
            <a:chOff x="6923088" y="4475163"/>
            <a:chExt cx="1873251" cy="403225"/>
          </a:xfrm>
        </p:grpSpPr>
        <p:sp>
          <p:nvSpPr>
            <p:cNvPr id="36" name="AutoShape 4">
              <a:extLst>
                <a:ext uri="{FF2B5EF4-FFF2-40B4-BE49-F238E27FC236}">
                  <a16:creationId xmlns:a16="http://schemas.microsoft.com/office/drawing/2014/main" id="{8DFB9938-63A0-4A34-8449-BE002E9AF923}"/>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7" name="Freeform 6">
              <a:extLst>
                <a:ext uri="{FF2B5EF4-FFF2-40B4-BE49-F238E27FC236}">
                  <a16:creationId xmlns:a16="http://schemas.microsoft.com/office/drawing/2014/main" id="{A28F1350-5F1B-44AA-821E-44CCD813CA02}"/>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8" name="Freeform 7">
              <a:extLst>
                <a:ext uri="{FF2B5EF4-FFF2-40B4-BE49-F238E27FC236}">
                  <a16:creationId xmlns:a16="http://schemas.microsoft.com/office/drawing/2014/main" id="{FCCB5549-4BD4-4157-837C-79C5F090E2AB}"/>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0" name="Freeform 83">
              <a:extLst>
                <a:ext uri="{FF2B5EF4-FFF2-40B4-BE49-F238E27FC236}">
                  <a16:creationId xmlns:a16="http://schemas.microsoft.com/office/drawing/2014/main" id="{E66A0397-0D9A-454D-B863-45119AA30F0A}"/>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1" name="Freeform 84">
              <a:extLst>
                <a:ext uri="{FF2B5EF4-FFF2-40B4-BE49-F238E27FC236}">
                  <a16:creationId xmlns:a16="http://schemas.microsoft.com/office/drawing/2014/main" id="{1159932D-D4AA-4554-80A3-C5953FD235BD}"/>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2" name="Freeform 85">
              <a:extLst>
                <a:ext uri="{FF2B5EF4-FFF2-40B4-BE49-F238E27FC236}">
                  <a16:creationId xmlns:a16="http://schemas.microsoft.com/office/drawing/2014/main" id="{99EA43E4-E207-4DE8-86BD-FE173B0D11B7}"/>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3" name="Freeform 86">
              <a:extLst>
                <a:ext uri="{FF2B5EF4-FFF2-40B4-BE49-F238E27FC236}">
                  <a16:creationId xmlns:a16="http://schemas.microsoft.com/office/drawing/2014/main" id="{3D5E77D7-98DF-4F64-8E1D-556C5538EF71}"/>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4" name="Freeform 87">
              <a:extLst>
                <a:ext uri="{FF2B5EF4-FFF2-40B4-BE49-F238E27FC236}">
                  <a16:creationId xmlns:a16="http://schemas.microsoft.com/office/drawing/2014/main" id="{1A7515BE-7CAE-4A11-A11B-4B99A5C9E2AC}"/>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5" name="Freeform 88">
              <a:extLst>
                <a:ext uri="{FF2B5EF4-FFF2-40B4-BE49-F238E27FC236}">
                  <a16:creationId xmlns:a16="http://schemas.microsoft.com/office/drawing/2014/main" id="{D694EEF5-E4E7-45C7-8B2C-0BC6FA89E172}"/>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6" name="Freeform 89">
              <a:extLst>
                <a:ext uri="{FF2B5EF4-FFF2-40B4-BE49-F238E27FC236}">
                  <a16:creationId xmlns:a16="http://schemas.microsoft.com/office/drawing/2014/main" id="{9F7A167B-7471-440D-A0ED-79CAA455AA23}"/>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7" name="Freeform 90">
              <a:extLst>
                <a:ext uri="{FF2B5EF4-FFF2-40B4-BE49-F238E27FC236}">
                  <a16:creationId xmlns:a16="http://schemas.microsoft.com/office/drawing/2014/main" id="{FC6AE01D-51AE-4B9E-BEFD-19330091AB5D}"/>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8" name="Freeform 91">
              <a:extLst>
                <a:ext uri="{FF2B5EF4-FFF2-40B4-BE49-F238E27FC236}">
                  <a16:creationId xmlns:a16="http://schemas.microsoft.com/office/drawing/2014/main" id="{B726AD82-47C6-47F3-9CE2-4A8F4DDCBDF9}"/>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9" name="Freeform 92">
              <a:extLst>
                <a:ext uri="{FF2B5EF4-FFF2-40B4-BE49-F238E27FC236}">
                  <a16:creationId xmlns:a16="http://schemas.microsoft.com/office/drawing/2014/main" id="{214E2653-82A5-43E3-B666-1B0E9D70D71F}"/>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0" name="Freeform 93">
              <a:extLst>
                <a:ext uri="{FF2B5EF4-FFF2-40B4-BE49-F238E27FC236}">
                  <a16:creationId xmlns:a16="http://schemas.microsoft.com/office/drawing/2014/main" id="{60F840A2-381E-4048-8295-88F95AC524FF}"/>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1" name="Freeform 94">
              <a:extLst>
                <a:ext uri="{FF2B5EF4-FFF2-40B4-BE49-F238E27FC236}">
                  <a16:creationId xmlns:a16="http://schemas.microsoft.com/office/drawing/2014/main" id="{DFA6C402-3CCD-4FC6-A518-DE487141DAD7}"/>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2" name="Freeform 95">
              <a:extLst>
                <a:ext uri="{FF2B5EF4-FFF2-40B4-BE49-F238E27FC236}">
                  <a16:creationId xmlns:a16="http://schemas.microsoft.com/office/drawing/2014/main" id="{6BCE0A60-59BA-4A31-84DF-83EF81C96B9E}"/>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3" name="Freeform 96">
              <a:extLst>
                <a:ext uri="{FF2B5EF4-FFF2-40B4-BE49-F238E27FC236}">
                  <a16:creationId xmlns:a16="http://schemas.microsoft.com/office/drawing/2014/main" id="{64F2B275-69D4-4CE0-B768-F5AEE48D8E75}"/>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4" name="Freeform 97">
              <a:extLst>
                <a:ext uri="{FF2B5EF4-FFF2-40B4-BE49-F238E27FC236}">
                  <a16:creationId xmlns:a16="http://schemas.microsoft.com/office/drawing/2014/main" id="{62B10CCD-9C7A-4E26-B43B-D74312D407B5}"/>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5" name="Freeform 98">
              <a:extLst>
                <a:ext uri="{FF2B5EF4-FFF2-40B4-BE49-F238E27FC236}">
                  <a16:creationId xmlns:a16="http://schemas.microsoft.com/office/drawing/2014/main" id="{96F83C84-C17B-4B94-ACA5-05431674C481}"/>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6" name="Freeform 99">
              <a:extLst>
                <a:ext uri="{FF2B5EF4-FFF2-40B4-BE49-F238E27FC236}">
                  <a16:creationId xmlns:a16="http://schemas.microsoft.com/office/drawing/2014/main" id="{1E05D619-B8D6-4805-A3F9-780F60543EB6}"/>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7" name="Freeform 100">
              <a:extLst>
                <a:ext uri="{FF2B5EF4-FFF2-40B4-BE49-F238E27FC236}">
                  <a16:creationId xmlns:a16="http://schemas.microsoft.com/office/drawing/2014/main" id="{A0103845-613F-45A7-B66E-688FD3E3246E}"/>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8" name="Freeform 101">
              <a:extLst>
                <a:ext uri="{FF2B5EF4-FFF2-40B4-BE49-F238E27FC236}">
                  <a16:creationId xmlns:a16="http://schemas.microsoft.com/office/drawing/2014/main" id="{DE8DA4D6-B281-47E4-A7BF-F95430547F0B}"/>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9" name="Freeform 102">
              <a:extLst>
                <a:ext uri="{FF2B5EF4-FFF2-40B4-BE49-F238E27FC236}">
                  <a16:creationId xmlns:a16="http://schemas.microsoft.com/office/drawing/2014/main" id="{897DEA63-F6D7-489B-A9E8-1D2F3B2898E7}"/>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0" name="Freeform 103">
              <a:extLst>
                <a:ext uri="{FF2B5EF4-FFF2-40B4-BE49-F238E27FC236}">
                  <a16:creationId xmlns:a16="http://schemas.microsoft.com/office/drawing/2014/main" id="{54874F82-9013-46F0-A138-0F6D2E53904F}"/>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1" name="Freeform 104">
              <a:extLst>
                <a:ext uri="{FF2B5EF4-FFF2-40B4-BE49-F238E27FC236}">
                  <a16:creationId xmlns:a16="http://schemas.microsoft.com/office/drawing/2014/main" id="{7934340A-F61F-4A9C-BB0A-9854348706BB}"/>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2" name="Freeform 105">
              <a:extLst>
                <a:ext uri="{FF2B5EF4-FFF2-40B4-BE49-F238E27FC236}">
                  <a16:creationId xmlns:a16="http://schemas.microsoft.com/office/drawing/2014/main" id="{5289D484-713A-4780-8642-C297A02968CC}"/>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63" name="Slide Number Placeholder 3">
            <a:extLst>
              <a:ext uri="{FF2B5EF4-FFF2-40B4-BE49-F238E27FC236}">
                <a16:creationId xmlns:a16="http://schemas.microsoft.com/office/drawing/2014/main" id="{962933B9-4871-4551-B211-283BF78E4B31}"/>
              </a:ext>
            </a:extLst>
          </p:cNvPr>
          <p:cNvSpPr>
            <a:spLocks noGrp="1"/>
          </p:cNvSpPr>
          <p:nvPr>
            <p:ph type="sldNum" sz="quarter" idx="14"/>
          </p:nvPr>
        </p:nvSpPr>
        <p:spPr>
          <a:xfrm>
            <a:off x="0" y="6414505"/>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4" name="Rectangle 155">
            <a:extLst>
              <a:ext uri="{FF2B5EF4-FFF2-40B4-BE49-F238E27FC236}">
                <a16:creationId xmlns:a16="http://schemas.microsoft.com/office/drawing/2014/main" id="{B7058636-AC71-4357-A634-03DF107B85A4}"/>
              </a:ext>
            </a:extLst>
          </p:cNvPr>
          <p:cNvSpPr>
            <a:spLocks noGrp="1" noChangeArrowheads="1"/>
          </p:cNvSpPr>
          <p:nvPr>
            <p:ph type="dt" sz="half" idx="16"/>
          </p:nvPr>
        </p:nvSpPr>
        <p:spPr>
          <a:xfrm>
            <a:off x="320040" y="6684229"/>
            <a:ext cx="1983958" cy="120649"/>
          </a:xfrm>
        </p:spPr>
        <p:txBody>
          <a:bodyPr/>
          <a:lstStyle>
            <a:lvl1pPr algn="l">
              <a:defRPr sz="700" smtClean="0">
                <a:solidFill>
                  <a:srgbClr val="000000"/>
                </a:solidFill>
              </a:defRPr>
            </a:lvl1pPr>
          </a:lstStyle>
          <a:p>
            <a:pPr>
              <a:defRPr/>
            </a:pPr>
            <a:r>
              <a:rPr lang="en-US" dirty="0"/>
              <a:t>Production code #</a:t>
            </a:r>
          </a:p>
        </p:txBody>
      </p:sp>
      <p:sp>
        <p:nvSpPr>
          <p:cNvPr id="65" name="Rectangle 176">
            <a:extLst>
              <a:ext uri="{FF2B5EF4-FFF2-40B4-BE49-F238E27FC236}">
                <a16:creationId xmlns:a16="http://schemas.microsoft.com/office/drawing/2014/main" id="{6160F30A-F128-4555-90DE-A89193F5A54B}"/>
              </a:ext>
            </a:extLst>
          </p:cNvPr>
          <p:cNvSpPr>
            <a:spLocks noGrp="1" noChangeArrowheads="1"/>
          </p:cNvSpPr>
          <p:nvPr>
            <p:ph type="ftr" sz="quarter" idx="17"/>
          </p:nvPr>
        </p:nvSpPr>
        <p:spPr>
          <a:xfrm>
            <a:off x="320040" y="6508597"/>
            <a:ext cx="3931920" cy="173736"/>
          </a:xfrm>
        </p:spPr>
        <p:txBody>
          <a:bodyPr/>
          <a:lstStyle>
            <a:lvl1pPr algn="l">
              <a:defRPr sz="800" b="0" smtClean="0">
                <a:solidFill>
                  <a:srgbClr val="000000"/>
                </a:solidFill>
              </a:defRPr>
            </a:lvl1pPr>
          </a:lstStyle>
          <a:p>
            <a:pPr>
              <a:defRPr/>
            </a:pPr>
            <a:r>
              <a:rPr lang="en-US" dirty="0"/>
              <a:t>Page footer, i.e., For institutional use only.</a:t>
            </a:r>
          </a:p>
        </p:txBody>
      </p:sp>
    </p:spTree>
    <p:extLst>
      <p:ext uri="{BB962C8B-B14F-4D97-AF65-F5344CB8AC3E}">
        <p14:creationId xmlns:p14="http://schemas.microsoft.com/office/powerpoint/2010/main" val="3531265165"/>
      </p:ext>
    </p:extLst>
  </p:cSld>
  <p:clrMapOvr>
    <a:masterClrMapping/>
  </p:clrMapOvr>
  <p:extLst>
    <p:ext uri="{DCECCB84-F9BA-43D5-87BE-67443E8EF086}">
      <p15:sldGuideLst xmlns:p15="http://schemas.microsoft.com/office/powerpoint/2012/main">
        <p15:guide id="1" orient="horz" pos="2160">
          <p15:clr>
            <a:srgbClr val="FBAE40"/>
          </p15:clr>
        </p15:guide>
        <p15:guide id="2" pos="264">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ack_Cover_BD">
    <p:spTree>
      <p:nvGrpSpPr>
        <p:cNvPr id="1" name=""/>
        <p:cNvGrpSpPr/>
        <p:nvPr/>
      </p:nvGrpSpPr>
      <p:grpSpPr>
        <a:xfrm>
          <a:off x="0" y="0"/>
          <a:ext cx="0" cy="0"/>
          <a:chOff x="0" y="0"/>
          <a:chExt cx="0" cy="0"/>
        </a:xfrm>
      </p:grpSpPr>
      <p:sp>
        <p:nvSpPr>
          <p:cNvPr id="5" name="TextBox 4"/>
          <p:cNvSpPr txBox="1"/>
          <p:nvPr userDrawn="1"/>
        </p:nvSpPr>
        <p:spPr>
          <a:xfrm>
            <a:off x="1338943" y="6473360"/>
            <a:ext cx="6466114" cy="353943"/>
          </a:xfrm>
          <a:prstGeom prst="rect">
            <a:avLst/>
          </a:prstGeom>
          <a:noFill/>
        </p:spPr>
        <p:txBody>
          <a:bodyPr wrap="square" rtlCol="0">
            <a:spAutoFit/>
          </a:bodyPr>
          <a:lstStyle/>
          <a:p>
            <a:pPr algn="ctr">
              <a:spcBef>
                <a:spcPts val="200"/>
              </a:spcBef>
              <a:defRPr/>
            </a:pPr>
            <a:r>
              <a:rPr lang="en-US" altLang="en-US" sz="900" dirty="0">
                <a:solidFill>
                  <a:srgbClr val="000000"/>
                </a:solidFill>
                <a:latin typeface="Arial"/>
                <a:cs typeface="+mn-cs"/>
              </a:rPr>
              <a:t>FIDELITY DISTRIBUTORS COMPANY LLC, 500 SALEM STREET, SMITHFIELD, RI  02917</a:t>
            </a:r>
            <a:br>
              <a:rPr lang="en-US" altLang="en-US" dirty="0">
                <a:solidFill>
                  <a:srgbClr val="000000"/>
                </a:solidFill>
                <a:latin typeface="Arial"/>
                <a:cs typeface="+mn-cs"/>
              </a:rPr>
            </a:br>
            <a:r>
              <a:rPr lang="en-US" sz="800" dirty="0">
                <a:solidFill>
                  <a:srgbClr val="000000"/>
                </a:solidFill>
                <a:latin typeface="Arial"/>
                <a:cs typeface="+mn-cs"/>
              </a:rPr>
              <a:t>© 2020 FMR LLC. All rights reserved.</a:t>
            </a:r>
          </a:p>
        </p:txBody>
      </p:sp>
      <p:sp>
        <p:nvSpPr>
          <p:cNvPr id="91" name="Content Placeholder 12"/>
          <p:cNvSpPr>
            <a:spLocks noGrp="1"/>
          </p:cNvSpPr>
          <p:nvPr>
            <p:ph sz="quarter" idx="16" hasCustomPrompt="1"/>
          </p:nvPr>
        </p:nvSpPr>
        <p:spPr>
          <a:xfrm>
            <a:off x="7991475" y="6332082"/>
            <a:ext cx="908050" cy="377825"/>
          </a:xfrm>
        </p:spPr>
        <p:txBody>
          <a:bodyPr anchor="b"/>
          <a:lstStyle>
            <a:lvl1pPr marL="0" indent="0" algn="r">
              <a:spcBef>
                <a:spcPts val="0"/>
              </a:spcBef>
              <a:defRPr sz="700" b="0">
                <a:solidFill>
                  <a:schemeClr val="tx1"/>
                </a:solidFill>
              </a:defRPr>
            </a:lvl1pPr>
            <a:lvl2pPr algn="r">
              <a:defRPr sz="700" b="0">
                <a:solidFill>
                  <a:schemeClr val="tx1"/>
                </a:solidFill>
              </a:defRPr>
            </a:lvl2pPr>
            <a:lvl3pPr algn="r">
              <a:defRPr sz="700" b="0">
                <a:solidFill>
                  <a:schemeClr val="tx1"/>
                </a:solidFill>
              </a:defRPr>
            </a:lvl3pPr>
            <a:lvl4pPr algn="r">
              <a:defRPr sz="700" b="0">
                <a:solidFill>
                  <a:schemeClr val="tx1"/>
                </a:solidFill>
              </a:defRPr>
            </a:lvl4pPr>
            <a:lvl5pPr algn="r">
              <a:defRPr sz="700" b="0">
                <a:solidFill>
                  <a:schemeClr val="tx1"/>
                </a:solidFill>
              </a:defRPr>
            </a:lvl5pPr>
          </a:lstStyle>
          <a:p>
            <a:pPr lvl="0"/>
            <a:r>
              <a:rPr lang="en-US" dirty="0"/>
              <a:t>1.000000.100</a:t>
            </a:r>
          </a:p>
          <a:p>
            <a:pPr lvl="0"/>
            <a:r>
              <a:rPr lang="en-US" dirty="0"/>
              <a:t>MMYY</a:t>
            </a:r>
          </a:p>
        </p:txBody>
      </p:sp>
      <p:sp>
        <p:nvSpPr>
          <p:cNvPr id="38" name="Content Placeholder 10"/>
          <p:cNvSpPr>
            <a:spLocks noGrp="1"/>
          </p:cNvSpPr>
          <p:nvPr>
            <p:ph sz="quarter" idx="15" hasCustomPrompt="1"/>
          </p:nvPr>
        </p:nvSpPr>
        <p:spPr>
          <a:xfrm>
            <a:off x="312963" y="6289468"/>
            <a:ext cx="964293" cy="420439"/>
          </a:xfrm>
        </p:spPr>
        <p:txBody>
          <a:bodyPr/>
          <a:lstStyle>
            <a:lvl1pPr marL="0" indent="0">
              <a:spcBef>
                <a:spcPts val="0"/>
              </a:spcBef>
              <a:defRPr sz="700" b="0">
                <a:solidFill>
                  <a:schemeClr val="tx1"/>
                </a:solidFill>
              </a:defRPr>
            </a:lvl1pPr>
            <a:lvl2pPr>
              <a:defRPr sz="700" b="0">
                <a:solidFill>
                  <a:schemeClr val="tx1"/>
                </a:solidFill>
              </a:defRPr>
            </a:lvl2pPr>
            <a:lvl3pPr>
              <a:defRPr sz="700" b="0">
                <a:solidFill>
                  <a:schemeClr val="tx1"/>
                </a:solidFill>
              </a:defRPr>
            </a:lvl3pPr>
            <a:lvl4pPr>
              <a:defRPr sz="700" b="0">
                <a:solidFill>
                  <a:schemeClr val="tx1"/>
                </a:solidFill>
              </a:defRPr>
            </a:lvl4pPr>
            <a:lvl5pPr>
              <a:defRPr sz="700" b="0">
                <a:solidFill>
                  <a:schemeClr val="tx1"/>
                </a:solidFill>
              </a:defRPr>
            </a:lvl5pPr>
          </a:lstStyle>
          <a:p>
            <a:pPr lvl="0"/>
            <a:r>
              <a:rPr lang="en-US" dirty="0"/>
              <a:t>XXXXXX.1.0</a:t>
            </a:r>
          </a:p>
          <a:p>
            <a:pPr lvl="0"/>
            <a:r>
              <a:rPr lang="en-US" dirty="0"/>
              <a:t>FIAM-BD</a:t>
            </a:r>
          </a:p>
          <a:p>
            <a:pPr lvl="0"/>
            <a:r>
              <a:rPr lang="en-US" dirty="0"/>
              <a:t>EXPIRES: 00/00/00</a:t>
            </a:r>
          </a:p>
        </p:txBody>
      </p:sp>
      <p:grpSp>
        <p:nvGrpSpPr>
          <p:cNvPr id="40" name="Group 39">
            <a:extLst>
              <a:ext uri="{FF2B5EF4-FFF2-40B4-BE49-F238E27FC236}">
                <a16:creationId xmlns:a16="http://schemas.microsoft.com/office/drawing/2014/main" id="{89677456-A035-4F64-A58E-2AA08AFD443E}"/>
              </a:ext>
            </a:extLst>
          </p:cNvPr>
          <p:cNvGrpSpPr/>
          <p:nvPr userDrawn="1"/>
        </p:nvGrpSpPr>
        <p:grpSpPr>
          <a:xfrm>
            <a:off x="373758" y="5841629"/>
            <a:ext cx="1382376" cy="297562"/>
            <a:chOff x="6923088" y="4475163"/>
            <a:chExt cx="1873251" cy="403225"/>
          </a:xfrm>
        </p:grpSpPr>
        <p:sp>
          <p:nvSpPr>
            <p:cNvPr id="41" name="AutoShape 4">
              <a:extLst>
                <a:ext uri="{FF2B5EF4-FFF2-40B4-BE49-F238E27FC236}">
                  <a16:creationId xmlns:a16="http://schemas.microsoft.com/office/drawing/2014/main" id="{13718D80-BDB0-444B-BF56-C5988FBA38AC}"/>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2" name="Freeform 6">
              <a:extLst>
                <a:ext uri="{FF2B5EF4-FFF2-40B4-BE49-F238E27FC236}">
                  <a16:creationId xmlns:a16="http://schemas.microsoft.com/office/drawing/2014/main" id="{66D46C6D-5495-4E29-863F-32742C641DF3}"/>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3" name="Freeform 7">
              <a:extLst>
                <a:ext uri="{FF2B5EF4-FFF2-40B4-BE49-F238E27FC236}">
                  <a16:creationId xmlns:a16="http://schemas.microsoft.com/office/drawing/2014/main" id="{2A9B57CC-C72C-490A-A620-C2B77CE96B42}"/>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4" name="Freeform 83">
              <a:extLst>
                <a:ext uri="{FF2B5EF4-FFF2-40B4-BE49-F238E27FC236}">
                  <a16:creationId xmlns:a16="http://schemas.microsoft.com/office/drawing/2014/main" id="{71544B70-E09A-424D-8B5F-A0B1DC238AB5}"/>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5" name="Freeform 84">
              <a:extLst>
                <a:ext uri="{FF2B5EF4-FFF2-40B4-BE49-F238E27FC236}">
                  <a16:creationId xmlns:a16="http://schemas.microsoft.com/office/drawing/2014/main" id="{C96D237F-3E7D-447F-9901-A6973C6D44AF}"/>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6" name="Freeform 85">
              <a:extLst>
                <a:ext uri="{FF2B5EF4-FFF2-40B4-BE49-F238E27FC236}">
                  <a16:creationId xmlns:a16="http://schemas.microsoft.com/office/drawing/2014/main" id="{04FC3846-78BD-43BE-B65A-D57DBC754F63}"/>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7" name="Freeform 86">
              <a:extLst>
                <a:ext uri="{FF2B5EF4-FFF2-40B4-BE49-F238E27FC236}">
                  <a16:creationId xmlns:a16="http://schemas.microsoft.com/office/drawing/2014/main" id="{421EF74A-9913-425F-BF2B-AEF051AB8C6F}"/>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8" name="Freeform 87">
              <a:extLst>
                <a:ext uri="{FF2B5EF4-FFF2-40B4-BE49-F238E27FC236}">
                  <a16:creationId xmlns:a16="http://schemas.microsoft.com/office/drawing/2014/main" id="{E6976E3A-F411-4270-B557-2F3A706B9FCB}"/>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9" name="Freeform 88">
              <a:extLst>
                <a:ext uri="{FF2B5EF4-FFF2-40B4-BE49-F238E27FC236}">
                  <a16:creationId xmlns:a16="http://schemas.microsoft.com/office/drawing/2014/main" id="{AF734CDA-89FA-4A6A-AB5D-B1C229F35180}"/>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0" name="Freeform 89">
              <a:extLst>
                <a:ext uri="{FF2B5EF4-FFF2-40B4-BE49-F238E27FC236}">
                  <a16:creationId xmlns:a16="http://schemas.microsoft.com/office/drawing/2014/main" id="{3E8AD57A-6C7F-4DEA-8607-19FA0ACB1554}"/>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1" name="Freeform 90">
              <a:extLst>
                <a:ext uri="{FF2B5EF4-FFF2-40B4-BE49-F238E27FC236}">
                  <a16:creationId xmlns:a16="http://schemas.microsoft.com/office/drawing/2014/main" id="{DA8CD515-AD53-4C75-BC5D-98C894FCDC9F}"/>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2" name="Freeform 91">
              <a:extLst>
                <a:ext uri="{FF2B5EF4-FFF2-40B4-BE49-F238E27FC236}">
                  <a16:creationId xmlns:a16="http://schemas.microsoft.com/office/drawing/2014/main" id="{FC02DFB7-0B50-4249-9553-6ED994530C9A}"/>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3" name="Freeform 92">
              <a:extLst>
                <a:ext uri="{FF2B5EF4-FFF2-40B4-BE49-F238E27FC236}">
                  <a16:creationId xmlns:a16="http://schemas.microsoft.com/office/drawing/2014/main" id="{6F454668-6F60-4550-9BAF-ED566BE76C56}"/>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4" name="Freeform 93">
              <a:extLst>
                <a:ext uri="{FF2B5EF4-FFF2-40B4-BE49-F238E27FC236}">
                  <a16:creationId xmlns:a16="http://schemas.microsoft.com/office/drawing/2014/main" id="{2D504B35-6648-4532-B1C0-98DAA9E56AC0}"/>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5" name="Freeform 94">
              <a:extLst>
                <a:ext uri="{FF2B5EF4-FFF2-40B4-BE49-F238E27FC236}">
                  <a16:creationId xmlns:a16="http://schemas.microsoft.com/office/drawing/2014/main" id="{DD82A180-978C-4E0A-99D8-735DE80A9213}"/>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6" name="Freeform 95">
              <a:extLst>
                <a:ext uri="{FF2B5EF4-FFF2-40B4-BE49-F238E27FC236}">
                  <a16:creationId xmlns:a16="http://schemas.microsoft.com/office/drawing/2014/main" id="{5BFA9E0E-F0E1-4E43-8813-446F9D052DF9}"/>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7" name="Freeform 96">
              <a:extLst>
                <a:ext uri="{FF2B5EF4-FFF2-40B4-BE49-F238E27FC236}">
                  <a16:creationId xmlns:a16="http://schemas.microsoft.com/office/drawing/2014/main" id="{EEC345AA-6206-4F2A-B6D7-8EF4B3F2B127}"/>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8" name="Freeform 97">
              <a:extLst>
                <a:ext uri="{FF2B5EF4-FFF2-40B4-BE49-F238E27FC236}">
                  <a16:creationId xmlns:a16="http://schemas.microsoft.com/office/drawing/2014/main" id="{9E851DCC-A64F-4FF7-9CB5-1625F981DAF1}"/>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9" name="Freeform 98">
              <a:extLst>
                <a:ext uri="{FF2B5EF4-FFF2-40B4-BE49-F238E27FC236}">
                  <a16:creationId xmlns:a16="http://schemas.microsoft.com/office/drawing/2014/main" id="{E13F40FE-92E6-4F13-9314-E971E755EB5E}"/>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0" name="Freeform 99">
              <a:extLst>
                <a:ext uri="{FF2B5EF4-FFF2-40B4-BE49-F238E27FC236}">
                  <a16:creationId xmlns:a16="http://schemas.microsoft.com/office/drawing/2014/main" id="{B8AC48C2-65E1-4266-8B33-D3F28A35B565}"/>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1" name="Freeform 100">
              <a:extLst>
                <a:ext uri="{FF2B5EF4-FFF2-40B4-BE49-F238E27FC236}">
                  <a16:creationId xmlns:a16="http://schemas.microsoft.com/office/drawing/2014/main" id="{27E88FEE-E357-41EB-8DE1-6A50843BA203}"/>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2" name="Freeform 101">
              <a:extLst>
                <a:ext uri="{FF2B5EF4-FFF2-40B4-BE49-F238E27FC236}">
                  <a16:creationId xmlns:a16="http://schemas.microsoft.com/office/drawing/2014/main" id="{356ACE0E-1E1C-41A4-97BA-4911E011CB15}"/>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3" name="Freeform 102">
              <a:extLst>
                <a:ext uri="{FF2B5EF4-FFF2-40B4-BE49-F238E27FC236}">
                  <a16:creationId xmlns:a16="http://schemas.microsoft.com/office/drawing/2014/main" id="{0E299D07-B13A-44E9-B936-8A1662FA8B2C}"/>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4" name="Freeform 103">
              <a:extLst>
                <a:ext uri="{FF2B5EF4-FFF2-40B4-BE49-F238E27FC236}">
                  <a16:creationId xmlns:a16="http://schemas.microsoft.com/office/drawing/2014/main" id="{B1078A67-DA9D-458D-8821-C44FFA5BC5BC}"/>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5" name="Freeform 104">
              <a:extLst>
                <a:ext uri="{FF2B5EF4-FFF2-40B4-BE49-F238E27FC236}">
                  <a16:creationId xmlns:a16="http://schemas.microsoft.com/office/drawing/2014/main" id="{2C5B5285-E3B4-4201-BB13-039F97249B4B}"/>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6" name="Freeform 105">
              <a:extLst>
                <a:ext uri="{FF2B5EF4-FFF2-40B4-BE49-F238E27FC236}">
                  <a16:creationId xmlns:a16="http://schemas.microsoft.com/office/drawing/2014/main" id="{769DE36E-EB0C-4770-99E9-4446F83D0F8D}"/>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Tree>
    <p:extLst>
      <p:ext uri="{BB962C8B-B14F-4D97-AF65-F5344CB8AC3E}">
        <p14:creationId xmlns:p14="http://schemas.microsoft.com/office/powerpoint/2010/main" val="121992521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ack_Cover_IA">
    <p:spTree>
      <p:nvGrpSpPr>
        <p:cNvPr id="1" name=""/>
        <p:cNvGrpSpPr/>
        <p:nvPr/>
      </p:nvGrpSpPr>
      <p:grpSpPr>
        <a:xfrm>
          <a:off x="0" y="0"/>
          <a:ext cx="0" cy="0"/>
          <a:chOff x="0" y="0"/>
          <a:chExt cx="0" cy="0"/>
        </a:xfrm>
      </p:grpSpPr>
      <p:sp>
        <p:nvSpPr>
          <p:cNvPr id="2" name="Rectangle 1"/>
          <p:cNvSpPr/>
          <p:nvPr userDrawn="1"/>
        </p:nvSpPr>
        <p:spPr>
          <a:xfrm>
            <a:off x="1277183" y="6483639"/>
            <a:ext cx="6446759" cy="215444"/>
          </a:xfrm>
          <a:prstGeom prst="rect">
            <a:avLst/>
          </a:prstGeom>
        </p:spPr>
        <p:txBody>
          <a:bodyPr wrap="square">
            <a:spAutoFit/>
          </a:bodyPr>
          <a:lstStyle/>
          <a:p>
            <a:pPr algn="ctr">
              <a:spcBef>
                <a:spcPts val="200"/>
              </a:spcBef>
              <a:defRPr/>
            </a:pPr>
            <a:r>
              <a:rPr lang="en-US" sz="800" dirty="0">
                <a:solidFill>
                  <a:srgbClr val="000000"/>
                </a:solidFill>
                <a:latin typeface="Arial"/>
                <a:cs typeface="+mn-cs"/>
              </a:rPr>
              <a:t>© 2020 FMR LLC. All rights reserved.</a:t>
            </a:r>
            <a:endParaRPr lang="en-US" altLang="en-US" sz="800" dirty="0">
              <a:solidFill>
                <a:srgbClr val="000000"/>
              </a:solidFill>
              <a:latin typeface="Arial"/>
              <a:cs typeface="+mn-cs"/>
            </a:endParaRPr>
          </a:p>
        </p:txBody>
      </p:sp>
      <p:sp>
        <p:nvSpPr>
          <p:cNvPr id="65" name="Content Placeholder 10"/>
          <p:cNvSpPr>
            <a:spLocks noGrp="1"/>
          </p:cNvSpPr>
          <p:nvPr>
            <p:ph sz="quarter" idx="15" hasCustomPrompt="1"/>
          </p:nvPr>
        </p:nvSpPr>
        <p:spPr>
          <a:xfrm>
            <a:off x="312963" y="6289468"/>
            <a:ext cx="964293" cy="420439"/>
          </a:xfrm>
        </p:spPr>
        <p:txBody>
          <a:bodyPr/>
          <a:lstStyle>
            <a:lvl1pPr marL="0" indent="0">
              <a:spcBef>
                <a:spcPts val="0"/>
              </a:spcBef>
              <a:defRPr sz="700" b="0">
                <a:solidFill>
                  <a:schemeClr val="tx1"/>
                </a:solidFill>
              </a:defRPr>
            </a:lvl1pPr>
            <a:lvl2pPr>
              <a:defRPr sz="700" b="0">
                <a:solidFill>
                  <a:schemeClr val="tx1"/>
                </a:solidFill>
              </a:defRPr>
            </a:lvl2pPr>
            <a:lvl3pPr>
              <a:defRPr sz="700" b="0">
                <a:solidFill>
                  <a:schemeClr val="tx1"/>
                </a:solidFill>
              </a:defRPr>
            </a:lvl3pPr>
            <a:lvl4pPr>
              <a:defRPr sz="700" b="0">
                <a:solidFill>
                  <a:schemeClr val="tx1"/>
                </a:solidFill>
              </a:defRPr>
            </a:lvl4pPr>
            <a:lvl5pPr>
              <a:defRPr sz="700" b="0">
                <a:solidFill>
                  <a:schemeClr val="tx1"/>
                </a:solidFill>
              </a:defRPr>
            </a:lvl5pPr>
          </a:lstStyle>
          <a:p>
            <a:pPr lvl="0"/>
            <a:r>
              <a:rPr lang="en-US" dirty="0"/>
              <a:t>XXXXXX.1.0</a:t>
            </a:r>
          </a:p>
          <a:p>
            <a:pPr lvl="0"/>
            <a:r>
              <a:rPr lang="en-US" dirty="0"/>
              <a:t>FIAM-IA</a:t>
            </a:r>
          </a:p>
          <a:p>
            <a:pPr lvl="0"/>
            <a:r>
              <a:rPr lang="en-US" dirty="0"/>
              <a:t>EXPIRES: 00/00/00</a:t>
            </a:r>
          </a:p>
        </p:txBody>
      </p:sp>
      <p:grpSp>
        <p:nvGrpSpPr>
          <p:cNvPr id="31" name="Group 30">
            <a:extLst>
              <a:ext uri="{FF2B5EF4-FFF2-40B4-BE49-F238E27FC236}">
                <a16:creationId xmlns:a16="http://schemas.microsoft.com/office/drawing/2014/main" id="{EB10CB71-F2AF-4ED4-9D3C-B5EFFB91C40E}"/>
              </a:ext>
            </a:extLst>
          </p:cNvPr>
          <p:cNvGrpSpPr/>
          <p:nvPr userDrawn="1"/>
        </p:nvGrpSpPr>
        <p:grpSpPr>
          <a:xfrm>
            <a:off x="373758" y="5841629"/>
            <a:ext cx="1382376" cy="297562"/>
            <a:chOff x="6923088" y="4475163"/>
            <a:chExt cx="1873251" cy="403225"/>
          </a:xfrm>
        </p:grpSpPr>
        <p:sp>
          <p:nvSpPr>
            <p:cNvPr id="32" name="AutoShape 4">
              <a:extLst>
                <a:ext uri="{FF2B5EF4-FFF2-40B4-BE49-F238E27FC236}">
                  <a16:creationId xmlns:a16="http://schemas.microsoft.com/office/drawing/2014/main" id="{FAAE9405-1035-4D21-9139-D6B0116BCD98}"/>
                </a:ext>
              </a:extLst>
            </p:cNvPr>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7" name="Freeform 6">
              <a:extLst>
                <a:ext uri="{FF2B5EF4-FFF2-40B4-BE49-F238E27FC236}">
                  <a16:creationId xmlns:a16="http://schemas.microsoft.com/office/drawing/2014/main" id="{0BCCDD97-7251-475F-B774-3EFD853052AE}"/>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8" name="Freeform 7">
              <a:extLst>
                <a:ext uri="{FF2B5EF4-FFF2-40B4-BE49-F238E27FC236}">
                  <a16:creationId xmlns:a16="http://schemas.microsoft.com/office/drawing/2014/main" id="{5F072604-FFA6-4881-8BE7-21FDD82AD41F}"/>
                </a:ext>
              </a:extLst>
            </p:cNvPr>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9" name="Freeform 83">
              <a:extLst>
                <a:ext uri="{FF2B5EF4-FFF2-40B4-BE49-F238E27FC236}">
                  <a16:creationId xmlns:a16="http://schemas.microsoft.com/office/drawing/2014/main" id="{D9C684DD-EDE4-442D-AE92-0C9B5BD5B951}"/>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0" name="Freeform 84">
              <a:extLst>
                <a:ext uri="{FF2B5EF4-FFF2-40B4-BE49-F238E27FC236}">
                  <a16:creationId xmlns:a16="http://schemas.microsoft.com/office/drawing/2014/main" id="{58085FE6-B407-4AF3-A417-F4F806EA5045}"/>
                </a:ext>
              </a:extLst>
            </p:cNvPr>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1" name="Freeform 85">
              <a:extLst>
                <a:ext uri="{FF2B5EF4-FFF2-40B4-BE49-F238E27FC236}">
                  <a16:creationId xmlns:a16="http://schemas.microsoft.com/office/drawing/2014/main" id="{DF706ACA-C0F1-4F14-8715-BE5EBFB485F9}"/>
                </a:ext>
              </a:extLst>
            </p:cNvPr>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2" name="Freeform 86">
              <a:extLst>
                <a:ext uri="{FF2B5EF4-FFF2-40B4-BE49-F238E27FC236}">
                  <a16:creationId xmlns:a16="http://schemas.microsoft.com/office/drawing/2014/main" id="{4C43C4E1-C2ED-48EB-B8DE-F2593D265D37}"/>
                </a:ext>
              </a:extLst>
            </p:cNvPr>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3" name="Freeform 87">
              <a:extLst>
                <a:ext uri="{FF2B5EF4-FFF2-40B4-BE49-F238E27FC236}">
                  <a16:creationId xmlns:a16="http://schemas.microsoft.com/office/drawing/2014/main" id="{628D03CA-B2EF-4EFF-844B-4AA94C2D5751}"/>
                </a:ext>
              </a:extLst>
            </p:cNvPr>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4" name="Freeform 88">
              <a:extLst>
                <a:ext uri="{FF2B5EF4-FFF2-40B4-BE49-F238E27FC236}">
                  <a16:creationId xmlns:a16="http://schemas.microsoft.com/office/drawing/2014/main" id="{C7C9DD70-4FC1-4610-9EE6-0E1581CBF3F2}"/>
                </a:ext>
              </a:extLst>
            </p:cNvPr>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5" name="Freeform 89">
              <a:extLst>
                <a:ext uri="{FF2B5EF4-FFF2-40B4-BE49-F238E27FC236}">
                  <a16:creationId xmlns:a16="http://schemas.microsoft.com/office/drawing/2014/main" id="{DB2A4E2B-F271-44F0-8FBC-D5F013DF262C}"/>
                </a:ext>
              </a:extLst>
            </p:cNvPr>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6" name="Freeform 90">
              <a:extLst>
                <a:ext uri="{FF2B5EF4-FFF2-40B4-BE49-F238E27FC236}">
                  <a16:creationId xmlns:a16="http://schemas.microsoft.com/office/drawing/2014/main" id="{9243FB8C-0A5C-4903-8D3D-78D2E142B81A}"/>
                </a:ext>
              </a:extLst>
            </p:cNvPr>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7" name="Freeform 91">
              <a:extLst>
                <a:ext uri="{FF2B5EF4-FFF2-40B4-BE49-F238E27FC236}">
                  <a16:creationId xmlns:a16="http://schemas.microsoft.com/office/drawing/2014/main" id="{65AC96C8-1AAB-4944-9A1C-A2928B204C43}"/>
                </a:ext>
              </a:extLst>
            </p:cNvPr>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8" name="Freeform 92">
              <a:extLst>
                <a:ext uri="{FF2B5EF4-FFF2-40B4-BE49-F238E27FC236}">
                  <a16:creationId xmlns:a16="http://schemas.microsoft.com/office/drawing/2014/main" id="{5944541A-63B4-4AEA-97B6-EE9E09CD0C7A}"/>
                </a:ext>
              </a:extLst>
            </p:cNvPr>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9" name="Freeform 93">
              <a:extLst>
                <a:ext uri="{FF2B5EF4-FFF2-40B4-BE49-F238E27FC236}">
                  <a16:creationId xmlns:a16="http://schemas.microsoft.com/office/drawing/2014/main" id="{17CFC7D9-07DA-43D2-9673-68217EEA0C13}"/>
                </a:ext>
              </a:extLst>
            </p:cNvPr>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0" name="Freeform 94">
              <a:extLst>
                <a:ext uri="{FF2B5EF4-FFF2-40B4-BE49-F238E27FC236}">
                  <a16:creationId xmlns:a16="http://schemas.microsoft.com/office/drawing/2014/main" id="{0FC0088A-85E2-458A-9D87-57A9866AE4AF}"/>
                </a:ext>
              </a:extLst>
            </p:cNvPr>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1" name="Freeform 95">
              <a:extLst>
                <a:ext uri="{FF2B5EF4-FFF2-40B4-BE49-F238E27FC236}">
                  <a16:creationId xmlns:a16="http://schemas.microsoft.com/office/drawing/2014/main" id="{C3646D95-8833-40CB-835F-AD1D8C4D5C8B}"/>
                </a:ext>
              </a:extLst>
            </p:cNvPr>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2" name="Freeform 96">
              <a:extLst>
                <a:ext uri="{FF2B5EF4-FFF2-40B4-BE49-F238E27FC236}">
                  <a16:creationId xmlns:a16="http://schemas.microsoft.com/office/drawing/2014/main" id="{D7A5D690-994E-446D-BC3D-B3AE0A901EDE}"/>
                </a:ext>
              </a:extLst>
            </p:cNvPr>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3" name="Freeform 97">
              <a:extLst>
                <a:ext uri="{FF2B5EF4-FFF2-40B4-BE49-F238E27FC236}">
                  <a16:creationId xmlns:a16="http://schemas.microsoft.com/office/drawing/2014/main" id="{4F2FE0B2-25ED-4904-AB17-5FC820F37316}"/>
                </a:ext>
              </a:extLst>
            </p:cNvPr>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4" name="Freeform 98">
              <a:extLst>
                <a:ext uri="{FF2B5EF4-FFF2-40B4-BE49-F238E27FC236}">
                  <a16:creationId xmlns:a16="http://schemas.microsoft.com/office/drawing/2014/main" id="{C0A668B7-D249-463E-B57A-88CACCE6E8A4}"/>
                </a:ext>
              </a:extLst>
            </p:cNvPr>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5" name="Freeform 99">
              <a:extLst>
                <a:ext uri="{FF2B5EF4-FFF2-40B4-BE49-F238E27FC236}">
                  <a16:creationId xmlns:a16="http://schemas.microsoft.com/office/drawing/2014/main" id="{956C98EF-D380-4CB0-BDE3-08C7766C29D8}"/>
                </a:ext>
              </a:extLst>
            </p:cNvPr>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6" name="Freeform 100">
              <a:extLst>
                <a:ext uri="{FF2B5EF4-FFF2-40B4-BE49-F238E27FC236}">
                  <a16:creationId xmlns:a16="http://schemas.microsoft.com/office/drawing/2014/main" id="{C6581B25-158F-4D40-8BA4-BC1E8D5C86F1}"/>
                </a:ext>
              </a:extLst>
            </p:cNvPr>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7" name="Freeform 101">
              <a:extLst>
                <a:ext uri="{FF2B5EF4-FFF2-40B4-BE49-F238E27FC236}">
                  <a16:creationId xmlns:a16="http://schemas.microsoft.com/office/drawing/2014/main" id="{EF540E8E-E4D3-4E2F-999A-4A1362CE10D0}"/>
                </a:ext>
              </a:extLst>
            </p:cNvPr>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8" name="Freeform 102">
              <a:extLst>
                <a:ext uri="{FF2B5EF4-FFF2-40B4-BE49-F238E27FC236}">
                  <a16:creationId xmlns:a16="http://schemas.microsoft.com/office/drawing/2014/main" id="{5E3DC027-2EB9-4A6C-BBB5-A4391205C01A}"/>
                </a:ext>
              </a:extLst>
            </p:cNvPr>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59" name="Freeform 103">
              <a:extLst>
                <a:ext uri="{FF2B5EF4-FFF2-40B4-BE49-F238E27FC236}">
                  <a16:creationId xmlns:a16="http://schemas.microsoft.com/office/drawing/2014/main" id="{ECB2A110-AF33-46B0-A81F-EA8F398CDA73}"/>
                </a:ext>
              </a:extLst>
            </p:cNvPr>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0" name="Freeform 104">
              <a:extLst>
                <a:ext uri="{FF2B5EF4-FFF2-40B4-BE49-F238E27FC236}">
                  <a16:creationId xmlns:a16="http://schemas.microsoft.com/office/drawing/2014/main" id="{0F006F9F-7621-4C17-A18F-D009503F8F20}"/>
                </a:ext>
              </a:extLst>
            </p:cNvPr>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61" name="Freeform 105">
              <a:extLst>
                <a:ext uri="{FF2B5EF4-FFF2-40B4-BE49-F238E27FC236}">
                  <a16:creationId xmlns:a16="http://schemas.microsoft.com/office/drawing/2014/main" id="{09EE518D-CA7C-42E2-9241-27ED21A387BB}"/>
                </a:ext>
              </a:extLst>
            </p:cNvPr>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Tree>
    <p:extLst>
      <p:ext uri="{BB962C8B-B14F-4D97-AF65-F5344CB8AC3E}">
        <p14:creationId xmlns:p14="http://schemas.microsoft.com/office/powerpoint/2010/main" val="71829518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userDrawn="1">
  <p:cSld name="1_FIAM_External_Print_Cover">
    <p:spTree>
      <p:nvGrpSpPr>
        <p:cNvPr id="1" name=""/>
        <p:cNvGrpSpPr/>
        <p:nvPr/>
      </p:nvGrpSpPr>
      <p:grpSpPr>
        <a:xfrm>
          <a:off x="0" y="0"/>
          <a:ext cx="0" cy="0"/>
          <a:chOff x="0" y="0"/>
          <a:chExt cx="0" cy="0"/>
        </a:xfrm>
      </p:grpSpPr>
      <p:pic>
        <p:nvPicPr>
          <p:cNvPr id="45" name="Picture 4" descr="C:\Users\a216024\Desktop\stuff\_PPT_107\PowerPoint_Templates_Samples\_10x7.5_Templates\NEW_FIAM\Covers_secondary_slides\2-7_Covers\LightGray_grayscale.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12688" b="17606"/>
          <a:stretch/>
        </p:blipFill>
        <p:spPr bwMode="auto">
          <a:xfrm>
            <a:off x="0" y="0"/>
            <a:ext cx="9144000" cy="3646714"/>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5" descr="C:\Users\a216024\Desktop\stuff\_PPT_107\PowerPoint_Templates_Samples\_10x7.5_Templates\NEW_FIAM\Covers_secondary_slides\2-7_Covers\ColorBar.png"/>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l="1379" r="1716"/>
          <a:stretch/>
        </p:blipFill>
        <p:spPr bwMode="auto">
          <a:xfrm>
            <a:off x="0" y="3481388"/>
            <a:ext cx="9144000" cy="219075"/>
          </a:xfrm>
          <a:prstGeom prst="rect">
            <a:avLst/>
          </a:prstGeom>
          <a:noFill/>
          <a:extLst>
            <a:ext uri="{909E8E84-426E-40DD-AFC4-6F175D3DCCD1}">
              <a14:hiddenFill xmlns:a14="http://schemas.microsoft.com/office/drawing/2010/main">
                <a:solidFill>
                  <a:srgbClr val="FFFFFF"/>
                </a:solidFill>
              </a14:hiddenFill>
            </a:ext>
          </a:extLst>
        </p:spPr>
      </p:pic>
      <p:grpSp>
        <p:nvGrpSpPr>
          <p:cNvPr id="80" name="Group 79"/>
          <p:cNvGrpSpPr/>
          <p:nvPr userDrawn="1"/>
        </p:nvGrpSpPr>
        <p:grpSpPr>
          <a:xfrm>
            <a:off x="6970734" y="6128901"/>
            <a:ext cx="1839928" cy="396052"/>
            <a:chOff x="6923088" y="4475163"/>
            <a:chExt cx="1873251" cy="403225"/>
          </a:xfrm>
        </p:grpSpPr>
        <p:sp>
          <p:nvSpPr>
            <p:cNvPr id="81" name="AutoShape 4"/>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2" name="Freeform 6"/>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3" name="Freeform 7"/>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4" name="Freeform 83"/>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5" name="Freeform 84"/>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6" name="Freeform 85"/>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7" name="Freeform 86"/>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8" name="Freeform 87"/>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9" name="Freeform 88"/>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0" name="Freeform 89"/>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1" name="Freeform 90"/>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2" name="Freeform 91"/>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3" name="Freeform 92"/>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4" name="Freeform 93"/>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5" name="Freeform 94"/>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6" name="Freeform 95"/>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7" name="Freeform 96"/>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8" name="Freeform 97"/>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9" name="Freeform 98"/>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0" name="Freeform 99"/>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1" name="Freeform 100"/>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2" name="Freeform 101"/>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3" name="Freeform 102"/>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4" name="Freeform 103"/>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5" name="Freeform 104"/>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6" name="Freeform 105"/>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44" name="Text Placeholder 43"/>
          <p:cNvSpPr>
            <a:spLocks noGrp="1"/>
          </p:cNvSpPr>
          <p:nvPr>
            <p:ph type="body" sz="quarter" idx="10"/>
          </p:nvPr>
        </p:nvSpPr>
        <p:spPr>
          <a:xfrm>
            <a:off x="715495" y="3833787"/>
            <a:ext cx="2455544" cy="332365"/>
          </a:xfrm>
        </p:spPr>
        <p:txBody>
          <a:bodyPr/>
          <a:lstStyle>
            <a:lvl1pPr>
              <a:defRPr lang="en-US" sz="1000" b="0" kern="1200" smtClean="0">
                <a:solidFill>
                  <a:srgbClr val="000000"/>
                </a:solidFill>
                <a:latin typeface="Arial"/>
                <a:ea typeface="ＭＳ Ｐゴシック"/>
                <a:cs typeface="ＭＳ Ｐゴシック"/>
              </a:defRPr>
            </a:lvl1pPr>
          </a:lstStyle>
          <a:p>
            <a:pPr lvl="0"/>
            <a:r>
              <a:rPr lang="en-US"/>
              <a:t>Click to edit Master text styles</a:t>
            </a:r>
          </a:p>
        </p:txBody>
      </p:sp>
      <p:sp>
        <p:nvSpPr>
          <p:cNvPr id="53" name="Content Placeholder 52"/>
          <p:cNvSpPr>
            <a:spLocks noGrp="1"/>
          </p:cNvSpPr>
          <p:nvPr>
            <p:ph sz="quarter" idx="12"/>
          </p:nvPr>
        </p:nvSpPr>
        <p:spPr>
          <a:xfrm>
            <a:off x="6280150" y="3842381"/>
            <a:ext cx="2487613" cy="165226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dirty="0"/>
              <a:t>Click to edit Master text styles</a:t>
            </a:r>
          </a:p>
          <a:p>
            <a:pPr lvl="1"/>
            <a:r>
              <a:rPr lang="en-US" dirty="0"/>
              <a:t>Second level</a:t>
            </a:r>
          </a:p>
        </p:txBody>
      </p:sp>
      <p:sp>
        <p:nvSpPr>
          <p:cNvPr id="47" name="Rectangle 176"/>
          <p:cNvSpPr>
            <a:spLocks noGrp="1" noChangeArrowheads="1"/>
          </p:cNvSpPr>
          <p:nvPr>
            <p:ph type="ftr" sz="quarter" idx="13"/>
          </p:nvPr>
        </p:nvSpPr>
        <p:spPr>
          <a:xfrm>
            <a:off x="281401" y="5877558"/>
            <a:ext cx="6014623" cy="260350"/>
          </a:xfrm>
        </p:spPr>
        <p:txBody>
          <a:bodyPr anchor="b" anchorCtr="0"/>
          <a:lstStyle>
            <a:lvl1pPr algn="l">
              <a:defRPr sz="800" b="0" smtClean="0">
                <a:solidFill>
                  <a:srgbClr val="000000"/>
                </a:solidFill>
              </a:defRPr>
            </a:lvl1pPr>
          </a:lstStyle>
          <a:p>
            <a:pPr>
              <a:defRPr/>
            </a:pPr>
            <a:r>
              <a:rPr lang="en-US" b="1" dirty="0"/>
              <a:t>Insert disclosures. </a:t>
            </a:r>
          </a:p>
          <a:p>
            <a:pPr>
              <a:defRPr/>
            </a:pPr>
            <a:r>
              <a:rPr lang="en-US" dirty="0"/>
              <a:t>Insert disclosures.</a:t>
            </a:r>
          </a:p>
          <a:p>
            <a:pPr>
              <a:defRPr/>
            </a:pPr>
            <a:r>
              <a:rPr lang="en-US" b="1" dirty="0"/>
              <a:t>Insert page footer, i.e. For institutional use only.  </a:t>
            </a:r>
            <a:r>
              <a:rPr lang="en-US" dirty="0"/>
              <a:t>l  © 20XX FMR LLC. All rights reserved.</a:t>
            </a:r>
            <a:endParaRPr lang="en-US" b="1" dirty="0"/>
          </a:p>
        </p:txBody>
      </p:sp>
      <p:sp>
        <p:nvSpPr>
          <p:cNvPr id="72" name="Rectangle 6"/>
          <p:cNvSpPr>
            <a:spLocks noGrp="1" noChangeArrowheads="1"/>
          </p:cNvSpPr>
          <p:nvPr>
            <p:ph type="subTitle" idx="1"/>
          </p:nvPr>
        </p:nvSpPr>
        <p:spPr>
          <a:xfrm>
            <a:off x="685251" y="2091765"/>
            <a:ext cx="7805762" cy="563076"/>
          </a:xfrm>
        </p:spPr>
        <p:txBody>
          <a:bodyPr lIns="100584" rIns="100584"/>
          <a:lstStyle>
            <a:lvl1pPr marL="0" indent="0">
              <a:spcBef>
                <a:spcPts val="0"/>
              </a:spcBef>
              <a:defRPr sz="2000" b="0">
                <a:solidFill>
                  <a:srgbClr val="7A9B3D"/>
                </a:solidFill>
              </a:defRPr>
            </a:lvl1pPr>
          </a:lstStyle>
          <a:p>
            <a:r>
              <a:rPr lang="en-US"/>
              <a:t>Click to edit Master subtitle style</a:t>
            </a:r>
            <a:endParaRPr lang="en-US" dirty="0"/>
          </a:p>
        </p:txBody>
      </p:sp>
      <p:sp>
        <p:nvSpPr>
          <p:cNvPr id="74" name="Text Placeholder 43"/>
          <p:cNvSpPr>
            <a:spLocks noGrp="1"/>
          </p:cNvSpPr>
          <p:nvPr>
            <p:ph type="body" sz="quarter" idx="14" hasCustomPrompt="1"/>
          </p:nvPr>
        </p:nvSpPr>
        <p:spPr>
          <a:xfrm>
            <a:off x="685251" y="2581276"/>
            <a:ext cx="7805762" cy="266850"/>
          </a:xfrm>
        </p:spPr>
        <p:txBody>
          <a:bodyPr lIns="100584" rIns="100584"/>
          <a:lstStyle>
            <a:lvl1pPr>
              <a:spcBef>
                <a:spcPts val="0"/>
              </a:spcBef>
              <a:defRPr lang="en-US" sz="1200" b="0" kern="1200" dirty="0" smtClean="0">
                <a:solidFill>
                  <a:srgbClr val="333F48"/>
                </a:solidFill>
                <a:latin typeface="Arial"/>
                <a:ea typeface="ＭＳ Ｐゴシック" pitchFamily="34" charset="-128"/>
                <a:cs typeface="+mn-cs"/>
              </a:defRPr>
            </a:lvl1pPr>
          </a:lstStyle>
          <a:p>
            <a:pPr lvl="0"/>
            <a:r>
              <a:rPr lang="en-US" dirty="0"/>
              <a:t>Date</a:t>
            </a:r>
          </a:p>
        </p:txBody>
      </p:sp>
      <p:sp>
        <p:nvSpPr>
          <p:cNvPr id="39" name="Rectangle 9"/>
          <p:cNvSpPr>
            <a:spLocks noGrp="1" noChangeArrowheads="1"/>
          </p:cNvSpPr>
          <p:nvPr>
            <p:ph type="title" hasCustomPrompt="1"/>
          </p:nvPr>
        </p:nvSpPr>
        <p:spPr bwMode="auto">
          <a:xfrm>
            <a:off x="685252" y="1581072"/>
            <a:ext cx="7820573" cy="5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b" anchorCtr="0" compatLnSpc="1">
            <a:prstTxWarp prst="textNoShape">
              <a:avLst/>
            </a:prstTxWarp>
          </a:bodyPr>
          <a:lstStyle>
            <a:lvl1pPr>
              <a:defRPr sz="3000">
                <a:solidFill>
                  <a:schemeClr val="bg2"/>
                </a:solidFill>
              </a:defRPr>
            </a:lvl1pPr>
          </a:lstStyle>
          <a:p>
            <a:pPr lvl="0"/>
            <a:r>
              <a:rPr lang="en-US" altLang="en-US" dirty="0"/>
              <a:t>Click To Edit Master Title Style</a:t>
            </a:r>
          </a:p>
        </p:txBody>
      </p:sp>
      <p:sp>
        <p:nvSpPr>
          <p:cNvPr id="49" name="Text Box 15"/>
          <p:cNvSpPr txBox="1">
            <a:spLocks noChangeArrowheads="1"/>
          </p:cNvSpPr>
          <p:nvPr userDrawn="1"/>
        </p:nvSpPr>
        <p:spPr bwMode="ltGray">
          <a:xfrm>
            <a:off x="383501" y="5535090"/>
            <a:ext cx="2868716" cy="184652"/>
          </a:xfrm>
          <a:prstGeom prst="rect">
            <a:avLst/>
          </a:prstGeom>
          <a:noFill/>
          <a:ln w="9525">
            <a:solidFill>
              <a:srgbClr val="000000"/>
            </a:solidFill>
            <a:miter lim="800000"/>
            <a:headEnd/>
            <a:tailEnd/>
          </a:ln>
        </p:spPr>
        <p:txBody>
          <a:bodyPr wrap="none" lIns="45711" tIns="45711" rIns="45711" bIns="27427" anchor="ctr">
            <a:spAutoFit/>
          </a:bodyP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nSpc>
                <a:spcPct val="90000"/>
              </a:lnSpc>
              <a:defRPr/>
            </a:pPr>
            <a:r>
              <a:rPr lang="en-US" sz="800" b="1" kern="0" dirty="0">
                <a:solidFill>
                  <a:srgbClr val="000000"/>
                </a:solidFill>
                <a:latin typeface="Arial"/>
                <a:cs typeface="+mn-cs"/>
              </a:rPr>
              <a:t>Not FDIC Insured </a:t>
            </a:r>
            <a:r>
              <a:rPr lang="en-US" sz="800" b="1" kern="0" dirty="0">
                <a:solidFill>
                  <a:srgbClr val="000000"/>
                </a:solidFill>
                <a:latin typeface="Arial"/>
                <a:cs typeface="+mn-cs"/>
                <a:sym typeface="Wingdings" pitchFamily="2" charset="2"/>
              </a:rPr>
              <a:t> May Lose Value  No Bank Guarantee</a:t>
            </a:r>
          </a:p>
        </p:txBody>
      </p:sp>
      <p:sp>
        <p:nvSpPr>
          <p:cNvPr id="4" name="Picture Placeholder 3"/>
          <p:cNvSpPr>
            <a:spLocks noGrp="1"/>
          </p:cNvSpPr>
          <p:nvPr>
            <p:ph type="pic" sz="quarter" idx="15" hasCustomPrompt="1"/>
          </p:nvPr>
        </p:nvSpPr>
        <p:spPr>
          <a:xfrm>
            <a:off x="714375" y="4533900"/>
            <a:ext cx="2457450" cy="485775"/>
          </a:xfrm>
        </p:spPr>
        <p:txBody>
          <a:bodyPr/>
          <a:lstStyle>
            <a:lvl1pPr>
              <a:defRPr sz="1000" b="0" baseline="0">
                <a:solidFill>
                  <a:schemeClr val="tx1"/>
                </a:solidFill>
              </a:defRPr>
            </a:lvl1pPr>
          </a:lstStyle>
          <a:p>
            <a:r>
              <a:rPr lang="en-US" dirty="0"/>
              <a:t>Click icon to add logo</a:t>
            </a:r>
          </a:p>
        </p:txBody>
      </p:sp>
    </p:spTree>
    <p:extLst>
      <p:ext uri="{BB962C8B-B14F-4D97-AF65-F5344CB8AC3E}">
        <p14:creationId xmlns:p14="http://schemas.microsoft.com/office/powerpoint/2010/main" val="90647773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1"/>
          </p:nvPr>
        </p:nvSpPr>
        <p:spPr/>
        <p:txBody>
          <a:bodyPr/>
          <a:lstStyle/>
          <a:p>
            <a:pPr>
              <a:defRPr/>
            </a:pPr>
            <a:endParaRPr lang="en-US" dirty="0"/>
          </a:p>
        </p:txBody>
      </p:sp>
      <p:sp>
        <p:nvSpPr>
          <p:cNvPr id="5" name="Footer Placeholder 4"/>
          <p:cNvSpPr>
            <a:spLocks noGrp="1"/>
          </p:cNvSpPr>
          <p:nvPr>
            <p:ph type="ftr" sz="quarter" idx="12"/>
          </p:nvPr>
        </p:nvSpPr>
        <p:spPr/>
        <p:txBody>
          <a:bodyPr/>
          <a:lstStyle/>
          <a:p>
            <a:pPr>
              <a:defRPr/>
            </a:pPr>
            <a:r>
              <a:rPr lang="en-US"/>
              <a:t>For institutional use only.</a:t>
            </a:r>
            <a:endParaRPr lang="en-US" dirty="0"/>
          </a:p>
        </p:txBody>
      </p:sp>
      <p:sp>
        <p:nvSpPr>
          <p:cNvPr id="7" name="Content Placeholder 2"/>
          <p:cNvSpPr>
            <a:spLocks noGrp="1"/>
          </p:cNvSpPr>
          <p:nvPr>
            <p:ph idx="13"/>
          </p:nvPr>
        </p:nvSpPr>
        <p:spPr>
          <a:xfrm>
            <a:off x="769938" y="1352551"/>
            <a:ext cx="8032749" cy="4710112"/>
          </a:xfrm>
        </p:spPr>
        <p:txBody>
          <a:bodyPr lIns="0"/>
          <a:lstStyle>
            <a:lvl1pPr marL="0" indent="0" algn="l" rtl="0" fontAlgn="base">
              <a:spcBef>
                <a:spcPts val="480"/>
              </a:spcBef>
              <a:spcAft>
                <a:spcPct val="0"/>
              </a:spcAft>
              <a:buSzPct val="40000"/>
              <a:defRPr lang="en-US" sz="1600" b="1" dirty="0" smtClean="0">
                <a:solidFill>
                  <a:schemeClr val="accent1"/>
                </a:solidFill>
                <a:latin typeface="+mn-lt"/>
                <a:ea typeface="+mn-ea"/>
                <a:cs typeface="+mn-cs"/>
              </a:defRPr>
            </a:lvl1pPr>
            <a:lvl2pPr>
              <a:spcBef>
                <a:spcPts val="2000"/>
              </a:spcBef>
              <a:defRPr lang="en-US" dirty="0" smtClean="0">
                <a:solidFill>
                  <a:schemeClr val="tx1"/>
                </a:solidFill>
                <a:latin typeface="+mn-lt"/>
              </a:defRPr>
            </a:lvl2pPr>
            <a:lvl3pPr>
              <a:defRPr lang="en-US" sz="1600" dirty="0" smtClean="0">
                <a:solidFill>
                  <a:schemeClr val="accent1"/>
                </a:solidFill>
                <a:latin typeface="+mn-lt"/>
              </a:defRPr>
            </a:lvl3pPr>
            <a:lvl4pPr>
              <a:buClr>
                <a:schemeClr val="bg2"/>
              </a:buClr>
              <a:buSzPct val="80000"/>
              <a:buFont typeface="Arial" pitchFamily="34" charset="0"/>
              <a:buChar char="•"/>
              <a:defRPr sz="1400">
                <a:solidFill>
                  <a:schemeClr val="accent1"/>
                </a:solidFill>
              </a:defRPr>
            </a:lvl4pPr>
          </a:lstStyle>
          <a:p>
            <a:pPr lvl="0"/>
            <a:r>
              <a:rPr lang="en-US"/>
              <a:t>Click to edit Master text styles</a:t>
            </a:r>
          </a:p>
        </p:txBody>
      </p:sp>
      <p:sp>
        <p:nvSpPr>
          <p:cNvPr id="8" name="Slide Number Placeholder 3"/>
          <p:cNvSpPr>
            <a:spLocks noGrp="1"/>
          </p:cNvSpPr>
          <p:nvPr>
            <p:ph type="sldNum" sz="quarter" idx="14"/>
          </p:nvPr>
        </p:nvSpPr>
        <p:spPr>
          <a:xfrm>
            <a:off x="390525" y="6348413"/>
            <a:ext cx="446088" cy="344487"/>
          </a:xfrm>
        </p:spPr>
        <p:txBody>
          <a:bodyPr/>
          <a:lstStyle>
            <a:lvl1pPr>
              <a:defRPr/>
            </a:lvl1pPr>
          </a:lstStyle>
          <a:p>
            <a:pPr>
              <a:defRPr/>
            </a:pPr>
            <a:fld id="{287592CB-37D3-4196-AC6E-CD3990F28521}" type="slidenum">
              <a:rPr lang="en-US" smtClean="0"/>
              <a:pPr>
                <a:defRPr/>
              </a:pPr>
              <a:t>‹#›</a:t>
            </a:fld>
            <a:endParaRPr lang="en-US" dirty="0"/>
          </a:p>
        </p:txBody>
      </p:sp>
    </p:spTree>
    <p:extLst>
      <p:ext uri="{BB962C8B-B14F-4D97-AF65-F5344CB8AC3E}">
        <p14:creationId xmlns:p14="http://schemas.microsoft.com/office/powerpoint/2010/main" val="409795111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1_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667512" y="228600"/>
            <a:ext cx="8229600" cy="841248"/>
          </a:xfrm>
        </p:spPr>
        <p:txBody>
          <a:bodyPr/>
          <a:lstStyle/>
          <a:p>
            <a:r>
              <a:rPr lang="en-US"/>
              <a:t>Click to edit Master title style</a:t>
            </a:r>
            <a:endParaRPr lang="en-US" dirty="0"/>
          </a:p>
        </p:txBody>
      </p:sp>
      <p:sp>
        <p:nvSpPr>
          <p:cNvPr id="9" name="Footer Placeholder 4"/>
          <p:cNvSpPr>
            <a:spLocks noGrp="1"/>
          </p:cNvSpPr>
          <p:nvPr>
            <p:ph type="ftr" sz="quarter" idx="15"/>
          </p:nvPr>
        </p:nvSpPr>
        <p:spPr/>
        <p:txBody>
          <a:bodyPr/>
          <a:lstStyle>
            <a:lvl1pPr>
              <a:defRPr smtClean="0"/>
            </a:lvl1pPr>
          </a:lstStyle>
          <a:p>
            <a:pPr>
              <a:defRPr/>
            </a:pPr>
            <a:r>
              <a:rPr lang="en-US"/>
              <a:t>For institutional use only.</a:t>
            </a:r>
            <a:endParaRPr lang="en-US" dirty="0"/>
          </a:p>
        </p:txBody>
      </p:sp>
      <p:sp>
        <p:nvSpPr>
          <p:cNvPr id="10" name="Rectangle 155"/>
          <p:cNvSpPr>
            <a:spLocks noGrp="1" noChangeArrowheads="1"/>
          </p:cNvSpPr>
          <p:nvPr>
            <p:ph type="dt" sz="half" idx="16"/>
          </p:nvPr>
        </p:nvSpPr>
        <p:spPr/>
        <p:txBody>
          <a:bodyPr/>
          <a:lstStyle>
            <a:lvl1pPr algn="l">
              <a:defRPr sz="700" smtClean="0">
                <a:solidFill>
                  <a:srgbClr val="172934"/>
                </a:solidFill>
              </a:defRPr>
            </a:lvl1pPr>
          </a:lstStyle>
          <a:p>
            <a:pPr>
              <a:defRPr/>
            </a:pPr>
            <a:endParaRPr lang="en-US" dirty="0"/>
          </a:p>
        </p:txBody>
      </p:sp>
      <p:sp>
        <p:nvSpPr>
          <p:cNvPr id="8" name="Slide Number Placeholder 3"/>
          <p:cNvSpPr>
            <a:spLocks noGrp="1"/>
          </p:cNvSpPr>
          <p:nvPr>
            <p:ph type="sldNum" sz="quarter" idx="14"/>
          </p:nvPr>
        </p:nvSpPr>
        <p:spPr>
          <a:xfrm>
            <a:off x="390525" y="6348413"/>
            <a:ext cx="446088" cy="344487"/>
          </a:xfrm>
        </p:spPr>
        <p:txBody>
          <a:bodyPr/>
          <a:lstStyle>
            <a:lvl1pPr>
              <a:defRPr/>
            </a:lvl1pPr>
          </a:lstStyle>
          <a:p>
            <a:pPr>
              <a:defRPr/>
            </a:pPr>
            <a:fld id="{287592CB-37D3-4196-AC6E-CD3990F28521}" type="slidenum">
              <a:rPr lang="en-US" smtClean="0"/>
              <a:pPr>
                <a:defRPr/>
              </a:pPr>
              <a:t>‹#›</a:t>
            </a:fld>
            <a:endParaRPr lang="en-US" dirty="0"/>
          </a:p>
        </p:txBody>
      </p:sp>
      <p:sp>
        <p:nvSpPr>
          <p:cNvPr id="11" name="Content Placeholder 2"/>
          <p:cNvSpPr>
            <a:spLocks noGrp="1"/>
          </p:cNvSpPr>
          <p:nvPr>
            <p:ph idx="12"/>
          </p:nvPr>
        </p:nvSpPr>
        <p:spPr>
          <a:xfrm>
            <a:off x="769938" y="1352551"/>
            <a:ext cx="8032749" cy="4710112"/>
          </a:xfrm>
        </p:spPr>
        <p:txBody>
          <a:bodyPr lIns="0"/>
          <a:lstStyle>
            <a:lvl1pPr marL="0" indent="0" algn="l" rtl="0" fontAlgn="base">
              <a:spcBef>
                <a:spcPts val="480"/>
              </a:spcBef>
              <a:spcAft>
                <a:spcPct val="0"/>
              </a:spcAft>
              <a:buSzPct val="40000"/>
              <a:defRPr lang="en-US" sz="1600" b="1" dirty="0" smtClean="0">
                <a:solidFill>
                  <a:schemeClr val="accent1"/>
                </a:solidFill>
                <a:latin typeface="+mn-lt"/>
                <a:ea typeface="+mn-ea"/>
                <a:cs typeface="+mn-cs"/>
              </a:defRPr>
            </a:lvl1pPr>
            <a:lvl2pPr>
              <a:spcBef>
                <a:spcPts val="288"/>
              </a:spcBef>
              <a:defRPr lang="en-US" dirty="0" smtClean="0">
                <a:solidFill>
                  <a:schemeClr val="tx1"/>
                </a:solidFill>
                <a:latin typeface="+mn-lt"/>
              </a:defRPr>
            </a:lvl2pPr>
            <a:lvl3pPr>
              <a:defRPr lang="en-US" sz="1200" dirty="0" smtClean="0">
                <a:solidFill>
                  <a:schemeClr val="accent1"/>
                </a:solidFill>
                <a:latin typeface="+mn-lt"/>
              </a:defRPr>
            </a:lvl3pPr>
            <a:lvl4pPr>
              <a:buClr>
                <a:srgbClr val="4C5F6C"/>
              </a:buClr>
              <a:buSzPct val="100000"/>
              <a:buFont typeface="Arial" pitchFamily="34" charset="0"/>
              <a:buChar char="•"/>
              <a:defRPr sz="1200">
                <a:solidFill>
                  <a:srgbClr val="4C5F6C"/>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78873172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FIAM_External_Print_Cover">
    <p:spTree>
      <p:nvGrpSpPr>
        <p:cNvPr id="1" name=""/>
        <p:cNvGrpSpPr/>
        <p:nvPr/>
      </p:nvGrpSpPr>
      <p:grpSpPr>
        <a:xfrm>
          <a:off x="0" y="0"/>
          <a:ext cx="0" cy="0"/>
          <a:chOff x="0" y="0"/>
          <a:chExt cx="0" cy="0"/>
        </a:xfrm>
      </p:grpSpPr>
      <p:pic>
        <p:nvPicPr>
          <p:cNvPr id="45" name="Picture 4" descr="C:\Users\a216024\Desktop\stuff\_PPT_107\PowerPoint_Templates_Samples\_10x7.5_Templates\NEW_FIAM\Covers_secondary_slides\2-7_Covers\LightGray_grayscale.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12688" b="17606"/>
          <a:stretch/>
        </p:blipFill>
        <p:spPr bwMode="auto">
          <a:xfrm>
            <a:off x="0" y="0"/>
            <a:ext cx="9144000" cy="3646714"/>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5" descr="C:\Users\a216024\Desktop\stuff\_PPT_107\PowerPoint_Templates_Samples\_10x7.5_Templates\NEW_FIAM\Covers_secondary_slides\2-7_Covers\ColorBar.png"/>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l="1379" r="1716"/>
          <a:stretch/>
        </p:blipFill>
        <p:spPr bwMode="auto">
          <a:xfrm>
            <a:off x="0" y="3481388"/>
            <a:ext cx="9144000" cy="219075"/>
          </a:xfrm>
          <a:prstGeom prst="rect">
            <a:avLst/>
          </a:prstGeom>
          <a:noFill/>
          <a:extLst>
            <a:ext uri="{909E8E84-426E-40DD-AFC4-6F175D3DCCD1}">
              <a14:hiddenFill xmlns:a14="http://schemas.microsoft.com/office/drawing/2010/main">
                <a:solidFill>
                  <a:srgbClr val="FFFFFF"/>
                </a:solidFill>
              </a14:hiddenFill>
            </a:ext>
          </a:extLst>
        </p:spPr>
      </p:pic>
      <p:grpSp>
        <p:nvGrpSpPr>
          <p:cNvPr id="80" name="Group 79"/>
          <p:cNvGrpSpPr/>
          <p:nvPr userDrawn="1"/>
        </p:nvGrpSpPr>
        <p:grpSpPr>
          <a:xfrm>
            <a:off x="6970734" y="6128901"/>
            <a:ext cx="1839928" cy="396052"/>
            <a:chOff x="6923088" y="4475163"/>
            <a:chExt cx="1873251" cy="403225"/>
          </a:xfrm>
        </p:grpSpPr>
        <p:sp>
          <p:nvSpPr>
            <p:cNvPr id="81" name="AutoShape 4"/>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2" name="Freeform 6"/>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3" name="Freeform 7"/>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4" name="Freeform 83"/>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5" name="Freeform 84"/>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6" name="Freeform 85"/>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7" name="Freeform 86"/>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8" name="Freeform 87"/>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89" name="Freeform 88"/>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0" name="Freeform 89"/>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1" name="Freeform 90"/>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2" name="Freeform 91"/>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3" name="Freeform 92"/>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4" name="Freeform 93"/>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5" name="Freeform 94"/>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6" name="Freeform 95"/>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7" name="Freeform 96"/>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8" name="Freeform 97"/>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99" name="Freeform 98"/>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0" name="Freeform 99"/>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1" name="Freeform 100"/>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2" name="Freeform 101"/>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3" name="Freeform 102"/>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4" name="Freeform 103"/>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5" name="Freeform 104"/>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06" name="Freeform 105"/>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44" name="Text Placeholder 43"/>
          <p:cNvSpPr>
            <a:spLocks noGrp="1"/>
          </p:cNvSpPr>
          <p:nvPr>
            <p:ph type="body" sz="quarter" idx="10"/>
          </p:nvPr>
        </p:nvSpPr>
        <p:spPr>
          <a:xfrm>
            <a:off x="715495" y="3833787"/>
            <a:ext cx="2455544" cy="332365"/>
          </a:xfrm>
        </p:spPr>
        <p:txBody>
          <a:bodyPr/>
          <a:lstStyle>
            <a:lvl1pPr>
              <a:defRPr lang="en-US" sz="1000" b="0" kern="1200" smtClean="0">
                <a:solidFill>
                  <a:srgbClr val="000000"/>
                </a:solidFill>
                <a:latin typeface="Arial"/>
                <a:ea typeface="ＭＳ Ｐゴシック"/>
                <a:cs typeface="ＭＳ Ｐゴシック"/>
              </a:defRPr>
            </a:lvl1pPr>
          </a:lstStyle>
          <a:p>
            <a:pPr lvl="0"/>
            <a:r>
              <a:rPr lang="en-US"/>
              <a:t>Click to edit Master text styles</a:t>
            </a:r>
          </a:p>
        </p:txBody>
      </p:sp>
      <p:sp>
        <p:nvSpPr>
          <p:cNvPr id="53" name="Content Placeholder 52"/>
          <p:cNvSpPr>
            <a:spLocks noGrp="1"/>
          </p:cNvSpPr>
          <p:nvPr>
            <p:ph sz="quarter" idx="12"/>
          </p:nvPr>
        </p:nvSpPr>
        <p:spPr>
          <a:xfrm>
            <a:off x="6280150" y="3842381"/>
            <a:ext cx="2487613" cy="165226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47" name="Rectangle 176"/>
          <p:cNvSpPr>
            <a:spLocks noGrp="1" noChangeArrowheads="1"/>
          </p:cNvSpPr>
          <p:nvPr>
            <p:ph type="ftr" sz="quarter" idx="13"/>
          </p:nvPr>
        </p:nvSpPr>
        <p:spPr>
          <a:xfrm>
            <a:off x="281401" y="5877558"/>
            <a:ext cx="6014623" cy="260350"/>
          </a:xfrm>
        </p:spPr>
        <p:txBody>
          <a:bodyPr anchor="b" anchorCtr="0"/>
          <a:lstStyle>
            <a:lvl1pPr algn="l">
              <a:defRPr sz="800" b="0" smtClean="0">
                <a:solidFill>
                  <a:srgbClr val="000000"/>
                </a:solidFill>
              </a:defRPr>
            </a:lvl1pPr>
          </a:lstStyle>
          <a:p>
            <a:pPr>
              <a:defRPr/>
            </a:pPr>
            <a:r>
              <a:rPr lang="en-US" b="1"/>
              <a:t>For institutional use only.</a:t>
            </a:r>
            <a:endParaRPr lang="en-US" b="1" dirty="0"/>
          </a:p>
        </p:txBody>
      </p:sp>
      <p:sp>
        <p:nvSpPr>
          <p:cNvPr id="72" name="Rectangle 6"/>
          <p:cNvSpPr>
            <a:spLocks noGrp="1" noChangeArrowheads="1"/>
          </p:cNvSpPr>
          <p:nvPr>
            <p:ph type="subTitle" idx="1"/>
          </p:nvPr>
        </p:nvSpPr>
        <p:spPr>
          <a:xfrm>
            <a:off x="685251" y="2091765"/>
            <a:ext cx="7805762" cy="563076"/>
          </a:xfrm>
        </p:spPr>
        <p:txBody>
          <a:bodyPr lIns="100584" rIns="100584"/>
          <a:lstStyle>
            <a:lvl1pPr marL="0" indent="0">
              <a:spcBef>
                <a:spcPts val="0"/>
              </a:spcBef>
              <a:defRPr sz="2000" b="0">
                <a:solidFill>
                  <a:srgbClr val="7A9B3D"/>
                </a:solidFill>
              </a:defRPr>
            </a:lvl1pPr>
          </a:lstStyle>
          <a:p>
            <a:r>
              <a:rPr lang="en-US"/>
              <a:t>Click to edit Master subtitle style</a:t>
            </a:r>
            <a:endParaRPr lang="en-US" dirty="0"/>
          </a:p>
        </p:txBody>
      </p:sp>
      <p:sp>
        <p:nvSpPr>
          <p:cNvPr id="74" name="Text Placeholder 43"/>
          <p:cNvSpPr>
            <a:spLocks noGrp="1"/>
          </p:cNvSpPr>
          <p:nvPr>
            <p:ph type="body" sz="quarter" idx="14" hasCustomPrompt="1"/>
          </p:nvPr>
        </p:nvSpPr>
        <p:spPr>
          <a:xfrm>
            <a:off x="685251" y="2581276"/>
            <a:ext cx="7805762" cy="266850"/>
          </a:xfrm>
        </p:spPr>
        <p:txBody>
          <a:bodyPr lIns="100584" rIns="100584"/>
          <a:lstStyle>
            <a:lvl1pPr>
              <a:spcBef>
                <a:spcPts val="0"/>
              </a:spcBef>
              <a:defRPr lang="en-US" sz="1200" b="0" kern="1200" dirty="0" smtClean="0">
                <a:solidFill>
                  <a:srgbClr val="333F48"/>
                </a:solidFill>
                <a:latin typeface="Arial"/>
                <a:ea typeface="ＭＳ Ｐゴシック" pitchFamily="34" charset="-128"/>
                <a:cs typeface="+mn-cs"/>
              </a:defRPr>
            </a:lvl1pPr>
          </a:lstStyle>
          <a:p>
            <a:pPr lvl="0"/>
            <a:r>
              <a:rPr lang="en-US" dirty="0"/>
              <a:t>Date</a:t>
            </a:r>
          </a:p>
        </p:txBody>
      </p:sp>
      <p:sp>
        <p:nvSpPr>
          <p:cNvPr id="79" name="Picture Placeholder 47"/>
          <p:cNvSpPr txBox="1">
            <a:spLocks/>
          </p:cNvSpPr>
          <p:nvPr userDrawn="1"/>
        </p:nvSpPr>
        <p:spPr>
          <a:xfrm>
            <a:off x="804558" y="4104114"/>
            <a:ext cx="2424112" cy="609600"/>
          </a:xfrm>
          <a:prstGeom prst="rect">
            <a:avLst/>
          </a:prstGeom>
          <a:solidFill>
            <a:schemeClr val="bg1">
              <a:lumMod val="95000"/>
            </a:schemeClr>
          </a:solidFill>
        </p:spPr>
        <p:txBody>
          <a:bodyPr anchor="ctr"/>
          <a:lstStyle>
            <a:lvl1pPr marL="0" indent="0" algn="l" rtl="0" eaLnBrk="0" fontAlgn="base" hangingPunct="0">
              <a:spcBef>
                <a:spcPct val="20000"/>
              </a:spcBef>
              <a:spcAft>
                <a:spcPct val="0"/>
              </a:spcAft>
              <a:buClr>
                <a:schemeClr val="bg1"/>
              </a:buClr>
              <a:buNone/>
              <a:tabLst>
                <a:tab pos="120626" algn="l"/>
                <a:tab pos="299978" algn="l"/>
                <a:tab pos="1034844" algn="l"/>
              </a:tabLst>
              <a:defRPr sz="1000" b="0">
                <a:solidFill>
                  <a:schemeClr val="accent1"/>
                </a:solidFill>
                <a:latin typeface="+mn-lt"/>
                <a:ea typeface="+mn-ea"/>
                <a:cs typeface="+mn-cs"/>
              </a:defRPr>
            </a:lvl1pPr>
            <a:lvl2pPr marL="169828" indent="0" algn="l" rtl="0" eaLnBrk="0" fontAlgn="base" hangingPunct="0">
              <a:spcBef>
                <a:spcPct val="20000"/>
              </a:spcBef>
              <a:spcAft>
                <a:spcPct val="0"/>
              </a:spcAft>
              <a:buClr>
                <a:schemeClr val="bg1"/>
              </a:buClr>
              <a:buFont typeface="Arial" pitchFamily="34" charset="0"/>
              <a:buNone/>
              <a:tabLst>
                <a:tab pos="120626" algn="l"/>
                <a:tab pos="299978" algn="l"/>
                <a:tab pos="1034844" algn="l"/>
              </a:tabLst>
              <a:defRPr sz="1200" b="1">
                <a:solidFill>
                  <a:schemeClr val="accent2"/>
                </a:solidFill>
                <a:latin typeface="+mn-lt"/>
              </a:defRPr>
            </a:lvl2pPr>
            <a:lvl3pPr marL="326960" indent="0" algn="l" rtl="0" eaLnBrk="0" fontAlgn="base" hangingPunct="0">
              <a:spcBef>
                <a:spcPct val="20000"/>
              </a:spcBef>
              <a:spcAft>
                <a:spcPct val="0"/>
              </a:spcAft>
              <a:buClr>
                <a:schemeClr val="bg1"/>
              </a:buClr>
              <a:buNone/>
              <a:tabLst>
                <a:tab pos="120626" algn="l"/>
                <a:tab pos="299978" algn="l"/>
                <a:tab pos="1034844" algn="l"/>
              </a:tabLst>
              <a:defRPr sz="1200" b="1">
                <a:solidFill>
                  <a:schemeClr val="accent2"/>
                </a:solidFill>
                <a:latin typeface="+mn-lt"/>
              </a:defRPr>
            </a:lvl3pPr>
            <a:lvl4pPr marL="914218" indent="-114277" algn="l" rtl="0" eaLnBrk="0" fontAlgn="base" hangingPunct="0">
              <a:spcBef>
                <a:spcPct val="20000"/>
              </a:spcBef>
              <a:spcAft>
                <a:spcPct val="0"/>
              </a:spcAft>
              <a:buClr>
                <a:schemeClr val="accent1"/>
              </a:buClr>
              <a:buChar char="•"/>
              <a:tabLst>
                <a:tab pos="120626" algn="l"/>
                <a:tab pos="299978" algn="l"/>
                <a:tab pos="1034844" algn="l"/>
              </a:tabLst>
              <a:defRPr sz="1600" b="1">
                <a:solidFill>
                  <a:schemeClr val="tx1"/>
                </a:solidFill>
                <a:latin typeface="+mn-lt"/>
              </a:defRPr>
            </a:lvl4pPr>
            <a:lvl5pPr marL="1142772" indent="-114277" algn="l" rtl="0" eaLnBrk="0" fontAlgn="base" hangingPunct="0">
              <a:spcBef>
                <a:spcPct val="20000"/>
              </a:spcBef>
              <a:spcAft>
                <a:spcPct val="0"/>
              </a:spcAft>
              <a:buClr>
                <a:schemeClr val="accent1"/>
              </a:buClr>
              <a:buChar char="•"/>
              <a:tabLst>
                <a:tab pos="120626" algn="l"/>
                <a:tab pos="299978" algn="l"/>
                <a:tab pos="1034844" algn="l"/>
              </a:tabLst>
              <a:defRPr sz="1600" b="1">
                <a:solidFill>
                  <a:schemeClr val="tx1"/>
                </a:solidFill>
                <a:latin typeface="+mn-lt"/>
              </a:defRPr>
            </a:lvl5pPr>
            <a:lvl6pPr marL="2514096" indent="-228554" algn="l" rtl="0" fontAlgn="base">
              <a:spcBef>
                <a:spcPct val="20000"/>
              </a:spcBef>
              <a:spcAft>
                <a:spcPct val="0"/>
              </a:spcAft>
              <a:buChar char="»"/>
              <a:defRPr sz="2000">
                <a:solidFill>
                  <a:schemeClr val="tx1"/>
                </a:solidFill>
                <a:latin typeface="+mn-lt"/>
              </a:defRPr>
            </a:lvl6pPr>
            <a:lvl7pPr marL="2971205" indent="-228554" algn="l" rtl="0" fontAlgn="base">
              <a:spcBef>
                <a:spcPct val="20000"/>
              </a:spcBef>
              <a:spcAft>
                <a:spcPct val="0"/>
              </a:spcAft>
              <a:buChar char="»"/>
              <a:defRPr sz="2000">
                <a:solidFill>
                  <a:schemeClr val="tx1"/>
                </a:solidFill>
                <a:latin typeface="+mn-lt"/>
              </a:defRPr>
            </a:lvl7pPr>
            <a:lvl8pPr marL="3428314" indent="-228554" algn="l" rtl="0" fontAlgn="base">
              <a:spcBef>
                <a:spcPct val="20000"/>
              </a:spcBef>
              <a:spcAft>
                <a:spcPct val="0"/>
              </a:spcAft>
              <a:buChar char="»"/>
              <a:defRPr sz="2000">
                <a:solidFill>
                  <a:schemeClr val="tx1"/>
                </a:solidFill>
                <a:latin typeface="+mn-lt"/>
              </a:defRPr>
            </a:lvl8pPr>
            <a:lvl9pPr marL="3885423" indent="-228554" algn="l" rtl="0" fontAlgn="base">
              <a:spcBef>
                <a:spcPct val="20000"/>
              </a:spcBef>
              <a:spcAft>
                <a:spcPct val="0"/>
              </a:spcAft>
              <a:buChar char="»"/>
              <a:defRPr sz="2000">
                <a:solidFill>
                  <a:schemeClr val="tx1"/>
                </a:solidFill>
                <a:latin typeface="+mn-lt"/>
              </a:defRPr>
            </a:lvl9pPr>
          </a:lstStyle>
          <a:p>
            <a:pPr>
              <a:buClr>
                <a:srgbClr val="FFFFFF"/>
              </a:buClr>
            </a:pPr>
            <a:r>
              <a:rPr lang="en-US" kern="0" dirty="0">
                <a:solidFill>
                  <a:srgbClr val="FFFFFF">
                    <a:lumMod val="50000"/>
                  </a:srgbClr>
                </a:solidFill>
              </a:rPr>
              <a:t>Click icon to add logo</a:t>
            </a:r>
          </a:p>
        </p:txBody>
      </p:sp>
      <p:sp>
        <p:nvSpPr>
          <p:cNvPr id="39" name="Rectangle 9"/>
          <p:cNvSpPr>
            <a:spLocks noGrp="1" noChangeArrowheads="1"/>
          </p:cNvSpPr>
          <p:nvPr>
            <p:ph type="title" hasCustomPrompt="1"/>
          </p:nvPr>
        </p:nvSpPr>
        <p:spPr bwMode="auto">
          <a:xfrm>
            <a:off x="685252" y="1581072"/>
            <a:ext cx="7820573" cy="5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b" anchorCtr="0" compatLnSpc="1">
            <a:prstTxWarp prst="textNoShape">
              <a:avLst/>
            </a:prstTxWarp>
          </a:bodyPr>
          <a:lstStyle>
            <a:lvl1pPr>
              <a:defRPr sz="3000">
                <a:solidFill>
                  <a:schemeClr val="bg2"/>
                </a:solidFill>
              </a:defRPr>
            </a:lvl1pPr>
          </a:lstStyle>
          <a:p>
            <a:pPr lvl="0"/>
            <a:r>
              <a:rPr lang="en-US" altLang="en-US" dirty="0"/>
              <a:t>Click To Edit Master Title Style</a:t>
            </a:r>
          </a:p>
        </p:txBody>
      </p:sp>
      <p:sp>
        <p:nvSpPr>
          <p:cNvPr id="49" name="Text Box 15"/>
          <p:cNvSpPr txBox="1">
            <a:spLocks noChangeArrowheads="1"/>
          </p:cNvSpPr>
          <p:nvPr userDrawn="1"/>
        </p:nvSpPr>
        <p:spPr bwMode="ltGray">
          <a:xfrm>
            <a:off x="383501" y="5535090"/>
            <a:ext cx="2868716" cy="184652"/>
          </a:xfrm>
          <a:prstGeom prst="rect">
            <a:avLst/>
          </a:prstGeom>
          <a:noFill/>
          <a:ln w="9525">
            <a:solidFill>
              <a:srgbClr val="000000"/>
            </a:solidFill>
            <a:miter lim="800000"/>
            <a:headEnd/>
            <a:tailEnd/>
          </a:ln>
        </p:spPr>
        <p:txBody>
          <a:bodyPr wrap="none" lIns="45711" tIns="45711" rIns="45711" bIns="27427" anchor="ctr">
            <a:spAutoFit/>
          </a:bodyP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fontAlgn="auto">
              <a:lnSpc>
                <a:spcPct val="90000"/>
              </a:lnSpc>
              <a:spcBef>
                <a:spcPts val="0"/>
              </a:spcBef>
              <a:spcAft>
                <a:spcPts val="0"/>
              </a:spcAft>
              <a:defRPr/>
            </a:pPr>
            <a:r>
              <a:rPr lang="en-US" sz="800" b="1" kern="0" dirty="0">
                <a:solidFill>
                  <a:srgbClr val="000000"/>
                </a:solidFill>
                <a:latin typeface="Arial"/>
                <a:cs typeface="+mn-cs"/>
              </a:rPr>
              <a:t>Not FDIC Insured </a:t>
            </a:r>
            <a:r>
              <a:rPr lang="en-US" sz="800" b="1" kern="0" dirty="0">
                <a:solidFill>
                  <a:srgbClr val="000000"/>
                </a:solidFill>
                <a:latin typeface="Arial"/>
                <a:cs typeface="+mn-cs"/>
                <a:sym typeface="Wingdings" pitchFamily="2" charset="2"/>
              </a:rPr>
              <a:t> May Lose Value  No Bank Guarantee</a:t>
            </a:r>
          </a:p>
        </p:txBody>
      </p:sp>
    </p:spTree>
    <p:extLst>
      <p:ext uri="{BB962C8B-B14F-4D97-AF65-F5344CB8AC3E}">
        <p14:creationId xmlns:p14="http://schemas.microsoft.com/office/powerpoint/2010/main" val="52881369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OC/Agenda">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a:noFill/>
          <a:ln w="9525">
            <a:noFill/>
            <a:miter lim="800000"/>
            <a:headEnd/>
            <a:tailEnd/>
          </a:ln>
          <a:effectLst/>
        </p:spPr>
        <p:txBody>
          <a:bodyPr tIns="45720" anchor="t" anchorCtr="0"/>
          <a:lstStyle>
            <a:lvl1pPr>
              <a:defRPr kumimoji="0" lang="en-US" sz="2400" b="0" i="0" u="none" strike="noStrike" kern="0" cap="none" spc="0" normalizeH="0" baseline="0" noProof="0" dirty="0">
                <a:ln>
                  <a:noFill/>
                </a:ln>
                <a:solidFill>
                  <a:srgbClr val="333F48"/>
                </a:solidFill>
                <a:effectLst/>
                <a:uLnTx/>
                <a:uFillTx/>
                <a:latin typeface="+mj-lt"/>
                <a:ea typeface="+mj-ea"/>
                <a:cs typeface="+mj-cs"/>
              </a:defRPr>
            </a:lvl1pPr>
          </a:lstStyle>
          <a:p>
            <a:pPr lvl="0"/>
            <a:r>
              <a:rPr lang="en-US"/>
              <a:t>Click to edit Master title style</a:t>
            </a:r>
            <a:endParaRPr lang="en-US" dirty="0"/>
          </a:p>
        </p:txBody>
      </p:sp>
      <p:sp>
        <p:nvSpPr>
          <p:cNvPr id="10" name="Content Placeholder 9"/>
          <p:cNvSpPr>
            <a:spLocks noGrp="1"/>
          </p:cNvSpPr>
          <p:nvPr>
            <p:ph sz="quarter" idx="13"/>
          </p:nvPr>
        </p:nvSpPr>
        <p:spPr>
          <a:xfrm>
            <a:off x="317115" y="1339850"/>
            <a:ext cx="8188710" cy="4878388"/>
          </a:xfrm>
        </p:spPr>
        <p:txBody>
          <a:bodyPr/>
          <a:lstStyle>
            <a:lvl1pPr marL="227013" indent="-227013">
              <a:spcBef>
                <a:spcPts val="600"/>
              </a:spcBef>
              <a:buClr>
                <a:srgbClr val="7A9B3D"/>
              </a:buClr>
              <a:buSzPct val="100000"/>
              <a:buFont typeface="+mj-lt"/>
              <a:buAutoNum type="arabicPeriod"/>
              <a:defRPr sz="1400" b="0" i="0" baseline="0">
                <a:solidFill>
                  <a:srgbClr val="000000"/>
                </a:solidFill>
                <a:latin typeface="Arial" pitchFamily="34" charset="0"/>
              </a:defRPr>
            </a:lvl1pPr>
            <a:lvl2pPr marL="461963" indent="-217488">
              <a:spcBef>
                <a:spcPts val="600"/>
              </a:spcBef>
              <a:buClr>
                <a:srgbClr val="768692"/>
              </a:buClr>
              <a:buFont typeface="+mj-lt"/>
              <a:buAutoNum type="alphaUcPeriod"/>
              <a:defRPr sz="1200" baseline="0">
                <a:solidFill>
                  <a:srgbClr val="000000"/>
                </a:solidFill>
                <a:latin typeface="Arial" pitchFamily="34" charset="0"/>
              </a:defRPr>
            </a:lvl2pPr>
            <a:lvl3pPr>
              <a:spcBef>
                <a:spcPts val="600"/>
              </a:spcBef>
              <a:buClr>
                <a:srgbClr val="000000"/>
              </a:buClr>
              <a:defRPr baseline="0">
                <a:solidFill>
                  <a:srgbClr val="000000"/>
                </a:solidFill>
              </a:defRPr>
            </a:lvl3pPr>
          </a:lstStyle>
          <a:p>
            <a:pPr lvl="0"/>
            <a:r>
              <a:rPr lang="en-US"/>
              <a:t>Click to edit Master text styles</a:t>
            </a:r>
          </a:p>
          <a:p>
            <a:pPr lvl="1"/>
            <a:r>
              <a:rPr lang="en-US"/>
              <a:t>Second level</a:t>
            </a:r>
          </a:p>
          <a:p>
            <a:pPr lvl="2"/>
            <a:r>
              <a:rPr lang="en-US"/>
              <a:t>Third level</a:t>
            </a:r>
          </a:p>
        </p:txBody>
      </p:sp>
      <p:sp>
        <p:nvSpPr>
          <p:cNvPr id="5"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7"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endParaRPr lang="en-US" dirty="0"/>
          </a:p>
        </p:txBody>
      </p:sp>
      <p:grpSp>
        <p:nvGrpSpPr>
          <p:cNvPr id="8" name="Group 7"/>
          <p:cNvGrpSpPr/>
          <p:nvPr userDrawn="1"/>
        </p:nvGrpSpPr>
        <p:grpSpPr>
          <a:xfrm>
            <a:off x="7364320" y="6412511"/>
            <a:ext cx="1371600" cy="283464"/>
            <a:chOff x="4291013" y="3178175"/>
            <a:chExt cx="3197225" cy="688975"/>
          </a:xfrm>
        </p:grpSpPr>
        <p:sp>
          <p:nvSpPr>
            <p:cNvPr id="9"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1"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2"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3"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4"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5"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6"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7"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8"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9"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0"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1"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2"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3"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4"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5"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6"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7"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8"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9"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0"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1"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2"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3"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4"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Tree>
    <p:extLst>
      <p:ext uri="{BB962C8B-B14F-4D97-AF65-F5344CB8AC3E}">
        <p14:creationId xmlns:p14="http://schemas.microsoft.com/office/powerpoint/2010/main" val="5532003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41248"/>
          </a:xfrm>
        </p:spPr>
        <p:txBody>
          <a:bodyPr/>
          <a:lstStyle>
            <a:lvl1pPr>
              <a:defRPr>
                <a:solidFill>
                  <a:srgbClr val="333F48"/>
                </a:solidFill>
              </a:defRPr>
            </a:lvl1pPr>
          </a:lstStyle>
          <a:p>
            <a:r>
              <a:rPr lang="en-US"/>
              <a:t>Click to edit Master title style</a:t>
            </a:r>
            <a:endParaRPr lang="en-US" dirty="0"/>
          </a:p>
        </p:txBody>
      </p:sp>
      <p:sp>
        <p:nvSpPr>
          <p:cNvPr id="11" name="Content Placeholder 2"/>
          <p:cNvSpPr>
            <a:spLocks noGrp="1"/>
          </p:cNvSpPr>
          <p:nvPr>
            <p:ph idx="12"/>
          </p:nvPr>
        </p:nvSpPr>
        <p:spPr>
          <a:xfrm>
            <a:off x="317115" y="1339850"/>
            <a:ext cx="8188710" cy="4878388"/>
          </a:xfrm>
        </p:spPr>
        <p:txBody>
          <a:bodyPr lIns="91440"/>
          <a:lstStyle>
            <a:lvl1pPr marL="0" indent="0" algn="l" rtl="0" fontAlgn="base">
              <a:spcBef>
                <a:spcPts val="480"/>
              </a:spcBef>
              <a:spcAft>
                <a:spcPct val="0"/>
              </a:spcAft>
              <a:buSzPct val="40000"/>
              <a:defRPr lang="en-US" sz="1600" b="1" dirty="0" smtClean="0">
                <a:solidFill>
                  <a:srgbClr val="7A9B3D"/>
                </a:solidFill>
                <a:latin typeface="+mn-lt"/>
                <a:ea typeface="+mn-ea"/>
                <a:cs typeface="+mn-cs"/>
              </a:defRPr>
            </a:lvl1pPr>
            <a:lvl2pPr marL="114300" indent="-114300">
              <a:spcBef>
                <a:spcPts val="288"/>
              </a:spcBef>
              <a:buClr>
                <a:srgbClr val="7A9B3D"/>
              </a:buClr>
              <a:defRPr lang="en-US" dirty="0" smtClean="0">
                <a:solidFill>
                  <a:srgbClr val="000000"/>
                </a:solidFill>
                <a:latin typeface="+mn-lt"/>
              </a:defRPr>
            </a:lvl2pPr>
            <a:lvl3pPr marL="228600" indent="-114300">
              <a:buClr>
                <a:srgbClr val="768692"/>
              </a:buClr>
              <a:defRPr lang="en-US" sz="1200" dirty="0" smtClean="0">
                <a:solidFill>
                  <a:srgbClr val="000000"/>
                </a:solidFill>
                <a:latin typeface="+mn-lt"/>
              </a:defRPr>
            </a:lvl3pPr>
            <a:lvl4pPr marL="342900" indent="-114300">
              <a:buClr>
                <a:srgbClr val="000000"/>
              </a:buClr>
              <a:buSzPct val="100000"/>
              <a:buFont typeface="Arial" pitchFamily="34" charset="0"/>
              <a:buChar char="•"/>
              <a:defRPr sz="1200">
                <a:solidFill>
                  <a:srgbClr val="000000"/>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13"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a:t>201607-20094</a:t>
            </a:r>
            <a:endParaRPr lang="en-US" dirty="0"/>
          </a:p>
        </p:txBody>
      </p:sp>
      <p:grpSp>
        <p:nvGrpSpPr>
          <p:cNvPr id="14" name="Group 13"/>
          <p:cNvGrpSpPr/>
          <p:nvPr userDrawn="1"/>
        </p:nvGrpSpPr>
        <p:grpSpPr>
          <a:xfrm>
            <a:off x="7364320" y="6412511"/>
            <a:ext cx="1371600" cy="283464"/>
            <a:chOff x="4291013" y="3178175"/>
            <a:chExt cx="3197225" cy="688975"/>
          </a:xfrm>
        </p:grpSpPr>
        <p:sp>
          <p:nvSpPr>
            <p:cNvPr id="15"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40"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192927835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lvl1pPr>
              <a:defRPr>
                <a:solidFill>
                  <a:srgbClr val="333F48"/>
                </a:solidFill>
              </a:defRPr>
            </a:lvl1pPr>
          </a:lstStyle>
          <a:p>
            <a:r>
              <a:rPr lang="en-US"/>
              <a:t>Click to edit Master title style</a:t>
            </a:r>
            <a:endParaRPr lang="en-US" dirty="0"/>
          </a:p>
        </p:txBody>
      </p:sp>
      <p:sp>
        <p:nvSpPr>
          <p:cNvPr id="8"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9"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endParaRPr lang="en-US" dirty="0"/>
          </a:p>
        </p:txBody>
      </p:sp>
      <p:grpSp>
        <p:nvGrpSpPr>
          <p:cNvPr id="10" name="Group 9"/>
          <p:cNvGrpSpPr/>
          <p:nvPr userDrawn="1"/>
        </p:nvGrpSpPr>
        <p:grpSpPr>
          <a:xfrm>
            <a:off x="7364320" y="6412511"/>
            <a:ext cx="1371600" cy="283464"/>
            <a:chOff x="4291013" y="3178175"/>
            <a:chExt cx="3197225" cy="688975"/>
          </a:xfrm>
        </p:grpSpPr>
        <p:sp>
          <p:nvSpPr>
            <p:cNvPr id="11"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2"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3"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4"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5"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6"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7"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8"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9"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0"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1"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2"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3"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4"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5"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6"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7"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8"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9"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0"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1"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2"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3"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4"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5"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36"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135800248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p>
            <a:r>
              <a:rPr lang="en-US"/>
              <a:t>Click to edit Master title style</a:t>
            </a:r>
            <a:endParaRPr lang="en-US" dirty="0"/>
          </a:p>
        </p:txBody>
      </p:sp>
      <p:sp>
        <p:nvSpPr>
          <p:cNvPr id="7" name="Content Placeholder 2"/>
          <p:cNvSpPr>
            <a:spLocks noGrp="1"/>
          </p:cNvSpPr>
          <p:nvPr>
            <p:ph idx="13"/>
          </p:nvPr>
        </p:nvSpPr>
        <p:spPr>
          <a:xfrm>
            <a:off x="317115" y="1339850"/>
            <a:ext cx="8188710" cy="4878388"/>
          </a:xfrm>
        </p:spPr>
        <p:txBody>
          <a:bodyPr lIns="91440"/>
          <a:lstStyle>
            <a:lvl1pPr marL="0" indent="0" algn="l" rtl="0" fontAlgn="base">
              <a:spcBef>
                <a:spcPts val="480"/>
              </a:spcBef>
              <a:spcAft>
                <a:spcPct val="0"/>
              </a:spcAft>
              <a:buSzPct val="40000"/>
              <a:defRPr lang="en-US" sz="1600" b="1" dirty="0" smtClean="0">
                <a:solidFill>
                  <a:schemeClr val="accent3"/>
                </a:solidFill>
                <a:latin typeface="+mn-lt"/>
                <a:ea typeface="+mn-ea"/>
                <a:cs typeface="+mn-cs"/>
              </a:defRPr>
            </a:lvl1pPr>
            <a:lvl2pPr>
              <a:spcBef>
                <a:spcPts val="2000"/>
              </a:spcBef>
              <a:defRPr lang="en-US" dirty="0" smtClean="0">
                <a:solidFill>
                  <a:schemeClr val="tx1"/>
                </a:solidFill>
                <a:latin typeface="+mn-lt"/>
              </a:defRPr>
            </a:lvl2pPr>
            <a:lvl3pPr>
              <a:defRPr lang="en-US" sz="1600" dirty="0" smtClean="0">
                <a:solidFill>
                  <a:schemeClr val="accent1"/>
                </a:solidFill>
                <a:latin typeface="+mn-lt"/>
              </a:defRPr>
            </a:lvl3pPr>
            <a:lvl4pPr>
              <a:buClr>
                <a:schemeClr val="bg2"/>
              </a:buClr>
              <a:buSzPct val="80000"/>
              <a:buFont typeface="Arial" pitchFamily="34" charset="0"/>
              <a:buChar char="•"/>
              <a:defRPr sz="1400">
                <a:solidFill>
                  <a:schemeClr val="accent1"/>
                </a:solidFill>
              </a:defRPr>
            </a:lvl4pPr>
          </a:lstStyle>
          <a:p>
            <a:pPr lvl="0"/>
            <a:r>
              <a:rPr lang="en-US"/>
              <a:t>Click to edit Master text styles</a:t>
            </a:r>
          </a:p>
        </p:txBody>
      </p:sp>
      <p:sp>
        <p:nvSpPr>
          <p:cNvPr id="10"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11"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endParaRPr lang="en-US" dirty="0"/>
          </a:p>
        </p:txBody>
      </p:sp>
      <p:grpSp>
        <p:nvGrpSpPr>
          <p:cNvPr id="12" name="Group 11"/>
          <p:cNvGrpSpPr/>
          <p:nvPr userDrawn="1"/>
        </p:nvGrpSpPr>
        <p:grpSpPr>
          <a:xfrm>
            <a:off x="7364320" y="6412511"/>
            <a:ext cx="1371600" cy="283464"/>
            <a:chOff x="4291013" y="3178175"/>
            <a:chExt cx="3197225" cy="688975"/>
          </a:xfrm>
        </p:grpSpPr>
        <p:sp>
          <p:nvSpPr>
            <p:cNvPr id="13"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4"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5"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6"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7"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8"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9"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0"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1"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2"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3"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4"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5"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6"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7"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8"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9"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0"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1"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2"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3"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4"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5"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6"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7"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38"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259416311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41248"/>
          </a:xfrm>
        </p:spPr>
        <p:txBody>
          <a:bodyPr/>
          <a:lstStyle>
            <a:lvl1pPr>
              <a:defRPr>
                <a:solidFill>
                  <a:srgbClr val="333F48"/>
                </a:solidFill>
              </a:defRPr>
            </a:lvl1pPr>
          </a:lstStyle>
          <a:p>
            <a:r>
              <a:rPr lang="en-US"/>
              <a:t>Click to edit Master title style</a:t>
            </a:r>
            <a:endParaRPr lang="en-US" dirty="0"/>
          </a:p>
        </p:txBody>
      </p:sp>
      <p:sp>
        <p:nvSpPr>
          <p:cNvPr id="11" name="Content Placeholder 2"/>
          <p:cNvSpPr>
            <a:spLocks noGrp="1"/>
          </p:cNvSpPr>
          <p:nvPr>
            <p:ph idx="12"/>
          </p:nvPr>
        </p:nvSpPr>
        <p:spPr>
          <a:xfrm>
            <a:off x="317115" y="1339850"/>
            <a:ext cx="8188710" cy="4878388"/>
          </a:xfrm>
        </p:spPr>
        <p:txBody>
          <a:bodyPr lIns="91440"/>
          <a:lstStyle>
            <a:lvl1pPr marL="0" indent="0" algn="l" rtl="0" fontAlgn="base">
              <a:spcBef>
                <a:spcPts val="480"/>
              </a:spcBef>
              <a:spcAft>
                <a:spcPct val="0"/>
              </a:spcAft>
              <a:buSzPct val="40000"/>
              <a:defRPr lang="en-US" sz="1600" b="1" dirty="0" smtClean="0">
                <a:solidFill>
                  <a:srgbClr val="7A9B3D"/>
                </a:solidFill>
                <a:latin typeface="+mn-lt"/>
                <a:ea typeface="+mn-ea"/>
                <a:cs typeface="+mn-cs"/>
              </a:defRPr>
            </a:lvl1pPr>
            <a:lvl2pPr marL="114300" indent="-114300">
              <a:spcBef>
                <a:spcPts val="288"/>
              </a:spcBef>
              <a:buClr>
                <a:srgbClr val="7A9B3D"/>
              </a:buClr>
              <a:defRPr lang="en-US" dirty="0" smtClean="0">
                <a:solidFill>
                  <a:srgbClr val="000000"/>
                </a:solidFill>
                <a:latin typeface="+mn-lt"/>
              </a:defRPr>
            </a:lvl2pPr>
            <a:lvl3pPr marL="228600" indent="-114300">
              <a:buClr>
                <a:srgbClr val="768692"/>
              </a:buClr>
              <a:defRPr lang="en-US" sz="1200" dirty="0" smtClean="0">
                <a:solidFill>
                  <a:srgbClr val="000000"/>
                </a:solidFill>
                <a:latin typeface="+mn-lt"/>
              </a:defRPr>
            </a:lvl3pPr>
            <a:lvl4pPr marL="342900" indent="-114300">
              <a:buClr>
                <a:srgbClr val="000000"/>
              </a:buClr>
              <a:buSzPct val="100000"/>
              <a:buFont typeface="Arial" pitchFamily="34" charset="0"/>
              <a:buChar char="•"/>
              <a:defRPr sz="1200">
                <a:solidFill>
                  <a:srgbClr val="000000"/>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13"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endParaRPr lang="en-US" dirty="0"/>
          </a:p>
        </p:txBody>
      </p:sp>
      <p:grpSp>
        <p:nvGrpSpPr>
          <p:cNvPr id="14" name="Group 13"/>
          <p:cNvGrpSpPr/>
          <p:nvPr userDrawn="1"/>
        </p:nvGrpSpPr>
        <p:grpSpPr>
          <a:xfrm>
            <a:off x="7364320" y="6412511"/>
            <a:ext cx="1371600" cy="283464"/>
            <a:chOff x="4291013" y="3178175"/>
            <a:chExt cx="3197225" cy="688975"/>
          </a:xfrm>
        </p:grpSpPr>
        <p:sp>
          <p:nvSpPr>
            <p:cNvPr id="15"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6"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7"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8"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9"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0"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1"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2"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3"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4"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5"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6"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7"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8"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9"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0"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1"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2"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3"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4"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5"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6"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7"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8"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9"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40"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240094349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Bulleted List - with subhead">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41248"/>
          </a:xfrm>
        </p:spPr>
        <p:txBody>
          <a:bodyPr/>
          <a:lstStyle/>
          <a:p>
            <a:r>
              <a:rPr lang="en-US"/>
              <a:t>Click to edit Master title style</a:t>
            </a:r>
            <a:endParaRPr lang="en-US" dirty="0"/>
          </a:p>
        </p:txBody>
      </p:sp>
      <p:sp>
        <p:nvSpPr>
          <p:cNvPr id="11" name="Content Placeholder 2"/>
          <p:cNvSpPr>
            <a:spLocks noGrp="1"/>
          </p:cNvSpPr>
          <p:nvPr>
            <p:ph idx="12"/>
          </p:nvPr>
        </p:nvSpPr>
        <p:spPr>
          <a:xfrm>
            <a:off x="317115" y="1339850"/>
            <a:ext cx="8188710" cy="4878388"/>
          </a:xfrm>
        </p:spPr>
        <p:txBody>
          <a:bodyPr lIns="91440"/>
          <a:lstStyle>
            <a:lvl1pPr marL="0" indent="0" algn="l" rtl="0" fontAlgn="base">
              <a:spcBef>
                <a:spcPts val="480"/>
              </a:spcBef>
              <a:spcAft>
                <a:spcPct val="0"/>
              </a:spcAft>
              <a:buSzPct val="40000"/>
              <a:defRPr lang="en-US" sz="1600" b="1" dirty="0" smtClean="0">
                <a:solidFill>
                  <a:srgbClr val="7A9B3D"/>
                </a:solidFill>
                <a:latin typeface="+mn-lt"/>
                <a:ea typeface="+mn-ea"/>
                <a:cs typeface="+mn-cs"/>
              </a:defRPr>
            </a:lvl1pPr>
            <a:lvl2pPr marL="114300" indent="-114300">
              <a:spcBef>
                <a:spcPts val="288"/>
              </a:spcBef>
              <a:buClr>
                <a:srgbClr val="7A9B3D"/>
              </a:buClr>
              <a:defRPr lang="en-US" dirty="0" smtClean="0">
                <a:solidFill>
                  <a:srgbClr val="000000"/>
                </a:solidFill>
                <a:latin typeface="+mn-lt"/>
              </a:defRPr>
            </a:lvl2pPr>
            <a:lvl3pPr marL="228600" indent="-114300">
              <a:buClr>
                <a:srgbClr val="768692"/>
              </a:buClr>
              <a:defRPr lang="en-US" sz="1200" dirty="0" smtClean="0">
                <a:solidFill>
                  <a:srgbClr val="000000"/>
                </a:solidFill>
                <a:latin typeface="+mn-lt"/>
              </a:defRPr>
            </a:lvl3pPr>
            <a:lvl4pPr marL="342900" indent="-114300">
              <a:buClr>
                <a:srgbClr val="000000"/>
              </a:buClr>
              <a:buSzPct val="100000"/>
              <a:buFont typeface="Arial" pitchFamily="34" charset="0"/>
              <a:buChar char="•"/>
              <a:defRPr sz="1200">
                <a:solidFill>
                  <a:srgbClr val="000000"/>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13"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endParaRPr lang="en-US" dirty="0"/>
          </a:p>
        </p:txBody>
      </p:sp>
      <p:grpSp>
        <p:nvGrpSpPr>
          <p:cNvPr id="14" name="Group 13"/>
          <p:cNvGrpSpPr/>
          <p:nvPr userDrawn="1"/>
        </p:nvGrpSpPr>
        <p:grpSpPr>
          <a:xfrm>
            <a:off x="7364320" y="6412511"/>
            <a:ext cx="1371600" cy="283464"/>
            <a:chOff x="4291013" y="3178175"/>
            <a:chExt cx="3197225" cy="688975"/>
          </a:xfrm>
        </p:grpSpPr>
        <p:sp>
          <p:nvSpPr>
            <p:cNvPr id="15"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6"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7"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8"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9"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0"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1"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2"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3"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4"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5"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6"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7"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8"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9"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0"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1"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2"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3"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4"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5"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6"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7"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8"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9"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40"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201363213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Important Information">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lvl1pPr>
              <a:defRPr>
                <a:solidFill>
                  <a:srgbClr val="333F48"/>
                </a:solidFill>
              </a:defRPr>
            </a:lvl1pPr>
          </a:lstStyle>
          <a:p>
            <a:r>
              <a:rPr lang="en-US"/>
              <a:t>Click to edit Master title style</a:t>
            </a:r>
            <a:endParaRPr lang="en-US" dirty="0"/>
          </a:p>
        </p:txBody>
      </p:sp>
      <p:sp>
        <p:nvSpPr>
          <p:cNvPr id="3" name="Content Placeholder 2"/>
          <p:cNvSpPr>
            <a:spLocks noGrp="1"/>
          </p:cNvSpPr>
          <p:nvPr>
            <p:ph idx="1"/>
          </p:nvPr>
        </p:nvSpPr>
        <p:spPr>
          <a:xfrm>
            <a:off x="317115" y="1076325"/>
            <a:ext cx="8188710" cy="4808538"/>
          </a:xfrm>
          <a:noFill/>
          <a:ln w="9525">
            <a:noFill/>
            <a:miter lim="800000"/>
            <a:headEnd/>
            <a:tailEnd/>
          </a:ln>
          <a:effectLst/>
        </p:spPr>
        <p:txBody>
          <a:bodyPr lIns="91440"/>
          <a:lstStyle>
            <a:lvl1pPr marL="0" indent="0" algn="l" rtl="0" eaLnBrk="1" fontAlgn="base" hangingPunct="1">
              <a:spcAft>
                <a:spcPct val="0"/>
              </a:spcAft>
              <a:buSzPct val="40000"/>
              <a:defRPr lang="en-US" sz="1000" b="0" dirty="0" smtClean="0">
                <a:solidFill>
                  <a:srgbClr val="000000"/>
                </a:solidFill>
                <a:latin typeface="+mn-lt"/>
                <a:ea typeface="+mn-ea"/>
                <a:cs typeface="+mn-cs"/>
              </a:defRPr>
            </a:lvl1pPr>
            <a:lvl2pPr marL="0" indent="0" algn="l" rtl="0" eaLnBrk="1" fontAlgn="base" hangingPunct="1">
              <a:spcBef>
                <a:spcPts val="600"/>
              </a:spcBef>
              <a:spcAft>
                <a:spcPct val="0"/>
              </a:spcAft>
              <a:buSzPct val="40000"/>
              <a:buNone/>
              <a:defRPr lang="en-US" sz="1000" b="1" dirty="0">
                <a:solidFill>
                  <a:srgbClr val="000000"/>
                </a:solidFill>
                <a:latin typeface="+mn-lt"/>
                <a:ea typeface="+mn-ea"/>
                <a:cs typeface="+mn-cs"/>
              </a:defRPr>
            </a:lvl2pPr>
          </a:lstStyle>
          <a:p>
            <a:pPr lvl="0"/>
            <a:r>
              <a:rPr lang="en-US"/>
              <a:t>Click to edit Master text styles</a:t>
            </a:r>
          </a:p>
          <a:p>
            <a:pPr lvl="1"/>
            <a:r>
              <a:rPr lang="en-US"/>
              <a:t>Second level</a:t>
            </a:r>
          </a:p>
        </p:txBody>
      </p:sp>
      <p:sp>
        <p:nvSpPr>
          <p:cNvPr id="9"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10"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endParaRPr lang="en-US" dirty="0"/>
          </a:p>
        </p:txBody>
      </p:sp>
      <p:grpSp>
        <p:nvGrpSpPr>
          <p:cNvPr id="11" name="Group 10"/>
          <p:cNvGrpSpPr/>
          <p:nvPr userDrawn="1"/>
        </p:nvGrpSpPr>
        <p:grpSpPr>
          <a:xfrm>
            <a:off x="7364320" y="6412511"/>
            <a:ext cx="1371600" cy="283464"/>
            <a:chOff x="4291013" y="3178175"/>
            <a:chExt cx="3197225" cy="688975"/>
          </a:xfrm>
        </p:grpSpPr>
        <p:sp>
          <p:nvSpPr>
            <p:cNvPr id="12"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3"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4"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5"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6"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7"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8"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9"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0"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1"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2"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3"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4"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5"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6"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7"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8"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9"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0"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1"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2"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3"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4"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5"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6"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37"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415394655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Biography">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p>
            <a:r>
              <a:rPr lang="en-US"/>
              <a:t>Click to edit Master title style</a:t>
            </a:r>
            <a:endParaRPr lang="en-US" dirty="0"/>
          </a:p>
        </p:txBody>
      </p:sp>
      <p:sp>
        <p:nvSpPr>
          <p:cNvPr id="3" name="Content Placeholder 2"/>
          <p:cNvSpPr>
            <a:spLocks noGrp="1"/>
          </p:cNvSpPr>
          <p:nvPr>
            <p:ph idx="1"/>
          </p:nvPr>
        </p:nvSpPr>
        <p:spPr>
          <a:xfrm>
            <a:off x="317115" y="1073258"/>
            <a:ext cx="8188710" cy="439305"/>
          </a:xfrm>
        </p:spPr>
        <p:txBody>
          <a:bodyPr lIns="91440"/>
          <a:lstStyle>
            <a:lvl1pPr marL="0" indent="0">
              <a:spcBef>
                <a:spcPts val="0"/>
              </a:spcBef>
              <a:defRPr lang="en-US" sz="1200" b="1" dirty="0" smtClean="0">
                <a:solidFill>
                  <a:srgbClr val="7A9B3D"/>
                </a:solidFill>
                <a:latin typeface="+mn-lt"/>
                <a:ea typeface="+mn-ea"/>
                <a:cs typeface="+mn-cs"/>
              </a:defRPr>
            </a:lvl1pPr>
            <a:lvl2pPr marL="0" indent="0">
              <a:spcBef>
                <a:spcPts val="0"/>
              </a:spcBef>
              <a:buNone/>
              <a:defRPr sz="1200" b="0" i="1">
                <a:solidFill>
                  <a:srgbClr val="7A9B3D"/>
                </a:solidFill>
              </a:defRPr>
            </a:lvl2pPr>
          </a:lstStyle>
          <a:p>
            <a:pPr lvl="0"/>
            <a:r>
              <a:rPr lang="en-US"/>
              <a:t>Click to edit Master text styles</a:t>
            </a:r>
          </a:p>
          <a:p>
            <a:pPr lvl="1"/>
            <a:r>
              <a:rPr lang="en-US"/>
              <a:t>Second level</a:t>
            </a:r>
          </a:p>
        </p:txBody>
      </p:sp>
      <p:sp>
        <p:nvSpPr>
          <p:cNvPr id="10" name="Content Placeholder 9"/>
          <p:cNvSpPr>
            <a:spLocks noGrp="1"/>
          </p:cNvSpPr>
          <p:nvPr>
            <p:ph sz="quarter" idx="13"/>
          </p:nvPr>
        </p:nvSpPr>
        <p:spPr>
          <a:xfrm>
            <a:off x="317115" y="1526850"/>
            <a:ext cx="8188710" cy="4691387"/>
          </a:xfrm>
        </p:spPr>
        <p:txBody>
          <a:bodyPr lIns="91440"/>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12"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endParaRPr lang="en-US" dirty="0"/>
          </a:p>
        </p:txBody>
      </p:sp>
      <p:grpSp>
        <p:nvGrpSpPr>
          <p:cNvPr id="13" name="Group 12"/>
          <p:cNvGrpSpPr/>
          <p:nvPr userDrawn="1"/>
        </p:nvGrpSpPr>
        <p:grpSpPr>
          <a:xfrm>
            <a:off x="7364320" y="6412511"/>
            <a:ext cx="1371600" cy="283464"/>
            <a:chOff x="4291013" y="3178175"/>
            <a:chExt cx="3197225" cy="688975"/>
          </a:xfrm>
        </p:grpSpPr>
        <p:sp>
          <p:nvSpPr>
            <p:cNvPr id="14"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5"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6"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7"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8"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9"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0"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1"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2"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3"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4"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5"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6"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7"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8"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9"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0"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1"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2"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3"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4"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5"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6"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7"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8"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39"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292147998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Biography 2">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7948" cy="838200"/>
          </a:xfrm>
        </p:spPr>
        <p:txBody>
          <a:bodyPr/>
          <a:lstStyle/>
          <a:p>
            <a:r>
              <a:rPr lang="en-US"/>
              <a:t>Click to edit Master title style</a:t>
            </a:r>
            <a:endParaRPr lang="en-US" dirty="0"/>
          </a:p>
        </p:txBody>
      </p:sp>
      <p:sp>
        <p:nvSpPr>
          <p:cNvPr id="3" name="Content Placeholder 2"/>
          <p:cNvSpPr>
            <a:spLocks noGrp="1"/>
          </p:cNvSpPr>
          <p:nvPr>
            <p:ph idx="1"/>
          </p:nvPr>
        </p:nvSpPr>
        <p:spPr>
          <a:xfrm>
            <a:off x="317115" y="1073258"/>
            <a:ext cx="8187948" cy="439305"/>
          </a:xfrm>
        </p:spPr>
        <p:txBody>
          <a:bodyPr lIns="91440"/>
          <a:lstStyle>
            <a:lvl1pPr marL="0" indent="0">
              <a:spcBef>
                <a:spcPts val="0"/>
              </a:spcBef>
              <a:defRPr lang="en-US" sz="1200" b="1" dirty="0" smtClean="0">
                <a:solidFill>
                  <a:srgbClr val="7A9B3D"/>
                </a:solidFill>
                <a:latin typeface="+mn-lt"/>
                <a:ea typeface="+mn-ea"/>
                <a:cs typeface="+mn-cs"/>
              </a:defRPr>
            </a:lvl1pPr>
            <a:lvl2pPr marL="0" indent="0">
              <a:spcBef>
                <a:spcPts val="0"/>
              </a:spcBef>
              <a:buNone/>
              <a:defRPr sz="1200" b="0" i="1">
                <a:solidFill>
                  <a:srgbClr val="7A9B3D"/>
                </a:solidFill>
              </a:defRPr>
            </a:lvl2pPr>
          </a:lstStyle>
          <a:p>
            <a:pPr lvl="0"/>
            <a:r>
              <a:rPr lang="en-US"/>
              <a:t>Click to edit Master text styles</a:t>
            </a:r>
          </a:p>
          <a:p>
            <a:pPr lvl="1"/>
            <a:r>
              <a:rPr lang="en-US"/>
              <a:t>Second level</a:t>
            </a:r>
          </a:p>
        </p:txBody>
      </p:sp>
      <p:sp>
        <p:nvSpPr>
          <p:cNvPr id="10" name="Content Placeholder 9"/>
          <p:cNvSpPr>
            <a:spLocks noGrp="1"/>
          </p:cNvSpPr>
          <p:nvPr>
            <p:ph sz="quarter" idx="13"/>
          </p:nvPr>
        </p:nvSpPr>
        <p:spPr>
          <a:xfrm>
            <a:off x="317115" y="1526851"/>
            <a:ext cx="8188710" cy="1902149"/>
          </a:xfrm>
        </p:spPr>
        <p:txBody>
          <a:bodyPr lIns="91440"/>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p:cNvSpPr>
            <a:spLocks noGrp="1"/>
          </p:cNvSpPr>
          <p:nvPr>
            <p:ph idx="17"/>
          </p:nvPr>
        </p:nvSpPr>
        <p:spPr>
          <a:xfrm>
            <a:off x="317115" y="3666458"/>
            <a:ext cx="8188710" cy="439305"/>
          </a:xfrm>
        </p:spPr>
        <p:txBody>
          <a:bodyPr lIns="91440"/>
          <a:lstStyle>
            <a:lvl1pPr marL="0" indent="0">
              <a:spcBef>
                <a:spcPts val="0"/>
              </a:spcBef>
              <a:defRPr lang="en-US" sz="1200" b="1" dirty="0" smtClean="0">
                <a:solidFill>
                  <a:srgbClr val="7A9B3D"/>
                </a:solidFill>
                <a:latin typeface="+mn-lt"/>
                <a:ea typeface="+mn-ea"/>
                <a:cs typeface="+mn-cs"/>
              </a:defRPr>
            </a:lvl1pPr>
            <a:lvl2pPr marL="0" indent="0">
              <a:spcBef>
                <a:spcPts val="0"/>
              </a:spcBef>
              <a:buNone/>
              <a:defRPr sz="1200" b="0" i="1">
                <a:solidFill>
                  <a:srgbClr val="7A9B3D"/>
                </a:solidFill>
              </a:defRPr>
            </a:lvl2pPr>
          </a:lstStyle>
          <a:p>
            <a:pPr lvl="0"/>
            <a:r>
              <a:rPr lang="en-US"/>
              <a:t>Click to edit Master text styles</a:t>
            </a:r>
          </a:p>
          <a:p>
            <a:pPr lvl="1"/>
            <a:r>
              <a:rPr lang="en-US"/>
              <a:t>Second level</a:t>
            </a:r>
          </a:p>
        </p:txBody>
      </p:sp>
      <p:sp>
        <p:nvSpPr>
          <p:cNvPr id="9" name="Content Placeholder 9"/>
          <p:cNvSpPr>
            <a:spLocks noGrp="1"/>
          </p:cNvSpPr>
          <p:nvPr>
            <p:ph sz="quarter" idx="18"/>
          </p:nvPr>
        </p:nvSpPr>
        <p:spPr>
          <a:xfrm>
            <a:off x="317115" y="4120051"/>
            <a:ext cx="8188710" cy="1902149"/>
          </a:xfrm>
        </p:spPr>
        <p:txBody>
          <a:bodyPr lIns="91440"/>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14"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endParaRPr lang="en-US" dirty="0"/>
          </a:p>
        </p:txBody>
      </p:sp>
      <p:grpSp>
        <p:nvGrpSpPr>
          <p:cNvPr id="15" name="Group 14"/>
          <p:cNvGrpSpPr/>
          <p:nvPr userDrawn="1"/>
        </p:nvGrpSpPr>
        <p:grpSpPr>
          <a:xfrm>
            <a:off x="7364320" y="6412511"/>
            <a:ext cx="1371600" cy="283464"/>
            <a:chOff x="4291013" y="3178175"/>
            <a:chExt cx="3197225" cy="688975"/>
          </a:xfrm>
        </p:grpSpPr>
        <p:sp>
          <p:nvSpPr>
            <p:cNvPr id="16"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7"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8"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9"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0"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1"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2"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3"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4"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5"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6"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7"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8"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9"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0"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1"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2"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3"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4"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5"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6"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7"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8"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9"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0"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41"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243151378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73742" cy="838200"/>
          </a:xfrm>
        </p:spPr>
        <p:txBody>
          <a:bodyPr/>
          <a:lstStyle/>
          <a:p>
            <a:r>
              <a:rPr lang="en-US"/>
              <a:t>Click to edit Master title style</a:t>
            </a:r>
            <a:endParaRPr lang="en-US" dirty="0"/>
          </a:p>
        </p:txBody>
      </p:sp>
      <p:sp>
        <p:nvSpPr>
          <p:cNvPr id="3" name="Content Placeholder 2"/>
          <p:cNvSpPr>
            <a:spLocks noGrp="1"/>
          </p:cNvSpPr>
          <p:nvPr>
            <p:ph sz="half" idx="1"/>
          </p:nvPr>
        </p:nvSpPr>
        <p:spPr>
          <a:xfrm>
            <a:off x="317115" y="1339850"/>
            <a:ext cx="3878262" cy="4878388"/>
          </a:xfrm>
        </p:spPr>
        <p:txBody>
          <a:bodyPr lIns="91440"/>
          <a:lstStyle>
            <a:lvl1pPr>
              <a:spcBef>
                <a:spcPts val="600"/>
              </a:spcBef>
              <a:defRPr sz="1400">
                <a:solidFill>
                  <a:srgbClr val="7A9B3D"/>
                </a:solidFill>
              </a:defRPr>
            </a:lvl1pPr>
            <a:lvl2pPr marL="114300" indent="-114300">
              <a:spcBef>
                <a:spcPts val="600"/>
              </a:spcBef>
              <a:buClr>
                <a:srgbClr val="7A9B3D"/>
              </a:buClr>
              <a:defRPr sz="1200">
                <a:solidFill>
                  <a:srgbClr val="000000"/>
                </a:solidFill>
              </a:defRPr>
            </a:lvl2pPr>
            <a:lvl3pPr marL="228600" indent="-114300">
              <a:spcBef>
                <a:spcPts val="600"/>
              </a:spcBef>
              <a:buClr>
                <a:srgbClr val="768692"/>
              </a:buClr>
              <a:defRPr sz="1100">
                <a:solidFill>
                  <a:srgbClr val="000000"/>
                </a:solidFill>
              </a:defRPr>
            </a:lvl3pPr>
            <a:lvl4pPr marL="342900" indent="-114300">
              <a:spcBef>
                <a:spcPts val="600"/>
              </a:spcBef>
              <a:buClr>
                <a:srgbClr val="000000"/>
              </a:buClr>
              <a:defRPr sz="1050">
                <a:solidFill>
                  <a:srgbClr val="000000"/>
                </a:solidFill>
              </a:defRPr>
            </a:lvl4pPr>
            <a:lvl5pPr>
              <a:defRPr sz="105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2"/>
          <p:cNvSpPr>
            <a:spLocks noGrp="1"/>
          </p:cNvSpPr>
          <p:nvPr>
            <p:ph sz="half" idx="13"/>
          </p:nvPr>
        </p:nvSpPr>
        <p:spPr>
          <a:xfrm>
            <a:off x="4611450" y="1339850"/>
            <a:ext cx="3878262" cy="4878388"/>
          </a:xfrm>
        </p:spPr>
        <p:txBody>
          <a:bodyPr lIns="91440"/>
          <a:lstStyle>
            <a:lvl1pPr>
              <a:spcBef>
                <a:spcPts val="600"/>
              </a:spcBef>
              <a:defRPr sz="1400">
                <a:solidFill>
                  <a:srgbClr val="7A9B3D"/>
                </a:solidFill>
              </a:defRPr>
            </a:lvl1pPr>
            <a:lvl2pPr marL="114300" indent="-114300">
              <a:spcBef>
                <a:spcPts val="600"/>
              </a:spcBef>
              <a:buClr>
                <a:srgbClr val="7A9B3D"/>
              </a:buClr>
              <a:defRPr sz="1200">
                <a:solidFill>
                  <a:srgbClr val="000000"/>
                </a:solidFill>
              </a:defRPr>
            </a:lvl2pPr>
            <a:lvl3pPr marL="228600" indent="-114300">
              <a:spcBef>
                <a:spcPts val="600"/>
              </a:spcBef>
              <a:buClr>
                <a:srgbClr val="768692"/>
              </a:buClr>
              <a:defRPr sz="1100">
                <a:solidFill>
                  <a:srgbClr val="000000"/>
                </a:solidFill>
              </a:defRPr>
            </a:lvl3pPr>
            <a:lvl4pPr marL="342900" indent="-114300">
              <a:spcBef>
                <a:spcPts val="600"/>
              </a:spcBef>
              <a:buClr>
                <a:srgbClr val="000000"/>
              </a:buClr>
              <a:defRPr sz="1050">
                <a:solidFill>
                  <a:srgbClr val="000000"/>
                </a:solidFill>
              </a:defRPr>
            </a:lvl4pPr>
            <a:lvl5pPr>
              <a:defRPr sz="105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12"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endParaRPr lang="en-US" dirty="0"/>
          </a:p>
        </p:txBody>
      </p:sp>
      <p:grpSp>
        <p:nvGrpSpPr>
          <p:cNvPr id="13" name="Group 12"/>
          <p:cNvGrpSpPr/>
          <p:nvPr userDrawn="1"/>
        </p:nvGrpSpPr>
        <p:grpSpPr>
          <a:xfrm>
            <a:off x="7364320" y="6412511"/>
            <a:ext cx="1371600" cy="283464"/>
            <a:chOff x="4291013" y="3178175"/>
            <a:chExt cx="3197225" cy="688975"/>
          </a:xfrm>
        </p:grpSpPr>
        <p:sp>
          <p:nvSpPr>
            <p:cNvPr id="14"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5"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6"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7"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8"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9"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0"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1"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2"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3"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4"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5"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6"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7"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8"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9"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0"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1"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2"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3"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4"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5"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6"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7"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8"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39"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270987714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6868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hasCustomPrompt="1"/>
          </p:nvPr>
        </p:nvSpPr>
        <p:spPr>
          <a:xfrm>
            <a:off x="317115" y="1004757"/>
            <a:ext cx="4040188" cy="639762"/>
          </a:xfrm>
        </p:spPr>
        <p:txBody>
          <a:bodyPr lIns="91440" anchor="b"/>
          <a:lstStyle>
            <a:lvl1pPr marL="0" indent="0">
              <a:buNone/>
              <a:defRPr sz="14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5" name="Text Placeholder 4"/>
          <p:cNvSpPr>
            <a:spLocks noGrp="1"/>
          </p:cNvSpPr>
          <p:nvPr>
            <p:ph type="body" sz="quarter" idx="3" hasCustomPrompt="1"/>
          </p:nvPr>
        </p:nvSpPr>
        <p:spPr>
          <a:xfrm>
            <a:off x="4449057" y="1004757"/>
            <a:ext cx="4041775" cy="639762"/>
          </a:xfrm>
        </p:spPr>
        <p:txBody>
          <a:bodyPr lIns="91440" anchor="b"/>
          <a:lstStyle>
            <a:lvl1pPr marL="0" indent="0">
              <a:buNone/>
              <a:defRPr sz="14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0" name="Content Placeholder 2"/>
          <p:cNvSpPr>
            <a:spLocks noGrp="1"/>
          </p:cNvSpPr>
          <p:nvPr>
            <p:ph sz="half" idx="13"/>
          </p:nvPr>
        </p:nvSpPr>
        <p:spPr>
          <a:xfrm>
            <a:off x="317115" y="1664594"/>
            <a:ext cx="4041648" cy="4553643"/>
          </a:xfrm>
        </p:spPr>
        <p:txBody>
          <a:bodyPr lIns="91440"/>
          <a:lstStyle>
            <a:lvl1pPr>
              <a:spcBef>
                <a:spcPts val="600"/>
              </a:spcBef>
              <a:defRPr sz="1400">
                <a:solidFill>
                  <a:srgbClr val="7A9B3D"/>
                </a:solidFill>
              </a:defRPr>
            </a:lvl1pPr>
            <a:lvl2pPr marL="114300" indent="-114300">
              <a:spcBef>
                <a:spcPts val="600"/>
              </a:spcBef>
              <a:buClr>
                <a:srgbClr val="7A9B3D"/>
              </a:buClr>
              <a:defRPr sz="1200">
                <a:solidFill>
                  <a:srgbClr val="000000"/>
                </a:solidFill>
              </a:defRPr>
            </a:lvl2pPr>
            <a:lvl3pPr marL="228600" indent="-114300">
              <a:spcBef>
                <a:spcPts val="600"/>
              </a:spcBef>
              <a:defRPr sz="1100">
                <a:solidFill>
                  <a:srgbClr val="000000"/>
                </a:solidFill>
              </a:defRPr>
            </a:lvl3pPr>
            <a:lvl4pPr marL="342900" indent="-114300">
              <a:spcBef>
                <a:spcPts val="600"/>
              </a:spcBef>
              <a:buClr>
                <a:srgbClr val="000000"/>
              </a:buClr>
              <a:defRPr sz="1050">
                <a:solidFill>
                  <a:srgbClr val="000000"/>
                </a:solidFill>
              </a:defRPr>
            </a:lvl4pPr>
            <a:lvl5pPr>
              <a:defRPr sz="105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2"/>
          <p:cNvSpPr>
            <a:spLocks noGrp="1"/>
          </p:cNvSpPr>
          <p:nvPr>
            <p:ph sz="half" idx="14"/>
          </p:nvPr>
        </p:nvSpPr>
        <p:spPr>
          <a:xfrm>
            <a:off x="4449057" y="1665794"/>
            <a:ext cx="4041648" cy="4552443"/>
          </a:xfrm>
        </p:spPr>
        <p:txBody>
          <a:bodyPr lIns="91440"/>
          <a:lstStyle>
            <a:lvl1pPr>
              <a:spcBef>
                <a:spcPts val="600"/>
              </a:spcBef>
              <a:defRPr sz="1400">
                <a:solidFill>
                  <a:srgbClr val="7A9B3D"/>
                </a:solidFill>
              </a:defRPr>
            </a:lvl1pPr>
            <a:lvl2pPr marL="114300" indent="-114300">
              <a:spcBef>
                <a:spcPts val="600"/>
              </a:spcBef>
              <a:buClr>
                <a:srgbClr val="7A9B3D"/>
              </a:buClr>
              <a:defRPr sz="1200">
                <a:solidFill>
                  <a:srgbClr val="000000"/>
                </a:solidFill>
              </a:defRPr>
            </a:lvl2pPr>
            <a:lvl3pPr marL="228600" indent="-114300">
              <a:spcBef>
                <a:spcPts val="600"/>
              </a:spcBef>
              <a:defRPr sz="1100">
                <a:solidFill>
                  <a:srgbClr val="000000"/>
                </a:solidFill>
              </a:defRPr>
            </a:lvl3pPr>
            <a:lvl4pPr marL="342900" indent="-114300">
              <a:spcBef>
                <a:spcPts val="600"/>
              </a:spcBef>
              <a:buClr>
                <a:srgbClr val="000000"/>
              </a:buClr>
              <a:defRPr sz="1050">
                <a:solidFill>
                  <a:srgbClr val="000000"/>
                </a:solidFill>
              </a:defRPr>
            </a:lvl4pPr>
            <a:lvl5pPr>
              <a:defRPr sz="105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Footer Placeholder 4"/>
          <p:cNvSpPr>
            <a:spLocks noGrp="1"/>
          </p:cNvSpPr>
          <p:nvPr>
            <p:ph type="ftr" sz="quarter" idx="16"/>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15" name="Rectangle 155"/>
          <p:cNvSpPr>
            <a:spLocks noGrp="1" noChangeArrowheads="1"/>
          </p:cNvSpPr>
          <p:nvPr>
            <p:ph type="dt" sz="half" idx="17"/>
          </p:nvPr>
        </p:nvSpPr>
        <p:spPr>
          <a:xfrm>
            <a:off x="320040" y="6655654"/>
            <a:ext cx="1983958" cy="120649"/>
          </a:xfrm>
        </p:spPr>
        <p:txBody>
          <a:bodyPr/>
          <a:lstStyle>
            <a:lvl1pPr algn="l">
              <a:defRPr sz="700" smtClean="0">
                <a:solidFill>
                  <a:srgbClr val="000000"/>
                </a:solidFill>
              </a:defRPr>
            </a:lvl1pPr>
          </a:lstStyle>
          <a:p>
            <a:pPr>
              <a:defRPr/>
            </a:pPr>
            <a:endParaRPr lang="en-US" dirty="0"/>
          </a:p>
        </p:txBody>
      </p:sp>
      <p:grpSp>
        <p:nvGrpSpPr>
          <p:cNvPr id="16" name="Group 15"/>
          <p:cNvGrpSpPr/>
          <p:nvPr userDrawn="1"/>
        </p:nvGrpSpPr>
        <p:grpSpPr>
          <a:xfrm>
            <a:off x="7364320" y="6412511"/>
            <a:ext cx="1371600" cy="283464"/>
            <a:chOff x="4291013" y="3178175"/>
            <a:chExt cx="3197225" cy="688975"/>
          </a:xfrm>
        </p:grpSpPr>
        <p:sp>
          <p:nvSpPr>
            <p:cNvPr id="17"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8"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9"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0"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1"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2"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3"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4"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5"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6"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7"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8"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9"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0"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1"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2"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3"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4"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5"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6"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7"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8"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9"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0"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41"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42" name="Slide Number Placeholder 3"/>
          <p:cNvSpPr>
            <a:spLocks noGrp="1"/>
          </p:cNvSpPr>
          <p:nvPr>
            <p:ph type="sldNum" sz="quarter" idx="18"/>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323779005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ack_Cover_Disclosures">
    <p:spTree>
      <p:nvGrpSpPr>
        <p:cNvPr id="1" name=""/>
        <p:cNvGrpSpPr/>
        <p:nvPr/>
      </p:nvGrpSpPr>
      <p:grpSpPr>
        <a:xfrm>
          <a:off x="0" y="0"/>
          <a:ext cx="0" cy="0"/>
          <a:chOff x="0" y="0"/>
          <a:chExt cx="0" cy="0"/>
        </a:xfrm>
      </p:grpSpPr>
      <p:sp>
        <p:nvSpPr>
          <p:cNvPr id="11" name="Content Placeholder 10"/>
          <p:cNvSpPr>
            <a:spLocks noGrp="1"/>
          </p:cNvSpPr>
          <p:nvPr>
            <p:ph sz="quarter" idx="15" hasCustomPrompt="1"/>
          </p:nvPr>
        </p:nvSpPr>
        <p:spPr>
          <a:xfrm>
            <a:off x="298450" y="6565046"/>
            <a:ext cx="711200" cy="214312"/>
          </a:xfrm>
        </p:spPr>
        <p:txBody>
          <a:bodyPr/>
          <a:lstStyle>
            <a:lvl1pPr>
              <a:defRPr sz="700" b="0">
                <a:solidFill>
                  <a:schemeClr val="tx1"/>
                </a:solidFill>
              </a:defRPr>
            </a:lvl1pPr>
            <a:lvl2pPr>
              <a:defRPr sz="700" b="0">
                <a:solidFill>
                  <a:schemeClr val="tx1"/>
                </a:solidFill>
              </a:defRPr>
            </a:lvl2pPr>
            <a:lvl3pPr>
              <a:defRPr sz="700" b="0">
                <a:solidFill>
                  <a:schemeClr val="tx1"/>
                </a:solidFill>
              </a:defRPr>
            </a:lvl3pPr>
            <a:lvl4pPr>
              <a:defRPr sz="700" b="0">
                <a:solidFill>
                  <a:schemeClr val="tx1"/>
                </a:solidFill>
              </a:defRPr>
            </a:lvl4pPr>
            <a:lvl5pPr>
              <a:defRPr sz="700" b="0">
                <a:solidFill>
                  <a:schemeClr val="tx1"/>
                </a:solidFill>
              </a:defRPr>
            </a:lvl5pPr>
          </a:lstStyle>
          <a:p>
            <a:pPr lvl="0"/>
            <a:r>
              <a:rPr lang="en-US" dirty="0"/>
              <a:t>XXXXXX.1.0</a:t>
            </a:r>
          </a:p>
        </p:txBody>
      </p:sp>
      <p:sp>
        <p:nvSpPr>
          <p:cNvPr id="6" name="Content Placeholder 5"/>
          <p:cNvSpPr>
            <a:spLocks noGrp="1"/>
          </p:cNvSpPr>
          <p:nvPr>
            <p:ph sz="quarter" idx="14" hasCustomPrompt="1"/>
          </p:nvPr>
        </p:nvSpPr>
        <p:spPr>
          <a:xfrm>
            <a:off x="1333500" y="6535738"/>
            <a:ext cx="6477000" cy="214312"/>
          </a:xfrm>
        </p:spPr>
        <p:txBody>
          <a:bodyPr/>
          <a:lstStyle>
            <a:lvl1pPr algn="ctr">
              <a:defRPr sz="900" b="0">
                <a:solidFill>
                  <a:schemeClr val="tx1"/>
                </a:solidFill>
              </a:defRPr>
            </a:lvl1pPr>
            <a:lvl2pPr algn="ctr">
              <a:defRPr sz="900" b="0">
                <a:solidFill>
                  <a:schemeClr val="tx1"/>
                </a:solidFill>
              </a:defRPr>
            </a:lvl2pPr>
            <a:lvl3pPr algn="ctr">
              <a:defRPr sz="900" b="0">
                <a:solidFill>
                  <a:schemeClr val="tx1"/>
                </a:solidFill>
              </a:defRPr>
            </a:lvl3pPr>
            <a:lvl4pPr algn="ctr">
              <a:defRPr sz="900" b="0">
                <a:solidFill>
                  <a:schemeClr val="tx1"/>
                </a:solidFill>
              </a:defRPr>
            </a:lvl4pPr>
            <a:lvl5pPr algn="ctr">
              <a:defRPr sz="900" b="0">
                <a:solidFill>
                  <a:schemeClr val="tx1"/>
                </a:solidFill>
              </a:defRPr>
            </a:lvl5pPr>
          </a:lstStyle>
          <a:p>
            <a:pPr lvl="0"/>
            <a:r>
              <a:rPr lang="en-US" altLang="en-US" sz="900" dirty="0"/>
              <a:t>FIDELITY INVESTMENTS INSTITUTIONAL SERVICES COMPANY, INC., 500 SALEM STREET, SMITHFIELD, RI  02917</a:t>
            </a:r>
            <a:endParaRPr lang="en-US" dirty="0"/>
          </a:p>
        </p:txBody>
      </p:sp>
      <p:sp>
        <p:nvSpPr>
          <p:cNvPr id="7" name="Content Placeholder 2"/>
          <p:cNvSpPr>
            <a:spLocks noGrp="1"/>
          </p:cNvSpPr>
          <p:nvPr>
            <p:ph idx="13" hasCustomPrompt="1"/>
          </p:nvPr>
        </p:nvSpPr>
        <p:spPr>
          <a:xfrm>
            <a:off x="317115" y="3228975"/>
            <a:ext cx="8506210" cy="2903538"/>
          </a:xfrm>
        </p:spPr>
        <p:txBody>
          <a:bodyPr lIns="91440" anchor="b"/>
          <a:lstStyle>
            <a:lvl1pPr marL="0" indent="0" algn="l" rtl="0" eaLnBrk="1" fontAlgn="base" hangingPunct="1">
              <a:spcBef>
                <a:spcPts val="300"/>
              </a:spcBef>
              <a:spcAft>
                <a:spcPct val="0"/>
              </a:spcAft>
              <a:buClrTx/>
              <a:buSzTx/>
              <a:buFontTx/>
              <a:buNone/>
              <a:defRPr lang="en-US" sz="1000" b="0" dirty="0" smtClean="0">
                <a:solidFill>
                  <a:schemeClr val="tx1"/>
                </a:solidFill>
              </a:defRPr>
            </a:lvl1pPr>
            <a:lvl2pPr>
              <a:spcBef>
                <a:spcPts val="2000"/>
              </a:spcBef>
              <a:defRPr lang="en-US" dirty="0" smtClean="0">
                <a:solidFill>
                  <a:schemeClr val="tx1"/>
                </a:solidFill>
                <a:latin typeface="+mn-lt"/>
              </a:defRPr>
            </a:lvl2pPr>
            <a:lvl3pPr>
              <a:defRPr lang="en-US" sz="1600" dirty="0" smtClean="0">
                <a:solidFill>
                  <a:schemeClr val="accent1"/>
                </a:solidFill>
                <a:latin typeface="+mn-lt"/>
              </a:defRPr>
            </a:lvl3pPr>
            <a:lvl4pPr>
              <a:buClr>
                <a:schemeClr val="bg2"/>
              </a:buClr>
              <a:buSzPct val="80000"/>
              <a:buFont typeface="Arial" pitchFamily="34" charset="0"/>
              <a:buChar char="•"/>
              <a:defRPr sz="1400">
                <a:solidFill>
                  <a:schemeClr val="accent1"/>
                </a:solidFill>
              </a:defRPr>
            </a:lvl4pPr>
          </a:lstStyle>
          <a:p>
            <a:pPr eaLnBrk="1" hangingPunct="1">
              <a:spcBef>
                <a:spcPts val="300"/>
              </a:spcBef>
              <a:buClrTx/>
              <a:buSzTx/>
              <a:buFontTx/>
              <a:buNone/>
            </a:pPr>
            <a:r>
              <a:rPr lang="en-US" sz="1000" dirty="0">
                <a:latin typeface="+mj-lt"/>
              </a:rPr>
              <a:t>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 Lorem ipsum e </a:t>
            </a:r>
            <a:r>
              <a:rPr lang="en-US" sz="1000" dirty="0" err="1">
                <a:latin typeface="+mj-lt"/>
              </a:rPr>
              <a:t>dolore</a:t>
            </a:r>
            <a:r>
              <a:rPr lang="en-US" sz="1000" dirty="0">
                <a:latin typeface="+mj-lt"/>
              </a:rPr>
              <a:t> sit </a:t>
            </a:r>
            <a:r>
              <a:rPr lang="en-US" sz="1000" dirty="0" err="1">
                <a:latin typeface="+mj-lt"/>
              </a:rPr>
              <a:t>amet</a:t>
            </a:r>
            <a:r>
              <a:rPr lang="en-US" sz="1000" dirty="0">
                <a:latin typeface="+mj-lt"/>
              </a:rPr>
              <a:t> con </a:t>
            </a:r>
            <a:r>
              <a:rPr lang="en-US" sz="1000" dirty="0" err="1">
                <a:latin typeface="+mj-lt"/>
              </a:rPr>
              <a:t>secuatur</a:t>
            </a:r>
            <a:r>
              <a:rPr lang="en-US" sz="1000" dirty="0">
                <a:latin typeface="+mj-lt"/>
              </a:rPr>
              <a:t> </a:t>
            </a:r>
            <a:r>
              <a:rPr lang="en-US" sz="1000" dirty="0" err="1">
                <a:latin typeface="+mj-lt"/>
              </a:rPr>
              <a:t>voltare</a:t>
            </a:r>
            <a:r>
              <a:rPr lang="en-US" sz="1000" dirty="0">
                <a:latin typeface="+mj-lt"/>
              </a:rPr>
              <a:t> sans </a:t>
            </a:r>
            <a:r>
              <a:rPr lang="en-US" sz="1000" dirty="0" err="1">
                <a:latin typeface="+mj-lt"/>
              </a:rPr>
              <a:t>hitre</a:t>
            </a:r>
            <a:r>
              <a:rPr lang="en-US" sz="1000" dirty="0">
                <a:latin typeface="+mj-lt"/>
              </a:rPr>
              <a:t> </a:t>
            </a:r>
            <a:r>
              <a:rPr lang="en-US" sz="1000" dirty="0" err="1">
                <a:latin typeface="+mj-lt"/>
              </a:rPr>
              <a:t>vintaxe</a:t>
            </a:r>
            <a:r>
              <a:rPr lang="en-US" sz="1000" dirty="0">
                <a:latin typeface="+mj-lt"/>
              </a:rPr>
              <a:t> </a:t>
            </a:r>
            <a:r>
              <a:rPr lang="en-US" sz="1000" dirty="0" err="1">
                <a:latin typeface="+mj-lt"/>
              </a:rPr>
              <a:t>ellert</a:t>
            </a:r>
            <a:r>
              <a:rPr lang="en-US" sz="1000" dirty="0">
                <a:latin typeface="+mj-lt"/>
              </a:rPr>
              <a:t>.</a:t>
            </a:r>
          </a:p>
          <a:p>
            <a:pPr eaLnBrk="1" hangingPunct="1">
              <a:spcBef>
                <a:spcPts val="300"/>
              </a:spcBef>
              <a:buClrTx/>
              <a:buSzTx/>
              <a:buFontTx/>
              <a:buNone/>
            </a:pPr>
            <a:r>
              <a:rPr lang="en-US" sz="1000" b="1" dirty="0">
                <a:latin typeface="+mj-lt"/>
              </a:rPr>
              <a:t>Lorem ipsum e </a:t>
            </a:r>
            <a:r>
              <a:rPr lang="en-US" sz="1000" b="1" dirty="0" err="1">
                <a:latin typeface="+mj-lt"/>
              </a:rPr>
              <a:t>dolore</a:t>
            </a:r>
            <a:r>
              <a:rPr lang="en-US" sz="1000" b="1" dirty="0">
                <a:latin typeface="+mj-lt"/>
              </a:rPr>
              <a:t> sit </a:t>
            </a:r>
            <a:r>
              <a:rPr lang="en-US" sz="1000" b="1" dirty="0" err="1">
                <a:latin typeface="+mj-lt"/>
              </a:rPr>
              <a:t>amet</a:t>
            </a:r>
            <a:r>
              <a:rPr lang="en-US" sz="1000" b="1" dirty="0">
                <a:latin typeface="+mj-lt"/>
              </a:rPr>
              <a:t> con </a:t>
            </a:r>
            <a:r>
              <a:rPr lang="en-US" sz="1000" b="1" dirty="0" err="1">
                <a:latin typeface="+mj-lt"/>
              </a:rPr>
              <a:t>secuatur</a:t>
            </a:r>
            <a:r>
              <a:rPr lang="en-US" sz="1000" b="1" dirty="0">
                <a:latin typeface="+mj-lt"/>
              </a:rPr>
              <a:t> </a:t>
            </a:r>
            <a:r>
              <a:rPr lang="en-US" sz="1000" b="1" dirty="0" err="1">
                <a:latin typeface="+mj-lt"/>
              </a:rPr>
              <a:t>voltare</a:t>
            </a:r>
            <a:r>
              <a:rPr lang="en-US" sz="1000" b="1" dirty="0">
                <a:latin typeface="+mj-lt"/>
              </a:rPr>
              <a:t> sans </a:t>
            </a:r>
            <a:r>
              <a:rPr lang="en-US" sz="1000" b="1" dirty="0" err="1">
                <a:latin typeface="+mj-lt"/>
              </a:rPr>
              <a:t>hitre</a:t>
            </a:r>
            <a:r>
              <a:rPr lang="en-US" sz="1000" b="1" dirty="0">
                <a:latin typeface="+mj-lt"/>
              </a:rPr>
              <a:t> </a:t>
            </a:r>
            <a:r>
              <a:rPr lang="en-US" sz="1000" b="1" dirty="0" err="1">
                <a:latin typeface="+mj-lt"/>
              </a:rPr>
              <a:t>vintaxe</a:t>
            </a:r>
            <a:r>
              <a:rPr lang="en-US" sz="1000" b="1" dirty="0">
                <a:latin typeface="+mj-lt"/>
              </a:rPr>
              <a:t> </a:t>
            </a:r>
            <a:r>
              <a:rPr lang="en-US" sz="1000" b="1" dirty="0" err="1">
                <a:latin typeface="+mj-lt"/>
              </a:rPr>
              <a:t>ellert</a:t>
            </a:r>
            <a:r>
              <a:rPr lang="en-US" sz="1000" b="1" dirty="0">
                <a:latin typeface="+mj-lt"/>
              </a:rPr>
              <a:t>  ipsum e </a:t>
            </a:r>
            <a:r>
              <a:rPr lang="en-US" sz="1000" b="1" dirty="0" err="1">
                <a:latin typeface="+mj-lt"/>
              </a:rPr>
              <a:t>dolore</a:t>
            </a:r>
            <a:r>
              <a:rPr lang="en-US" sz="1000" b="1" dirty="0">
                <a:latin typeface="+mj-lt"/>
              </a:rPr>
              <a:t> sit </a:t>
            </a:r>
            <a:r>
              <a:rPr lang="en-US" sz="1000" b="1" dirty="0" err="1">
                <a:latin typeface="+mj-lt"/>
              </a:rPr>
              <a:t>amet</a:t>
            </a:r>
            <a:r>
              <a:rPr lang="en-US" sz="1000" b="1" dirty="0">
                <a:latin typeface="+mj-lt"/>
              </a:rPr>
              <a:t> con </a:t>
            </a:r>
            <a:r>
              <a:rPr lang="en-US" sz="1000" b="1" dirty="0" err="1">
                <a:latin typeface="+mj-lt"/>
              </a:rPr>
              <a:t>secuatur</a:t>
            </a:r>
            <a:r>
              <a:rPr lang="en-US" sz="1000" b="1" dirty="0">
                <a:latin typeface="+mj-lt"/>
              </a:rPr>
              <a:t> </a:t>
            </a:r>
            <a:r>
              <a:rPr lang="en-US" sz="1000" b="1" dirty="0" err="1">
                <a:latin typeface="+mj-lt"/>
              </a:rPr>
              <a:t>voltare</a:t>
            </a:r>
            <a:r>
              <a:rPr lang="en-US" sz="1000" b="1" dirty="0">
                <a:latin typeface="+mj-lt"/>
              </a:rPr>
              <a:t> sans </a:t>
            </a:r>
            <a:r>
              <a:rPr lang="en-US" sz="1000" b="1" dirty="0" err="1">
                <a:latin typeface="+mj-lt"/>
              </a:rPr>
              <a:t>hitre</a:t>
            </a:r>
            <a:r>
              <a:rPr lang="en-US" sz="1000" b="1" dirty="0">
                <a:latin typeface="+mj-lt"/>
              </a:rPr>
              <a:t> </a:t>
            </a:r>
            <a:r>
              <a:rPr lang="en-US" sz="1000" b="1" dirty="0" err="1">
                <a:latin typeface="+mj-lt"/>
              </a:rPr>
              <a:t>vintaxe</a:t>
            </a:r>
            <a:r>
              <a:rPr lang="en-US" sz="1000" b="1" dirty="0">
                <a:latin typeface="+mj-lt"/>
              </a:rPr>
              <a:t> </a:t>
            </a:r>
            <a:r>
              <a:rPr lang="en-US" sz="1000" b="1" dirty="0" err="1">
                <a:latin typeface="+mj-lt"/>
              </a:rPr>
              <a:t>ellert</a:t>
            </a:r>
            <a:r>
              <a:rPr lang="en-US" sz="1000" b="1" dirty="0">
                <a:latin typeface="+mj-lt"/>
              </a:rPr>
              <a:t>. Lorem ipsum e </a:t>
            </a:r>
            <a:r>
              <a:rPr lang="en-US" sz="1000" b="1" dirty="0" err="1">
                <a:latin typeface="+mj-lt"/>
              </a:rPr>
              <a:t>dolore</a:t>
            </a:r>
            <a:r>
              <a:rPr lang="en-US" sz="1000" b="1" dirty="0">
                <a:latin typeface="+mj-lt"/>
              </a:rPr>
              <a:t> sit </a:t>
            </a:r>
            <a:r>
              <a:rPr lang="en-US" sz="1000" b="1" dirty="0" err="1">
                <a:latin typeface="+mj-lt"/>
              </a:rPr>
              <a:t>amet</a:t>
            </a:r>
            <a:r>
              <a:rPr lang="en-US" sz="1000" b="1" dirty="0">
                <a:latin typeface="+mj-lt"/>
              </a:rPr>
              <a:t> con </a:t>
            </a:r>
            <a:r>
              <a:rPr lang="en-US" sz="1000" b="1" dirty="0" err="1">
                <a:latin typeface="+mj-lt"/>
              </a:rPr>
              <a:t>secuatur</a:t>
            </a:r>
            <a:r>
              <a:rPr lang="en-US" sz="1000" b="1" dirty="0">
                <a:latin typeface="+mj-lt"/>
              </a:rPr>
              <a:t> </a:t>
            </a:r>
            <a:r>
              <a:rPr lang="en-US" sz="1000" b="1" dirty="0" err="1">
                <a:latin typeface="+mj-lt"/>
              </a:rPr>
              <a:t>voltare</a:t>
            </a:r>
            <a:r>
              <a:rPr lang="en-US" sz="1000" b="1" dirty="0">
                <a:latin typeface="+mj-lt"/>
              </a:rPr>
              <a:t> sans </a:t>
            </a:r>
            <a:r>
              <a:rPr lang="en-US" sz="1000" b="1" dirty="0" err="1">
                <a:latin typeface="+mj-lt"/>
              </a:rPr>
              <a:t>hitre</a:t>
            </a:r>
            <a:r>
              <a:rPr lang="en-US" sz="1000" b="1" dirty="0">
                <a:latin typeface="+mj-lt"/>
              </a:rPr>
              <a:t> </a:t>
            </a:r>
            <a:r>
              <a:rPr lang="en-US" sz="1000" b="1" dirty="0" err="1">
                <a:latin typeface="+mj-lt"/>
              </a:rPr>
              <a:t>vintaxe</a:t>
            </a:r>
            <a:r>
              <a:rPr lang="en-US" sz="1000" b="1" dirty="0">
                <a:latin typeface="+mj-lt"/>
              </a:rPr>
              <a:t> </a:t>
            </a:r>
            <a:r>
              <a:rPr lang="en-US" sz="1000" b="1" dirty="0" err="1">
                <a:latin typeface="+mj-lt"/>
              </a:rPr>
              <a:t>ellert</a:t>
            </a:r>
            <a:r>
              <a:rPr lang="en-US" sz="1000" b="1" dirty="0">
                <a:latin typeface="+mj-lt"/>
              </a:rPr>
              <a:t>. Lorem ipsum e </a:t>
            </a:r>
            <a:r>
              <a:rPr lang="en-US" sz="1000" b="1" dirty="0" err="1">
                <a:latin typeface="+mj-lt"/>
              </a:rPr>
              <a:t>dolore</a:t>
            </a:r>
            <a:r>
              <a:rPr lang="en-US" sz="1000" b="1" dirty="0">
                <a:latin typeface="+mj-lt"/>
              </a:rPr>
              <a:t> sit </a:t>
            </a:r>
            <a:r>
              <a:rPr lang="en-US" sz="1000" b="1" dirty="0" err="1">
                <a:latin typeface="+mj-lt"/>
              </a:rPr>
              <a:t>amet</a:t>
            </a:r>
            <a:r>
              <a:rPr lang="en-US" sz="1000" b="1" dirty="0">
                <a:latin typeface="+mj-lt"/>
              </a:rPr>
              <a:t> con </a:t>
            </a:r>
            <a:r>
              <a:rPr lang="en-US" sz="1000" b="1" dirty="0" err="1">
                <a:latin typeface="+mj-lt"/>
              </a:rPr>
              <a:t>secuatur</a:t>
            </a:r>
            <a:r>
              <a:rPr lang="en-US" sz="1000" b="1" dirty="0">
                <a:latin typeface="+mj-lt"/>
              </a:rPr>
              <a:t> </a:t>
            </a:r>
            <a:r>
              <a:rPr lang="en-US" sz="1000" b="1" dirty="0" err="1">
                <a:latin typeface="+mj-lt"/>
              </a:rPr>
              <a:t>voltare</a:t>
            </a:r>
            <a:r>
              <a:rPr lang="en-US" sz="1000" b="1" dirty="0">
                <a:latin typeface="+mj-lt"/>
              </a:rPr>
              <a:t> sans </a:t>
            </a:r>
            <a:r>
              <a:rPr lang="en-US" sz="1000" b="1" dirty="0" err="1">
                <a:latin typeface="+mj-lt"/>
              </a:rPr>
              <a:t>hitre</a:t>
            </a:r>
            <a:r>
              <a:rPr lang="en-US" sz="1000" b="1" dirty="0">
                <a:latin typeface="+mj-lt"/>
              </a:rPr>
              <a:t> </a:t>
            </a:r>
            <a:r>
              <a:rPr lang="en-US" sz="1000" b="1" dirty="0" err="1">
                <a:latin typeface="+mj-lt"/>
              </a:rPr>
              <a:t>vintaxe</a:t>
            </a:r>
            <a:r>
              <a:rPr lang="en-US" sz="1000" b="1" dirty="0">
                <a:latin typeface="+mj-lt"/>
              </a:rPr>
              <a:t> </a:t>
            </a:r>
            <a:r>
              <a:rPr lang="en-US" sz="1000" b="1" dirty="0" err="1">
                <a:latin typeface="+mj-lt"/>
              </a:rPr>
              <a:t>ellert</a:t>
            </a:r>
            <a:r>
              <a:rPr lang="en-US" sz="1000" b="1" dirty="0">
                <a:latin typeface="+mj-lt"/>
              </a:rPr>
              <a:t>. Lorem ipsum e </a:t>
            </a:r>
            <a:r>
              <a:rPr lang="en-US" sz="1000" b="1" dirty="0" err="1">
                <a:latin typeface="+mj-lt"/>
              </a:rPr>
              <a:t>dolore</a:t>
            </a:r>
            <a:r>
              <a:rPr lang="en-US" sz="1000" b="1" dirty="0">
                <a:latin typeface="+mj-lt"/>
              </a:rPr>
              <a:t> sit </a:t>
            </a:r>
            <a:r>
              <a:rPr lang="en-US" sz="1000" b="1" dirty="0" err="1">
                <a:latin typeface="+mj-lt"/>
              </a:rPr>
              <a:t>amet</a:t>
            </a:r>
            <a:r>
              <a:rPr lang="en-US" sz="1000" b="1" dirty="0">
                <a:latin typeface="+mj-lt"/>
              </a:rPr>
              <a:t> con </a:t>
            </a:r>
            <a:r>
              <a:rPr lang="en-US" sz="1000" b="1" dirty="0" err="1">
                <a:latin typeface="+mj-lt"/>
              </a:rPr>
              <a:t>secuatur</a:t>
            </a:r>
            <a:r>
              <a:rPr lang="en-US" sz="1000" b="1" dirty="0">
                <a:latin typeface="+mj-lt"/>
              </a:rPr>
              <a:t> </a:t>
            </a:r>
            <a:r>
              <a:rPr lang="en-US" sz="1000" b="1" dirty="0" err="1">
                <a:latin typeface="+mj-lt"/>
              </a:rPr>
              <a:t>voltare</a:t>
            </a:r>
            <a:r>
              <a:rPr lang="en-US" sz="1000" b="1" dirty="0">
                <a:latin typeface="+mj-lt"/>
              </a:rPr>
              <a:t> sans </a:t>
            </a:r>
            <a:r>
              <a:rPr lang="en-US" sz="1000" b="1" dirty="0" err="1">
                <a:latin typeface="+mj-lt"/>
              </a:rPr>
              <a:t>hitre</a:t>
            </a:r>
            <a:r>
              <a:rPr lang="en-US" sz="1000" b="1" dirty="0">
                <a:latin typeface="+mj-lt"/>
              </a:rPr>
              <a:t> </a:t>
            </a:r>
            <a:r>
              <a:rPr lang="en-US" sz="1000" b="1" dirty="0" err="1">
                <a:latin typeface="+mj-lt"/>
              </a:rPr>
              <a:t>vintaxe</a:t>
            </a:r>
            <a:r>
              <a:rPr lang="en-US" sz="1000" b="1" dirty="0">
                <a:latin typeface="+mj-lt"/>
              </a:rPr>
              <a:t> </a:t>
            </a:r>
            <a:r>
              <a:rPr lang="en-US" sz="1000" b="1" dirty="0" err="1">
                <a:latin typeface="+mj-lt"/>
              </a:rPr>
              <a:t>ellert</a:t>
            </a:r>
            <a:r>
              <a:rPr lang="en-US" sz="1000" b="1" dirty="0">
                <a:latin typeface="+mj-lt"/>
              </a:rPr>
              <a:t>. Lorem ipsum e </a:t>
            </a:r>
            <a:r>
              <a:rPr lang="en-US" sz="1000" b="1" dirty="0" err="1">
                <a:latin typeface="+mj-lt"/>
              </a:rPr>
              <a:t>dolore</a:t>
            </a:r>
            <a:r>
              <a:rPr lang="en-US" sz="1000" b="1" dirty="0">
                <a:latin typeface="+mj-lt"/>
              </a:rPr>
              <a:t> sit </a:t>
            </a:r>
            <a:r>
              <a:rPr lang="en-US" sz="1000" b="1" dirty="0" err="1">
                <a:latin typeface="+mj-lt"/>
              </a:rPr>
              <a:t>amet</a:t>
            </a:r>
            <a:r>
              <a:rPr lang="en-US" sz="1000" b="1" dirty="0">
                <a:latin typeface="+mj-lt"/>
              </a:rPr>
              <a:t> con </a:t>
            </a:r>
            <a:r>
              <a:rPr lang="en-US" sz="1000" b="1" dirty="0" err="1">
                <a:latin typeface="+mj-lt"/>
              </a:rPr>
              <a:t>secuatur</a:t>
            </a:r>
            <a:r>
              <a:rPr lang="en-US" sz="1000" b="1" dirty="0">
                <a:latin typeface="+mj-lt"/>
              </a:rPr>
              <a:t> </a:t>
            </a:r>
            <a:r>
              <a:rPr lang="en-US" sz="1000" b="1" dirty="0" err="1">
                <a:latin typeface="+mj-lt"/>
              </a:rPr>
              <a:t>voltare</a:t>
            </a:r>
            <a:r>
              <a:rPr lang="en-US" sz="1000" b="1" dirty="0">
                <a:latin typeface="+mj-lt"/>
              </a:rPr>
              <a:t> sans </a:t>
            </a:r>
            <a:r>
              <a:rPr lang="en-US" sz="1000" b="1" dirty="0" err="1">
                <a:latin typeface="+mj-lt"/>
              </a:rPr>
              <a:t>hitre</a:t>
            </a:r>
            <a:r>
              <a:rPr lang="en-US" sz="1000" b="1" dirty="0">
                <a:latin typeface="+mj-lt"/>
              </a:rPr>
              <a:t> </a:t>
            </a:r>
            <a:r>
              <a:rPr lang="en-US" sz="1000" b="1" dirty="0" err="1">
                <a:latin typeface="+mj-lt"/>
              </a:rPr>
              <a:t>vintaxe</a:t>
            </a:r>
            <a:r>
              <a:rPr lang="en-US" sz="1000" b="1" dirty="0">
                <a:latin typeface="+mj-lt"/>
              </a:rPr>
              <a:t> </a:t>
            </a:r>
            <a:r>
              <a:rPr lang="en-US" sz="1000" b="1" dirty="0" err="1">
                <a:latin typeface="+mj-lt"/>
              </a:rPr>
              <a:t>ellert</a:t>
            </a:r>
            <a:r>
              <a:rPr lang="en-US" sz="1000" b="1" dirty="0">
                <a:latin typeface="+mj-lt"/>
              </a:rPr>
              <a:t>. Lorem ipsum e </a:t>
            </a:r>
            <a:r>
              <a:rPr lang="en-US" sz="1000" b="1" dirty="0" err="1">
                <a:latin typeface="+mj-lt"/>
              </a:rPr>
              <a:t>dolore</a:t>
            </a:r>
            <a:r>
              <a:rPr lang="en-US" sz="1000" b="1" dirty="0">
                <a:latin typeface="+mj-lt"/>
              </a:rPr>
              <a:t> sit </a:t>
            </a:r>
            <a:r>
              <a:rPr lang="en-US" sz="1000" b="1" dirty="0" err="1">
                <a:latin typeface="+mj-lt"/>
              </a:rPr>
              <a:t>amet</a:t>
            </a:r>
            <a:r>
              <a:rPr lang="en-US" sz="1000" b="1" dirty="0">
                <a:latin typeface="+mj-lt"/>
              </a:rPr>
              <a:t> con </a:t>
            </a:r>
            <a:r>
              <a:rPr lang="en-US" sz="1000" b="1" dirty="0" err="1">
                <a:latin typeface="+mj-lt"/>
              </a:rPr>
              <a:t>secuatur</a:t>
            </a:r>
            <a:r>
              <a:rPr lang="en-US" sz="1000" b="1" dirty="0">
                <a:latin typeface="+mj-lt"/>
              </a:rPr>
              <a:t> </a:t>
            </a:r>
            <a:r>
              <a:rPr lang="en-US" sz="1000" b="1" dirty="0" err="1">
                <a:latin typeface="+mj-lt"/>
              </a:rPr>
              <a:t>voltare</a:t>
            </a:r>
            <a:r>
              <a:rPr lang="en-US" sz="1000" b="1" dirty="0">
                <a:latin typeface="+mj-lt"/>
              </a:rPr>
              <a:t> sans </a:t>
            </a:r>
            <a:r>
              <a:rPr lang="en-US" sz="1000" b="1" dirty="0" err="1">
                <a:latin typeface="+mj-lt"/>
              </a:rPr>
              <a:t>hitre</a:t>
            </a:r>
            <a:r>
              <a:rPr lang="en-US" sz="1000" b="1" dirty="0">
                <a:latin typeface="+mj-lt"/>
              </a:rPr>
              <a:t> </a:t>
            </a:r>
            <a:r>
              <a:rPr lang="en-US" sz="1000" b="1" dirty="0" err="1">
                <a:latin typeface="+mj-lt"/>
              </a:rPr>
              <a:t>vintaxe</a:t>
            </a:r>
            <a:r>
              <a:rPr lang="en-US" sz="1000" b="1" dirty="0">
                <a:latin typeface="+mj-lt"/>
              </a:rPr>
              <a:t> </a:t>
            </a:r>
            <a:r>
              <a:rPr lang="en-US" sz="1000" b="1" dirty="0" err="1">
                <a:latin typeface="+mj-lt"/>
              </a:rPr>
              <a:t>ellert</a:t>
            </a:r>
            <a:r>
              <a:rPr lang="en-US" sz="1000" b="1" dirty="0">
                <a:latin typeface="+mj-lt"/>
              </a:rPr>
              <a:t>. Lorem ipsum e </a:t>
            </a:r>
            <a:r>
              <a:rPr lang="en-US" sz="1000" b="1" dirty="0" err="1">
                <a:latin typeface="+mj-lt"/>
              </a:rPr>
              <a:t>dolore</a:t>
            </a:r>
            <a:r>
              <a:rPr lang="en-US" sz="1000" b="1" dirty="0">
                <a:latin typeface="+mj-lt"/>
              </a:rPr>
              <a:t> sit </a:t>
            </a:r>
            <a:r>
              <a:rPr lang="en-US" sz="1000" b="1" dirty="0" err="1">
                <a:latin typeface="+mj-lt"/>
              </a:rPr>
              <a:t>amet</a:t>
            </a:r>
            <a:r>
              <a:rPr lang="en-US" sz="1000" b="1" dirty="0">
                <a:latin typeface="+mj-lt"/>
              </a:rPr>
              <a:t> con </a:t>
            </a:r>
            <a:r>
              <a:rPr lang="en-US" sz="1000" b="1" dirty="0" err="1">
                <a:latin typeface="+mj-lt"/>
              </a:rPr>
              <a:t>secuatur</a:t>
            </a:r>
            <a:r>
              <a:rPr lang="en-US" sz="1000" b="1" dirty="0">
                <a:latin typeface="+mj-lt"/>
              </a:rPr>
              <a:t> </a:t>
            </a:r>
            <a:r>
              <a:rPr lang="en-US" sz="1000" b="1" dirty="0" err="1">
                <a:latin typeface="+mj-lt"/>
              </a:rPr>
              <a:t>voltare</a:t>
            </a:r>
            <a:r>
              <a:rPr lang="en-US" sz="1000" b="1" dirty="0">
                <a:latin typeface="+mj-lt"/>
              </a:rPr>
              <a:t> sans </a:t>
            </a:r>
            <a:r>
              <a:rPr lang="en-US" sz="1000" b="1" dirty="0" err="1">
                <a:latin typeface="+mj-lt"/>
              </a:rPr>
              <a:t>hitre</a:t>
            </a:r>
            <a:r>
              <a:rPr lang="en-US" sz="1000" b="1" dirty="0">
                <a:latin typeface="+mj-lt"/>
              </a:rPr>
              <a:t> </a:t>
            </a:r>
            <a:r>
              <a:rPr lang="en-US" sz="1000" b="1" dirty="0" err="1">
                <a:latin typeface="+mj-lt"/>
              </a:rPr>
              <a:t>vintaxe</a:t>
            </a:r>
            <a:r>
              <a:rPr lang="en-US" sz="1000" b="1" dirty="0">
                <a:latin typeface="+mj-lt"/>
              </a:rPr>
              <a:t> </a:t>
            </a:r>
            <a:r>
              <a:rPr lang="en-US" sz="1000" b="1" dirty="0" err="1">
                <a:latin typeface="+mj-lt"/>
              </a:rPr>
              <a:t>ellert</a:t>
            </a:r>
            <a:r>
              <a:rPr lang="en-US" sz="1000" b="1" dirty="0">
                <a:latin typeface="+mj-lt"/>
              </a:rPr>
              <a:t>.</a:t>
            </a:r>
          </a:p>
        </p:txBody>
      </p:sp>
      <p:sp>
        <p:nvSpPr>
          <p:cNvPr id="13" name="Content Placeholder 12"/>
          <p:cNvSpPr>
            <a:spLocks noGrp="1"/>
          </p:cNvSpPr>
          <p:nvPr>
            <p:ph sz="quarter" idx="16" hasCustomPrompt="1"/>
          </p:nvPr>
        </p:nvSpPr>
        <p:spPr>
          <a:xfrm>
            <a:off x="7991475" y="6488720"/>
            <a:ext cx="908050" cy="377825"/>
          </a:xfrm>
        </p:spPr>
        <p:txBody>
          <a:bodyPr anchor="b"/>
          <a:lstStyle>
            <a:lvl1pPr algn="r">
              <a:spcBef>
                <a:spcPts val="0"/>
              </a:spcBef>
              <a:defRPr sz="700" b="0">
                <a:solidFill>
                  <a:schemeClr val="tx1"/>
                </a:solidFill>
              </a:defRPr>
            </a:lvl1pPr>
            <a:lvl2pPr algn="r">
              <a:defRPr sz="700" b="0">
                <a:solidFill>
                  <a:schemeClr val="tx1"/>
                </a:solidFill>
              </a:defRPr>
            </a:lvl2pPr>
            <a:lvl3pPr algn="r">
              <a:defRPr sz="700" b="0">
                <a:solidFill>
                  <a:schemeClr val="tx1"/>
                </a:solidFill>
              </a:defRPr>
            </a:lvl3pPr>
            <a:lvl4pPr algn="r">
              <a:defRPr sz="700" b="0">
                <a:solidFill>
                  <a:schemeClr val="tx1"/>
                </a:solidFill>
              </a:defRPr>
            </a:lvl4pPr>
            <a:lvl5pPr algn="r">
              <a:defRPr sz="700" b="0">
                <a:solidFill>
                  <a:schemeClr val="tx1"/>
                </a:solidFill>
              </a:defRPr>
            </a:lvl5pPr>
          </a:lstStyle>
          <a:p>
            <a:pPr lvl="0"/>
            <a:r>
              <a:rPr lang="en-US" dirty="0"/>
              <a:t>1.000000.100</a:t>
            </a:r>
          </a:p>
          <a:p>
            <a:pPr lvl="0"/>
            <a:r>
              <a:rPr lang="en-US" dirty="0"/>
              <a:t>MMYY</a:t>
            </a:r>
          </a:p>
        </p:txBody>
      </p:sp>
    </p:spTree>
    <p:extLst>
      <p:ext uri="{BB962C8B-B14F-4D97-AF65-F5344CB8AC3E}">
        <p14:creationId xmlns:p14="http://schemas.microsoft.com/office/powerpoint/2010/main" val="39571403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Bulleted List - with subhead">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41248"/>
          </a:xfrm>
        </p:spPr>
        <p:txBody>
          <a:bodyPr/>
          <a:lstStyle/>
          <a:p>
            <a:r>
              <a:rPr lang="en-US"/>
              <a:t>Click to edit Master title style</a:t>
            </a:r>
            <a:endParaRPr lang="en-US" dirty="0"/>
          </a:p>
        </p:txBody>
      </p:sp>
      <p:sp>
        <p:nvSpPr>
          <p:cNvPr id="11" name="Content Placeholder 2"/>
          <p:cNvSpPr>
            <a:spLocks noGrp="1"/>
          </p:cNvSpPr>
          <p:nvPr>
            <p:ph idx="12"/>
          </p:nvPr>
        </p:nvSpPr>
        <p:spPr>
          <a:xfrm>
            <a:off x="317115" y="1339850"/>
            <a:ext cx="8188710" cy="4878388"/>
          </a:xfrm>
        </p:spPr>
        <p:txBody>
          <a:bodyPr lIns="91440"/>
          <a:lstStyle>
            <a:lvl1pPr marL="0" indent="0" algn="l" rtl="0" fontAlgn="base">
              <a:spcBef>
                <a:spcPts val="480"/>
              </a:spcBef>
              <a:spcAft>
                <a:spcPct val="0"/>
              </a:spcAft>
              <a:buSzPct val="40000"/>
              <a:defRPr lang="en-US" sz="1600" b="1" dirty="0" smtClean="0">
                <a:solidFill>
                  <a:srgbClr val="7A9B3D"/>
                </a:solidFill>
                <a:latin typeface="+mn-lt"/>
                <a:ea typeface="+mn-ea"/>
                <a:cs typeface="+mn-cs"/>
              </a:defRPr>
            </a:lvl1pPr>
            <a:lvl2pPr marL="114300" indent="-114300">
              <a:spcBef>
                <a:spcPts val="288"/>
              </a:spcBef>
              <a:buClr>
                <a:srgbClr val="7A9B3D"/>
              </a:buClr>
              <a:defRPr lang="en-US" dirty="0" smtClean="0">
                <a:solidFill>
                  <a:srgbClr val="000000"/>
                </a:solidFill>
                <a:latin typeface="+mn-lt"/>
              </a:defRPr>
            </a:lvl2pPr>
            <a:lvl3pPr marL="228600" indent="-114300">
              <a:buClr>
                <a:srgbClr val="768692"/>
              </a:buClr>
              <a:defRPr lang="en-US" sz="1200" dirty="0" smtClean="0">
                <a:solidFill>
                  <a:srgbClr val="000000"/>
                </a:solidFill>
                <a:latin typeface="+mn-lt"/>
              </a:defRPr>
            </a:lvl3pPr>
            <a:lvl4pPr marL="342900" indent="-114300">
              <a:buClr>
                <a:srgbClr val="000000"/>
              </a:buClr>
              <a:buSzPct val="100000"/>
              <a:buFont typeface="Arial" pitchFamily="34" charset="0"/>
              <a:buChar char="•"/>
              <a:defRPr sz="1200">
                <a:solidFill>
                  <a:srgbClr val="000000"/>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13"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r>
              <a:rPr lang="en-US"/>
              <a:t>201607-20094</a:t>
            </a:r>
            <a:endParaRPr lang="en-US" dirty="0"/>
          </a:p>
        </p:txBody>
      </p:sp>
      <p:grpSp>
        <p:nvGrpSpPr>
          <p:cNvPr id="14" name="Group 13"/>
          <p:cNvGrpSpPr/>
          <p:nvPr userDrawn="1"/>
        </p:nvGrpSpPr>
        <p:grpSpPr>
          <a:xfrm>
            <a:off x="7364320" y="6412511"/>
            <a:ext cx="1371600" cy="283464"/>
            <a:chOff x="4291013" y="3178175"/>
            <a:chExt cx="3197225" cy="688975"/>
          </a:xfrm>
        </p:grpSpPr>
        <p:sp>
          <p:nvSpPr>
            <p:cNvPr id="15"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40"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181809956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8" name="Footer Placeholder 4"/>
          <p:cNvSpPr>
            <a:spLocks noGrp="1"/>
          </p:cNvSpPr>
          <p:nvPr>
            <p:ph type="ftr" sz="quarter" idx="15"/>
          </p:nvPr>
        </p:nvSpPr>
        <p:spPr>
          <a:xfrm>
            <a:off x="320040" y="6483290"/>
            <a:ext cx="3933825" cy="172486"/>
          </a:xfrm>
        </p:spPr>
        <p:txBody>
          <a:bodyPr/>
          <a:lstStyle>
            <a:lvl1pPr algn="r">
              <a:defRPr smtClean="0">
                <a:solidFill>
                  <a:srgbClr val="000000"/>
                </a:solidFill>
              </a:defRPr>
            </a:lvl1pPr>
          </a:lstStyle>
          <a:p>
            <a:pPr algn="l">
              <a:defRPr/>
            </a:pPr>
            <a:r>
              <a:rPr lang="en-US"/>
              <a:t>For institutional use only.</a:t>
            </a:r>
            <a:endParaRPr lang="en-US" dirty="0"/>
          </a:p>
        </p:txBody>
      </p:sp>
      <p:sp>
        <p:nvSpPr>
          <p:cNvPr id="9"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endParaRPr lang="en-US" dirty="0"/>
          </a:p>
        </p:txBody>
      </p:sp>
      <p:grpSp>
        <p:nvGrpSpPr>
          <p:cNvPr id="10" name="Group 9"/>
          <p:cNvGrpSpPr/>
          <p:nvPr userDrawn="1"/>
        </p:nvGrpSpPr>
        <p:grpSpPr>
          <a:xfrm>
            <a:off x="7364320" y="6412511"/>
            <a:ext cx="1371600" cy="283464"/>
            <a:chOff x="4291013" y="3178175"/>
            <a:chExt cx="3197225" cy="688975"/>
          </a:xfrm>
        </p:grpSpPr>
        <p:sp>
          <p:nvSpPr>
            <p:cNvPr id="11"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2"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3"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4"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5"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6"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7"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8"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19"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0"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1"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2"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3"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4"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5"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6"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7"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8"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29"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0"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1"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2"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3"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4"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sp>
          <p:nvSpPr>
            <p:cNvPr id="35"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Arial"/>
                <a:cs typeface="+mn-cs"/>
              </a:endParaRPr>
            </a:p>
          </p:txBody>
        </p:sp>
      </p:grpSp>
      <p:sp>
        <p:nvSpPr>
          <p:cNvPr id="36"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269350409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2_FIAM_External_Print_Cover">
    <p:spTree>
      <p:nvGrpSpPr>
        <p:cNvPr id="1" name=""/>
        <p:cNvGrpSpPr/>
        <p:nvPr/>
      </p:nvGrpSpPr>
      <p:grpSpPr>
        <a:xfrm>
          <a:off x="0" y="0"/>
          <a:ext cx="0" cy="0"/>
          <a:chOff x="0" y="0"/>
          <a:chExt cx="0" cy="0"/>
        </a:xfrm>
      </p:grpSpPr>
      <p:pic>
        <p:nvPicPr>
          <p:cNvPr id="45" name="Picture 4" descr="C:\Users\a216024\Desktop\stuff\_PPT_107\PowerPoint_Templates_Samples\_10x7.5_Templates\NEW_FIAM\Covers_secondary_slides\2-7_Covers\LightGray_grayscale.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12688" b="17606"/>
          <a:stretch/>
        </p:blipFill>
        <p:spPr bwMode="auto">
          <a:xfrm>
            <a:off x="0" y="0"/>
            <a:ext cx="9144000" cy="3646714"/>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5" descr="C:\Users\a216024\Desktop\stuff\_PPT_107\PowerPoint_Templates_Samples\_10x7.5_Templates\NEW_FIAM\Covers_secondary_slides\2-7_Covers\ColorBar.png"/>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l="1379" r="1716"/>
          <a:stretch/>
        </p:blipFill>
        <p:spPr bwMode="auto">
          <a:xfrm>
            <a:off x="0" y="3481388"/>
            <a:ext cx="9144000" cy="219075"/>
          </a:xfrm>
          <a:prstGeom prst="rect">
            <a:avLst/>
          </a:prstGeom>
          <a:noFill/>
          <a:extLst>
            <a:ext uri="{909E8E84-426E-40DD-AFC4-6F175D3DCCD1}">
              <a14:hiddenFill xmlns:a14="http://schemas.microsoft.com/office/drawing/2010/main">
                <a:solidFill>
                  <a:srgbClr val="FFFFFF"/>
                </a:solidFill>
              </a14:hiddenFill>
            </a:ext>
          </a:extLst>
        </p:spPr>
      </p:pic>
      <p:grpSp>
        <p:nvGrpSpPr>
          <p:cNvPr id="80" name="Group 79"/>
          <p:cNvGrpSpPr/>
          <p:nvPr userDrawn="1"/>
        </p:nvGrpSpPr>
        <p:grpSpPr>
          <a:xfrm>
            <a:off x="6970734" y="6128901"/>
            <a:ext cx="1839928" cy="396052"/>
            <a:chOff x="6923088" y="4475163"/>
            <a:chExt cx="1873251" cy="403225"/>
          </a:xfrm>
        </p:grpSpPr>
        <p:sp>
          <p:nvSpPr>
            <p:cNvPr id="81" name="AutoShape 4"/>
            <p:cNvSpPr>
              <a:spLocks noChangeAspect="1" noChangeArrowheads="1" noTextEdit="1"/>
            </p:cNvSpPr>
            <p:nvPr userDrawn="1"/>
          </p:nvSpPr>
          <p:spPr bwMode="auto">
            <a:xfrm>
              <a:off x="6923088" y="4475163"/>
              <a:ext cx="18732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82" name="Freeform 6"/>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83" name="Freeform 7"/>
            <p:cNvSpPr>
              <a:spLocks/>
            </p:cNvSpPr>
            <p:nvPr userDrawn="1"/>
          </p:nvSpPr>
          <p:spPr bwMode="auto">
            <a:xfrm>
              <a:off x="6929438" y="4483101"/>
              <a:ext cx="376238" cy="376238"/>
            </a:xfrm>
            <a:custGeom>
              <a:avLst/>
              <a:gdLst>
                <a:gd name="T0" fmla="*/ 118 w 237"/>
                <a:gd name="T1" fmla="*/ 237 h 237"/>
                <a:gd name="T2" fmla="*/ 142 w 237"/>
                <a:gd name="T3" fmla="*/ 235 h 237"/>
                <a:gd name="T4" fmla="*/ 165 w 237"/>
                <a:gd name="T5" fmla="*/ 228 h 237"/>
                <a:gd name="T6" fmla="*/ 185 w 237"/>
                <a:gd name="T7" fmla="*/ 217 h 237"/>
                <a:gd name="T8" fmla="*/ 202 w 237"/>
                <a:gd name="T9" fmla="*/ 202 h 237"/>
                <a:gd name="T10" fmla="*/ 217 w 237"/>
                <a:gd name="T11" fmla="*/ 185 h 237"/>
                <a:gd name="T12" fmla="*/ 228 w 237"/>
                <a:gd name="T13" fmla="*/ 165 h 237"/>
                <a:gd name="T14" fmla="*/ 235 w 237"/>
                <a:gd name="T15" fmla="*/ 142 h 237"/>
                <a:gd name="T16" fmla="*/ 237 w 237"/>
                <a:gd name="T17" fmla="*/ 119 h 237"/>
                <a:gd name="T18" fmla="*/ 236 w 237"/>
                <a:gd name="T19" fmla="*/ 106 h 237"/>
                <a:gd name="T20" fmla="*/ 232 w 237"/>
                <a:gd name="T21" fmla="*/ 84 h 237"/>
                <a:gd name="T22" fmla="*/ 223 w 237"/>
                <a:gd name="T23" fmla="*/ 62 h 237"/>
                <a:gd name="T24" fmla="*/ 210 w 237"/>
                <a:gd name="T25" fmla="*/ 43 h 237"/>
                <a:gd name="T26" fmla="*/ 194 w 237"/>
                <a:gd name="T27" fmla="*/ 27 h 237"/>
                <a:gd name="T28" fmla="*/ 175 w 237"/>
                <a:gd name="T29" fmla="*/ 15 h 237"/>
                <a:gd name="T30" fmla="*/ 154 w 237"/>
                <a:gd name="T31" fmla="*/ 6 h 237"/>
                <a:gd name="T32" fmla="*/ 131 w 237"/>
                <a:gd name="T33" fmla="*/ 1 h 237"/>
                <a:gd name="T34" fmla="*/ 118 w 237"/>
                <a:gd name="T35" fmla="*/ 0 h 237"/>
                <a:gd name="T36" fmla="*/ 94 w 237"/>
                <a:gd name="T37" fmla="*/ 2 h 237"/>
                <a:gd name="T38" fmla="*/ 72 w 237"/>
                <a:gd name="T39" fmla="*/ 9 h 237"/>
                <a:gd name="T40" fmla="*/ 52 w 237"/>
                <a:gd name="T41" fmla="*/ 21 h 237"/>
                <a:gd name="T42" fmla="*/ 35 w 237"/>
                <a:gd name="T43" fmla="*/ 35 h 237"/>
                <a:gd name="T44" fmla="*/ 19 w 237"/>
                <a:gd name="T45" fmla="*/ 52 h 237"/>
                <a:gd name="T46" fmla="*/ 9 w 237"/>
                <a:gd name="T47" fmla="*/ 72 h 237"/>
                <a:gd name="T48" fmla="*/ 2 w 237"/>
                <a:gd name="T49" fmla="*/ 94 h 237"/>
                <a:gd name="T50" fmla="*/ 0 w 237"/>
                <a:gd name="T51" fmla="*/ 119 h 237"/>
                <a:gd name="T52" fmla="*/ 1 w 237"/>
                <a:gd name="T53" fmla="*/ 131 h 237"/>
                <a:gd name="T54" fmla="*/ 5 w 237"/>
                <a:gd name="T55" fmla="*/ 154 h 237"/>
                <a:gd name="T56" fmla="*/ 14 w 237"/>
                <a:gd name="T57" fmla="*/ 175 h 237"/>
                <a:gd name="T58" fmla="*/ 26 w 237"/>
                <a:gd name="T59" fmla="*/ 194 h 237"/>
                <a:gd name="T60" fmla="*/ 43 w 237"/>
                <a:gd name="T61" fmla="*/ 210 h 237"/>
                <a:gd name="T62" fmla="*/ 62 w 237"/>
                <a:gd name="T63" fmla="*/ 223 h 237"/>
                <a:gd name="T64" fmla="*/ 83 w 237"/>
                <a:gd name="T65" fmla="*/ 233 h 237"/>
                <a:gd name="T66" fmla="*/ 106 w 237"/>
                <a:gd name="T67"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7" h="237">
                  <a:moveTo>
                    <a:pt x="118" y="237"/>
                  </a:moveTo>
                  <a:lnTo>
                    <a:pt x="118" y="237"/>
                  </a:lnTo>
                  <a:lnTo>
                    <a:pt x="131" y="237"/>
                  </a:lnTo>
                  <a:lnTo>
                    <a:pt x="142" y="235"/>
                  </a:lnTo>
                  <a:lnTo>
                    <a:pt x="154" y="233"/>
                  </a:lnTo>
                  <a:lnTo>
                    <a:pt x="165" y="228"/>
                  </a:lnTo>
                  <a:lnTo>
                    <a:pt x="175" y="223"/>
                  </a:lnTo>
                  <a:lnTo>
                    <a:pt x="185" y="217"/>
                  </a:lnTo>
                  <a:lnTo>
                    <a:pt x="194" y="210"/>
                  </a:lnTo>
                  <a:lnTo>
                    <a:pt x="202" y="202"/>
                  </a:lnTo>
                  <a:lnTo>
                    <a:pt x="210" y="194"/>
                  </a:lnTo>
                  <a:lnTo>
                    <a:pt x="217" y="185"/>
                  </a:lnTo>
                  <a:lnTo>
                    <a:pt x="223" y="175"/>
                  </a:lnTo>
                  <a:lnTo>
                    <a:pt x="228" y="165"/>
                  </a:lnTo>
                  <a:lnTo>
                    <a:pt x="232" y="154"/>
                  </a:lnTo>
                  <a:lnTo>
                    <a:pt x="235" y="142"/>
                  </a:lnTo>
                  <a:lnTo>
                    <a:pt x="236" y="131"/>
                  </a:lnTo>
                  <a:lnTo>
                    <a:pt x="237" y="119"/>
                  </a:lnTo>
                  <a:lnTo>
                    <a:pt x="237" y="119"/>
                  </a:lnTo>
                  <a:lnTo>
                    <a:pt x="236" y="106"/>
                  </a:lnTo>
                  <a:lnTo>
                    <a:pt x="235" y="94"/>
                  </a:lnTo>
                  <a:lnTo>
                    <a:pt x="232" y="84"/>
                  </a:lnTo>
                  <a:lnTo>
                    <a:pt x="228" y="72"/>
                  </a:lnTo>
                  <a:lnTo>
                    <a:pt x="223" y="62"/>
                  </a:lnTo>
                  <a:lnTo>
                    <a:pt x="217" y="52"/>
                  </a:lnTo>
                  <a:lnTo>
                    <a:pt x="210" y="43"/>
                  </a:lnTo>
                  <a:lnTo>
                    <a:pt x="202" y="35"/>
                  </a:lnTo>
                  <a:lnTo>
                    <a:pt x="194" y="27"/>
                  </a:lnTo>
                  <a:lnTo>
                    <a:pt x="185" y="21"/>
                  </a:lnTo>
                  <a:lnTo>
                    <a:pt x="175" y="15"/>
                  </a:lnTo>
                  <a:lnTo>
                    <a:pt x="165" y="9"/>
                  </a:lnTo>
                  <a:lnTo>
                    <a:pt x="154" y="6"/>
                  </a:lnTo>
                  <a:lnTo>
                    <a:pt x="142" y="2"/>
                  </a:lnTo>
                  <a:lnTo>
                    <a:pt x="131" y="1"/>
                  </a:lnTo>
                  <a:lnTo>
                    <a:pt x="118" y="0"/>
                  </a:lnTo>
                  <a:lnTo>
                    <a:pt x="118" y="0"/>
                  </a:lnTo>
                  <a:lnTo>
                    <a:pt x="106" y="1"/>
                  </a:lnTo>
                  <a:lnTo>
                    <a:pt x="94" y="2"/>
                  </a:lnTo>
                  <a:lnTo>
                    <a:pt x="83" y="6"/>
                  </a:lnTo>
                  <a:lnTo>
                    <a:pt x="72" y="9"/>
                  </a:lnTo>
                  <a:lnTo>
                    <a:pt x="62" y="15"/>
                  </a:lnTo>
                  <a:lnTo>
                    <a:pt x="52" y="21"/>
                  </a:lnTo>
                  <a:lnTo>
                    <a:pt x="43" y="27"/>
                  </a:lnTo>
                  <a:lnTo>
                    <a:pt x="35" y="35"/>
                  </a:lnTo>
                  <a:lnTo>
                    <a:pt x="26" y="43"/>
                  </a:lnTo>
                  <a:lnTo>
                    <a:pt x="19" y="52"/>
                  </a:lnTo>
                  <a:lnTo>
                    <a:pt x="14" y="62"/>
                  </a:lnTo>
                  <a:lnTo>
                    <a:pt x="9" y="72"/>
                  </a:lnTo>
                  <a:lnTo>
                    <a:pt x="5" y="84"/>
                  </a:lnTo>
                  <a:lnTo>
                    <a:pt x="2" y="94"/>
                  </a:lnTo>
                  <a:lnTo>
                    <a:pt x="1" y="106"/>
                  </a:lnTo>
                  <a:lnTo>
                    <a:pt x="0" y="119"/>
                  </a:lnTo>
                  <a:lnTo>
                    <a:pt x="0" y="119"/>
                  </a:lnTo>
                  <a:lnTo>
                    <a:pt x="1" y="131"/>
                  </a:lnTo>
                  <a:lnTo>
                    <a:pt x="2" y="142"/>
                  </a:lnTo>
                  <a:lnTo>
                    <a:pt x="5" y="154"/>
                  </a:lnTo>
                  <a:lnTo>
                    <a:pt x="9" y="165"/>
                  </a:lnTo>
                  <a:lnTo>
                    <a:pt x="14" y="175"/>
                  </a:lnTo>
                  <a:lnTo>
                    <a:pt x="19" y="185"/>
                  </a:lnTo>
                  <a:lnTo>
                    <a:pt x="26" y="194"/>
                  </a:lnTo>
                  <a:lnTo>
                    <a:pt x="35" y="202"/>
                  </a:lnTo>
                  <a:lnTo>
                    <a:pt x="43" y="210"/>
                  </a:lnTo>
                  <a:lnTo>
                    <a:pt x="52" y="217"/>
                  </a:lnTo>
                  <a:lnTo>
                    <a:pt x="62" y="223"/>
                  </a:lnTo>
                  <a:lnTo>
                    <a:pt x="72" y="228"/>
                  </a:lnTo>
                  <a:lnTo>
                    <a:pt x="83" y="233"/>
                  </a:lnTo>
                  <a:lnTo>
                    <a:pt x="94" y="235"/>
                  </a:lnTo>
                  <a:lnTo>
                    <a:pt x="106" y="237"/>
                  </a:lnTo>
                  <a:lnTo>
                    <a:pt x="118" y="2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84" name="Freeform 83"/>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85" name="Freeform 84"/>
            <p:cNvSpPr>
              <a:spLocks/>
            </p:cNvSpPr>
            <p:nvPr userDrawn="1"/>
          </p:nvSpPr>
          <p:spPr bwMode="auto">
            <a:xfrm>
              <a:off x="6923088" y="4475163"/>
              <a:ext cx="387350" cy="369888"/>
            </a:xfrm>
            <a:custGeom>
              <a:avLst/>
              <a:gdLst>
                <a:gd name="T0" fmla="*/ 161 w 244"/>
                <a:gd name="T1" fmla="*/ 152 h 233"/>
                <a:gd name="T2" fmla="*/ 76 w 244"/>
                <a:gd name="T3" fmla="*/ 233 h 233"/>
                <a:gd name="T4" fmla="*/ 55 w 244"/>
                <a:gd name="T5" fmla="*/ 221 h 233"/>
                <a:gd name="T6" fmla="*/ 27 w 244"/>
                <a:gd name="T7" fmla="*/ 197 h 233"/>
                <a:gd name="T8" fmla="*/ 9 w 244"/>
                <a:gd name="T9" fmla="*/ 166 h 233"/>
                <a:gd name="T10" fmla="*/ 2 w 244"/>
                <a:gd name="T11" fmla="*/ 144 h 233"/>
                <a:gd name="T12" fmla="*/ 1 w 244"/>
                <a:gd name="T13" fmla="*/ 108 h 233"/>
                <a:gd name="T14" fmla="*/ 9 w 244"/>
                <a:gd name="T15" fmla="*/ 74 h 233"/>
                <a:gd name="T16" fmla="*/ 21 w 244"/>
                <a:gd name="T17" fmla="*/ 53 h 233"/>
                <a:gd name="T18" fmla="*/ 46 w 244"/>
                <a:gd name="T19" fmla="*/ 26 h 233"/>
                <a:gd name="T20" fmla="*/ 77 w 244"/>
                <a:gd name="T21" fmla="*/ 7 h 233"/>
                <a:gd name="T22" fmla="*/ 96 w 244"/>
                <a:gd name="T23" fmla="*/ 2 h 233"/>
                <a:gd name="T24" fmla="*/ 127 w 244"/>
                <a:gd name="T25" fmla="*/ 0 h 233"/>
                <a:gd name="T26" fmla="*/ 156 w 244"/>
                <a:gd name="T27" fmla="*/ 5 h 233"/>
                <a:gd name="T28" fmla="*/ 177 w 244"/>
                <a:gd name="T29" fmla="*/ 13 h 233"/>
                <a:gd name="T30" fmla="*/ 205 w 244"/>
                <a:gd name="T31" fmla="*/ 33 h 233"/>
                <a:gd name="T32" fmla="*/ 226 w 244"/>
                <a:gd name="T33" fmla="*/ 59 h 233"/>
                <a:gd name="T34" fmla="*/ 237 w 244"/>
                <a:gd name="T35" fmla="*/ 82 h 233"/>
                <a:gd name="T36" fmla="*/ 244 w 244"/>
                <a:gd name="T37" fmla="*/ 119 h 233"/>
                <a:gd name="T38" fmla="*/ 238 w 244"/>
                <a:gd name="T39" fmla="*/ 157 h 233"/>
                <a:gd name="T40" fmla="*/ 223 w 244"/>
                <a:gd name="T41" fmla="*/ 188 h 233"/>
                <a:gd name="T42" fmla="*/ 199 w 244"/>
                <a:gd name="T43" fmla="*/ 215 h 233"/>
                <a:gd name="T44" fmla="*/ 211 w 244"/>
                <a:gd name="T45" fmla="*/ 186 h 233"/>
                <a:gd name="T46" fmla="*/ 152 w 244"/>
                <a:gd name="T47" fmla="*/ 135 h 233"/>
                <a:gd name="T48" fmla="*/ 230 w 244"/>
                <a:gd name="T49" fmla="*/ 146 h 233"/>
                <a:gd name="T50" fmla="*/ 232 w 244"/>
                <a:gd name="T51" fmla="*/ 103 h 233"/>
                <a:gd name="T52" fmla="*/ 156 w 244"/>
                <a:gd name="T53" fmla="*/ 108 h 233"/>
                <a:gd name="T54" fmla="*/ 216 w 244"/>
                <a:gd name="T55" fmla="*/ 62 h 233"/>
                <a:gd name="T56" fmla="*/ 148 w 244"/>
                <a:gd name="T57" fmla="*/ 96 h 233"/>
                <a:gd name="T58" fmla="*/ 184 w 244"/>
                <a:gd name="T59" fmla="*/ 30 h 233"/>
                <a:gd name="T60" fmla="*/ 145 w 244"/>
                <a:gd name="T61" fmla="*/ 13 h 233"/>
                <a:gd name="T62" fmla="*/ 116 w 244"/>
                <a:gd name="T63" fmla="*/ 62 h 233"/>
                <a:gd name="T64" fmla="*/ 102 w 244"/>
                <a:gd name="T65" fmla="*/ 11 h 233"/>
                <a:gd name="T66" fmla="*/ 61 w 244"/>
                <a:gd name="T67" fmla="*/ 28 h 233"/>
                <a:gd name="T68" fmla="*/ 96 w 244"/>
                <a:gd name="T69" fmla="*/ 94 h 233"/>
                <a:gd name="T70" fmla="*/ 29 w 244"/>
                <a:gd name="T71" fmla="*/ 59 h 233"/>
                <a:gd name="T72" fmla="*/ 13 w 244"/>
                <a:gd name="T73" fmla="*/ 98 h 233"/>
                <a:gd name="T74" fmla="*/ 86 w 244"/>
                <a:gd name="T75" fmla="*/ 121 h 233"/>
                <a:gd name="T76" fmla="*/ 14 w 244"/>
                <a:gd name="T77" fmla="*/ 142 h 233"/>
                <a:gd name="T78" fmla="*/ 29 w 244"/>
                <a:gd name="T79" fmla="*/ 183 h 233"/>
                <a:gd name="T80" fmla="*/ 77 w 244"/>
                <a:gd name="T81" fmla="*/ 159 h 233"/>
                <a:gd name="T82" fmla="*/ 93 w 244"/>
                <a:gd name="T83" fmla="*/ 135 h 233"/>
                <a:gd name="T84" fmla="*/ 104 w 244"/>
                <a:gd name="T85"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4" h="233">
                  <a:moveTo>
                    <a:pt x="104" y="144"/>
                  </a:moveTo>
                  <a:lnTo>
                    <a:pt x="148" y="144"/>
                  </a:lnTo>
                  <a:lnTo>
                    <a:pt x="161" y="152"/>
                  </a:lnTo>
                  <a:lnTo>
                    <a:pt x="102" y="152"/>
                  </a:lnTo>
                  <a:lnTo>
                    <a:pt x="79" y="225"/>
                  </a:lnTo>
                  <a:lnTo>
                    <a:pt x="76" y="233"/>
                  </a:lnTo>
                  <a:lnTo>
                    <a:pt x="76" y="233"/>
                  </a:lnTo>
                  <a:lnTo>
                    <a:pt x="66" y="228"/>
                  </a:lnTo>
                  <a:lnTo>
                    <a:pt x="55" y="221"/>
                  </a:lnTo>
                  <a:lnTo>
                    <a:pt x="45" y="214"/>
                  </a:lnTo>
                  <a:lnTo>
                    <a:pt x="36" y="206"/>
                  </a:lnTo>
                  <a:lnTo>
                    <a:pt x="27" y="197"/>
                  </a:lnTo>
                  <a:lnTo>
                    <a:pt x="20" y="187"/>
                  </a:lnTo>
                  <a:lnTo>
                    <a:pt x="14" y="177"/>
                  </a:lnTo>
                  <a:lnTo>
                    <a:pt x="9" y="166"/>
                  </a:lnTo>
                  <a:lnTo>
                    <a:pt x="9" y="166"/>
                  </a:lnTo>
                  <a:lnTo>
                    <a:pt x="5" y="156"/>
                  </a:lnTo>
                  <a:lnTo>
                    <a:pt x="2" y="144"/>
                  </a:lnTo>
                  <a:lnTo>
                    <a:pt x="0" y="132"/>
                  </a:lnTo>
                  <a:lnTo>
                    <a:pt x="0" y="121"/>
                  </a:lnTo>
                  <a:lnTo>
                    <a:pt x="1" y="108"/>
                  </a:lnTo>
                  <a:lnTo>
                    <a:pt x="2" y="96"/>
                  </a:lnTo>
                  <a:lnTo>
                    <a:pt x="5" y="85"/>
                  </a:lnTo>
                  <a:lnTo>
                    <a:pt x="9" y="74"/>
                  </a:lnTo>
                  <a:lnTo>
                    <a:pt x="9" y="74"/>
                  </a:lnTo>
                  <a:lnTo>
                    <a:pt x="14" y="63"/>
                  </a:lnTo>
                  <a:lnTo>
                    <a:pt x="21" y="53"/>
                  </a:lnTo>
                  <a:lnTo>
                    <a:pt x="28" y="43"/>
                  </a:lnTo>
                  <a:lnTo>
                    <a:pt x="36" y="34"/>
                  </a:lnTo>
                  <a:lnTo>
                    <a:pt x="46" y="26"/>
                  </a:lnTo>
                  <a:lnTo>
                    <a:pt x="56" y="19"/>
                  </a:lnTo>
                  <a:lnTo>
                    <a:pt x="67" y="12"/>
                  </a:lnTo>
                  <a:lnTo>
                    <a:pt x="77" y="7"/>
                  </a:lnTo>
                  <a:lnTo>
                    <a:pt x="77" y="7"/>
                  </a:lnTo>
                  <a:lnTo>
                    <a:pt x="87" y="5"/>
                  </a:lnTo>
                  <a:lnTo>
                    <a:pt x="96" y="2"/>
                  </a:lnTo>
                  <a:lnTo>
                    <a:pt x="107" y="0"/>
                  </a:lnTo>
                  <a:lnTo>
                    <a:pt x="116" y="0"/>
                  </a:lnTo>
                  <a:lnTo>
                    <a:pt x="127" y="0"/>
                  </a:lnTo>
                  <a:lnTo>
                    <a:pt x="137" y="0"/>
                  </a:lnTo>
                  <a:lnTo>
                    <a:pt x="146" y="2"/>
                  </a:lnTo>
                  <a:lnTo>
                    <a:pt x="156" y="5"/>
                  </a:lnTo>
                  <a:lnTo>
                    <a:pt x="156" y="5"/>
                  </a:lnTo>
                  <a:lnTo>
                    <a:pt x="166" y="8"/>
                  </a:lnTo>
                  <a:lnTo>
                    <a:pt x="177" y="13"/>
                  </a:lnTo>
                  <a:lnTo>
                    <a:pt x="186" y="19"/>
                  </a:lnTo>
                  <a:lnTo>
                    <a:pt x="196" y="25"/>
                  </a:lnTo>
                  <a:lnTo>
                    <a:pt x="205" y="33"/>
                  </a:lnTo>
                  <a:lnTo>
                    <a:pt x="213" y="41"/>
                  </a:lnTo>
                  <a:lnTo>
                    <a:pt x="220" y="49"/>
                  </a:lnTo>
                  <a:lnTo>
                    <a:pt x="226" y="59"/>
                  </a:lnTo>
                  <a:lnTo>
                    <a:pt x="226" y="59"/>
                  </a:lnTo>
                  <a:lnTo>
                    <a:pt x="232" y="70"/>
                  </a:lnTo>
                  <a:lnTo>
                    <a:pt x="237" y="82"/>
                  </a:lnTo>
                  <a:lnTo>
                    <a:pt x="240" y="94"/>
                  </a:lnTo>
                  <a:lnTo>
                    <a:pt x="243" y="107"/>
                  </a:lnTo>
                  <a:lnTo>
                    <a:pt x="244" y="119"/>
                  </a:lnTo>
                  <a:lnTo>
                    <a:pt x="243" y="132"/>
                  </a:lnTo>
                  <a:lnTo>
                    <a:pt x="241" y="145"/>
                  </a:lnTo>
                  <a:lnTo>
                    <a:pt x="238" y="157"/>
                  </a:lnTo>
                  <a:lnTo>
                    <a:pt x="238" y="157"/>
                  </a:lnTo>
                  <a:lnTo>
                    <a:pt x="232" y="173"/>
                  </a:lnTo>
                  <a:lnTo>
                    <a:pt x="223" y="188"/>
                  </a:lnTo>
                  <a:lnTo>
                    <a:pt x="212" y="202"/>
                  </a:lnTo>
                  <a:lnTo>
                    <a:pt x="206" y="210"/>
                  </a:lnTo>
                  <a:lnTo>
                    <a:pt x="199" y="215"/>
                  </a:lnTo>
                  <a:lnTo>
                    <a:pt x="196" y="210"/>
                  </a:lnTo>
                  <a:lnTo>
                    <a:pt x="166" y="162"/>
                  </a:lnTo>
                  <a:lnTo>
                    <a:pt x="211" y="186"/>
                  </a:lnTo>
                  <a:lnTo>
                    <a:pt x="211" y="186"/>
                  </a:lnTo>
                  <a:lnTo>
                    <a:pt x="212" y="186"/>
                  </a:lnTo>
                  <a:lnTo>
                    <a:pt x="152" y="135"/>
                  </a:lnTo>
                  <a:lnTo>
                    <a:pt x="229" y="146"/>
                  </a:lnTo>
                  <a:lnTo>
                    <a:pt x="229" y="146"/>
                  </a:lnTo>
                  <a:lnTo>
                    <a:pt x="230" y="146"/>
                  </a:lnTo>
                  <a:lnTo>
                    <a:pt x="229" y="146"/>
                  </a:lnTo>
                  <a:lnTo>
                    <a:pt x="157" y="121"/>
                  </a:lnTo>
                  <a:lnTo>
                    <a:pt x="232" y="103"/>
                  </a:lnTo>
                  <a:lnTo>
                    <a:pt x="232" y="103"/>
                  </a:lnTo>
                  <a:lnTo>
                    <a:pt x="232" y="102"/>
                  </a:lnTo>
                  <a:lnTo>
                    <a:pt x="156" y="108"/>
                  </a:lnTo>
                  <a:lnTo>
                    <a:pt x="210" y="67"/>
                  </a:lnTo>
                  <a:lnTo>
                    <a:pt x="216" y="62"/>
                  </a:lnTo>
                  <a:lnTo>
                    <a:pt x="216" y="62"/>
                  </a:lnTo>
                  <a:lnTo>
                    <a:pt x="214" y="62"/>
                  </a:lnTo>
                  <a:lnTo>
                    <a:pt x="158" y="91"/>
                  </a:lnTo>
                  <a:lnTo>
                    <a:pt x="148" y="96"/>
                  </a:lnTo>
                  <a:lnTo>
                    <a:pt x="185" y="30"/>
                  </a:lnTo>
                  <a:lnTo>
                    <a:pt x="185" y="30"/>
                  </a:lnTo>
                  <a:lnTo>
                    <a:pt x="184" y="30"/>
                  </a:lnTo>
                  <a:lnTo>
                    <a:pt x="136" y="88"/>
                  </a:lnTo>
                  <a:lnTo>
                    <a:pt x="145" y="13"/>
                  </a:lnTo>
                  <a:lnTo>
                    <a:pt x="145" y="13"/>
                  </a:lnTo>
                  <a:lnTo>
                    <a:pt x="144" y="13"/>
                  </a:lnTo>
                  <a:lnTo>
                    <a:pt x="122" y="85"/>
                  </a:lnTo>
                  <a:lnTo>
                    <a:pt x="116" y="62"/>
                  </a:lnTo>
                  <a:lnTo>
                    <a:pt x="103" y="11"/>
                  </a:lnTo>
                  <a:lnTo>
                    <a:pt x="103" y="11"/>
                  </a:lnTo>
                  <a:lnTo>
                    <a:pt x="102" y="11"/>
                  </a:lnTo>
                  <a:lnTo>
                    <a:pt x="103" y="16"/>
                  </a:lnTo>
                  <a:lnTo>
                    <a:pt x="108" y="88"/>
                  </a:lnTo>
                  <a:lnTo>
                    <a:pt x="61" y="28"/>
                  </a:lnTo>
                  <a:lnTo>
                    <a:pt x="61" y="28"/>
                  </a:lnTo>
                  <a:lnTo>
                    <a:pt x="61" y="28"/>
                  </a:lnTo>
                  <a:lnTo>
                    <a:pt x="96" y="94"/>
                  </a:lnTo>
                  <a:lnTo>
                    <a:pt x="30" y="59"/>
                  </a:lnTo>
                  <a:lnTo>
                    <a:pt x="30" y="59"/>
                  </a:lnTo>
                  <a:lnTo>
                    <a:pt x="29" y="59"/>
                  </a:lnTo>
                  <a:lnTo>
                    <a:pt x="82" y="102"/>
                  </a:lnTo>
                  <a:lnTo>
                    <a:pt x="88" y="107"/>
                  </a:lnTo>
                  <a:lnTo>
                    <a:pt x="13" y="98"/>
                  </a:lnTo>
                  <a:lnTo>
                    <a:pt x="13" y="98"/>
                  </a:lnTo>
                  <a:lnTo>
                    <a:pt x="13" y="99"/>
                  </a:lnTo>
                  <a:lnTo>
                    <a:pt x="86" y="121"/>
                  </a:lnTo>
                  <a:lnTo>
                    <a:pt x="14" y="142"/>
                  </a:lnTo>
                  <a:lnTo>
                    <a:pt x="14" y="142"/>
                  </a:lnTo>
                  <a:lnTo>
                    <a:pt x="14" y="142"/>
                  </a:lnTo>
                  <a:lnTo>
                    <a:pt x="88" y="133"/>
                  </a:lnTo>
                  <a:lnTo>
                    <a:pt x="29" y="183"/>
                  </a:lnTo>
                  <a:lnTo>
                    <a:pt x="29" y="183"/>
                  </a:lnTo>
                  <a:lnTo>
                    <a:pt x="29" y="184"/>
                  </a:lnTo>
                  <a:lnTo>
                    <a:pt x="30" y="183"/>
                  </a:lnTo>
                  <a:lnTo>
                    <a:pt x="77" y="159"/>
                  </a:lnTo>
                  <a:lnTo>
                    <a:pt x="88" y="142"/>
                  </a:lnTo>
                  <a:lnTo>
                    <a:pt x="101" y="142"/>
                  </a:lnTo>
                  <a:lnTo>
                    <a:pt x="93" y="135"/>
                  </a:lnTo>
                  <a:lnTo>
                    <a:pt x="121" y="89"/>
                  </a:lnTo>
                  <a:lnTo>
                    <a:pt x="104" y="144"/>
                  </a:lnTo>
                  <a:lnTo>
                    <a:pt x="104" y="1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86" name="Freeform 85"/>
            <p:cNvSpPr>
              <a:spLocks/>
            </p:cNvSpPr>
            <p:nvPr userDrawn="1"/>
          </p:nvSpPr>
          <p:spPr bwMode="auto">
            <a:xfrm>
              <a:off x="7337426" y="4533901"/>
              <a:ext cx="265113" cy="266700"/>
            </a:xfrm>
            <a:custGeom>
              <a:avLst/>
              <a:gdLst>
                <a:gd name="T0" fmla="*/ 59 w 167"/>
                <a:gd name="T1" fmla="*/ 168 h 168"/>
                <a:gd name="T2" fmla="*/ 0 w 167"/>
                <a:gd name="T3" fmla="*/ 168 h 168"/>
                <a:gd name="T4" fmla="*/ 47 w 167"/>
                <a:gd name="T5" fmla="*/ 0 h 168"/>
                <a:gd name="T6" fmla="*/ 167 w 167"/>
                <a:gd name="T7" fmla="*/ 0 h 168"/>
                <a:gd name="T8" fmla="*/ 156 w 167"/>
                <a:gd name="T9" fmla="*/ 40 h 168"/>
                <a:gd name="T10" fmla="*/ 94 w 167"/>
                <a:gd name="T11" fmla="*/ 40 h 168"/>
                <a:gd name="T12" fmla="*/ 87 w 167"/>
                <a:gd name="T13" fmla="*/ 68 h 168"/>
                <a:gd name="T14" fmla="*/ 148 w 167"/>
                <a:gd name="T15" fmla="*/ 68 h 168"/>
                <a:gd name="T16" fmla="*/ 137 w 167"/>
                <a:gd name="T17" fmla="*/ 106 h 168"/>
                <a:gd name="T18" fmla="*/ 76 w 167"/>
                <a:gd name="T19" fmla="*/ 106 h 168"/>
                <a:gd name="T20" fmla="*/ 59 w 167"/>
                <a:gd name="T2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68">
                  <a:moveTo>
                    <a:pt x="59" y="168"/>
                  </a:moveTo>
                  <a:lnTo>
                    <a:pt x="0" y="168"/>
                  </a:lnTo>
                  <a:lnTo>
                    <a:pt x="47" y="0"/>
                  </a:lnTo>
                  <a:lnTo>
                    <a:pt x="167" y="0"/>
                  </a:lnTo>
                  <a:lnTo>
                    <a:pt x="156" y="40"/>
                  </a:lnTo>
                  <a:lnTo>
                    <a:pt x="94" y="40"/>
                  </a:lnTo>
                  <a:lnTo>
                    <a:pt x="87" y="68"/>
                  </a:lnTo>
                  <a:lnTo>
                    <a:pt x="148" y="68"/>
                  </a:lnTo>
                  <a:lnTo>
                    <a:pt x="137" y="106"/>
                  </a:lnTo>
                  <a:lnTo>
                    <a:pt x="76" y="106"/>
                  </a:lnTo>
                  <a:lnTo>
                    <a:pt x="59"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87" name="Freeform 86"/>
            <p:cNvSpPr>
              <a:spLocks noEditPoints="1"/>
            </p:cNvSpPr>
            <p:nvPr userDrawn="1"/>
          </p:nvSpPr>
          <p:spPr bwMode="auto">
            <a:xfrm>
              <a:off x="7553326" y="4533901"/>
              <a:ext cx="166688" cy="266700"/>
            </a:xfrm>
            <a:custGeom>
              <a:avLst/>
              <a:gdLst>
                <a:gd name="T0" fmla="*/ 58 w 105"/>
                <a:gd name="T1" fmla="*/ 168 h 168"/>
                <a:gd name="T2" fmla="*/ 0 w 105"/>
                <a:gd name="T3" fmla="*/ 168 h 168"/>
                <a:gd name="T4" fmla="*/ 34 w 105"/>
                <a:gd name="T5" fmla="*/ 46 h 168"/>
                <a:gd name="T6" fmla="*/ 93 w 105"/>
                <a:gd name="T7" fmla="*/ 46 h 168"/>
                <a:gd name="T8" fmla="*/ 58 w 105"/>
                <a:gd name="T9" fmla="*/ 168 h 168"/>
                <a:gd name="T10" fmla="*/ 95 w 105"/>
                <a:gd name="T11" fmla="*/ 34 h 168"/>
                <a:gd name="T12" fmla="*/ 38 w 105"/>
                <a:gd name="T13" fmla="*/ 34 h 168"/>
                <a:gd name="T14" fmla="*/ 47 w 105"/>
                <a:gd name="T15" fmla="*/ 0 h 168"/>
                <a:gd name="T16" fmla="*/ 105 w 105"/>
                <a:gd name="T17" fmla="*/ 0 h 168"/>
                <a:gd name="T18" fmla="*/ 95 w 105"/>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68">
                  <a:moveTo>
                    <a:pt x="58" y="168"/>
                  </a:moveTo>
                  <a:lnTo>
                    <a:pt x="0" y="168"/>
                  </a:lnTo>
                  <a:lnTo>
                    <a:pt x="34" y="46"/>
                  </a:lnTo>
                  <a:lnTo>
                    <a:pt x="93" y="46"/>
                  </a:lnTo>
                  <a:lnTo>
                    <a:pt x="58" y="168"/>
                  </a:lnTo>
                  <a:close/>
                  <a:moveTo>
                    <a:pt x="95" y="34"/>
                  </a:moveTo>
                  <a:lnTo>
                    <a:pt x="38" y="34"/>
                  </a:lnTo>
                  <a:lnTo>
                    <a:pt x="47" y="0"/>
                  </a:lnTo>
                  <a:lnTo>
                    <a:pt x="105"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88" name="Freeform 87"/>
            <p:cNvSpPr>
              <a:spLocks noEditPoints="1"/>
            </p:cNvSpPr>
            <p:nvPr userDrawn="1"/>
          </p:nvSpPr>
          <p:spPr bwMode="auto">
            <a:xfrm>
              <a:off x="7685088" y="4533901"/>
              <a:ext cx="273050" cy="269875"/>
            </a:xfrm>
            <a:custGeom>
              <a:avLst/>
              <a:gdLst>
                <a:gd name="T0" fmla="*/ 125 w 172"/>
                <a:gd name="T1" fmla="*/ 168 h 170"/>
                <a:gd name="T2" fmla="*/ 68 w 172"/>
                <a:gd name="T3" fmla="*/ 168 h 170"/>
                <a:gd name="T4" fmla="*/ 72 w 172"/>
                <a:gd name="T5" fmla="*/ 154 h 170"/>
                <a:gd name="T6" fmla="*/ 72 w 172"/>
                <a:gd name="T7" fmla="*/ 154 h 170"/>
                <a:gd name="T8" fmla="*/ 64 w 172"/>
                <a:gd name="T9" fmla="*/ 161 h 170"/>
                <a:gd name="T10" fmla="*/ 54 w 172"/>
                <a:gd name="T11" fmla="*/ 165 h 170"/>
                <a:gd name="T12" fmla="*/ 44 w 172"/>
                <a:gd name="T13" fmla="*/ 169 h 170"/>
                <a:gd name="T14" fmla="*/ 31 w 172"/>
                <a:gd name="T15" fmla="*/ 170 h 170"/>
                <a:gd name="T16" fmla="*/ 31 w 172"/>
                <a:gd name="T17" fmla="*/ 170 h 170"/>
                <a:gd name="T18" fmla="*/ 24 w 172"/>
                <a:gd name="T19" fmla="*/ 170 h 170"/>
                <a:gd name="T20" fmla="*/ 18 w 172"/>
                <a:gd name="T21" fmla="*/ 169 h 170"/>
                <a:gd name="T22" fmla="*/ 12 w 172"/>
                <a:gd name="T23" fmla="*/ 167 h 170"/>
                <a:gd name="T24" fmla="*/ 9 w 172"/>
                <a:gd name="T25" fmla="*/ 163 h 170"/>
                <a:gd name="T26" fmla="*/ 5 w 172"/>
                <a:gd name="T27" fmla="*/ 160 h 170"/>
                <a:gd name="T28" fmla="*/ 2 w 172"/>
                <a:gd name="T29" fmla="*/ 155 h 170"/>
                <a:gd name="T30" fmla="*/ 0 w 172"/>
                <a:gd name="T31" fmla="*/ 149 h 170"/>
                <a:gd name="T32" fmla="*/ 0 w 172"/>
                <a:gd name="T33" fmla="*/ 142 h 170"/>
                <a:gd name="T34" fmla="*/ 0 w 172"/>
                <a:gd name="T35" fmla="*/ 142 h 170"/>
                <a:gd name="T36" fmla="*/ 2 w 172"/>
                <a:gd name="T37" fmla="*/ 126 h 170"/>
                <a:gd name="T38" fmla="*/ 5 w 172"/>
                <a:gd name="T39" fmla="*/ 106 h 170"/>
                <a:gd name="T40" fmla="*/ 12 w 172"/>
                <a:gd name="T41" fmla="*/ 86 h 170"/>
                <a:gd name="T42" fmla="*/ 20 w 172"/>
                <a:gd name="T43" fmla="*/ 68 h 170"/>
                <a:gd name="T44" fmla="*/ 20 w 172"/>
                <a:gd name="T45" fmla="*/ 68 h 170"/>
                <a:gd name="T46" fmla="*/ 24 w 172"/>
                <a:gd name="T47" fmla="*/ 62 h 170"/>
                <a:gd name="T48" fmla="*/ 29 w 172"/>
                <a:gd name="T49" fmla="*/ 58 h 170"/>
                <a:gd name="T50" fmla="*/ 33 w 172"/>
                <a:gd name="T51" fmla="*/ 53 h 170"/>
                <a:gd name="T52" fmla="*/ 39 w 172"/>
                <a:gd name="T53" fmla="*/ 50 h 170"/>
                <a:gd name="T54" fmla="*/ 45 w 172"/>
                <a:gd name="T55" fmla="*/ 47 h 170"/>
                <a:gd name="T56" fmla="*/ 51 w 172"/>
                <a:gd name="T57" fmla="*/ 45 h 170"/>
                <a:gd name="T58" fmla="*/ 58 w 172"/>
                <a:gd name="T59" fmla="*/ 44 h 170"/>
                <a:gd name="T60" fmla="*/ 65 w 172"/>
                <a:gd name="T61" fmla="*/ 44 h 170"/>
                <a:gd name="T62" fmla="*/ 65 w 172"/>
                <a:gd name="T63" fmla="*/ 44 h 170"/>
                <a:gd name="T64" fmla="*/ 77 w 172"/>
                <a:gd name="T65" fmla="*/ 45 h 170"/>
                <a:gd name="T66" fmla="*/ 86 w 172"/>
                <a:gd name="T67" fmla="*/ 48 h 170"/>
                <a:gd name="T68" fmla="*/ 93 w 172"/>
                <a:gd name="T69" fmla="*/ 53 h 170"/>
                <a:gd name="T70" fmla="*/ 98 w 172"/>
                <a:gd name="T71" fmla="*/ 60 h 170"/>
                <a:gd name="T72" fmla="*/ 114 w 172"/>
                <a:gd name="T73" fmla="*/ 0 h 170"/>
                <a:gd name="T74" fmla="*/ 172 w 172"/>
                <a:gd name="T75" fmla="*/ 0 h 170"/>
                <a:gd name="T76" fmla="*/ 125 w 172"/>
                <a:gd name="T77" fmla="*/ 168 h 170"/>
                <a:gd name="T78" fmla="*/ 81 w 172"/>
                <a:gd name="T79" fmla="*/ 82 h 170"/>
                <a:gd name="T80" fmla="*/ 81 w 172"/>
                <a:gd name="T81" fmla="*/ 82 h 170"/>
                <a:gd name="T82" fmla="*/ 78 w 172"/>
                <a:gd name="T83" fmla="*/ 82 h 170"/>
                <a:gd name="T84" fmla="*/ 74 w 172"/>
                <a:gd name="T85" fmla="*/ 84 h 170"/>
                <a:gd name="T86" fmla="*/ 71 w 172"/>
                <a:gd name="T87" fmla="*/ 86 h 170"/>
                <a:gd name="T88" fmla="*/ 68 w 172"/>
                <a:gd name="T89" fmla="*/ 91 h 170"/>
                <a:gd name="T90" fmla="*/ 68 w 172"/>
                <a:gd name="T91" fmla="*/ 91 h 170"/>
                <a:gd name="T92" fmla="*/ 63 w 172"/>
                <a:gd name="T93" fmla="*/ 106 h 170"/>
                <a:gd name="T94" fmla="*/ 61 w 172"/>
                <a:gd name="T95" fmla="*/ 114 h 170"/>
                <a:gd name="T96" fmla="*/ 60 w 172"/>
                <a:gd name="T97" fmla="*/ 121 h 170"/>
                <a:gd name="T98" fmla="*/ 60 w 172"/>
                <a:gd name="T99" fmla="*/ 121 h 170"/>
                <a:gd name="T100" fmla="*/ 61 w 172"/>
                <a:gd name="T101" fmla="*/ 125 h 170"/>
                <a:gd name="T102" fmla="*/ 63 w 172"/>
                <a:gd name="T103" fmla="*/ 127 h 170"/>
                <a:gd name="T104" fmla="*/ 65 w 172"/>
                <a:gd name="T105" fmla="*/ 129 h 170"/>
                <a:gd name="T106" fmla="*/ 70 w 172"/>
                <a:gd name="T107" fmla="*/ 130 h 170"/>
                <a:gd name="T108" fmla="*/ 70 w 172"/>
                <a:gd name="T109" fmla="*/ 130 h 170"/>
                <a:gd name="T110" fmla="*/ 74 w 172"/>
                <a:gd name="T111" fmla="*/ 129 h 170"/>
                <a:gd name="T112" fmla="*/ 79 w 172"/>
                <a:gd name="T113" fmla="*/ 127 h 170"/>
                <a:gd name="T114" fmla="*/ 91 w 172"/>
                <a:gd name="T115" fmla="*/ 87 h 170"/>
                <a:gd name="T116" fmla="*/ 91 w 172"/>
                <a:gd name="T117" fmla="*/ 87 h 170"/>
                <a:gd name="T118" fmla="*/ 87 w 172"/>
                <a:gd name="T119" fmla="*/ 84 h 170"/>
                <a:gd name="T120" fmla="*/ 81 w 172"/>
                <a:gd name="T121" fmla="*/ 82 h 170"/>
                <a:gd name="T122" fmla="*/ 81 w 172"/>
                <a:gd name="T123" fmla="*/ 8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70">
                  <a:moveTo>
                    <a:pt x="125" y="168"/>
                  </a:moveTo>
                  <a:lnTo>
                    <a:pt x="68" y="168"/>
                  </a:lnTo>
                  <a:lnTo>
                    <a:pt x="72" y="154"/>
                  </a:lnTo>
                  <a:lnTo>
                    <a:pt x="72" y="154"/>
                  </a:lnTo>
                  <a:lnTo>
                    <a:pt x="64" y="161"/>
                  </a:lnTo>
                  <a:lnTo>
                    <a:pt x="54" y="165"/>
                  </a:lnTo>
                  <a:lnTo>
                    <a:pt x="44" y="169"/>
                  </a:lnTo>
                  <a:lnTo>
                    <a:pt x="31" y="170"/>
                  </a:lnTo>
                  <a:lnTo>
                    <a:pt x="31" y="170"/>
                  </a:lnTo>
                  <a:lnTo>
                    <a:pt x="24" y="170"/>
                  </a:lnTo>
                  <a:lnTo>
                    <a:pt x="18" y="169"/>
                  </a:lnTo>
                  <a:lnTo>
                    <a:pt x="12" y="167"/>
                  </a:lnTo>
                  <a:lnTo>
                    <a:pt x="9" y="163"/>
                  </a:lnTo>
                  <a:lnTo>
                    <a:pt x="5" y="160"/>
                  </a:lnTo>
                  <a:lnTo>
                    <a:pt x="2" y="155"/>
                  </a:lnTo>
                  <a:lnTo>
                    <a:pt x="0" y="149"/>
                  </a:lnTo>
                  <a:lnTo>
                    <a:pt x="0" y="142"/>
                  </a:lnTo>
                  <a:lnTo>
                    <a:pt x="0" y="142"/>
                  </a:lnTo>
                  <a:lnTo>
                    <a:pt x="2" y="126"/>
                  </a:lnTo>
                  <a:lnTo>
                    <a:pt x="5" y="106"/>
                  </a:lnTo>
                  <a:lnTo>
                    <a:pt x="12" y="86"/>
                  </a:lnTo>
                  <a:lnTo>
                    <a:pt x="20" y="68"/>
                  </a:lnTo>
                  <a:lnTo>
                    <a:pt x="20" y="68"/>
                  </a:lnTo>
                  <a:lnTo>
                    <a:pt x="24" y="62"/>
                  </a:lnTo>
                  <a:lnTo>
                    <a:pt x="29" y="58"/>
                  </a:lnTo>
                  <a:lnTo>
                    <a:pt x="33" y="53"/>
                  </a:lnTo>
                  <a:lnTo>
                    <a:pt x="39" y="50"/>
                  </a:lnTo>
                  <a:lnTo>
                    <a:pt x="45" y="47"/>
                  </a:lnTo>
                  <a:lnTo>
                    <a:pt x="51" y="45"/>
                  </a:lnTo>
                  <a:lnTo>
                    <a:pt x="58" y="44"/>
                  </a:lnTo>
                  <a:lnTo>
                    <a:pt x="65" y="44"/>
                  </a:lnTo>
                  <a:lnTo>
                    <a:pt x="65" y="44"/>
                  </a:lnTo>
                  <a:lnTo>
                    <a:pt x="77" y="45"/>
                  </a:lnTo>
                  <a:lnTo>
                    <a:pt x="86" y="48"/>
                  </a:lnTo>
                  <a:lnTo>
                    <a:pt x="93" y="53"/>
                  </a:lnTo>
                  <a:lnTo>
                    <a:pt x="98" y="60"/>
                  </a:lnTo>
                  <a:lnTo>
                    <a:pt x="114" y="0"/>
                  </a:lnTo>
                  <a:lnTo>
                    <a:pt x="172" y="0"/>
                  </a:lnTo>
                  <a:lnTo>
                    <a:pt x="125" y="168"/>
                  </a:lnTo>
                  <a:close/>
                  <a:moveTo>
                    <a:pt x="81" y="82"/>
                  </a:moveTo>
                  <a:lnTo>
                    <a:pt x="81" y="82"/>
                  </a:lnTo>
                  <a:lnTo>
                    <a:pt x="78" y="82"/>
                  </a:lnTo>
                  <a:lnTo>
                    <a:pt x="74" y="84"/>
                  </a:lnTo>
                  <a:lnTo>
                    <a:pt x="71" y="86"/>
                  </a:lnTo>
                  <a:lnTo>
                    <a:pt x="68" y="91"/>
                  </a:lnTo>
                  <a:lnTo>
                    <a:pt x="68" y="91"/>
                  </a:lnTo>
                  <a:lnTo>
                    <a:pt x="63" y="106"/>
                  </a:lnTo>
                  <a:lnTo>
                    <a:pt x="61" y="114"/>
                  </a:lnTo>
                  <a:lnTo>
                    <a:pt x="60" y="121"/>
                  </a:lnTo>
                  <a:lnTo>
                    <a:pt x="60" y="121"/>
                  </a:lnTo>
                  <a:lnTo>
                    <a:pt x="61" y="125"/>
                  </a:lnTo>
                  <a:lnTo>
                    <a:pt x="63" y="127"/>
                  </a:lnTo>
                  <a:lnTo>
                    <a:pt x="65" y="129"/>
                  </a:lnTo>
                  <a:lnTo>
                    <a:pt x="70" y="130"/>
                  </a:lnTo>
                  <a:lnTo>
                    <a:pt x="70" y="130"/>
                  </a:lnTo>
                  <a:lnTo>
                    <a:pt x="74" y="129"/>
                  </a:lnTo>
                  <a:lnTo>
                    <a:pt x="79" y="127"/>
                  </a:lnTo>
                  <a:lnTo>
                    <a:pt x="91" y="87"/>
                  </a:lnTo>
                  <a:lnTo>
                    <a:pt x="91" y="87"/>
                  </a:lnTo>
                  <a:lnTo>
                    <a:pt x="87" y="84"/>
                  </a:lnTo>
                  <a:lnTo>
                    <a:pt x="81" y="82"/>
                  </a:lnTo>
                  <a:lnTo>
                    <a:pt x="81"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89" name="Freeform 88"/>
            <p:cNvSpPr>
              <a:spLocks noEditPoints="1"/>
            </p:cNvSpPr>
            <p:nvPr userDrawn="1"/>
          </p:nvSpPr>
          <p:spPr bwMode="auto">
            <a:xfrm>
              <a:off x="7923213" y="4602163"/>
              <a:ext cx="230188" cy="201613"/>
            </a:xfrm>
            <a:custGeom>
              <a:avLst/>
              <a:gdLst>
                <a:gd name="T0" fmla="*/ 58 w 145"/>
                <a:gd name="T1" fmla="*/ 71 h 127"/>
                <a:gd name="T2" fmla="*/ 56 w 145"/>
                <a:gd name="T3" fmla="*/ 80 h 127"/>
                <a:gd name="T4" fmla="*/ 56 w 145"/>
                <a:gd name="T5" fmla="*/ 87 h 127"/>
                <a:gd name="T6" fmla="*/ 57 w 145"/>
                <a:gd name="T7" fmla="*/ 93 h 127"/>
                <a:gd name="T8" fmla="*/ 64 w 145"/>
                <a:gd name="T9" fmla="*/ 97 h 127"/>
                <a:gd name="T10" fmla="*/ 68 w 145"/>
                <a:gd name="T11" fmla="*/ 96 h 127"/>
                <a:gd name="T12" fmla="*/ 75 w 145"/>
                <a:gd name="T13" fmla="*/ 89 h 127"/>
                <a:gd name="T14" fmla="*/ 135 w 145"/>
                <a:gd name="T15" fmla="*/ 82 h 127"/>
                <a:gd name="T16" fmla="*/ 134 w 145"/>
                <a:gd name="T17" fmla="*/ 87 h 127"/>
                <a:gd name="T18" fmla="*/ 128 w 145"/>
                <a:gd name="T19" fmla="*/ 98 h 127"/>
                <a:gd name="T20" fmla="*/ 115 w 145"/>
                <a:gd name="T21" fmla="*/ 111 h 127"/>
                <a:gd name="T22" fmla="*/ 94 w 145"/>
                <a:gd name="T23" fmla="*/ 122 h 127"/>
                <a:gd name="T24" fmla="*/ 72 w 145"/>
                <a:gd name="T25" fmla="*/ 127 h 127"/>
                <a:gd name="T26" fmla="*/ 61 w 145"/>
                <a:gd name="T27" fmla="*/ 127 h 127"/>
                <a:gd name="T28" fmla="*/ 38 w 145"/>
                <a:gd name="T29" fmla="*/ 126 h 127"/>
                <a:gd name="T30" fmla="*/ 18 w 145"/>
                <a:gd name="T31" fmla="*/ 121 h 127"/>
                <a:gd name="T32" fmla="*/ 5 w 145"/>
                <a:gd name="T33" fmla="*/ 110 h 127"/>
                <a:gd name="T34" fmla="*/ 2 w 145"/>
                <a:gd name="T35" fmla="*/ 101 h 127"/>
                <a:gd name="T36" fmla="*/ 0 w 145"/>
                <a:gd name="T37" fmla="*/ 90 h 127"/>
                <a:gd name="T38" fmla="*/ 3 w 145"/>
                <a:gd name="T39" fmla="*/ 75 h 127"/>
                <a:gd name="T40" fmla="*/ 13 w 145"/>
                <a:gd name="T41" fmla="*/ 41 h 127"/>
                <a:gd name="T42" fmla="*/ 22 w 145"/>
                <a:gd name="T43" fmla="*/ 27 h 127"/>
                <a:gd name="T44" fmla="*/ 27 w 145"/>
                <a:gd name="T45" fmla="*/ 19 h 127"/>
                <a:gd name="T46" fmla="*/ 43 w 145"/>
                <a:gd name="T47" fmla="*/ 9 h 127"/>
                <a:gd name="T48" fmla="*/ 59 w 145"/>
                <a:gd name="T49" fmla="*/ 3 h 127"/>
                <a:gd name="T50" fmla="*/ 77 w 145"/>
                <a:gd name="T51" fmla="*/ 1 h 127"/>
                <a:gd name="T52" fmla="*/ 85 w 145"/>
                <a:gd name="T53" fmla="*/ 0 h 127"/>
                <a:gd name="T54" fmla="*/ 109 w 145"/>
                <a:gd name="T55" fmla="*/ 2 h 127"/>
                <a:gd name="T56" fmla="*/ 128 w 145"/>
                <a:gd name="T57" fmla="*/ 8 h 127"/>
                <a:gd name="T58" fmla="*/ 140 w 145"/>
                <a:gd name="T59" fmla="*/ 19 h 127"/>
                <a:gd name="T60" fmla="*/ 145 w 145"/>
                <a:gd name="T61" fmla="*/ 38 h 127"/>
                <a:gd name="T62" fmla="*/ 142 w 145"/>
                <a:gd name="T63" fmla="*/ 53 h 127"/>
                <a:gd name="T64" fmla="*/ 138 w 145"/>
                <a:gd name="T65" fmla="*/ 71 h 127"/>
                <a:gd name="T66" fmla="*/ 80 w 145"/>
                <a:gd name="T67" fmla="*/ 30 h 127"/>
                <a:gd name="T68" fmla="*/ 71 w 145"/>
                <a:gd name="T69" fmla="*/ 35 h 127"/>
                <a:gd name="T70" fmla="*/ 65 w 145"/>
                <a:gd name="T71" fmla="*/ 48 h 127"/>
                <a:gd name="T72" fmla="*/ 88 w 145"/>
                <a:gd name="T73" fmla="*/ 48 h 127"/>
                <a:gd name="T74" fmla="*/ 91 w 145"/>
                <a:gd name="T75" fmla="*/ 39 h 127"/>
                <a:gd name="T76" fmla="*/ 87 w 145"/>
                <a:gd name="T77" fmla="*/ 32 h 127"/>
                <a:gd name="T78" fmla="*/ 80 w 145"/>
                <a:gd name="T79"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 h="127">
                  <a:moveTo>
                    <a:pt x="138" y="71"/>
                  </a:moveTo>
                  <a:lnTo>
                    <a:pt x="58" y="71"/>
                  </a:lnTo>
                  <a:lnTo>
                    <a:pt x="58" y="71"/>
                  </a:lnTo>
                  <a:lnTo>
                    <a:pt x="56" y="80"/>
                  </a:lnTo>
                  <a:lnTo>
                    <a:pt x="56" y="87"/>
                  </a:lnTo>
                  <a:lnTo>
                    <a:pt x="56" y="87"/>
                  </a:lnTo>
                  <a:lnTo>
                    <a:pt x="56" y="90"/>
                  </a:lnTo>
                  <a:lnTo>
                    <a:pt x="57" y="93"/>
                  </a:lnTo>
                  <a:lnTo>
                    <a:pt x="59" y="96"/>
                  </a:lnTo>
                  <a:lnTo>
                    <a:pt x="64" y="97"/>
                  </a:lnTo>
                  <a:lnTo>
                    <a:pt x="64" y="97"/>
                  </a:lnTo>
                  <a:lnTo>
                    <a:pt x="68" y="96"/>
                  </a:lnTo>
                  <a:lnTo>
                    <a:pt x="73" y="93"/>
                  </a:lnTo>
                  <a:lnTo>
                    <a:pt x="75" y="89"/>
                  </a:lnTo>
                  <a:lnTo>
                    <a:pt x="79" y="82"/>
                  </a:lnTo>
                  <a:lnTo>
                    <a:pt x="135" y="82"/>
                  </a:lnTo>
                  <a:lnTo>
                    <a:pt x="135" y="82"/>
                  </a:lnTo>
                  <a:lnTo>
                    <a:pt x="134" y="87"/>
                  </a:lnTo>
                  <a:lnTo>
                    <a:pt x="130" y="93"/>
                  </a:lnTo>
                  <a:lnTo>
                    <a:pt x="128" y="98"/>
                  </a:lnTo>
                  <a:lnTo>
                    <a:pt x="125" y="103"/>
                  </a:lnTo>
                  <a:lnTo>
                    <a:pt x="115" y="111"/>
                  </a:lnTo>
                  <a:lnTo>
                    <a:pt x="105" y="118"/>
                  </a:lnTo>
                  <a:lnTo>
                    <a:pt x="94" y="122"/>
                  </a:lnTo>
                  <a:lnTo>
                    <a:pt x="82" y="125"/>
                  </a:lnTo>
                  <a:lnTo>
                    <a:pt x="72" y="127"/>
                  </a:lnTo>
                  <a:lnTo>
                    <a:pt x="61" y="127"/>
                  </a:lnTo>
                  <a:lnTo>
                    <a:pt x="61" y="127"/>
                  </a:lnTo>
                  <a:lnTo>
                    <a:pt x="50" y="127"/>
                  </a:lnTo>
                  <a:lnTo>
                    <a:pt x="38" y="126"/>
                  </a:lnTo>
                  <a:lnTo>
                    <a:pt x="27" y="125"/>
                  </a:lnTo>
                  <a:lnTo>
                    <a:pt x="18" y="121"/>
                  </a:lnTo>
                  <a:lnTo>
                    <a:pt x="11" y="117"/>
                  </a:lnTo>
                  <a:lnTo>
                    <a:pt x="5" y="110"/>
                  </a:lnTo>
                  <a:lnTo>
                    <a:pt x="4" y="106"/>
                  </a:lnTo>
                  <a:lnTo>
                    <a:pt x="2" y="101"/>
                  </a:lnTo>
                  <a:lnTo>
                    <a:pt x="0" y="90"/>
                  </a:lnTo>
                  <a:lnTo>
                    <a:pt x="0" y="90"/>
                  </a:lnTo>
                  <a:lnTo>
                    <a:pt x="2" y="83"/>
                  </a:lnTo>
                  <a:lnTo>
                    <a:pt x="3" y="75"/>
                  </a:lnTo>
                  <a:lnTo>
                    <a:pt x="6" y="57"/>
                  </a:lnTo>
                  <a:lnTo>
                    <a:pt x="13" y="41"/>
                  </a:lnTo>
                  <a:lnTo>
                    <a:pt x="18" y="32"/>
                  </a:lnTo>
                  <a:lnTo>
                    <a:pt x="22" y="27"/>
                  </a:lnTo>
                  <a:lnTo>
                    <a:pt x="22" y="27"/>
                  </a:lnTo>
                  <a:lnTo>
                    <a:pt x="27" y="19"/>
                  </a:lnTo>
                  <a:lnTo>
                    <a:pt x="34" y="14"/>
                  </a:lnTo>
                  <a:lnTo>
                    <a:pt x="43" y="9"/>
                  </a:lnTo>
                  <a:lnTo>
                    <a:pt x="50" y="5"/>
                  </a:lnTo>
                  <a:lnTo>
                    <a:pt x="59" y="3"/>
                  </a:lnTo>
                  <a:lnTo>
                    <a:pt x="67" y="1"/>
                  </a:lnTo>
                  <a:lnTo>
                    <a:pt x="77" y="1"/>
                  </a:lnTo>
                  <a:lnTo>
                    <a:pt x="85" y="0"/>
                  </a:lnTo>
                  <a:lnTo>
                    <a:pt x="85" y="0"/>
                  </a:lnTo>
                  <a:lnTo>
                    <a:pt x="98" y="1"/>
                  </a:lnTo>
                  <a:lnTo>
                    <a:pt x="109" y="2"/>
                  </a:lnTo>
                  <a:lnTo>
                    <a:pt x="120" y="4"/>
                  </a:lnTo>
                  <a:lnTo>
                    <a:pt x="128" y="8"/>
                  </a:lnTo>
                  <a:lnTo>
                    <a:pt x="135" y="12"/>
                  </a:lnTo>
                  <a:lnTo>
                    <a:pt x="140" y="19"/>
                  </a:lnTo>
                  <a:lnTo>
                    <a:pt x="143" y="28"/>
                  </a:lnTo>
                  <a:lnTo>
                    <a:pt x="145" y="38"/>
                  </a:lnTo>
                  <a:lnTo>
                    <a:pt x="145" y="38"/>
                  </a:lnTo>
                  <a:lnTo>
                    <a:pt x="142" y="53"/>
                  </a:lnTo>
                  <a:lnTo>
                    <a:pt x="138" y="71"/>
                  </a:lnTo>
                  <a:lnTo>
                    <a:pt x="138" y="71"/>
                  </a:lnTo>
                  <a:close/>
                  <a:moveTo>
                    <a:pt x="80" y="30"/>
                  </a:moveTo>
                  <a:lnTo>
                    <a:pt x="80" y="30"/>
                  </a:lnTo>
                  <a:lnTo>
                    <a:pt x="75" y="31"/>
                  </a:lnTo>
                  <a:lnTo>
                    <a:pt x="71" y="35"/>
                  </a:lnTo>
                  <a:lnTo>
                    <a:pt x="67" y="39"/>
                  </a:lnTo>
                  <a:lnTo>
                    <a:pt x="65" y="48"/>
                  </a:lnTo>
                  <a:lnTo>
                    <a:pt x="88" y="48"/>
                  </a:lnTo>
                  <a:lnTo>
                    <a:pt x="88" y="48"/>
                  </a:lnTo>
                  <a:lnTo>
                    <a:pt x="91" y="39"/>
                  </a:lnTo>
                  <a:lnTo>
                    <a:pt x="91" y="39"/>
                  </a:lnTo>
                  <a:lnTo>
                    <a:pt x="89" y="35"/>
                  </a:lnTo>
                  <a:lnTo>
                    <a:pt x="87" y="32"/>
                  </a:lnTo>
                  <a:lnTo>
                    <a:pt x="85" y="31"/>
                  </a:lnTo>
                  <a:lnTo>
                    <a:pt x="80" y="30"/>
                  </a:lnTo>
                  <a:lnTo>
                    <a:pt x="8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0" name="Freeform 89"/>
            <p:cNvSpPr>
              <a:spLocks/>
            </p:cNvSpPr>
            <p:nvPr userDrawn="1"/>
          </p:nvSpPr>
          <p:spPr bwMode="auto">
            <a:xfrm>
              <a:off x="8143876" y="4533901"/>
              <a:ext cx="165100" cy="266700"/>
            </a:xfrm>
            <a:custGeom>
              <a:avLst/>
              <a:gdLst>
                <a:gd name="T0" fmla="*/ 57 w 104"/>
                <a:gd name="T1" fmla="*/ 168 h 168"/>
                <a:gd name="T2" fmla="*/ 0 w 104"/>
                <a:gd name="T3" fmla="*/ 168 h 168"/>
                <a:gd name="T4" fmla="*/ 45 w 104"/>
                <a:gd name="T5" fmla="*/ 0 h 168"/>
                <a:gd name="T6" fmla="*/ 104 w 104"/>
                <a:gd name="T7" fmla="*/ 0 h 168"/>
                <a:gd name="T8" fmla="*/ 57 w 104"/>
                <a:gd name="T9" fmla="*/ 168 h 168"/>
              </a:gdLst>
              <a:ahLst/>
              <a:cxnLst>
                <a:cxn ang="0">
                  <a:pos x="T0" y="T1"/>
                </a:cxn>
                <a:cxn ang="0">
                  <a:pos x="T2" y="T3"/>
                </a:cxn>
                <a:cxn ang="0">
                  <a:pos x="T4" y="T5"/>
                </a:cxn>
                <a:cxn ang="0">
                  <a:pos x="T6" y="T7"/>
                </a:cxn>
                <a:cxn ang="0">
                  <a:pos x="T8" y="T9"/>
                </a:cxn>
              </a:cxnLst>
              <a:rect l="0" t="0" r="r" b="b"/>
              <a:pathLst>
                <a:path w="104" h="168">
                  <a:moveTo>
                    <a:pt x="57" y="168"/>
                  </a:moveTo>
                  <a:lnTo>
                    <a:pt x="0" y="168"/>
                  </a:lnTo>
                  <a:lnTo>
                    <a:pt x="45" y="0"/>
                  </a:lnTo>
                  <a:lnTo>
                    <a:pt x="104" y="0"/>
                  </a:lnTo>
                  <a:lnTo>
                    <a:pt x="57" y="1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1" name="Freeform 90"/>
            <p:cNvSpPr>
              <a:spLocks noEditPoints="1"/>
            </p:cNvSpPr>
            <p:nvPr userDrawn="1"/>
          </p:nvSpPr>
          <p:spPr bwMode="auto">
            <a:xfrm>
              <a:off x="8264526" y="4533901"/>
              <a:ext cx="165100" cy="266700"/>
            </a:xfrm>
            <a:custGeom>
              <a:avLst/>
              <a:gdLst>
                <a:gd name="T0" fmla="*/ 57 w 104"/>
                <a:gd name="T1" fmla="*/ 168 h 168"/>
                <a:gd name="T2" fmla="*/ 0 w 104"/>
                <a:gd name="T3" fmla="*/ 168 h 168"/>
                <a:gd name="T4" fmla="*/ 34 w 104"/>
                <a:gd name="T5" fmla="*/ 46 h 168"/>
                <a:gd name="T6" fmla="*/ 91 w 104"/>
                <a:gd name="T7" fmla="*/ 46 h 168"/>
                <a:gd name="T8" fmla="*/ 57 w 104"/>
                <a:gd name="T9" fmla="*/ 168 h 168"/>
                <a:gd name="T10" fmla="*/ 95 w 104"/>
                <a:gd name="T11" fmla="*/ 34 h 168"/>
                <a:gd name="T12" fmla="*/ 36 w 104"/>
                <a:gd name="T13" fmla="*/ 34 h 168"/>
                <a:gd name="T14" fmla="*/ 47 w 104"/>
                <a:gd name="T15" fmla="*/ 0 h 168"/>
                <a:gd name="T16" fmla="*/ 104 w 104"/>
                <a:gd name="T17" fmla="*/ 0 h 168"/>
                <a:gd name="T18" fmla="*/ 95 w 104"/>
                <a:gd name="T19" fmla="*/ 3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68">
                  <a:moveTo>
                    <a:pt x="57" y="168"/>
                  </a:moveTo>
                  <a:lnTo>
                    <a:pt x="0" y="168"/>
                  </a:lnTo>
                  <a:lnTo>
                    <a:pt x="34" y="46"/>
                  </a:lnTo>
                  <a:lnTo>
                    <a:pt x="91" y="46"/>
                  </a:lnTo>
                  <a:lnTo>
                    <a:pt x="57" y="168"/>
                  </a:lnTo>
                  <a:close/>
                  <a:moveTo>
                    <a:pt x="95" y="34"/>
                  </a:moveTo>
                  <a:lnTo>
                    <a:pt x="36" y="34"/>
                  </a:lnTo>
                  <a:lnTo>
                    <a:pt x="47" y="0"/>
                  </a:lnTo>
                  <a:lnTo>
                    <a:pt x="104" y="0"/>
                  </a:lnTo>
                  <a:lnTo>
                    <a:pt x="95"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2" name="Freeform 91"/>
            <p:cNvSpPr>
              <a:spLocks/>
            </p:cNvSpPr>
            <p:nvPr userDrawn="1"/>
          </p:nvSpPr>
          <p:spPr bwMode="auto">
            <a:xfrm>
              <a:off x="8396288" y="4564063"/>
              <a:ext cx="192088" cy="236538"/>
            </a:xfrm>
            <a:custGeom>
              <a:avLst/>
              <a:gdLst>
                <a:gd name="T0" fmla="*/ 115 w 121"/>
                <a:gd name="T1" fmla="*/ 27 h 149"/>
                <a:gd name="T2" fmla="*/ 121 w 121"/>
                <a:gd name="T3" fmla="*/ 54 h 149"/>
                <a:gd name="T4" fmla="*/ 76 w 121"/>
                <a:gd name="T5" fmla="*/ 54 h 149"/>
                <a:gd name="T6" fmla="*/ 63 w 121"/>
                <a:gd name="T7" fmla="*/ 101 h 149"/>
                <a:gd name="T8" fmla="*/ 63 w 121"/>
                <a:gd name="T9" fmla="*/ 101 h 149"/>
                <a:gd name="T10" fmla="*/ 62 w 121"/>
                <a:gd name="T11" fmla="*/ 107 h 149"/>
                <a:gd name="T12" fmla="*/ 61 w 121"/>
                <a:gd name="T13" fmla="*/ 111 h 149"/>
                <a:gd name="T14" fmla="*/ 61 w 121"/>
                <a:gd name="T15" fmla="*/ 111 h 149"/>
                <a:gd name="T16" fmla="*/ 61 w 121"/>
                <a:gd name="T17" fmla="*/ 115 h 149"/>
                <a:gd name="T18" fmla="*/ 63 w 121"/>
                <a:gd name="T19" fmla="*/ 117 h 149"/>
                <a:gd name="T20" fmla="*/ 67 w 121"/>
                <a:gd name="T21" fmla="*/ 118 h 149"/>
                <a:gd name="T22" fmla="*/ 72 w 121"/>
                <a:gd name="T23" fmla="*/ 118 h 149"/>
                <a:gd name="T24" fmla="*/ 83 w 121"/>
                <a:gd name="T25" fmla="*/ 118 h 149"/>
                <a:gd name="T26" fmla="*/ 75 w 121"/>
                <a:gd name="T27" fmla="*/ 149 h 149"/>
                <a:gd name="T28" fmla="*/ 23 w 121"/>
                <a:gd name="T29" fmla="*/ 149 h 149"/>
                <a:gd name="T30" fmla="*/ 23 w 121"/>
                <a:gd name="T31" fmla="*/ 149 h 149"/>
                <a:gd name="T32" fmla="*/ 18 w 121"/>
                <a:gd name="T33" fmla="*/ 148 h 149"/>
                <a:gd name="T34" fmla="*/ 13 w 121"/>
                <a:gd name="T35" fmla="*/ 148 h 149"/>
                <a:gd name="T36" fmla="*/ 8 w 121"/>
                <a:gd name="T37" fmla="*/ 145 h 149"/>
                <a:gd name="T38" fmla="*/ 6 w 121"/>
                <a:gd name="T39" fmla="*/ 143 h 149"/>
                <a:gd name="T40" fmla="*/ 2 w 121"/>
                <a:gd name="T41" fmla="*/ 139 h 149"/>
                <a:gd name="T42" fmla="*/ 1 w 121"/>
                <a:gd name="T43" fmla="*/ 136 h 149"/>
                <a:gd name="T44" fmla="*/ 0 w 121"/>
                <a:gd name="T45" fmla="*/ 132 h 149"/>
                <a:gd name="T46" fmla="*/ 0 w 121"/>
                <a:gd name="T47" fmla="*/ 128 h 149"/>
                <a:gd name="T48" fmla="*/ 0 w 121"/>
                <a:gd name="T49" fmla="*/ 128 h 149"/>
                <a:gd name="T50" fmla="*/ 0 w 121"/>
                <a:gd name="T51" fmla="*/ 120 h 149"/>
                <a:gd name="T52" fmla="*/ 2 w 121"/>
                <a:gd name="T53" fmla="*/ 111 h 149"/>
                <a:gd name="T54" fmla="*/ 34 w 121"/>
                <a:gd name="T55" fmla="*/ 0 h 149"/>
                <a:gd name="T56" fmla="*/ 91 w 121"/>
                <a:gd name="T57" fmla="*/ 0 h 149"/>
                <a:gd name="T58" fmla="*/ 84 w 121"/>
                <a:gd name="T59" fmla="*/ 27 h 149"/>
                <a:gd name="T60" fmla="*/ 115 w 121"/>
                <a:gd name="T61" fmla="*/ 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49">
                  <a:moveTo>
                    <a:pt x="115" y="27"/>
                  </a:moveTo>
                  <a:lnTo>
                    <a:pt x="121" y="54"/>
                  </a:lnTo>
                  <a:lnTo>
                    <a:pt x="76" y="54"/>
                  </a:lnTo>
                  <a:lnTo>
                    <a:pt x="63" y="101"/>
                  </a:lnTo>
                  <a:lnTo>
                    <a:pt x="63" y="101"/>
                  </a:lnTo>
                  <a:lnTo>
                    <a:pt x="62" y="107"/>
                  </a:lnTo>
                  <a:lnTo>
                    <a:pt x="61" y="111"/>
                  </a:lnTo>
                  <a:lnTo>
                    <a:pt x="61" y="111"/>
                  </a:lnTo>
                  <a:lnTo>
                    <a:pt x="61" y="115"/>
                  </a:lnTo>
                  <a:lnTo>
                    <a:pt x="63" y="117"/>
                  </a:lnTo>
                  <a:lnTo>
                    <a:pt x="67" y="118"/>
                  </a:lnTo>
                  <a:lnTo>
                    <a:pt x="72" y="118"/>
                  </a:lnTo>
                  <a:lnTo>
                    <a:pt x="83" y="118"/>
                  </a:lnTo>
                  <a:lnTo>
                    <a:pt x="75" y="149"/>
                  </a:lnTo>
                  <a:lnTo>
                    <a:pt x="23" y="149"/>
                  </a:lnTo>
                  <a:lnTo>
                    <a:pt x="23" y="149"/>
                  </a:lnTo>
                  <a:lnTo>
                    <a:pt x="18" y="148"/>
                  </a:lnTo>
                  <a:lnTo>
                    <a:pt x="13" y="148"/>
                  </a:lnTo>
                  <a:lnTo>
                    <a:pt x="8" y="145"/>
                  </a:lnTo>
                  <a:lnTo>
                    <a:pt x="6" y="143"/>
                  </a:lnTo>
                  <a:lnTo>
                    <a:pt x="2" y="139"/>
                  </a:lnTo>
                  <a:lnTo>
                    <a:pt x="1" y="136"/>
                  </a:lnTo>
                  <a:lnTo>
                    <a:pt x="0" y="132"/>
                  </a:lnTo>
                  <a:lnTo>
                    <a:pt x="0" y="128"/>
                  </a:lnTo>
                  <a:lnTo>
                    <a:pt x="0" y="128"/>
                  </a:lnTo>
                  <a:lnTo>
                    <a:pt x="0" y="120"/>
                  </a:lnTo>
                  <a:lnTo>
                    <a:pt x="2" y="111"/>
                  </a:lnTo>
                  <a:lnTo>
                    <a:pt x="34" y="0"/>
                  </a:lnTo>
                  <a:lnTo>
                    <a:pt x="91" y="0"/>
                  </a:lnTo>
                  <a:lnTo>
                    <a:pt x="84" y="27"/>
                  </a:lnTo>
                  <a:lnTo>
                    <a:pt x="1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3" name="Freeform 92"/>
            <p:cNvSpPr>
              <a:spLocks/>
            </p:cNvSpPr>
            <p:nvPr userDrawn="1"/>
          </p:nvSpPr>
          <p:spPr bwMode="auto">
            <a:xfrm>
              <a:off x="7321551" y="4830763"/>
              <a:ext cx="38100" cy="46038"/>
            </a:xfrm>
            <a:custGeom>
              <a:avLst/>
              <a:gdLst>
                <a:gd name="T0" fmla="*/ 9 w 24"/>
                <a:gd name="T1" fmla="*/ 0 h 29"/>
                <a:gd name="T2" fmla="*/ 24 w 24"/>
                <a:gd name="T3" fmla="*/ 0 h 29"/>
                <a:gd name="T4" fmla="*/ 15 w 24"/>
                <a:gd name="T5" fmla="*/ 29 h 29"/>
                <a:gd name="T6" fmla="*/ 0 w 24"/>
                <a:gd name="T7" fmla="*/ 29 h 29"/>
                <a:gd name="T8" fmla="*/ 9 w 24"/>
                <a:gd name="T9" fmla="*/ 0 h 29"/>
              </a:gdLst>
              <a:ahLst/>
              <a:cxnLst>
                <a:cxn ang="0">
                  <a:pos x="T0" y="T1"/>
                </a:cxn>
                <a:cxn ang="0">
                  <a:pos x="T2" y="T3"/>
                </a:cxn>
                <a:cxn ang="0">
                  <a:pos x="T4" y="T5"/>
                </a:cxn>
                <a:cxn ang="0">
                  <a:pos x="T6" y="T7"/>
                </a:cxn>
                <a:cxn ang="0">
                  <a:pos x="T8" y="T9"/>
                </a:cxn>
              </a:cxnLst>
              <a:rect l="0" t="0" r="r" b="b"/>
              <a:pathLst>
                <a:path w="24" h="29">
                  <a:moveTo>
                    <a:pt x="9" y="0"/>
                  </a:moveTo>
                  <a:lnTo>
                    <a:pt x="24" y="0"/>
                  </a:lnTo>
                  <a:lnTo>
                    <a:pt x="15"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4" name="Freeform 93"/>
            <p:cNvSpPr>
              <a:spLocks/>
            </p:cNvSpPr>
            <p:nvPr userDrawn="1"/>
          </p:nvSpPr>
          <p:spPr bwMode="auto">
            <a:xfrm>
              <a:off x="7400926" y="4830763"/>
              <a:ext cx="87313" cy="46038"/>
            </a:xfrm>
            <a:custGeom>
              <a:avLst/>
              <a:gdLst>
                <a:gd name="T0" fmla="*/ 10 w 55"/>
                <a:gd name="T1" fmla="*/ 0 h 29"/>
                <a:gd name="T2" fmla="*/ 31 w 55"/>
                <a:gd name="T3" fmla="*/ 0 h 29"/>
                <a:gd name="T4" fmla="*/ 36 w 55"/>
                <a:gd name="T5" fmla="*/ 19 h 29"/>
                <a:gd name="T6" fmla="*/ 36 w 55"/>
                <a:gd name="T7" fmla="*/ 19 h 29"/>
                <a:gd name="T8" fmla="*/ 42 w 55"/>
                <a:gd name="T9" fmla="*/ 0 h 29"/>
                <a:gd name="T10" fmla="*/ 55 w 55"/>
                <a:gd name="T11" fmla="*/ 0 h 29"/>
                <a:gd name="T12" fmla="*/ 46 w 55"/>
                <a:gd name="T13" fmla="*/ 29 h 29"/>
                <a:gd name="T14" fmla="*/ 26 w 55"/>
                <a:gd name="T15" fmla="*/ 29 h 29"/>
                <a:gd name="T16" fmla="*/ 20 w 55"/>
                <a:gd name="T17" fmla="*/ 8 h 29"/>
                <a:gd name="T18" fmla="*/ 20 w 55"/>
                <a:gd name="T19" fmla="*/ 8 h 29"/>
                <a:gd name="T20" fmla="*/ 13 w 55"/>
                <a:gd name="T21" fmla="*/ 29 h 29"/>
                <a:gd name="T22" fmla="*/ 0 w 55"/>
                <a:gd name="T23" fmla="*/ 29 h 29"/>
                <a:gd name="T24" fmla="*/ 10 w 55"/>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9">
                  <a:moveTo>
                    <a:pt x="10" y="0"/>
                  </a:moveTo>
                  <a:lnTo>
                    <a:pt x="31" y="0"/>
                  </a:lnTo>
                  <a:lnTo>
                    <a:pt x="36" y="19"/>
                  </a:lnTo>
                  <a:lnTo>
                    <a:pt x="36" y="19"/>
                  </a:lnTo>
                  <a:lnTo>
                    <a:pt x="42" y="0"/>
                  </a:lnTo>
                  <a:lnTo>
                    <a:pt x="55" y="0"/>
                  </a:lnTo>
                  <a:lnTo>
                    <a:pt x="46" y="29"/>
                  </a:lnTo>
                  <a:lnTo>
                    <a:pt x="26" y="29"/>
                  </a:lnTo>
                  <a:lnTo>
                    <a:pt x="20" y="8"/>
                  </a:lnTo>
                  <a:lnTo>
                    <a:pt x="20" y="8"/>
                  </a:lnTo>
                  <a:lnTo>
                    <a:pt x="13" y="29"/>
                  </a:lnTo>
                  <a:lnTo>
                    <a:pt x="0" y="29"/>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5" name="Freeform 94"/>
            <p:cNvSpPr>
              <a:spLocks/>
            </p:cNvSpPr>
            <p:nvPr userDrawn="1"/>
          </p:nvSpPr>
          <p:spPr bwMode="auto">
            <a:xfrm>
              <a:off x="7531101" y="4830763"/>
              <a:ext cx="76200" cy="46038"/>
            </a:xfrm>
            <a:custGeom>
              <a:avLst/>
              <a:gdLst>
                <a:gd name="T0" fmla="*/ 0 w 48"/>
                <a:gd name="T1" fmla="*/ 0 h 29"/>
                <a:gd name="T2" fmla="*/ 15 w 48"/>
                <a:gd name="T3" fmla="*/ 0 h 29"/>
                <a:gd name="T4" fmla="*/ 19 w 48"/>
                <a:gd name="T5" fmla="*/ 18 h 29"/>
                <a:gd name="T6" fmla="*/ 33 w 48"/>
                <a:gd name="T7" fmla="*/ 0 h 29"/>
                <a:gd name="T8" fmla="*/ 48 w 48"/>
                <a:gd name="T9" fmla="*/ 0 h 29"/>
                <a:gd name="T10" fmla="*/ 24 w 48"/>
                <a:gd name="T11" fmla="*/ 29 h 29"/>
                <a:gd name="T12" fmla="*/ 6 w 48"/>
                <a:gd name="T13" fmla="*/ 29 h 29"/>
                <a:gd name="T14" fmla="*/ 0 w 4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0"/>
                  </a:moveTo>
                  <a:lnTo>
                    <a:pt x="15" y="0"/>
                  </a:lnTo>
                  <a:lnTo>
                    <a:pt x="19" y="18"/>
                  </a:lnTo>
                  <a:lnTo>
                    <a:pt x="33" y="0"/>
                  </a:lnTo>
                  <a:lnTo>
                    <a:pt x="48" y="0"/>
                  </a:lnTo>
                  <a:lnTo>
                    <a:pt x="24" y="29"/>
                  </a:lnTo>
                  <a:lnTo>
                    <a:pt x="6" y="29"/>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6" name="Freeform 95"/>
            <p:cNvSpPr>
              <a:spLocks/>
            </p:cNvSpPr>
            <p:nvPr userDrawn="1"/>
          </p:nvSpPr>
          <p:spPr bwMode="auto">
            <a:xfrm>
              <a:off x="7635876" y="4830763"/>
              <a:ext cx="66675" cy="46038"/>
            </a:xfrm>
            <a:custGeom>
              <a:avLst/>
              <a:gdLst>
                <a:gd name="T0" fmla="*/ 9 w 42"/>
                <a:gd name="T1" fmla="*/ 0 h 29"/>
                <a:gd name="T2" fmla="*/ 42 w 42"/>
                <a:gd name="T3" fmla="*/ 0 h 29"/>
                <a:gd name="T4" fmla="*/ 41 w 42"/>
                <a:gd name="T5" fmla="*/ 5 h 29"/>
                <a:gd name="T6" fmla="*/ 22 w 42"/>
                <a:gd name="T7" fmla="*/ 5 h 29"/>
                <a:gd name="T8" fmla="*/ 20 w 42"/>
                <a:gd name="T9" fmla="*/ 11 h 29"/>
                <a:gd name="T10" fmla="*/ 37 w 42"/>
                <a:gd name="T11" fmla="*/ 11 h 29"/>
                <a:gd name="T12" fmla="*/ 36 w 42"/>
                <a:gd name="T13" fmla="*/ 17 h 29"/>
                <a:gd name="T14" fmla="*/ 17 w 42"/>
                <a:gd name="T15" fmla="*/ 17 h 29"/>
                <a:gd name="T16" fmla="*/ 16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1" y="5"/>
                  </a:lnTo>
                  <a:lnTo>
                    <a:pt x="22" y="5"/>
                  </a:lnTo>
                  <a:lnTo>
                    <a:pt x="20" y="11"/>
                  </a:lnTo>
                  <a:lnTo>
                    <a:pt x="37" y="11"/>
                  </a:lnTo>
                  <a:lnTo>
                    <a:pt x="36" y="17"/>
                  </a:lnTo>
                  <a:lnTo>
                    <a:pt x="17" y="17"/>
                  </a:lnTo>
                  <a:lnTo>
                    <a:pt x="16"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7" name="Freeform 96"/>
            <p:cNvSpPr>
              <a:spLocks/>
            </p:cNvSpPr>
            <p:nvPr userDrawn="1"/>
          </p:nvSpPr>
          <p:spPr bwMode="auto">
            <a:xfrm>
              <a:off x="7856538" y="4830763"/>
              <a:ext cx="61913" cy="46038"/>
            </a:xfrm>
            <a:custGeom>
              <a:avLst/>
              <a:gdLst>
                <a:gd name="T0" fmla="*/ 11 w 39"/>
                <a:gd name="T1" fmla="*/ 7 h 29"/>
                <a:gd name="T2" fmla="*/ 0 w 39"/>
                <a:gd name="T3" fmla="*/ 7 h 29"/>
                <a:gd name="T4" fmla="*/ 3 w 39"/>
                <a:gd name="T5" fmla="*/ 0 h 29"/>
                <a:gd name="T6" fmla="*/ 39 w 39"/>
                <a:gd name="T7" fmla="*/ 0 h 29"/>
                <a:gd name="T8" fmla="*/ 37 w 39"/>
                <a:gd name="T9" fmla="*/ 7 h 29"/>
                <a:gd name="T10" fmla="*/ 25 w 39"/>
                <a:gd name="T11" fmla="*/ 7 h 29"/>
                <a:gd name="T12" fmla="*/ 19 w 39"/>
                <a:gd name="T13" fmla="*/ 29 h 29"/>
                <a:gd name="T14" fmla="*/ 4 w 39"/>
                <a:gd name="T15" fmla="*/ 29 h 29"/>
                <a:gd name="T16" fmla="*/ 11 w 39"/>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9">
                  <a:moveTo>
                    <a:pt x="11" y="7"/>
                  </a:moveTo>
                  <a:lnTo>
                    <a:pt x="0" y="7"/>
                  </a:lnTo>
                  <a:lnTo>
                    <a:pt x="3" y="0"/>
                  </a:lnTo>
                  <a:lnTo>
                    <a:pt x="39" y="0"/>
                  </a:lnTo>
                  <a:lnTo>
                    <a:pt x="37" y="7"/>
                  </a:lnTo>
                  <a:lnTo>
                    <a:pt x="25" y="7"/>
                  </a:lnTo>
                  <a:lnTo>
                    <a:pt x="19" y="29"/>
                  </a:lnTo>
                  <a:lnTo>
                    <a:pt x="4" y="29"/>
                  </a:lnTo>
                  <a:lnTo>
                    <a:pt x="11"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8" name="Freeform 97"/>
            <p:cNvSpPr>
              <a:spLocks/>
            </p:cNvSpPr>
            <p:nvPr userDrawn="1"/>
          </p:nvSpPr>
          <p:spPr bwMode="auto">
            <a:xfrm>
              <a:off x="7951788" y="4830763"/>
              <a:ext cx="106363" cy="46038"/>
            </a:xfrm>
            <a:custGeom>
              <a:avLst/>
              <a:gdLst>
                <a:gd name="T0" fmla="*/ 8 w 67"/>
                <a:gd name="T1" fmla="*/ 0 h 29"/>
                <a:gd name="T2" fmla="*/ 30 w 67"/>
                <a:gd name="T3" fmla="*/ 0 h 29"/>
                <a:gd name="T4" fmla="*/ 32 w 67"/>
                <a:gd name="T5" fmla="*/ 19 h 29"/>
                <a:gd name="T6" fmla="*/ 32 w 67"/>
                <a:gd name="T7" fmla="*/ 19 h 29"/>
                <a:gd name="T8" fmla="*/ 45 w 67"/>
                <a:gd name="T9" fmla="*/ 0 h 29"/>
                <a:gd name="T10" fmla="*/ 67 w 67"/>
                <a:gd name="T11" fmla="*/ 0 h 29"/>
                <a:gd name="T12" fmla="*/ 57 w 67"/>
                <a:gd name="T13" fmla="*/ 29 h 29"/>
                <a:gd name="T14" fmla="*/ 45 w 67"/>
                <a:gd name="T15" fmla="*/ 29 h 29"/>
                <a:gd name="T16" fmla="*/ 50 w 67"/>
                <a:gd name="T17" fmla="*/ 7 h 29"/>
                <a:gd name="T18" fmla="*/ 50 w 67"/>
                <a:gd name="T19" fmla="*/ 7 h 29"/>
                <a:gd name="T20" fmla="*/ 34 w 67"/>
                <a:gd name="T21" fmla="*/ 29 h 29"/>
                <a:gd name="T22" fmla="*/ 21 w 67"/>
                <a:gd name="T23" fmla="*/ 29 h 29"/>
                <a:gd name="T24" fmla="*/ 19 w 67"/>
                <a:gd name="T25" fmla="*/ 7 h 29"/>
                <a:gd name="T26" fmla="*/ 19 w 67"/>
                <a:gd name="T27" fmla="*/ 7 h 29"/>
                <a:gd name="T28" fmla="*/ 12 w 67"/>
                <a:gd name="T29" fmla="*/ 29 h 29"/>
                <a:gd name="T30" fmla="*/ 0 w 67"/>
                <a:gd name="T31" fmla="*/ 29 h 29"/>
                <a:gd name="T32" fmla="*/ 8 w 67"/>
                <a:gd name="T3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29">
                  <a:moveTo>
                    <a:pt x="8" y="0"/>
                  </a:moveTo>
                  <a:lnTo>
                    <a:pt x="30" y="0"/>
                  </a:lnTo>
                  <a:lnTo>
                    <a:pt x="32" y="19"/>
                  </a:lnTo>
                  <a:lnTo>
                    <a:pt x="32" y="19"/>
                  </a:lnTo>
                  <a:lnTo>
                    <a:pt x="45" y="0"/>
                  </a:lnTo>
                  <a:lnTo>
                    <a:pt x="67" y="0"/>
                  </a:lnTo>
                  <a:lnTo>
                    <a:pt x="57" y="29"/>
                  </a:lnTo>
                  <a:lnTo>
                    <a:pt x="45" y="29"/>
                  </a:lnTo>
                  <a:lnTo>
                    <a:pt x="50" y="7"/>
                  </a:lnTo>
                  <a:lnTo>
                    <a:pt x="50" y="7"/>
                  </a:lnTo>
                  <a:lnTo>
                    <a:pt x="34" y="29"/>
                  </a:lnTo>
                  <a:lnTo>
                    <a:pt x="21" y="29"/>
                  </a:lnTo>
                  <a:lnTo>
                    <a:pt x="19" y="7"/>
                  </a:lnTo>
                  <a:lnTo>
                    <a:pt x="19" y="7"/>
                  </a:lnTo>
                  <a:lnTo>
                    <a:pt x="12" y="29"/>
                  </a:lnTo>
                  <a:lnTo>
                    <a:pt x="0" y="29"/>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99" name="Freeform 98"/>
            <p:cNvSpPr>
              <a:spLocks/>
            </p:cNvSpPr>
            <p:nvPr userDrawn="1"/>
          </p:nvSpPr>
          <p:spPr bwMode="auto">
            <a:xfrm>
              <a:off x="8188326" y="4830763"/>
              <a:ext cx="85725" cy="46038"/>
            </a:xfrm>
            <a:custGeom>
              <a:avLst/>
              <a:gdLst>
                <a:gd name="T0" fmla="*/ 9 w 54"/>
                <a:gd name="T1" fmla="*/ 0 h 29"/>
                <a:gd name="T2" fmla="*/ 30 w 54"/>
                <a:gd name="T3" fmla="*/ 0 h 29"/>
                <a:gd name="T4" fmla="*/ 35 w 54"/>
                <a:gd name="T5" fmla="*/ 19 h 29"/>
                <a:gd name="T6" fmla="*/ 36 w 54"/>
                <a:gd name="T7" fmla="*/ 19 h 29"/>
                <a:gd name="T8" fmla="*/ 42 w 54"/>
                <a:gd name="T9" fmla="*/ 0 h 29"/>
                <a:gd name="T10" fmla="*/ 54 w 54"/>
                <a:gd name="T11" fmla="*/ 0 h 29"/>
                <a:gd name="T12" fmla="*/ 46 w 54"/>
                <a:gd name="T13" fmla="*/ 29 h 29"/>
                <a:gd name="T14" fmla="*/ 24 w 54"/>
                <a:gd name="T15" fmla="*/ 29 h 29"/>
                <a:gd name="T16" fmla="*/ 19 w 54"/>
                <a:gd name="T17" fmla="*/ 8 h 29"/>
                <a:gd name="T18" fmla="*/ 19 w 54"/>
                <a:gd name="T19" fmla="*/ 8 h 29"/>
                <a:gd name="T20" fmla="*/ 13 w 54"/>
                <a:gd name="T21" fmla="*/ 29 h 29"/>
                <a:gd name="T22" fmla="*/ 0 w 54"/>
                <a:gd name="T23" fmla="*/ 29 h 29"/>
                <a:gd name="T24" fmla="*/ 9 w 54"/>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29">
                  <a:moveTo>
                    <a:pt x="9" y="0"/>
                  </a:moveTo>
                  <a:lnTo>
                    <a:pt x="30" y="0"/>
                  </a:lnTo>
                  <a:lnTo>
                    <a:pt x="35" y="19"/>
                  </a:lnTo>
                  <a:lnTo>
                    <a:pt x="36" y="19"/>
                  </a:lnTo>
                  <a:lnTo>
                    <a:pt x="42" y="0"/>
                  </a:lnTo>
                  <a:lnTo>
                    <a:pt x="54" y="0"/>
                  </a:lnTo>
                  <a:lnTo>
                    <a:pt x="46" y="29"/>
                  </a:lnTo>
                  <a:lnTo>
                    <a:pt x="24" y="29"/>
                  </a:lnTo>
                  <a:lnTo>
                    <a:pt x="19" y="8"/>
                  </a:lnTo>
                  <a:lnTo>
                    <a:pt x="19" y="8"/>
                  </a:lnTo>
                  <a:lnTo>
                    <a:pt x="1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00" name="Freeform 99"/>
            <p:cNvSpPr>
              <a:spLocks/>
            </p:cNvSpPr>
            <p:nvPr userDrawn="1"/>
          </p:nvSpPr>
          <p:spPr bwMode="auto">
            <a:xfrm>
              <a:off x="8310563" y="4830763"/>
              <a:ext cx="63500" cy="46038"/>
            </a:xfrm>
            <a:custGeom>
              <a:avLst/>
              <a:gdLst>
                <a:gd name="T0" fmla="*/ 12 w 40"/>
                <a:gd name="T1" fmla="*/ 7 h 29"/>
                <a:gd name="T2" fmla="*/ 0 w 40"/>
                <a:gd name="T3" fmla="*/ 7 h 29"/>
                <a:gd name="T4" fmla="*/ 3 w 40"/>
                <a:gd name="T5" fmla="*/ 0 h 29"/>
                <a:gd name="T6" fmla="*/ 40 w 40"/>
                <a:gd name="T7" fmla="*/ 0 h 29"/>
                <a:gd name="T8" fmla="*/ 38 w 40"/>
                <a:gd name="T9" fmla="*/ 7 h 29"/>
                <a:gd name="T10" fmla="*/ 26 w 40"/>
                <a:gd name="T11" fmla="*/ 7 h 29"/>
                <a:gd name="T12" fmla="*/ 19 w 40"/>
                <a:gd name="T13" fmla="*/ 29 h 29"/>
                <a:gd name="T14" fmla="*/ 5 w 40"/>
                <a:gd name="T15" fmla="*/ 29 h 29"/>
                <a:gd name="T16" fmla="*/ 12 w 40"/>
                <a:gd name="T17"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29">
                  <a:moveTo>
                    <a:pt x="12" y="7"/>
                  </a:moveTo>
                  <a:lnTo>
                    <a:pt x="0" y="7"/>
                  </a:lnTo>
                  <a:lnTo>
                    <a:pt x="3" y="0"/>
                  </a:lnTo>
                  <a:lnTo>
                    <a:pt x="40" y="0"/>
                  </a:lnTo>
                  <a:lnTo>
                    <a:pt x="38" y="7"/>
                  </a:lnTo>
                  <a:lnTo>
                    <a:pt x="26" y="7"/>
                  </a:lnTo>
                  <a:lnTo>
                    <a:pt x="19" y="29"/>
                  </a:lnTo>
                  <a:lnTo>
                    <a:pt x="5" y="29"/>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01" name="Freeform 100"/>
            <p:cNvSpPr>
              <a:spLocks noEditPoints="1"/>
            </p:cNvSpPr>
            <p:nvPr userDrawn="1"/>
          </p:nvSpPr>
          <p:spPr bwMode="auto">
            <a:xfrm>
              <a:off x="8701088" y="4760913"/>
              <a:ext cx="49213" cy="50800"/>
            </a:xfrm>
            <a:custGeom>
              <a:avLst/>
              <a:gdLst>
                <a:gd name="T0" fmla="*/ 15 w 31"/>
                <a:gd name="T1" fmla="*/ 0 h 32"/>
                <a:gd name="T2" fmla="*/ 15 w 31"/>
                <a:gd name="T3" fmla="*/ 0 h 32"/>
                <a:gd name="T4" fmla="*/ 10 w 31"/>
                <a:gd name="T5" fmla="*/ 1 h 32"/>
                <a:gd name="T6" fmla="*/ 5 w 31"/>
                <a:gd name="T7" fmla="*/ 5 h 32"/>
                <a:gd name="T8" fmla="*/ 1 w 31"/>
                <a:gd name="T9" fmla="*/ 10 h 32"/>
                <a:gd name="T10" fmla="*/ 0 w 31"/>
                <a:gd name="T11" fmla="*/ 15 h 32"/>
                <a:gd name="T12" fmla="*/ 0 w 31"/>
                <a:gd name="T13" fmla="*/ 15 h 32"/>
                <a:gd name="T14" fmla="*/ 1 w 31"/>
                <a:gd name="T15" fmla="*/ 21 h 32"/>
                <a:gd name="T16" fmla="*/ 5 w 31"/>
                <a:gd name="T17" fmla="*/ 27 h 32"/>
                <a:gd name="T18" fmla="*/ 10 w 31"/>
                <a:gd name="T19" fmla="*/ 31 h 32"/>
                <a:gd name="T20" fmla="*/ 15 w 31"/>
                <a:gd name="T21" fmla="*/ 32 h 32"/>
                <a:gd name="T22" fmla="*/ 15 w 31"/>
                <a:gd name="T23" fmla="*/ 32 h 32"/>
                <a:gd name="T24" fmla="*/ 21 w 31"/>
                <a:gd name="T25" fmla="*/ 31 h 32"/>
                <a:gd name="T26" fmla="*/ 27 w 31"/>
                <a:gd name="T27" fmla="*/ 27 h 32"/>
                <a:gd name="T28" fmla="*/ 30 w 31"/>
                <a:gd name="T29" fmla="*/ 21 h 32"/>
                <a:gd name="T30" fmla="*/ 31 w 31"/>
                <a:gd name="T31" fmla="*/ 15 h 32"/>
                <a:gd name="T32" fmla="*/ 31 w 31"/>
                <a:gd name="T33" fmla="*/ 15 h 32"/>
                <a:gd name="T34" fmla="*/ 30 w 31"/>
                <a:gd name="T35" fmla="*/ 10 h 32"/>
                <a:gd name="T36" fmla="*/ 27 w 31"/>
                <a:gd name="T37" fmla="*/ 5 h 32"/>
                <a:gd name="T38" fmla="*/ 21 w 31"/>
                <a:gd name="T39" fmla="*/ 1 h 32"/>
                <a:gd name="T40" fmla="*/ 15 w 31"/>
                <a:gd name="T41" fmla="*/ 0 h 32"/>
                <a:gd name="T42" fmla="*/ 15 w 31"/>
                <a:gd name="T43" fmla="*/ 0 h 32"/>
                <a:gd name="T44" fmla="*/ 15 w 31"/>
                <a:gd name="T45" fmla="*/ 28 h 32"/>
                <a:gd name="T46" fmla="*/ 15 w 31"/>
                <a:gd name="T47" fmla="*/ 28 h 32"/>
                <a:gd name="T48" fmla="*/ 11 w 31"/>
                <a:gd name="T49" fmla="*/ 27 h 32"/>
                <a:gd name="T50" fmla="*/ 6 w 31"/>
                <a:gd name="T51" fmla="*/ 25 h 32"/>
                <a:gd name="T52" fmla="*/ 4 w 31"/>
                <a:gd name="T53" fmla="*/ 21 h 32"/>
                <a:gd name="T54" fmla="*/ 3 w 31"/>
                <a:gd name="T55" fmla="*/ 15 h 32"/>
                <a:gd name="T56" fmla="*/ 3 w 31"/>
                <a:gd name="T57" fmla="*/ 15 h 32"/>
                <a:gd name="T58" fmla="*/ 4 w 31"/>
                <a:gd name="T59" fmla="*/ 11 h 32"/>
                <a:gd name="T60" fmla="*/ 6 w 31"/>
                <a:gd name="T61" fmla="*/ 6 h 32"/>
                <a:gd name="T62" fmla="*/ 11 w 31"/>
                <a:gd name="T63" fmla="*/ 4 h 32"/>
                <a:gd name="T64" fmla="*/ 15 w 31"/>
                <a:gd name="T65" fmla="*/ 3 h 32"/>
                <a:gd name="T66" fmla="*/ 15 w 31"/>
                <a:gd name="T67" fmla="*/ 3 h 32"/>
                <a:gd name="T68" fmla="*/ 20 w 31"/>
                <a:gd name="T69" fmla="*/ 4 h 32"/>
                <a:gd name="T70" fmla="*/ 25 w 31"/>
                <a:gd name="T71" fmla="*/ 6 h 32"/>
                <a:gd name="T72" fmla="*/ 27 w 31"/>
                <a:gd name="T73" fmla="*/ 11 h 32"/>
                <a:gd name="T74" fmla="*/ 28 w 31"/>
                <a:gd name="T75" fmla="*/ 15 h 32"/>
                <a:gd name="T76" fmla="*/ 28 w 31"/>
                <a:gd name="T77" fmla="*/ 15 h 32"/>
                <a:gd name="T78" fmla="*/ 27 w 31"/>
                <a:gd name="T79" fmla="*/ 21 h 32"/>
                <a:gd name="T80" fmla="*/ 25 w 31"/>
                <a:gd name="T81" fmla="*/ 25 h 32"/>
                <a:gd name="T82" fmla="*/ 20 w 31"/>
                <a:gd name="T83" fmla="*/ 27 h 32"/>
                <a:gd name="T84" fmla="*/ 15 w 31"/>
                <a:gd name="T85" fmla="*/ 28 h 32"/>
                <a:gd name="T86" fmla="*/ 15 w 31"/>
                <a:gd name="T8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 h="32">
                  <a:moveTo>
                    <a:pt x="15" y="0"/>
                  </a:moveTo>
                  <a:lnTo>
                    <a:pt x="15" y="0"/>
                  </a:lnTo>
                  <a:lnTo>
                    <a:pt x="10" y="1"/>
                  </a:lnTo>
                  <a:lnTo>
                    <a:pt x="5" y="5"/>
                  </a:lnTo>
                  <a:lnTo>
                    <a:pt x="1" y="10"/>
                  </a:lnTo>
                  <a:lnTo>
                    <a:pt x="0" y="15"/>
                  </a:lnTo>
                  <a:lnTo>
                    <a:pt x="0" y="15"/>
                  </a:lnTo>
                  <a:lnTo>
                    <a:pt x="1" y="21"/>
                  </a:lnTo>
                  <a:lnTo>
                    <a:pt x="5" y="27"/>
                  </a:lnTo>
                  <a:lnTo>
                    <a:pt x="10" y="31"/>
                  </a:lnTo>
                  <a:lnTo>
                    <a:pt x="15" y="32"/>
                  </a:lnTo>
                  <a:lnTo>
                    <a:pt x="15" y="32"/>
                  </a:lnTo>
                  <a:lnTo>
                    <a:pt x="21" y="31"/>
                  </a:lnTo>
                  <a:lnTo>
                    <a:pt x="27" y="27"/>
                  </a:lnTo>
                  <a:lnTo>
                    <a:pt x="30" y="21"/>
                  </a:lnTo>
                  <a:lnTo>
                    <a:pt x="31" y="15"/>
                  </a:lnTo>
                  <a:lnTo>
                    <a:pt x="31" y="15"/>
                  </a:lnTo>
                  <a:lnTo>
                    <a:pt x="30" y="10"/>
                  </a:lnTo>
                  <a:lnTo>
                    <a:pt x="27" y="5"/>
                  </a:lnTo>
                  <a:lnTo>
                    <a:pt x="21" y="1"/>
                  </a:lnTo>
                  <a:lnTo>
                    <a:pt x="15" y="0"/>
                  </a:lnTo>
                  <a:lnTo>
                    <a:pt x="15" y="0"/>
                  </a:lnTo>
                  <a:close/>
                  <a:moveTo>
                    <a:pt x="15" y="28"/>
                  </a:moveTo>
                  <a:lnTo>
                    <a:pt x="15" y="28"/>
                  </a:lnTo>
                  <a:lnTo>
                    <a:pt x="11" y="27"/>
                  </a:lnTo>
                  <a:lnTo>
                    <a:pt x="6" y="25"/>
                  </a:lnTo>
                  <a:lnTo>
                    <a:pt x="4" y="21"/>
                  </a:lnTo>
                  <a:lnTo>
                    <a:pt x="3" y="15"/>
                  </a:lnTo>
                  <a:lnTo>
                    <a:pt x="3" y="15"/>
                  </a:lnTo>
                  <a:lnTo>
                    <a:pt x="4" y="11"/>
                  </a:lnTo>
                  <a:lnTo>
                    <a:pt x="6" y="6"/>
                  </a:lnTo>
                  <a:lnTo>
                    <a:pt x="11" y="4"/>
                  </a:lnTo>
                  <a:lnTo>
                    <a:pt x="15" y="3"/>
                  </a:lnTo>
                  <a:lnTo>
                    <a:pt x="15" y="3"/>
                  </a:lnTo>
                  <a:lnTo>
                    <a:pt x="20" y="4"/>
                  </a:lnTo>
                  <a:lnTo>
                    <a:pt x="25" y="6"/>
                  </a:lnTo>
                  <a:lnTo>
                    <a:pt x="27" y="11"/>
                  </a:lnTo>
                  <a:lnTo>
                    <a:pt x="28" y="15"/>
                  </a:lnTo>
                  <a:lnTo>
                    <a:pt x="28" y="15"/>
                  </a:lnTo>
                  <a:lnTo>
                    <a:pt x="27" y="21"/>
                  </a:lnTo>
                  <a:lnTo>
                    <a:pt x="25" y="25"/>
                  </a:lnTo>
                  <a:lnTo>
                    <a:pt x="20" y="27"/>
                  </a:lnTo>
                  <a:lnTo>
                    <a:pt x="15" y="28"/>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02" name="Freeform 101"/>
            <p:cNvSpPr>
              <a:spLocks noEditPoints="1"/>
            </p:cNvSpPr>
            <p:nvPr userDrawn="1"/>
          </p:nvSpPr>
          <p:spPr bwMode="auto">
            <a:xfrm>
              <a:off x="8716963" y="4772026"/>
              <a:ext cx="20638" cy="26988"/>
            </a:xfrm>
            <a:custGeom>
              <a:avLst/>
              <a:gdLst>
                <a:gd name="T0" fmla="*/ 11 w 13"/>
                <a:gd name="T1" fmla="*/ 6 h 17"/>
                <a:gd name="T2" fmla="*/ 11 w 13"/>
                <a:gd name="T3" fmla="*/ 6 h 17"/>
                <a:gd name="T4" fmla="*/ 11 w 13"/>
                <a:gd name="T5" fmla="*/ 4 h 17"/>
                <a:gd name="T6" fmla="*/ 10 w 13"/>
                <a:gd name="T7" fmla="*/ 1 h 17"/>
                <a:gd name="T8" fmla="*/ 9 w 13"/>
                <a:gd name="T9" fmla="*/ 1 h 17"/>
                <a:gd name="T10" fmla="*/ 7 w 13"/>
                <a:gd name="T11" fmla="*/ 0 h 17"/>
                <a:gd name="T12" fmla="*/ 0 w 13"/>
                <a:gd name="T13" fmla="*/ 0 h 17"/>
                <a:gd name="T14" fmla="*/ 0 w 13"/>
                <a:gd name="T15" fmla="*/ 17 h 17"/>
                <a:gd name="T16" fmla="*/ 3 w 13"/>
                <a:gd name="T17" fmla="*/ 17 h 17"/>
                <a:gd name="T18" fmla="*/ 3 w 13"/>
                <a:gd name="T19" fmla="*/ 11 h 17"/>
                <a:gd name="T20" fmla="*/ 5 w 13"/>
                <a:gd name="T21" fmla="*/ 11 h 17"/>
                <a:gd name="T22" fmla="*/ 9 w 13"/>
                <a:gd name="T23" fmla="*/ 17 h 17"/>
                <a:gd name="T24" fmla="*/ 13 w 13"/>
                <a:gd name="T25" fmla="*/ 17 h 17"/>
                <a:gd name="T26" fmla="*/ 8 w 13"/>
                <a:gd name="T27" fmla="*/ 10 h 17"/>
                <a:gd name="T28" fmla="*/ 8 w 13"/>
                <a:gd name="T29" fmla="*/ 10 h 17"/>
                <a:gd name="T30" fmla="*/ 11 w 13"/>
                <a:gd name="T31" fmla="*/ 8 h 17"/>
                <a:gd name="T32" fmla="*/ 11 w 13"/>
                <a:gd name="T33" fmla="*/ 6 h 17"/>
                <a:gd name="T34" fmla="*/ 11 w 13"/>
                <a:gd name="T35" fmla="*/ 6 h 17"/>
                <a:gd name="T36" fmla="*/ 3 w 13"/>
                <a:gd name="T37" fmla="*/ 7 h 17"/>
                <a:gd name="T38" fmla="*/ 3 w 13"/>
                <a:gd name="T39" fmla="*/ 3 h 17"/>
                <a:gd name="T40" fmla="*/ 5 w 13"/>
                <a:gd name="T41" fmla="*/ 3 h 17"/>
                <a:gd name="T42" fmla="*/ 5 w 13"/>
                <a:gd name="T43" fmla="*/ 3 h 17"/>
                <a:gd name="T44" fmla="*/ 8 w 13"/>
                <a:gd name="T45" fmla="*/ 4 h 17"/>
                <a:gd name="T46" fmla="*/ 9 w 13"/>
                <a:gd name="T47" fmla="*/ 4 h 17"/>
                <a:gd name="T48" fmla="*/ 9 w 13"/>
                <a:gd name="T49" fmla="*/ 5 h 17"/>
                <a:gd name="T50" fmla="*/ 9 w 13"/>
                <a:gd name="T51" fmla="*/ 5 h 17"/>
                <a:gd name="T52" fmla="*/ 9 w 13"/>
                <a:gd name="T53" fmla="*/ 7 h 17"/>
                <a:gd name="T54" fmla="*/ 8 w 13"/>
                <a:gd name="T55" fmla="*/ 7 h 17"/>
                <a:gd name="T56" fmla="*/ 5 w 13"/>
                <a:gd name="T57" fmla="*/ 7 h 17"/>
                <a:gd name="T58" fmla="*/ 3 w 13"/>
                <a:gd name="T59"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7">
                  <a:moveTo>
                    <a:pt x="11" y="6"/>
                  </a:moveTo>
                  <a:lnTo>
                    <a:pt x="11" y="6"/>
                  </a:lnTo>
                  <a:lnTo>
                    <a:pt x="11" y="4"/>
                  </a:lnTo>
                  <a:lnTo>
                    <a:pt x="10" y="1"/>
                  </a:lnTo>
                  <a:lnTo>
                    <a:pt x="9" y="1"/>
                  </a:lnTo>
                  <a:lnTo>
                    <a:pt x="7" y="0"/>
                  </a:lnTo>
                  <a:lnTo>
                    <a:pt x="0" y="0"/>
                  </a:lnTo>
                  <a:lnTo>
                    <a:pt x="0" y="17"/>
                  </a:lnTo>
                  <a:lnTo>
                    <a:pt x="3" y="17"/>
                  </a:lnTo>
                  <a:lnTo>
                    <a:pt x="3" y="11"/>
                  </a:lnTo>
                  <a:lnTo>
                    <a:pt x="5" y="11"/>
                  </a:lnTo>
                  <a:lnTo>
                    <a:pt x="9" y="17"/>
                  </a:lnTo>
                  <a:lnTo>
                    <a:pt x="13" y="17"/>
                  </a:lnTo>
                  <a:lnTo>
                    <a:pt x="8" y="10"/>
                  </a:lnTo>
                  <a:lnTo>
                    <a:pt x="8" y="10"/>
                  </a:lnTo>
                  <a:lnTo>
                    <a:pt x="11" y="8"/>
                  </a:lnTo>
                  <a:lnTo>
                    <a:pt x="11" y="6"/>
                  </a:lnTo>
                  <a:lnTo>
                    <a:pt x="11" y="6"/>
                  </a:lnTo>
                  <a:close/>
                  <a:moveTo>
                    <a:pt x="3" y="7"/>
                  </a:moveTo>
                  <a:lnTo>
                    <a:pt x="3" y="3"/>
                  </a:lnTo>
                  <a:lnTo>
                    <a:pt x="5" y="3"/>
                  </a:lnTo>
                  <a:lnTo>
                    <a:pt x="5" y="3"/>
                  </a:lnTo>
                  <a:lnTo>
                    <a:pt x="8" y="4"/>
                  </a:lnTo>
                  <a:lnTo>
                    <a:pt x="9" y="4"/>
                  </a:lnTo>
                  <a:lnTo>
                    <a:pt x="9" y="5"/>
                  </a:lnTo>
                  <a:lnTo>
                    <a:pt x="9" y="5"/>
                  </a:lnTo>
                  <a:lnTo>
                    <a:pt x="9" y="7"/>
                  </a:lnTo>
                  <a:lnTo>
                    <a:pt x="8" y="7"/>
                  </a:lnTo>
                  <a:lnTo>
                    <a:pt x="5" y="7"/>
                  </a:lnTo>
                  <a:lnTo>
                    <a:pt x="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03" name="Freeform 102"/>
            <p:cNvSpPr>
              <a:spLocks/>
            </p:cNvSpPr>
            <p:nvPr userDrawn="1"/>
          </p:nvSpPr>
          <p:spPr bwMode="auto">
            <a:xfrm>
              <a:off x="7742238" y="4830763"/>
              <a:ext cx="68263" cy="47625"/>
            </a:xfrm>
            <a:custGeom>
              <a:avLst/>
              <a:gdLst>
                <a:gd name="T0" fmla="*/ 20 w 43"/>
                <a:gd name="T1" fmla="*/ 9 h 30"/>
                <a:gd name="T2" fmla="*/ 20 w 43"/>
                <a:gd name="T3" fmla="*/ 7 h 30"/>
                <a:gd name="T4" fmla="*/ 24 w 43"/>
                <a:gd name="T5" fmla="*/ 4 h 30"/>
                <a:gd name="T6" fmla="*/ 28 w 43"/>
                <a:gd name="T7" fmla="*/ 4 h 30"/>
                <a:gd name="T8" fmla="*/ 30 w 43"/>
                <a:gd name="T9" fmla="*/ 5 h 30"/>
                <a:gd name="T10" fmla="*/ 30 w 43"/>
                <a:gd name="T11" fmla="*/ 8 h 30"/>
                <a:gd name="T12" fmla="*/ 43 w 43"/>
                <a:gd name="T13" fmla="*/ 8 h 30"/>
                <a:gd name="T14" fmla="*/ 41 w 43"/>
                <a:gd name="T15" fmla="*/ 2 h 30"/>
                <a:gd name="T16" fmla="*/ 27 w 43"/>
                <a:gd name="T17" fmla="*/ 0 h 30"/>
                <a:gd name="T18" fmla="*/ 18 w 43"/>
                <a:gd name="T19" fmla="*/ 0 h 30"/>
                <a:gd name="T20" fmla="*/ 7 w 43"/>
                <a:gd name="T21" fmla="*/ 4 h 30"/>
                <a:gd name="T22" fmla="*/ 3 w 43"/>
                <a:gd name="T23" fmla="*/ 9 h 30"/>
                <a:gd name="T24" fmla="*/ 4 w 43"/>
                <a:gd name="T25" fmla="*/ 14 h 30"/>
                <a:gd name="T26" fmla="*/ 9 w 43"/>
                <a:gd name="T27" fmla="*/ 16 h 30"/>
                <a:gd name="T28" fmla="*/ 22 w 43"/>
                <a:gd name="T29" fmla="*/ 19 h 30"/>
                <a:gd name="T30" fmla="*/ 25 w 43"/>
                <a:gd name="T31" fmla="*/ 21 h 30"/>
                <a:gd name="T32" fmla="*/ 25 w 43"/>
                <a:gd name="T33" fmla="*/ 22 h 30"/>
                <a:gd name="T34" fmla="*/ 23 w 43"/>
                <a:gd name="T35" fmla="*/ 24 h 30"/>
                <a:gd name="T36" fmla="*/ 18 w 43"/>
                <a:gd name="T37" fmla="*/ 25 h 30"/>
                <a:gd name="T38" fmla="*/ 14 w 43"/>
                <a:gd name="T39" fmla="*/ 24 h 30"/>
                <a:gd name="T40" fmla="*/ 12 w 43"/>
                <a:gd name="T41" fmla="*/ 22 h 30"/>
                <a:gd name="T42" fmla="*/ 0 w 43"/>
                <a:gd name="T43" fmla="*/ 21 h 30"/>
                <a:gd name="T44" fmla="*/ 0 w 43"/>
                <a:gd name="T45" fmla="*/ 24 h 30"/>
                <a:gd name="T46" fmla="*/ 1 w 43"/>
                <a:gd name="T47" fmla="*/ 28 h 30"/>
                <a:gd name="T48" fmla="*/ 5 w 43"/>
                <a:gd name="T49" fmla="*/ 30 h 30"/>
                <a:gd name="T50" fmla="*/ 16 w 43"/>
                <a:gd name="T51" fmla="*/ 30 h 30"/>
                <a:gd name="T52" fmla="*/ 34 w 43"/>
                <a:gd name="T53" fmla="*/ 28 h 30"/>
                <a:gd name="T54" fmla="*/ 41 w 43"/>
                <a:gd name="T55" fmla="*/ 21 h 30"/>
                <a:gd name="T56" fmla="*/ 41 w 43"/>
                <a:gd name="T57" fmla="*/ 17 h 30"/>
                <a:gd name="T58" fmla="*/ 39 w 43"/>
                <a:gd name="T59" fmla="*/ 15 h 30"/>
                <a:gd name="T60" fmla="*/ 29 w 43"/>
                <a:gd name="T61" fmla="*/ 11 h 30"/>
                <a:gd name="T62" fmla="*/ 20 w 43"/>
                <a:gd name="T6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30">
                  <a:moveTo>
                    <a:pt x="20" y="9"/>
                  </a:moveTo>
                  <a:lnTo>
                    <a:pt x="20" y="9"/>
                  </a:lnTo>
                  <a:lnTo>
                    <a:pt x="20" y="7"/>
                  </a:lnTo>
                  <a:lnTo>
                    <a:pt x="20" y="7"/>
                  </a:lnTo>
                  <a:lnTo>
                    <a:pt x="21" y="5"/>
                  </a:lnTo>
                  <a:lnTo>
                    <a:pt x="24" y="4"/>
                  </a:lnTo>
                  <a:lnTo>
                    <a:pt x="24" y="4"/>
                  </a:lnTo>
                  <a:lnTo>
                    <a:pt x="28" y="4"/>
                  </a:lnTo>
                  <a:lnTo>
                    <a:pt x="30" y="5"/>
                  </a:lnTo>
                  <a:lnTo>
                    <a:pt x="30" y="5"/>
                  </a:lnTo>
                  <a:lnTo>
                    <a:pt x="30" y="7"/>
                  </a:lnTo>
                  <a:lnTo>
                    <a:pt x="30" y="8"/>
                  </a:lnTo>
                  <a:lnTo>
                    <a:pt x="43" y="8"/>
                  </a:lnTo>
                  <a:lnTo>
                    <a:pt x="43" y="8"/>
                  </a:lnTo>
                  <a:lnTo>
                    <a:pt x="43" y="4"/>
                  </a:lnTo>
                  <a:lnTo>
                    <a:pt x="41" y="2"/>
                  </a:lnTo>
                  <a:lnTo>
                    <a:pt x="36" y="0"/>
                  </a:lnTo>
                  <a:lnTo>
                    <a:pt x="27" y="0"/>
                  </a:lnTo>
                  <a:lnTo>
                    <a:pt x="27" y="0"/>
                  </a:lnTo>
                  <a:lnTo>
                    <a:pt x="18" y="0"/>
                  </a:lnTo>
                  <a:lnTo>
                    <a:pt x="11" y="2"/>
                  </a:lnTo>
                  <a:lnTo>
                    <a:pt x="7" y="4"/>
                  </a:lnTo>
                  <a:lnTo>
                    <a:pt x="3" y="9"/>
                  </a:lnTo>
                  <a:lnTo>
                    <a:pt x="3" y="9"/>
                  </a:lnTo>
                  <a:lnTo>
                    <a:pt x="3" y="11"/>
                  </a:lnTo>
                  <a:lnTo>
                    <a:pt x="4" y="14"/>
                  </a:lnTo>
                  <a:lnTo>
                    <a:pt x="4" y="14"/>
                  </a:lnTo>
                  <a:lnTo>
                    <a:pt x="9" y="16"/>
                  </a:lnTo>
                  <a:lnTo>
                    <a:pt x="16" y="18"/>
                  </a:lnTo>
                  <a:lnTo>
                    <a:pt x="22" y="19"/>
                  </a:lnTo>
                  <a:lnTo>
                    <a:pt x="25" y="21"/>
                  </a:lnTo>
                  <a:lnTo>
                    <a:pt x="25" y="21"/>
                  </a:lnTo>
                  <a:lnTo>
                    <a:pt x="25" y="22"/>
                  </a:lnTo>
                  <a:lnTo>
                    <a:pt x="25" y="22"/>
                  </a:lnTo>
                  <a:lnTo>
                    <a:pt x="24" y="23"/>
                  </a:lnTo>
                  <a:lnTo>
                    <a:pt x="23" y="24"/>
                  </a:lnTo>
                  <a:lnTo>
                    <a:pt x="18" y="25"/>
                  </a:lnTo>
                  <a:lnTo>
                    <a:pt x="18" y="25"/>
                  </a:lnTo>
                  <a:lnTo>
                    <a:pt x="15" y="24"/>
                  </a:lnTo>
                  <a:lnTo>
                    <a:pt x="14" y="24"/>
                  </a:lnTo>
                  <a:lnTo>
                    <a:pt x="14" y="24"/>
                  </a:lnTo>
                  <a:lnTo>
                    <a:pt x="12" y="22"/>
                  </a:lnTo>
                  <a:lnTo>
                    <a:pt x="12" y="21"/>
                  </a:lnTo>
                  <a:lnTo>
                    <a:pt x="0" y="21"/>
                  </a:lnTo>
                  <a:lnTo>
                    <a:pt x="0" y="21"/>
                  </a:lnTo>
                  <a:lnTo>
                    <a:pt x="0" y="24"/>
                  </a:lnTo>
                  <a:lnTo>
                    <a:pt x="0" y="26"/>
                  </a:lnTo>
                  <a:lnTo>
                    <a:pt x="1" y="28"/>
                  </a:lnTo>
                  <a:lnTo>
                    <a:pt x="3" y="29"/>
                  </a:lnTo>
                  <a:lnTo>
                    <a:pt x="5" y="30"/>
                  </a:lnTo>
                  <a:lnTo>
                    <a:pt x="16" y="30"/>
                  </a:lnTo>
                  <a:lnTo>
                    <a:pt x="16" y="30"/>
                  </a:lnTo>
                  <a:lnTo>
                    <a:pt x="27" y="30"/>
                  </a:lnTo>
                  <a:lnTo>
                    <a:pt x="34" y="28"/>
                  </a:lnTo>
                  <a:lnTo>
                    <a:pt x="38" y="24"/>
                  </a:lnTo>
                  <a:lnTo>
                    <a:pt x="41" y="21"/>
                  </a:lnTo>
                  <a:lnTo>
                    <a:pt x="41" y="21"/>
                  </a:lnTo>
                  <a:lnTo>
                    <a:pt x="41" y="17"/>
                  </a:lnTo>
                  <a:lnTo>
                    <a:pt x="39" y="15"/>
                  </a:lnTo>
                  <a:lnTo>
                    <a:pt x="39" y="15"/>
                  </a:lnTo>
                  <a:lnTo>
                    <a:pt x="36" y="12"/>
                  </a:lnTo>
                  <a:lnTo>
                    <a:pt x="29" y="11"/>
                  </a:lnTo>
                  <a:lnTo>
                    <a:pt x="23" y="10"/>
                  </a:lnTo>
                  <a:lnTo>
                    <a:pt x="20" y="9"/>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04" name="Freeform 103"/>
            <p:cNvSpPr>
              <a:spLocks/>
            </p:cNvSpPr>
            <p:nvPr userDrawn="1"/>
          </p:nvSpPr>
          <p:spPr bwMode="auto">
            <a:xfrm>
              <a:off x="8089901" y="4830763"/>
              <a:ext cx="66675" cy="46038"/>
            </a:xfrm>
            <a:custGeom>
              <a:avLst/>
              <a:gdLst>
                <a:gd name="T0" fmla="*/ 9 w 42"/>
                <a:gd name="T1" fmla="*/ 0 h 29"/>
                <a:gd name="T2" fmla="*/ 42 w 42"/>
                <a:gd name="T3" fmla="*/ 0 h 29"/>
                <a:gd name="T4" fmla="*/ 40 w 42"/>
                <a:gd name="T5" fmla="*/ 5 h 29"/>
                <a:gd name="T6" fmla="*/ 21 w 42"/>
                <a:gd name="T7" fmla="*/ 5 h 29"/>
                <a:gd name="T8" fmla="*/ 18 w 42"/>
                <a:gd name="T9" fmla="*/ 11 h 29"/>
                <a:gd name="T10" fmla="*/ 36 w 42"/>
                <a:gd name="T11" fmla="*/ 11 h 29"/>
                <a:gd name="T12" fmla="*/ 35 w 42"/>
                <a:gd name="T13" fmla="*/ 17 h 29"/>
                <a:gd name="T14" fmla="*/ 17 w 42"/>
                <a:gd name="T15" fmla="*/ 17 h 29"/>
                <a:gd name="T16" fmla="*/ 15 w 42"/>
                <a:gd name="T17" fmla="*/ 23 h 29"/>
                <a:gd name="T18" fmla="*/ 35 w 42"/>
                <a:gd name="T19" fmla="*/ 23 h 29"/>
                <a:gd name="T20" fmla="*/ 33 w 42"/>
                <a:gd name="T21" fmla="*/ 29 h 29"/>
                <a:gd name="T22" fmla="*/ 0 w 42"/>
                <a:gd name="T23" fmla="*/ 29 h 29"/>
                <a:gd name="T24" fmla="*/ 9 w 42"/>
                <a:gd name="T2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29">
                  <a:moveTo>
                    <a:pt x="9" y="0"/>
                  </a:moveTo>
                  <a:lnTo>
                    <a:pt x="42" y="0"/>
                  </a:lnTo>
                  <a:lnTo>
                    <a:pt x="40" y="5"/>
                  </a:lnTo>
                  <a:lnTo>
                    <a:pt x="21" y="5"/>
                  </a:lnTo>
                  <a:lnTo>
                    <a:pt x="18" y="11"/>
                  </a:lnTo>
                  <a:lnTo>
                    <a:pt x="36" y="11"/>
                  </a:lnTo>
                  <a:lnTo>
                    <a:pt x="35" y="17"/>
                  </a:lnTo>
                  <a:lnTo>
                    <a:pt x="17" y="17"/>
                  </a:lnTo>
                  <a:lnTo>
                    <a:pt x="15" y="23"/>
                  </a:lnTo>
                  <a:lnTo>
                    <a:pt x="35" y="23"/>
                  </a:lnTo>
                  <a:lnTo>
                    <a:pt x="33" y="29"/>
                  </a:lnTo>
                  <a:lnTo>
                    <a:pt x="0" y="29"/>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05" name="Freeform 104"/>
            <p:cNvSpPr>
              <a:spLocks/>
            </p:cNvSpPr>
            <p:nvPr userDrawn="1"/>
          </p:nvSpPr>
          <p:spPr bwMode="auto">
            <a:xfrm>
              <a:off x="8518526" y="4606926"/>
              <a:ext cx="277813" cy="269875"/>
            </a:xfrm>
            <a:custGeom>
              <a:avLst/>
              <a:gdLst>
                <a:gd name="T0" fmla="*/ 116 w 175"/>
                <a:gd name="T1" fmla="*/ 0 h 170"/>
                <a:gd name="T2" fmla="*/ 85 w 175"/>
                <a:gd name="T3" fmla="*/ 67 h 170"/>
                <a:gd name="T4" fmla="*/ 86 w 175"/>
                <a:gd name="T5" fmla="*/ 0 h 170"/>
                <a:gd name="T6" fmla="*/ 27 w 175"/>
                <a:gd name="T7" fmla="*/ 0 h 170"/>
                <a:gd name="T8" fmla="*/ 39 w 175"/>
                <a:gd name="T9" fmla="*/ 122 h 170"/>
                <a:gd name="T10" fmla="*/ 39 w 175"/>
                <a:gd name="T11" fmla="*/ 122 h 170"/>
                <a:gd name="T12" fmla="*/ 37 w 175"/>
                <a:gd name="T13" fmla="*/ 127 h 170"/>
                <a:gd name="T14" fmla="*/ 36 w 175"/>
                <a:gd name="T15" fmla="*/ 130 h 170"/>
                <a:gd name="T16" fmla="*/ 33 w 175"/>
                <a:gd name="T17" fmla="*/ 132 h 170"/>
                <a:gd name="T18" fmla="*/ 30 w 175"/>
                <a:gd name="T19" fmla="*/ 135 h 170"/>
                <a:gd name="T20" fmla="*/ 30 w 175"/>
                <a:gd name="T21" fmla="*/ 135 h 170"/>
                <a:gd name="T22" fmla="*/ 26 w 175"/>
                <a:gd name="T23" fmla="*/ 136 h 170"/>
                <a:gd name="T24" fmla="*/ 20 w 175"/>
                <a:gd name="T25" fmla="*/ 136 h 170"/>
                <a:gd name="T26" fmla="*/ 11 w 175"/>
                <a:gd name="T27" fmla="*/ 136 h 170"/>
                <a:gd name="T28" fmla="*/ 10 w 175"/>
                <a:gd name="T29" fmla="*/ 136 h 170"/>
                <a:gd name="T30" fmla="*/ 0 w 175"/>
                <a:gd name="T31" fmla="*/ 170 h 170"/>
                <a:gd name="T32" fmla="*/ 40 w 175"/>
                <a:gd name="T33" fmla="*/ 170 h 170"/>
                <a:gd name="T34" fmla="*/ 40 w 175"/>
                <a:gd name="T35" fmla="*/ 170 h 170"/>
                <a:gd name="T36" fmla="*/ 48 w 175"/>
                <a:gd name="T37" fmla="*/ 169 h 170"/>
                <a:gd name="T38" fmla="*/ 55 w 175"/>
                <a:gd name="T39" fmla="*/ 167 h 170"/>
                <a:gd name="T40" fmla="*/ 63 w 175"/>
                <a:gd name="T41" fmla="*/ 164 h 170"/>
                <a:gd name="T42" fmla="*/ 68 w 175"/>
                <a:gd name="T43" fmla="*/ 160 h 170"/>
                <a:gd name="T44" fmla="*/ 74 w 175"/>
                <a:gd name="T45" fmla="*/ 156 h 170"/>
                <a:gd name="T46" fmla="*/ 79 w 175"/>
                <a:gd name="T47" fmla="*/ 149 h 170"/>
                <a:gd name="T48" fmla="*/ 91 w 175"/>
                <a:gd name="T49" fmla="*/ 132 h 170"/>
                <a:gd name="T50" fmla="*/ 175 w 175"/>
                <a:gd name="T51" fmla="*/ 0 h 170"/>
                <a:gd name="T52" fmla="*/ 116 w 175"/>
                <a:gd name="T5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5" h="170">
                  <a:moveTo>
                    <a:pt x="116" y="0"/>
                  </a:moveTo>
                  <a:lnTo>
                    <a:pt x="85" y="67"/>
                  </a:lnTo>
                  <a:lnTo>
                    <a:pt x="86" y="0"/>
                  </a:lnTo>
                  <a:lnTo>
                    <a:pt x="27" y="0"/>
                  </a:lnTo>
                  <a:lnTo>
                    <a:pt x="39" y="122"/>
                  </a:lnTo>
                  <a:lnTo>
                    <a:pt x="39" y="122"/>
                  </a:lnTo>
                  <a:lnTo>
                    <a:pt x="37" y="127"/>
                  </a:lnTo>
                  <a:lnTo>
                    <a:pt x="36" y="130"/>
                  </a:lnTo>
                  <a:lnTo>
                    <a:pt x="33" y="132"/>
                  </a:lnTo>
                  <a:lnTo>
                    <a:pt x="30" y="135"/>
                  </a:lnTo>
                  <a:lnTo>
                    <a:pt x="30" y="135"/>
                  </a:lnTo>
                  <a:lnTo>
                    <a:pt x="26" y="136"/>
                  </a:lnTo>
                  <a:lnTo>
                    <a:pt x="20" y="136"/>
                  </a:lnTo>
                  <a:lnTo>
                    <a:pt x="11" y="136"/>
                  </a:lnTo>
                  <a:lnTo>
                    <a:pt x="10" y="136"/>
                  </a:lnTo>
                  <a:lnTo>
                    <a:pt x="0" y="170"/>
                  </a:lnTo>
                  <a:lnTo>
                    <a:pt x="40" y="170"/>
                  </a:lnTo>
                  <a:lnTo>
                    <a:pt x="40" y="170"/>
                  </a:lnTo>
                  <a:lnTo>
                    <a:pt x="48" y="169"/>
                  </a:lnTo>
                  <a:lnTo>
                    <a:pt x="55" y="167"/>
                  </a:lnTo>
                  <a:lnTo>
                    <a:pt x="63" y="164"/>
                  </a:lnTo>
                  <a:lnTo>
                    <a:pt x="68" y="160"/>
                  </a:lnTo>
                  <a:lnTo>
                    <a:pt x="74" y="156"/>
                  </a:lnTo>
                  <a:lnTo>
                    <a:pt x="79" y="149"/>
                  </a:lnTo>
                  <a:lnTo>
                    <a:pt x="91" y="132"/>
                  </a:lnTo>
                  <a:lnTo>
                    <a:pt x="175" y="0"/>
                  </a:lnTo>
                  <a:lnTo>
                    <a:pt x="1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06" name="Freeform 105"/>
            <p:cNvSpPr>
              <a:spLocks/>
            </p:cNvSpPr>
            <p:nvPr userDrawn="1"/>
          </p:nvSpPr>
          <p:spPr bwMode="auto">
            <a:xfrm>
              <a:off x="8399463" y="4827588"/>
              <a:ext cx="71438" cy="50800"/>
            </a:xfrm>
            <a:custGeom>
              <a:avLst/>
              <a:gdLst>
                <a:gd name="T0" fmla="*/ 20 w 45"/>
                <a:gd name="T1" fmla="*/ 11 h 32"/>
                <a:gd name="T2" fmla="*/ 20 w 45"/>
                <a:gd name="T3" fmla="*/ 9 h 32"/>
                <a:gd name="T4" fmla="*/ 26 w 45"/>
                <a:gd name="T5" fmla="*/ 6 h 32"/>
                <a:gd name="T6" fmla="*/ 29 w 45"/>
                <a:gd name="T7" fmla="*/ 6 h 32"/>
                <a:gd name="T8" fmla="*/ 31 w 45"/>
                <a:gd name="T9" fmla="*/ 7 h 32"/>
                <a:gd name="T10" fmla="*/ 32 w 45"/>
                <a:gd name="T11" fmla="*/ 10 h 32"/>
                <a:gd name="T12" fmla="*/ 45 w 45"/>
                <a:gd name="T13" fmla="*/ 10 h 32"/>
                <a:gd name="T14" fmla="*/ 43 w 45"/>
                <a:gd name="T15" fmla="*/ 4 h 32"/>
                <a:gd name="T16" fmla="*/ 29 w 45"/>
                <a:gd name="T17" fmla="*/ 0 h 32"/>
                <a:gd name="T18" fmla="*/ 19 w 45"/>
                <a:gd name="T19" fmla="*/ 2 h 32"/>
                <a:gd name="T20" fmla="*/ 7 w 45"/>
                <a:gd name="T21" fmla="*/ 6 h 32"/>
                <a:gd name="T22" fmla="*/ 5 w 45"/>
                <a:gd name="T23" fmla="*/ 11 h 32"/>
                <a:gd name="T24" fmla="*/ 6 w 45"/>
                <a:gd name="T25" fmla="*/ 16 h 32"/>
                <a:gd name="T26" fmla="*/ 11 w 45"/>
                <a:gd name="T27" fmla="*/ 18 h 32"/>
                <a:gd name="T28" fmla="*/ 24 w 45"/>
                <a:gd name="T29" fmla="*/ 21 h 32"/>
                <a:gd name="T30" fmla="*/ 27 w 45"/>
                <a:gd name="T31" fmla="*/ 23 h 32"/>
                <a:gd name="T32" fmla="*/ 27 w 45"/>
                <a:gd name="T33" fmla="*/ 24 h 32"/>
                <a:gd name="T34" fmla="*/ 24 w 45"/>
                <a:gd name="T35" fmla="*/ 26 h 32"/>
                <a:gd name="T36" fmla="*/ 20 w 45"/>
                <a:gd name="T37" fmla="*/ 27 h 32"/>
                <a:gd name="T38" fmla="*/ 14 w 45"/>
                <a:gd name="T39" fmla="*/ 26 h 32"/>
                <a:gd name="T40" fmla="*/ 14 w 45"/>
                <a:gd name="T41" fmla="*/ 24 h 32"/>
                <a:gd name="T42" fmla="*/ 2 w 45"/>
                <a:gd name="T43" fmla="*/ 23 h 32"/>
                <a:gd name="T44" fmla="*/ 0 w 45"/>
                <a:gd name="T45" fmla="*/ 26 h 32"/>
                <a:gd name="T46" fmla="*/ 2 w 45"/>
                <a:gd name="T47" fmla="*/ 30 h 32"/>
                <a:gd name="T48" fmla="*/ 7 w 45"/>
                <a:gd name="T49" fmla="*/ 32 h 32"/>
                <a:gd name="T50" fmla="*/ 18 w 45"/>
                <a:gd name="T51" fmla="*/ 32 h 32"/>
                <a:gd name="T52" fmla="*/ 36 w 45"/>
                <a:gd name="T53" fmla="*/ 30 h 32"/>
                <a:gd name="T54" fmla="*/ 43 w 45"/>
                <a:gd name="T55" fmla="*/ 23 h 32"/>
                <a:gd name="T56" fmla="*/ 43 w 45"/>
                <a:gd name="T57" fmla="*/ 19 h 32"/>
                <a:gd name="T58" fmla="*/ 41 w 45"/>
                <a:gd name="T59" fmla="*/ 17 h 32"/>
                <a:gd name="T60" fmla="*/ 31 w 45"/>
                <a:gd name="T61" fmla="*/ 13 h 32"/>
                <a:gd name="T62" fmla="*/ 20 w 45"/>
                <a:gd name="T63"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32">
                  <a:moveTo>
                    <a:pt x="20" y="11"/>
                  </a:moveTo>
                  <a:lnTo>
                    <a:pt x="20" y="11"/>
                  </a:lnTo>
                  <a:lnTo>
                    <a:pt x="20" y="9"/>
                  </a:lnTo>
                  <a:lnTo>
                    <a:pt x="20" y="9"/>
                  </a:lnTo>
                  <a:lnTo>
                    <a:pt x="23" y="7"/>
                  </a:lnTo>
                  <a:lnTo>
                    <a:pt x="26" y="6"/>
                  </a:lnTo>
                  <a:lnTo>
                    <a:pt x="26" y="6"/>
                  </a:lnTo>
                  <a:lnTo>
                    <a:pt x="29" y="6"/>
                  </a:lnTo>
                  <a:lnTo>
                    <a:pt x="31" y="7"/>
                  </a:lnTo>
                  <a:lnTo>
                    <a:pt x="31" y="7"/>
                  </a:lnTo>
                  <a:lnTo>
                    <a:pt x="32" y="9"/>
                  </a:lnTo>
                  <a:lnTo>
                    <a:pt x="32" y="10"/>
                  </a:lnTo>
                  <a:lnTo>
                    <a:pt x="45" y="10"/>
                  </a:lnTo>
                  <a:lnTo>
                    <a:pt x="45" y="10"/>
                  </a:lnTo>
                  <a:lnTo>
                    <a:pt x="45" y="6"/>
                  </a:lnTo>
                  <a:lnTo>
                    <a:pt x="43" y="4"/>
                  </a:lnTo>
                  <a:lnTo>
                    <a:pt x="38" y="2"/>
                  </a:lnTo>
                  <a:lnTo>
                    <a:pt x="29" y="0"/>
                  </a:lnTo>
                  <a:lnTo>
                    <a:pt x="29" y="0"/>
                  </a:lnTo>
                  <a:lnTo>
                    <a:pt x="19" y="2"/>
                  </a:lnTo>
                  <a:lnTo>
                    <a:pt x="12" y="3"/>
                  </a:lnTo>
                  <a:lnTo>
                    <a:pt x="7" y="6"/>
                  </a:lnTo>
                  <a:lnTo>
                    <a:pt x="5" y="11"/>
                  </a:lnTo>
                  <a:lnTo>
                    <a:pt x="5" y="11"/>
                  </a:lnTo>
                  <a:lnTo>
                    <a:pt x="5" y="13"/>
                  </a:lnTo>
                  <a:lnTo>
                    <a:pt x="6" y="16"/>
                  </a:lnTo>
                  <a:lnTo>
                    <a:pt x="6" y="16"/>
                  </a:lnTo>
                  <a:lnTo>
                    <a:pt x="11" y="18"/>
                  </a:lnTo>
                  <a:lnTo>
                    <a:pt x="17" y="19"/>
                  </a:lnTo>
                  <a:lnTo>
                    <a:pt x="24" y="21"/>
                  </a:lnTo>
                  <a:lnTo>
                    <a:pt x="27" y="23"/>
                  </a:lnTo>
                  <a:lnTo>
                    <a:pt x="27" y="23"/>
                  </a:lnTo>
                  <a:lnTo>
                    <a:pt x="27" y="24"/>
                  </a:lnTo>
                  <a:lnTo>
                    <a:pt x="27" y="24"/>
                  </a:lnTo>
                  <a:lnTo>
                    <a:pt x="26" y="25"/>
                  </a:lnTo>
                  <a:lnTo>
                    <a:pt x="24" y="26"/>
                  </a:lnTo>
                  <a:lnTo>
                    <a:pt x="20" y="27"/>
                  </a:lnTo>
                  <a:lnTo>
                    <a:pt x="20" y="27"/>
                  </a:lnTo>
                  <a:lnTo>
                    <a:pt x="17" y="26"/>
                  </a:lnTo>
                  <a:lnTo>
                    <a:pt x="14" y="26"/>
                  </a:lnTo>
                  <a:lnTo>
                    <a:pt x="14" y="26"/>
                  </a:lnTo>
                  <a:lnTo>
                    <a:pt x="14" y="24"/>
                  </a:lnTo>
                  <a:lnTo>
                    <a:pt x="14" y="23"/>
                  </a:lnTo>
                  <a:lnTo>
                    <a:pt x="2" y="23"/>
                  </a:lnTo>
                  <a:lnTo>
                    <a:pt x="2" y="23"/>
                  </a:lnTo>
                  <a:lnTo>
                    <a:pt x="0" y="26"/>
                  </a:lnTo>
                  <a:lnTo>
                    <a:pt x="0" y="28"/>
                  </a:lnTo>
                  <a:lnTo>
                    <a:pt x="2" y="30"/>
                  </a:lnTo>
                  <a:lnTo>
                    <a:pt x="4" y="31"/>
                  </a:lnTo>
                  <a:lnTo>
                    <a:pt x="7" y="32"/>
                  </a:lnTo>
                  <a:lnTo>
                    <a:pt x="18" y="32"/>
                  </a:lnTo>
                  <a:lnTo>
                    <a:pt x="18" y="32"/>
                  </a:lnTo>
                  <a:lnTo>
                    <a:pt x="29" y="32"/>
                  </a:lnTo>
                  <a:lnTo>
                    <a:pt x="36" y="30"/>
                  </a:lnTo>
                  <a:lnTo>
                    <a:pt x="40" y="26"/>
                  </a:lnTo>
                  <a:lnTo>
                    <a:pt x="43" y="23"/>
                  </a:lnTo>
                  <a:lnTo>
                    <a:pt x="43" y="23"/>
                  </a:lnTo>
                  <a:lnTo>
                    <a:pt x="43" y="19"/>
                  </a:lnTo>
                  <a:lnTo>
                    <a:pt x="41" y="17"/>
                  </a:lnTo>
                  <a:lnTo>
                    <a:pt x="41" y="17"/>
                  </a:lnTo>
                  <a:lnTo>
                    <a:pt x="37" y="14"/>
                  </a:lnTo>
                  <a:lnTo>
                    <a:pt x="31" y="13"/>
                  </a:lnTo>
                  <a:lnTo>
                    <a:pt x="24" y="12"/>
                  </a:lnTo>
                  <a:lnTo>
                    <a:pt x="20" y="11"/>
                  </a:lnTo>
                  <a:lnTo>
                    <a:pt x="2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grpSp>
      <p:sp>
        <p:nvSpPr>
          <p:cNvPr id="44" name="Text Placeholder 43"/>
          <p:cNvSpPr>
            <a:spLocks noGrp="1"/>
          </p:cNvSpPr>
          <p:nvPr>
            <p:ph type="body" sz="quarter" idx="10"/>
          </p:nvPr>
        </p:nvSpPr>
        <p:spPr>
          <a:xfrm>
            <a:off x="715495" y="3833787"/>
            <a:ext cx="2455544" cy="332365"/>
          </a:xfrm>
        </p:spPr>
        <p:txBody>
          <a:bodyPr/>
          <a:lstStyle>
            <a:lvl1pPr>
              <a:defRPr lang="en-US" sz="1000" b="0" kern="1200" smtClean="0">
                <a:solidFill>
                  <a:srgbClr val="000000"/>
                </a:solidFill>
                <a:latin typeface="Arial"/>
                <a:ea typeface="ＭＳ Ｐゴシック"/>
                <a:cs typeface="ＭＳ Ｐゴシック"/>
              </a:defRPr>
            </a:lvl1pPr>
          </a:lstStyle>
          <a:p>
            <a:pPr lvl="0"/>
            <a:r>
              <a:rPr lang="en-US"/>
              <a:t>Click to edit Master text styles</a:t>
            </a:r>
          </a:p>
        </p:txBody>
      </p:sp>
      <p:sp>
        <p:nvSpPr>
          <p:cNvPr id="53" name="Content Placeholder 52"/>
          <p:cNvSpPr>
            <a:spLocks noGrp="1"/>
          </p:cNvSpPr>
          <p:nvPr>
            <p:ph sz="quarter" idx="12"/>
          </p:nvPr>
        </p:nvSpPr>
        <p:spPr>
          <a:xfrm>
            <a:off x="6280150" y="3842381"/>
            <a:ext cx="2487613" cy="1652265"/>
          </a:xfrm>
        </p:spPr>
        <p:txBody>
          <a:bodyPr/>
          <a:lstStyle>
            <a:lvl1pPr marL="0" indent="0">
              <a:spcBef>
                <a:spcPts val="1200"/>
              </a:spcBef>
              <a:defRPr lang="en-US" sz="1000" b="1" kern="1200" dirty="0" smtClean="0">
                <a:solidFill>
                  <a:srgbClr val="000000"/>
                </a:solidFill>
                <a:latin typeface="Arial" charset="0"/>
                <a:ea typeface="ＭＳ Ｐゴシック" charset="-128"/>
                <a:cs typeface="+mn-cs"/>
              </a:defRPr>
            </a:lvl1pPr>
            <a:lvl2pPr marL="0" indent="0">
              <a:buFontTx/>
              <a:buNone/>
              <a:defRPr lang="en-US" sz="1000" i="1" kern="1200" dirty="0" smtClean="0">
                <a:solidFill>
                  <a:srgbClr val="000000"/>
                </a:solidFill>
                <a:latin typeface="Arial" charset="0"/>
                <a:ea typeface="ＭＳ Ｐゴシック" charset="-128"/>
                <a:cs typeface="+mn-cs"/>
              </a:defRPr>
            </a:lvl2pPr>
          </a:lstStyle>
          <a:p>
            <a:pPr lvl="0"/>
            <a:r>
              <a:rPr lang="en-US"/>
              <a:t>Click to edit Master text styles</a:t>
            </a:r>
          </a:p>
          <a:p>
            <a:pPr lvl="1"/>
            <a:r>
              <a:rPr lang="en-US"/>
              <a:t>Second level</a:t>
            </a:r>
          </a:p>
        </p:txBody>
      </p:sp>
      <p:sp>
        <p:nvSpPr>
          <p:cNvPr id="47" name="Rectangle 176"/>
          <p:cNvSpPr>
            <a:spLocks noGrp="1" noChangeArrowheads="1"/>
          </p:cNvSpPr>
          <p:nvPr>
            <p:ph type="ftr" sz="quarter" idx="13"/>
          </p:nvPr>
        </p:nvSpPr>
        <p:spPr>
          <a:xfrm>
            <a:off x="281401" y="5877558"/>
            <a:ext cx="6014623" cy="260350"/>
          </a:xfrm>
          <a:prstGeom prst="rect">
            <a:avLst/>
          </a:prstGeom>
        </p:spPr>
        <p:txBody>
          <a:bodyPr anchor="b" anchorCtr="0"/>
          <a:lstStyle>
            <a:lvl1pPr algn="l">
              <a:defRPr sz="800" b="0" smtClean="0">
                <a:solidFill>
                  <a:srgbClr val="000000"/>
                </a:solidFill>
              </a:defRPr>
            </a:lvl1pPr>
          </a:lstStyle>
          <a:p>
            <a:pPr>
              <a:defRPr/>
            </a:pPr>
            <a:r>
              <a:rPr lang="en-US" b="1" dirty="0"/>
              <a:t>For institutional use only.</a:t>
            </a:r>
          </a:p>
        </p:txBody>
      </p:sp>
      <p:sp>
        <p:nvSpPr>
          <p:cNvPr id="72" name="Rectangle 6"/>
          <p:cNvSpPr>
            <a:spLocks noGrp="1" noChangeArrowheads="1"/>
          </p:cNvSpPr>
          <p:nvPr>
            <p:ph type="subTitle" idx="1"/>
          </p:nvPr>
        </p:nvSpPr>
        <p:spPr>
          <a:xfrm>
            <a:off x="685251" y="2091765"/>
            <a:ext cx="7805762" cy="563076"/>
          </a:xfrm>
        </p:spPr>
        <p:txBody>
          <a:bodyPr lIns="100584" rIns="100584"/>
          <a:lstStyle>
            <a:lvl1pPr marL="0" indent="0">
              <a:spcBef>
                <a:spcPts val="0"/>
              </a:spcBef>
              <a:defRPr sz="2000" b="0">
                <a:solidFill>
                  <a:srgbClr val="7A9B3D"/>
                </a:solidFill>
              </a:defRPr>
            </a:lvl1pPr>
          </a:lstStyle>
          <a:p>
            <a:r>
              <a:rPr lang="en-US"/>
              <a:t>Click to edit Master subtitle style</a:t>
            </a:r>
            <a:endParaRPr lang="en-US" dirty="0"/>
          </a:p>
        </p:txBody>
      </p:sp>
      <p:sp>
        <p:nvSpPr>
          <p:cNvPr id="74" name="Text Placeholder 43"/>
          <p:cNvSpPr>
            <a:spLocks noGrp="1"/>
          </p:cNvSpPr>
          <p:nvPr>
            <p:ph type="body" sz="quarter" idx="14" hasCustomPrompt="1"/>
          </p:nvPr>
        </p:nvSpPr>
        <p:spPr>
          <a:xfrm>
            <a:off x="685251" y="2581276"/>
            <a:ext cx="7805762" cy="266850"/>
          </a:xfrm>
        </p:spPr>
        <p:txBody>
          <a:bodyPr lIns="100584" rIns="100584"/>
          <a:lstStyle>
            <a:lvl1pPr>
              <a:spcBef>
                <a:spcPts val="0"/>
              </a:spcBef>
              <a:defRPr lang="en-US" sz="1200" b="0" kern="1200" dirty="0" smtClean="0">
                <a:solidFill>
                  <a:srgbClr val="333F48"/>
                </a:solidFill>
                <a:latin typeface="Arial"/>
                <a:ea typeface="ＭＳ Ｐゴシック" pitchFamily="34" charset="-128"/>
                <a:cs typeface="+mn-cs"/>
              </a:defRPr>
            </a:lvl1pPr>
          </a:lstStyle>
          <a:p>
            <a:pPr lvl="0"/>
            <a:r>
              <a:rPr lang="en-US" dirty="0"/>
              <a:t>Date</a:t>
            </a:r>
          </a:p>
        </p:txBody>
      </p:sp>
      <p:sp>
        <p:nvSpPr>
          <p:cNvPr id="39" name="Rectangle 9"/>
          <p:cNvSpPr>
            <a:spLocks noGrp="1" noChangeArrowheads="1"/>
          </p:cNvSpPr>
          <p:nvPr>
            <p:ph type="title" hasCustomPrompt="1"/>
          </p:nvPr>
        </p:nvSpPr>
        <p:spPr bwMode="auto">
          <a:xfrm>
            <a:off x="685252" y="1581072"/>
            <a:ext cx="7820573" cy="53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b" anchorCtr="0" compatLnSpc="1">
            <a:prstTxWarp prst="textNoShape">
              <a:avLst/>
            </a:prstTxWarp>
          </a:bodyPr>
          <a:lstStyle>
            <a:lvl1pPr>
              <a:defRPr sz="3000">
                <a:solidFill>
                  <a:schemeClr val="bg2"/>
                </a:solidFill>
              </a:defRPr>
            </a:lvl1pPr>
          </a:lstStyle>
          <a:p>
            <a:pPr lvl="0"/>
            <a:r>
              <a:rPr lang="en-US" altLang="en-US" dirty="0"/>
              <a:t>Click To Edit Master Title Style</a:t>
            </a:r>
          </a:p>
        </p:txBody>
      </p:sp>
      <p:sp>
        <p:nvSpPr>
          <p:cNvPr id="49" name="Text Box 15"/>
          <p:cNvSpPr txBox="1">
            <a:spLocks noChangeArrowheads="1"/>
          </p:cNvSpPr>
          <p:nvPr userDrawn="1"/>
        </p:nvSpPr>
        <p:spPr bwMode="ltGray">
          <a:xfrm>
            <a:off x="383501" y="5535090"/>
            <a:ext cx="2868716" cy="184652"/>
          </a:xfrm>
          <a:prstGeom prst="rect">
            <a:avLst/>
          </a:prstGeom>
          <a:noFill/>
          <a:ln w="9525">
            <a:solidFill>
              <a:srgbClr val="000000"/>
            </a:solidFill>
            <a:miter lim="800000"/>
            <a:headEnd/>
            <a:tailEnd/>
          </a:ln>
        </p:spPr>
        <p:txBody>
          <a:bodyPr wrap="none" lIns="45711" tIns="45711" rIns="45711" bIns="27427" anchor="ctr">
            <a:spAutoFit/>
          </a:bodyP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fontAlgn="auto">
              <a:lnSpc>
                <a:spcPct val="90000"/>
              </a:lnSpc>
              <a:spcBef>
                <a:spcPts val="0"/>
              </a:spcBef>
              <a:spcAft>
                <a:spcPts val="0"/>
              </a:spcAft>
              <a:defRPr/>
            </a:pPr>
            <a:r>
              <a:rPr lang="en-US" sz="800" b="1" kern="0" dirty="0">
                <a:solidFill>
                  <a:srgbClr val="000000"/>
                </a:solidFill>
                <a:latin typeface="Arial"/>
                <a:cs typeface="+mn-cs"/>
              </a:rPr>
              <a:t>Not FDIC Insured </a:t>
            </a:r>
            <a:r>
              <a:rPr lang="en-US" sz="800" b="1" kern="0" dirty="0">
                <a:solidFill>
                  <a:srgbClr val="000000"/>
                </a:solidFill>
                <a:latin typeface="Arial"/>
                <a:cs typeface="+mn-cs"/>
                <a:sym typeface="Wingdings" pitchFamily="2" charset="2"/>
              </a:rPr>
              <a:t> May Lose Value  No Bank Guarantee</a:t>
            </a:r>
          </a:p>
        </p:txBody>
      </p:sp>
    </p:spTree>
    <p:extLst>
      <p:ext uri="{BB962C8B-B14F-4D97-AF65-F5344CB8AC3E}">
        <p14:creationId xmlns:p14="http://schemas.microsoft.com/office/powerpoint/2010/main" val="89975199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OC/Agenda">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a:noFill/>
          <a:ln w="9525">
            <a:noFill/>
            <a:miter lim="800000"/>
            <a:headEnd/>
            <a:tailEnd/>
          </a:ln>
          <a:effectLst/>
        </p:spPr>
        <p:txBody>
          <a:bodyPr tIns="45720" anchor="t" anchorCtr="0"/>
          <a:lstStyle>
            <a:lvl1pPr>
              <a:defRPr kumimoji="0" lang="en-US" sz="2400" b="0" i="0" u="none" strike="noStrike" kern="0" cap="none" spc="0" normalizeH="0" baseline="0" noProof="0" dirty="0">
                <a:ln>
                  <a:noFill/>
                </a:ln>
                <a:solidFill>
                  <a:srgbClr val="333F48"/>
                </a:solidFill>
                <a:effectLst/>
                <a:uLnTx/>
                <a:uFillTx/>
                <a:latin typeface="+mj-lt"/>
                <a:ea typeface="+mj-ea"/>
                <a:cs typeface="+mj-cs"/>
              </a:defRPr>
            </a:lvl1pPr>
          </a:lstStyle>
          <a:p>
            <a:pPr lvl="0"/>
            <a:r>
              <a:rPr lang="en-US"/>
              <a:t>Click to edit Master title style</a:t>
            </a:r>
            <a:endParaRPr lang="en-US" dirty="0"/>
          </a:p>
        </p:txBody>
      </p:sp>
      <p:sp>
        <p:nvSpPr>
          <p:cNvPr id="10" name="Content Placeholder 9"/>
          <p:cNvSpPr>
            <a:spLocks noGrp="1"/>
          </p:cNvSpPr>
          <p:nvPr>
            <p:ph sz="quarter" idx="13"/>
          </p:nvPr>
        </p:nvSpPr>
        <p:spPr>
          <a:xfrm>
            <a:off x="317115" y="1339850"/>
            <a:ext cx="8188710" cy="4878388"/>
          </a:xfrm>
        </p:spPr>
        <p:txBody>
          <a:bodyPr/>
          <a:lstStyle>
            <a:lvl1pPr marL="227013" indent="-227013">
              <a:spcBef>
                <a:spcPts val="600"/>
              </a:spcBef>
              <a:buClr>
                <a:srgbClr val="7A9B3D"/>
              </a:buClr>
              <a:buSzPct val="100000"/>
              <a:buFont typeface="+mj-lt"/>
              <a:buAutoNum type="arabicPeriod"/>
              <a:defRPr sz="1400" b="0" i="0" baseline="0">
                <a:solidFill>
                  <a:srgbClr val="000000"/>
                </a:solidFill>
                <a:latin typeface="Arial" pitchFamily="34" charset="0"/>
              </a:defRPr>
            </a:lvl1pPr>
            <a:lvl2pPr marL="461963" indent="-217488">
              <a:spcBef>
                <a:spcPts val="600"/>
              </a:spcBef>
              <a:buClr>
                <a:srgbClr val="768692"/>
              </a:buClr>
              <a:buFont typeface="+mj-lt"/>
              <a:buAutoNum type="alphaUcPeriod"/>
              <a:defRPr sz="1200" baseline="0">
                <a:solidFill>
                  <a:srgbClr val="000000"/>
                </a:solidFill>
                <a:latin typeface="Arial" pitchFamily="34" charset="0"/>
              </a:defRPr>
            </a:lvl2pPr>
            <a:lvl3pPr>
              <a:spcBef>
                <a:spcPts val="600"/>
              </a:spcBef>
              <a:buClr>
                <a:srgbClr val="000000"/>
              </a:buClr>
              <a:defRPr baseline="0">
                <a:solidFill>
                  <a:srgbClr val="000000"/>
                </a:solidFill>
              </a:defRPr>
            </a:lvl3pPr>
          </a:lstStyle>
          <a:p>
            <a:pPr lvl="0"/>
            <a:r>
              <a:rPr lang="en-US"/>
              <a:t>Click to edit Master text styles</a:t>
            </a:r>
          </a:p>
          <a:p>
            <a:pPr lvl="1"/>
            <a:r>
              <a:rPr lang="en-US"/>
              <a:t>Second level</a:t>
            </a:r>
          </a:p>
          <a:p>
            <a:pPr lvl="2"/>
            <a:r>
              <a:rPr lang="en-US"/>
              <a:t>Third level</a:t>
            </a:r>
          </a:p>
        </p:txBody>
      </p:sp>
      <p:sp>
        <p:nvSpPr>
          <p:cNvPr id="5"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
        <p:nvSpPr>
          <p:cNvPr id="6" name="Footer Placeholder 4"/>
          <p:cNvSpPr>
            <a:spLocks noGrp="1"/>
          </p:cNvSpPr>
          <p:nvPr>
            <p:ph type="ftr" sz="quarter" idx="15"/>
          </p:nvPr>
        </p:nvSpPr>
        <p:spPr>
          <a:xfrm>
            <a:off x="320040" y="6483290"/>
            <a:ext cx="3933825" cy="172486"/>
          </a:xfrm>
          <a:prstGeom prst="rect">
            <a:avLst/>
          </a:prstGeom>
        </p:spPr>
        <p:txBody>
          <a:bodyPr/>
          <a:lstStyle>
            <a:lvl1pPr algn="r">
              <a:defRPr smtClean="0">
                <a:solidFill>
                  <a:srgbClr val="000000"/>
                </a:solidFill>
              </a:defRPr>
            </a:lvl1pPr>
          </a:lstStyle>
          <a:p>
            <a:pPr algn="l">
              <a:defRPr/>
            </a:pPr>
            <a:r>
              <a:rPr lang="en-US" sz="1800" dirty="0"/>
              <a:t>For institutional use only.</a:t>
            </a:r>
          </a:p>
        </p:txBody>
      </p:sp>
      <p:sp>
        <p:nvSpPr>
          <p:cNvPr id="7"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endParaRPr lang="en-US" dirty="0"/>
          </a:p>
        </p:txBody>
      </p:sp>
      <p:grpSp>
        <p:nvGrpSpPr>
          <p:cNvPr id="8" name="Group 7"/>
          <p:cNvGrpSpPr/>
          <p:nvPr userDrawn="1"/>
        </p:nvGrpSpPr>
        <p:grpSpPr>
          <a:xfrm>
            <a:off x="7364320" y="6412511"/>
            <a:ext cx="1371600" cy="283464"/>
            <a:chOff x="4291013" y="3178175"/>
            <a:chExt cx="3197225" cy="688975"/>
          </a:xfrm>
        </p:grpSpPr>
        <p:sp>
          <p:nvSpPr>
            <p:cNvPr id="9"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1"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2"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3"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4"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5"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6"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7"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8"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9"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0"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1"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2"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3"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4"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5"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6"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7"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8"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9"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0"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1"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2"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3"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4"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grpSp>
    </p:spTree>
    <p:extLst>
      <p:ext uri="{BB962C8B-B14F-4D97-AF65-F5344CB8AC3E}">
        <p14:creationId xmlns:p14="http://schemas.microsoft.com/office/powerpoint/2010/main" val="210561666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lvl1pPr>
              <a:defRPr>
                <a:solidFill>
                  <a:srgbClr val="333F48"/>
                </a:solidFill>
              </a:defRPr>
            </a:lvl1pPr>
          </a:lstStyle>
          <a:p>
            <a:r>
              <a:rPr lang="en-US"/>
              <a:t>Click to edit Master title style</a:t>
            </a:r>
            <a:endParaRPr lang="en-US" dirty="0"/>
          </a:p>
        </p:txBody>
      </p:sp>
      <p:sp>
        <p:nvSpPr>
          <p:cNvPr id="9"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endParaRPr lang="en-US" dirty="0"/>
          </a:p>
        </p:txBody>
      </p:sp>
      <p:sp>
        <p:nvSpPr>
          <p:cNvPr id="36"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377580216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p>
            <a:r>
              <a:rPr lang="en-US"/>
              <a:t>Click to edit Master title style</a:t>
            </a:r>
            <a:endParaRPr lang="en-US" dirty="0"/>
          </a:p>
        </p:txBody>
      </p:sp>
      <p:sp>
        <p:nvSpPr>
          <p:cNvPr id="7" name="Content Placeholder 2"/>
          <p:cNvSpPr>
            <a:spLocks noGrp="1"/>
          </p:cNvSpPr>
          <p:nvPr>
            <p:ph idx="13"/>
          </p:nvPr>
        </p:nvSpPr>
        <p:spPr>
          <a:xfrm>
            <a:off x="317115" y="1339850"/>
            <a:ext cx="8188710" cy="4878388"/>
          </a:xfrm>
        </p:spPr>
        <p:txBody>
          <a:bodyPr lIns="91440"/>
          <a:lstStyle>
            <a:lvl1pPr marL="0" indent="0" algn="l" rtl="0" fontAlgn="base">
              <a:spcBef>
                <a:spcPts val="480"/>
              </a:spcBef>
              <a:spcAft>
                <a:spcPct val="0"/>
              </a:spcAft>
              <a:buSzPct val="40000"/>
              <a:defRPr lang="en-US" sz="1600" b="1" dirty="0" smtClean="0">
                <a:solidFill>
                  <a:schemeClr val="accent3"/>
                </a:solidFill>
                <a:latin typeface="+mn-lt"/>
                <a:ea typeface="+mn-ea"/>
                <a:cs typeface="+mn-cs"/>
              </a:defRPr>
            </a:lvl1pPr>
            <a:lvl2pPr>
              <a:spcBef>
                <a:spcPts val="2000"/>
              </a:spcBef>
              <a:defRPr lang="en-US" dirty="0" smtClean="0">
                <a:solidFill>
                  <a:schemeClr val="tx1"/>
                </a:solidFill>
                <a:latin typeface="+mn-lt"/>
              </a:defRPr>
            </a:lvl2pPr>
            <a:lvl3pPr>
              <a:defRPr lang="en-US" sz="1600" dirty="0" smtClean="0">
                <a:solidFill>
                  <a:schemeClr val="accent1"/>
                </a:solidFill>
                <a:latin typeface="+mn-lt"/>
              </a:defRPr>
            </a:lvl3pPr>
            <a:lvl4pPr>
              <a:buClr>
                <a:schemeClr val="bg2"/>
              </a:buClr>
              <a:buSzPct val="80000"/>
              <a:buFont typeface="Arial" pitchFamily="34" charset="0"/>
              <a:buChar char="•"/>
              <a:defRPr sz="1400">
                <a:solidFill>
                  <a:schemeClr val="accent1"/>
                </a:solidFill>
              </a:defRPr>
            </a:lvl4pPr>
          </a:lstStyle>
          <a:p>
            <a:pPr lvl="0"/>
            <a:r>
              <a:rPr lang="en-US"/>
              <a:t>Click to edit Master text styles</a:t>
            </a:r>
          </a:p>
        </p:txBody>
      </p:sp>
      <p:sp>
        <p:nvSpPr>
          <p:cNvPr id="11"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endParaRPr lang="en-US" dirty="0"/>
          </a:p>
        </p:txBody>
      </p:sp>
      <p:grpSp>
        <p:nvGrpSpPr>
          <p:cNvPr id="12" name="Group 11"/>
          <p:cNvGrpSpPr/>
          <p:nvPr userDrawn="1"/>
        </p:nvGrpSpPr>
        <p:grpSpPr>
          <a:xfrm>
            <a:off x="7364320" y="6412511"/>
            <a:ext cx="1371600" cy="283464"/>
            <a:chOff x="4291013" y="3178175"/>
            <a:chExt cx="3197225" cy="688975"/>
          </a:xfrm>
        </p:grpSpPr>
        <p:sp>
          <p:nvSpPr>
            <p:cNvPr id="13"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4"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5"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6"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7"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8"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9"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0"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1"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2"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3"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4"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5"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6"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7"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8"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9"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0"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1"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2"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3"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4"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5"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6"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7"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grpSp>
      <p:sp>
        <p:nvSpPr>
          <p:cNvPr id="38"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43159046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Bulleted List">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41248"/>
          </a:xfrm>
        </p:spPr>
        <p:txBody>
          <a:bodyPr/>
          <a:lstStyle>
            <a:lvl1pPr>
              <a:defRPr>
                <a:solidFill>
                  <a:srgbClr val="333F48"/>
                </a:solidFill>
              </a:defRPr>
            </a:lvl1pPr>
          </a:lstStyle>
          <a:p>
            <a:r>
              <a:rPr lang="en-US"/>
              <a:t>Click to edit Master title style</a:t>
            </a:r>
            <a:endParaRPr lang="en-US" dirty="0"/>
          </a:p>
        </p:txBody>
      </p:sp>
      <p:sp>
        <p:nvSpPr>
          <p:cNvPr id="11" name="Content Placeholder 2"/>
          <p:cNvSpPr>
            <a:spLocks noGrp="1"/>
          </p:cNvSpPr>
          <p:nvPr>
            <p:ph idx="12"/>
          </p:nvPr>
        </p:nvSpPr>
        <p:spPr>
          <a:xfrm>
            <a:off x="317115" y="1339850"/>
            <a:ext cx="8188710" cy="4878388"/>
          </a:xfrm>
        </p:spPr>
        <p:txBody>
          <a:bodyPr lIns="91440"/>
          <a:lstStyle>
            <a:lvl1pPr marL="0" indent="0" algn="l" rtl="0" fontAlgn="base">
              <a:spcBef>
                <a:spcPts val="480"/>
              </a:spcBef>
              <a:spcAft>
                <a:spcPct val="0"/>
              </a:spcAft>
              <a:buSzPct val="40000"/>
              <a:defRPr lang="en-US" sz="1600" b="1" dirty="0" smtClean="0">
                <a:solidFill>
                  <a:srgbClr val="7A9B3D"/>
                </a:solidFill>
                <a:latin typeface="+mn-lt"/>
                <a:ea typeface="+mn-ea"/>
                <a:cs typeface="+mn-cs"/>
              </a:defRPr>
            </a:lvl1pPr>
            <a:lvl2pPr marL="114300" indent="-114300">
              <a:spcBef>
                <a:spcPts val="288"/>
              </a:spcBef>
              <a:buClr>
                <a:srgbClr val="7A9B3D"/>
              </a:buClr>
              <a:defRPr lang="en-US" dirty="0" smtClean="0">
                <a:solidFill>
                  <a:srgbClr val="000000"/>
                </a:solidFill>
                <a:latin typeface="+mn-lt"/>
              </a:defRPr>
            </a:lvl2pPr>
            <a:lvl3pPr marL="228600" indent="-114300">
              <a:buClr>
                <a:srgbClr val="768692"/>
              </a:buClr>
              <a:defRPr lang="en-US" sz="1200" dirty="0" smtClean="0">
                <a:solidFill>
                  <a:srgbClr val="000000"/>
                </a:solidFill>
                <a:latin typeface="+mn-lt"/>
              </a:defRPr>
            </a:lvl3pPr>
            <a:lvl4pPr marL="342900" indent="-114300">
              <a:buClr>
                <a:srgbClr val="000000"/>
              </a:buClr>
              <a:buSzPct val="100000"/>
              <a:buFont typeface="Arial" pitchFamily="34" charset="0"/>
              <a:buChar char="•"/>
              <a:defRPr sz="1200">
                <a:solidFill>
                  <a:srgbClr val="000000"/>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Footer Placeholder 4"/>
          <p:cNvSpPr>
            <a:spLocks noGrp="1"/>
          </p:cNvSpPr>
          <p:nvPr>
            <p:ph type="ftr" sz="quarter" idx="15"/>
          </p:nvPr>
        </p:nvSpPr>
        <p:spPr>
          <a:xfrm>
            <a:off x="320040" y="6483290"/>
            <a:ext cx="3933825" cy="172486"/>
          </a:xfrm>
          <a:prstGeom prst="rect">
            <a:avLst/>
          </a:prstGeom>
        </p:spPr>
        <p:txBody>
          <a:bodyPr/>
          <a:lstStyle>
            <a:lvl1pPr algn="r">
              <a:defRPr smtClean="0">
                <a:solidFill>
                  <a:srgbClr val="000000"/>
                </a:solidFill>
              </a:defRPr>
            </a:lvl1pPr>
          </a:lstStyle>
          <a:p>
            <a:pPr algn="l">
              <a:defRPr/>
            </a:pPr>
            <a:r>
              <a:rPr lang="en-US" sz="1800" dirty="0"/>
              <a:t>For institutional use only.</a:t>
            </a:r>
          </a:p>
        </p:txBody>
      </p:sp>
      <p:sp>
        <p:nvSpPr>
          <p:cNvPr id="13"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endParaRPr lang="en-US" dirty="0"/>
          </a:p>
        </p:txBody>
      </p:sp>
      <p:grpSp>
        <p:nvGrpSpPr>
          <p:cNvPr id="14" name="Group 13"/>
          <p:cNvGrpSpPr/>
          <p:nvPr userDrawn="1"/>
        </p:nvGrpSpPr>
        <p:grpSpPr>
          <a:xfrm>
            <a:off x="7364320" y="6412511"/>
            <a:ext cx="1371600" cy="283464"/>
            <a:chOff x="4291013" y="3178175"/>
            <a:chExt cx="3197225" cy="688975"/>
          </a:xfrm>
        </p:grpSpPr>
        <p:sp>
          <p:nvSpPr>
            <p:cNvPr id="15"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6"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7"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8"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9"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0"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1"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2"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3"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4"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5"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6"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7"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8"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9"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0"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1"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2"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3"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4"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5"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6"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7"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8"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9"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grpSp>
      <p:sp>
        <p:nvSpPr>
          <p:cNvPr id="40"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402900730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_Bulleted List - with subhead">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41248"/>
          </a:xfrm>
        </p:spPr>
        <p:txBody>
          <a:bodyPr/>
          <a:lstStyle/>
          <a:p>
            <a:r>
              <a:rPr lang="en-US"/>
              <a:t>Click to edit Master title style</a:t>
            </a:r>
            <a:endParaRPr lang="en-US" dirty="0"/>
          </a:p>
        </p:txBody>
      </p:sp>
      <p:sp>
        <p:nvSpPr>
          <p:cNvPr id="11" name="Content Placeholder 2"/>
          <p:cNvSpPr>
            <a:spLocks noGrp="1"/>
          </p:cNvSpPr>
          <p:nvPr>
            <p:ph idx="12"/>
          </p:nvPr>
        </p:nvSpPr>
        <p:spPr>
          <a:xfrm>
            <a:off x="317115" y="1339850"/>
            <a:ext cx="8188710" cy="4878388"/>
          </a:xfrm>
        </p:spPr>
        <p:txBody>
          <a:bodyPr lIns="91440"/>
          <a:lstStyle>
            <a:lvl1pPr marL="0" indent="0" algn="l" rtl="0" fontAlgn="base">
              <a:spcBef>
                <a:spcPts val="480"/>
              </a:spcBef>
              <a:spcAft>
                <a:spcPct val="0"/>
              </a:spcAft>
              <a:buSzPct val="40000"/>
              <a:defRPr lang="en-US" sz="1600" b="1" dirty="0" smtClean="0">
                <a:solidFill>
                  <a:srgbClr val="7A9B3D"/>
                </a:solidFill>
                <a:latin typeface="+mn-lt"/>
                <a:ea typeface="+mn-ea"/>
                <a:cs typeface="+mn-cs"/>
              </a:defRPr>
            </a:lvl1pPr>
            <a:lvl2pPr marL="114300" indent="-114300">
              <a:spcBef>
                <a:spcPts val="288"/>
              </a:spcBef>
              <a:buClr>
                <a:srgbClr val="7A9B3D"/>
              </a:buClr>
              <a:defRPr lang="en-US" dirty="0" smtClean="0">
                <a:solidFill>
                  <a:srgbClr val="000000"/>
                </a:solidFill>
                <a:latin typeface="+mn-lt"/>
              </a:defRPr>
            </a:lvl2pPr>
            <a:lvl3pPr marL="228600" indent="-114300">
              <a:buClr>
                <a:srgbClr val="768692"/>
              </a:buClr>
              <a:defRPr lang="en-US" sz="1200" dirty="0" smtClean="0">
                <a:solidFill>
                  <a:srgbClr val="000000"/>
                </a:solidFill>
                <a:latin typeface="+mn-lt"/>
              </a:defRPr>
            </a:lvl3pPr>
            <a:lvl4pPr marL="342900" indent="-114300">
              <a:buClr>
                <a:srgbClr val="000000"/>
              </a:buClr>
              <a:buSzPct val="100000"/>
              <a:buFont typeface="Arial" pitchFamily="34" charset="0"/>
              <a:buChar char="•"/>
              <a:defRPr sz="1200">
                <a:solidFill>
                  <a:srgbClr val="000000"/>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Footer Placeholder 4"/>
          <p:cNvSpPr>
            <a:spLocks noGrp="1"/>
          </p:cNvSpPr>
          <p:nvPr>
            <p:ph type="ftr" sz="quarter" idx="15"/>
          </p:nvPr>
        </p:nvSpPr>
        <p:spPr>
          <a:xfrm>
            <a:off x="320040" y="6483290"/>
            <a:ext cx="3933825" cy="172486"/>
          </a:xfrm>
          <a:prstGeom prst="rect">
            <a:avLst/>
          </a:prstGeom>
        </p:spPr>
        <p:txBody>
          <a:bodyPr/>
          <a:lstStyle>
            <a:lvl1pPr algn="r">
              <a:defRPr smtClean="0">
                <a:solidFill>
                  <a:srgbClr val="000000"/>
                </a:solidFill>
              </a:defRPr>
            </a:lvl1pPr>
          </a:lstStyle>
          <a:p>
            <a:pPr algn="l">
              <a:defRPr/>
            </a:pPr>
            <a:r>
              <a:rPr lang="en-US" sz="1800" dirty="0"/>
              <a:t>For institutional use only.</a:t>
            </a:r>
          </a:p>
        </p:txBody>
      </p:sp>
      <p:sp>
        <p:nvSpPr>
          <p:cNvPr id="13"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endParaRPr lang="en-US" dirty="0"/>
          </a:p>
        </p:txBody>
      </p:sp>
      <p:grpSp>
        <p:nvGrpSpPr>
          <p:cNvPr id="14" name="Group 13"/>
          <p:cNvGrpSpPr/>
          <p:nvPr userDrawn="1"/>
        </p:nvGrpSpPr>
        <p:grpSpPr>
          <a:xfrm>
            <a:off x="7364320" y="6412511"/>
            <a:ext cx="1371600" cy="283464"/>
            <a:chOff x="4291013" y="3178175"/>
            <a:chExt cx="3197225" cy="688975"/>
          </a:xfrm>
        </p:grpSpPr>
        <p:sp>
          <p:nvSpPr>
            <p:cNvPr id="15"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6"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7"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8"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9"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0"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1"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2"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3"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4"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5"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6"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7"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8"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9"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0"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1"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2"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3"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4"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5"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6"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7"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8"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9"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grpSp>
      <p:sp>
        <p:nvSpPr>
          <p:cNvPr id="40"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401911095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Important Information">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lvl1pPr>
              <a:defRPr>
                <a:solidFill>
                  <a:srgbClr val="333F48"/>
                </a:solidFill>
              </a:defRPr>
            </a:lvl1pPr>
          </a:lstStyle>
          <a:p>
            <a:r>
              <a:rPr lang="en-US"/>
              <a:t>Click to edit Master title style</a:t>
            </a:r>
            <a:endParaRPr lang="en-US" dirty="0"/>
          </a:p>
        </p:txBody>
      </p:sp>
      <p:sp>
        <p:nvSpPr>
          <p:cNvPr id="3" name="Content Placeholder 2"/>
          <p:cNvSpPr>
            <a:spLocks noGrp="1"/>
          </p:cNvSpPr>
          <p:nvPr>
            <p:ph idx="1"/>
          </p:nvPr>
        </p:nvSpPr>
        <p:spPr>
          <a:xfrm>
            <a:off x="317115" y="1076325"/>
            <a:ext cx="8188710" cy="4808538"/>
          </a:xfrm>
          <a:noFill/>
          <a:ln w="9525">
            <a:noFill/>
            <a:miter lim="800000"/>
            <a:headEnd/>
            <a:tailEnd/>
          </a:ln>
          <a:effectLst/>
        </p:spPr>
        <p:txBody>
          <a:bodyPr lIns="91440"/>
          <a:lstStyle>
            <a:lvl1pPr marL="0" indent="0" algn="l" rtl="0" eaLnBrk="1" fontAlgn="base" hangingPunct="1">
              <a:spcAft>
                <a:spcPct val="0"/>
              </a:spcAft>
              <a:buSzPct val="40000"/>
              <a:defRPr lang="en-US" sz="1000" b="0" dirty="0" smtClean="0">
                <a:solidFill>
                  <a:srgbClr val="000000"/>
                </a:solidFill>
                <a:latin typeface="+mn-lt"/>
                <a:ea typeface="+mn-ea"/>
                <a:cs typeface="+mn-cs"/>
              </a:defRPr>
            </a:lvl1pPr>
            <a:lvl2pPr marL="0" indent="0" algn="l" rtl="0" eaLnBrk="1" fontAlgn="base" hangingPunct="1">
              <a:spcBef>
                <a:spcPts val="600"/>
              </a:spcBef>
              <a:spcAft>
                <a:spcPct val="0"/>
              </a:spcAft>
              <a:buSzPct val="40000"/>
              <a:buNone/>
              <a:defRPr lang="en-US" sz="1000" b="1" dirty="0">
                <a:solidFill>
                  <a:srgbClr val="000000"/>
                </a:solidFill>
                <a:latin typeface="+mn-lt"/>
                <a:ea typeface="+mn-ea"/>
                <a:cs typeface="+mn-cs"/>
              </a:defRPr>
            </a:lvl2pPr>
          </a:lstStyle>
          <a:p>
            <a:pPr lvl="0"/>
            <a:r>
              <a:rPr lang="en-US"/>
              <a:t>Click to edit Master text styles</a:t>
            </a:r>
          </a:p>
          <a:p>
            <a:pPr lvl="1"/>
            <a:r>
              <a:rPr lang="en-US"/>
              <a:t>Second level</a:t>
            </a:r>
          </a:p>
        </p:txBody>
      </p:sp>
      <p:grpSp>
        <p:nvGrpSpPr>
          <p:cNvPr id="11" name="Group 10"/>
          <p:cNvGrpSpPr/>
          <p:nvPr userDrawn="1"/>
        </p:nvGrpSpPr>
        <p:grpSpPr>
          <a:xfrm>
            <a:off x="7364320" y="6412511"/>
            <a:ext cx="1371600" cy="283464"/>
            <a:chOff x="4291013" y="3178175"/>
            <a:chExt cx="3197225" cy="688975"/>
          </a:xfrm>
        </p:grpSpPr>
        <p:sp>
          <p:nvSpPr>
            <p:cNvPr id="12"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3"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4"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5"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6"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7"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8"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9"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0"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1"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2"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3"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4"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5"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6"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7"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8"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9"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0"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1"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2"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3"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4"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5"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6"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grpSp>
      <p:sp>
        <p:nvSpPr>
          <p:cNvPr id="37"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75414701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Biography">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8710" cy="838200"/>
          </a:xfrm>
        </p:spPr>
        <p:txBody>
          <a:bodyPr/>
          <a:lstStyle/>
          <a:p>
            <a:r>
              <a:rPr lang="en-US"/>
              <a:t>Click to edit Master title style</a:t>
            </a:r>
            <a:endParaRPr lang="en-US" dirty="0"/>
          </a:p>
        </p:txBody>
      </p:sp>
      <p:sp>
        <p:nvSpPr>
          <p:cNvPr id="3" name="Content Placeholder 2"/>
          <p:cNvSpPr>
            <a:spLocks noGrp="1"/>
          </p:cNvSpPr>
          <p:nvPr>
            <p:ph idx="1"/>
          </p:nvPr>
        </p:nvSpPr>
        <p:spPr>
          <a:xfrm>
            <a:off x="317115" y="1073258"/>
            <a:ext cx="8188710" cy="439305"/>
          </a:xfrm>
        </p:spPr>
        <p:txBody>
          <a:bodyPr lIns="91440"/>
          <a:lstStyle>
            <a:lvl1pPr marL="0" indent="0">
              <a:spcBef>
                <a:spcPts val="0"/>
              </a:spcBef>
              <a:defRPr lang="en-US" sz="1200" b="1" dirty="0" smtClean="0">
                <a:solidFill>
                  <a:srgbClr val="7A9B3D"/>
                </a:solidFill>
                <a:latin typeface="+mn-lt"/>
                <a:ea typeface="+mn-ea"/>
                <a:cs typeface="+mn-cs"/>
              </a:defRPr>
            </a:lvl1pPr>
            <a:lvl2pPr marL="0" indent="0">
              <a:spcBef>
                <a:spcPts val="0"/>
              </a:spcBef>
              <a:buNone/>
              <a:defRPr sz="1200" b="0" i="1">
                <a:solidFill>
                  <a:srgbClr val="7A9B3D"/>
                </a:solidFill>
              </a:defRPr>
            </a:lvl2pPr>
          </a:lstStyle>
          <a:p>
            <a:pPr lvl="0"/>
            <a:r>
              <a:rPr lang="en-US"/>
              <a:t>Click to edit Master text styles</a:t>
            </a:r>
          </a:p>
          <a:p>
            <a:pPr lvl="1"/>
            <a:r>
              <a:rPr lang="en-US"/>
              <a:t>Second level</a:t>
            </a:r>
          </a:p>
        </p:txBody>
      </p:sp>
      <p:sp>
        <p:nvSpPr>
          <p:cNvPr id="10" name="Content Placeholder 9"/>
          <p:cNvSpPr>
            <a:spLocks noGrp="1"/>
          </p:cNvSpPr>
          <p:nvPr>
            <p:ph sz="quarter" idx="13"/>
          </p:nvPr>
        </p:nvSpPr>
        <p:spPr>
          <a:xfrm>
            <a:off x="317115" y="1526850"/>
            <a:ext cx="8188710" cy="4691387"/>
          </a:xfrm>
        </p:spPr>
        <p:txBody>
          <a:bodyPr lIns="91440"/>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ooter Placeholder 4"/>
          <p:cNvSpPr>
            <a:spLocks noGrp="1"/>
          </p:cNvSpPr>
          <p:nvPr>
            <p:ph type="ftr" sz="quarter" idx="15"/>
          </p:nvPr>
        </p:nvSpPr>
        <p:spPr>
          <a:xfrm>
            <a:off x="320040" y="6483290"/>
            <a:ext cx="3933825" cy="172486"/>
          </a:xfrm>
          <a:prstGeom prst="rect">
            <a:avLst/>
          </a:prstGeom>
        </p:spPr>
        <p:txBody>
          <a:bodyPr/>
          <a:lstStyle>
            <a:lvl1pPr algn="r">
              <a:defRPr smtClean="0">
                <a:solidFill>
                  <a:srgbClr val="000000"/>
                </a:solidFill>
              </a:defRPr>
            </a:lvl1pPr>
          </a:lstStyle>
          <a:p>
            <a:pPr algn="l">
              <a:defRPr/>
            </a:pPr>
            <a:r>
              <a:rPr lang="en-US" sz="1800" dirty="0"/>
              <a:t>For institutional use only.</a:t>
            </a:r>
          </a:p>
        </p:txBody>
      </p:sp>
      <p:sp>
        <p:nvSpPr>
          <p:cNvPr id="12"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endParaRPr lang="en-US" dirty="0"/>
          </a:p>
        </p:txBody>
      </p:sp>
      <p:grpSp>
        <p:nvGrpSpPr>
          <p:cNvPr id="13" name="Group 12"/>
          <p:cNvGrpSpPr/>
          <p:nvPr userDrawn="1"/>
        </p:nvGrpSpPr>
        <p:grpSpPr>
          <a:xfrm>
            <a:off x="7364320" y="6412511"/>
            <a:ext cx="1371600" cy="283464"/>
            <a:chOff x="4291013" y="3178175"/>
            <a:chExt cx="3197225" cy="688975"/>
          </a:xfrm>
        </p:grpSpPr>
        <p:sp>
          <p:nvSpPr>
            <p:cNvPr id="14"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5"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6"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7"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8"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9"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0"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1"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2"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3"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4"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5"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6"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7"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8"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9"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0"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1"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2"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3"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4"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5"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6"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7"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8"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grpSp>
      <p:sp>
        <p:nvSpPr>
          <p:cNvPr id="39"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71324662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Biography 2">
    <p:spTree>
      <p:nvGrpSpPr>
        <p:cNvPr id="1" name=""/>
        <p:cNvGrpSpPr/>
        <p:nvPr/>
      </p:nvGrpSpPr>
      <p:grpSpPr>
        <a:xfrm>
          <a:off x="0" y="0"/>
          <a:ext cx="0" cy="0"/>
          <a:chOff x="0" y="0"/>
          <a:chExt cx="0" cy="0"/>
        </a:xfrm>
      </p:grpSpPr>
      <p:sp>
        <p:nvSpPr>
          <p:cNvPr id="2" name="Title 1"/>
          <p:cNvSpPr>
            <a:spLocks noGrp="1"/>
          </p:cNvSpPr>
          <p:nvPr>
            <p:ph type="title"/>
          </p:nvPr>
        </p:nvSpPr>
        <p:spPr>
          <a:xfrm>
            <a:off x="317115" y="228600"/>
            <a:ext cx="8187948" cy="838200"/>
          </a:xfrm>
        </p:spPr>
        <p:txBody>
          <a:bodyPr/>
          <a:lstStyle/>
          <a:p>
            <a:r>
              <a:rPr lang="en-US"/>
              <a:t>Click to edit Master title style</a:t>
            </a:r>
            <a:endParaRPr lang="en-US" dirty="0"/>
          </a:p>
        </p:txBody>
      </p:sp>
      <p:sp>
        <p:nvSpPr>
          <p:cNvPr id="3" name="Content Placeholder 2"/>
          <p:cNvSpPr>
            <a:spLocks noGrp="1"/>
          </p:cNvSpPr>
          <p:nvPr>
            <p:ph idx="1"/>
          </p:nvPr>
        </p:nvSpPr>
        <p:spPr>
          <a:xfrm>
            <a:off x="317115" y="1073258"/>
            <a:ext cx="8187948" cy="439305"/>
          </a:xfrm>
        </p:spPr>
        <p:txBody>
          <a:bodyPr lIns="91440"/>
          <a:lstStyle>
            <a:lvl1pPr marL="0" indent="0">
              <a:spcBef>
                <a:spcPts val="0"/>
              </a:spcBef>
              <a:defRPr lang="en-US" sz="1200" b="1" dirty="0" smtClean="0">
                <a:solidFill>
                  <a:srgbClr val="7A9B3D"/>
                </a:solidFill>
                <a:latin typeface="+mn-lt"/>
                <a:ea typeface="+mn-ea"/>
                <a:cs typeface="+mn-cs"/>
              </a:defRPr>
            </a:lvl1pPr>
            <a:lvl2pPr marL="0" indent="0">
              <a:spcBef>
                <a:spcPts val="0"/>
              </a:spcBef>
              <a:buNone/>
              <a:defRPr sz="1200" b="0" i="1">
                <a:solidFill>
                  <a:srgbClr val="7A9B3D"/>
                </a:solidFill>
              </a:defRPr>
            </a:lvl2pPr>
          </a:lstStyle>
          <a:p>
            <a:pPr lvl="0"/>
            <a:r>
              <a:rPr lang="en-US"/>
              <a:t>Click to edit Master text styles</a:t>
            </a:r>
          </a:p>
          <a:p>
            <a:pPr lvl="1"/>
            <a:r>
              <a:rPr lang="en-US"/>
              <a:t>Second level</a:t>
            </a:r>
          </a:p>
        </p:txBody>
      </p:sp>
      <p:sp>
        <p:nvSpPr>
          <p:cNvPr id="10" name="Content Placeholder 9"/>
          <p:cNvSpPr>
            <a:spLocks noGrp="1"/>
          </p:cNvSpPr>
          <p:nvPr>
            <p:ph sz="quarter" idx="13"/>
          </p:nvPr>
        </p:nvSpPr>
        <p:spPr>
          <a:xfrm>
            <a:off x="317115" y="1526851"/>
            <a:ext cx="8188710" cy="1902149"/>
          </a:xfrm>
        </p:spPr>
        <p:txBody>
          <a:bodyPr lIns="91440"/>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p:cNvSpPr>
            <a:spLocks noGrp="1"/>
          </p:cNvSpPr>
          <p:nvPr>
            <p:ph idx="17"/>
          </p:nvPr>
        </p:nvSpPr>
        <p:spPr>
          <a:xfrm>
            <a:off x="317115" y="3666458"/>
            <a:ext cx="8188710" cy="439305"/>
          </a:xfrm>
        </p:spPr>
        <p:txBody>
          <a:bodyPr lIns="91440"/>
          <a:lstStyle>
            <a:lvl1pPr marL="0" indent="0">
              <a:spcBef>
                <a:spcPts val="0"/>
              </a:spcBef>
              <a:defRPr lang="en-US" sz="1200" b="1" dirty="0" smtClean="0">
                <a:solidFill>
                  <a:srgbClr val="7A9B3D"/>
                </a:solidFill>
                <a:latin typeface="+mn-lt"/>
                <a:ea typeface="+mn-ea"/>
                <a:cs typeface="+mn-cs"/>
              </a:defRPr>
            </a:lvl1pPr>
            <a:lvl2pPr marL="0" indent="0">
              <a:spcBef>
                <a:spcPts val="0"/>
              </a:spcBef>
              <a:buNone/>
              <a:defRPr sz="1200" b="0" i="1">
                <a:solidFill>
                  <a:srgbClr val="7A9B3D"/>
                </a:solidFill>
              </a:defRPr>
            </a:lvl2pPr>
          </a:lstStyle>
          <a:p>
            <a:pPr lvl="0"/>
            <a:r>
              <a:rPr lang="en-US"/>
              <a:t>Click to edit Master text styles</a:t>
            </a:r>
          </a:p>
          <a:p>
            <a:pPr lvl="1"/>
            <a:r>
              <a:rPr lang="en-US"/>
              <a:t>Second level</a:t>
            </a:r>
          </a:p>
        </p:txBody>
      </p:sp>
      <p:sp>
        <p:nvSpPr>
          <p:cNvPr id="9" name="Content Placeholder 9"/>
          <p:cNvSpPr>
            <a:spLocks noGrp="1"/>
          </p:cNvSpPr>
          <p:nvPr>
            <p:ph sz="quarter" idx="18"/>
          </p:nvPr>
        </p:nvSpPr>
        <p:spPr>
          <a:xfrm>
            <a:off x="317115" y="4120051"/>
            <a:ext cx="8188710" cy="1902149"/>
          </a:xfrm>
        </p:spPr>
        <p:txBody>
          <a:bodyPr lIns="91440"/>
          <a:lstStyle>
            <a:lvl1pPr marL="0" indent="0">
              <a:lnSpc>
                <a:spcPct val="100000"/>
              </a:lnSpc>
              <a:spcBef>
                <a:spcPts val="600"/>
              </a:spcBef>
              <a:buFont typeface="Arial" pitchFamily="34" charset="0"/>
              <a:buNone/>
              <a:defRPr sz="1000" b="0">
                <a:solidFill>
                  <a:srgbClr val="000000"/>
                </a:solidFill>
              </a:defRPr>
            </a:lvl1pPr>
            <a:lvl2pPr marL="0" indent="0">
              <a:lnSpc>
                <a:spcPct val="100000"/>
              </a:lnSpc>
              <a:spcBef>
                <a:spcPts val="600"/>
              </a:spcBef>
              <a:buNone/>
              <a:defRPr sz="1000">
                <a:solidFill>
                  <a:srgbClr val="000000"/>
                </a:solidFill>
              </a:defRPr>
            </a:lvl2pPr>
            <a:lvl3pPr marL="0" indent="0">
              <a:lnSpc>
                <a:spcPct val="100000"/>
              </a:lnSpc>
              <a:spcBef>
                <a:spcPts val="600"/>
              </a:spcBef>
              <a:buNone/>
              <a:defRPr sz="1000">
                <a:solidFill>
                  <a:srgbClr val="000000"/>
                </a:solidFill>
              </a:defRPr>
            </a:lvl3pPr>
            <a:lvl4pPr marL="0" indent="0">
              <a:lnSpc>
                <a:spcPct val="100000"/>
              </a:lnSpc>
              <a:spcBef>
                <a:spcPts val="600"/>
              </a:spcBef>
              <a:buFont typeface="Arial" pitchFamily="34" charset="0"/>
              <a:buNone/>
              <a:defRPr sz="1000">
                <a:solidFill>
                  <a:srgbClr val="000000"/>
                </a:solidFill>
              </a:defRPr>
            </a:lvl4pPr>
            <a:lvl5pPr marL="0" indent="0">
              <a:lnSpc>
                <a:spcPct val="100000"/>
              </a:lnSpc>
              <a:spcBef>
                <a:spcPts val="600"/>
              </a:spcBef>
              <a:buFont typeface="Arial" pitchFamily="34" charset="0"/>
              <a:buNone/>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Footer Placeholder 4"/>
          <p:cNvSpPr>
            <a:spLocks noGrp="1"/>
          </p:cNvSpPr>
          <p:nvPr>
            <p:ph type="ftr" sz="quarter" idx="15"/>
          </p:nvPr>
        </p:nvSpPr>
        <p:spPr>
          <a:xfrm>
            <a:off x="320040" y="6483290"/>
            <a:ext cx="3933825" cy="172486"/>
          </a:xfrm>
          <a:prstGeom prst="rect">
            <a:avLst/>
          </a:prstGeom>
        </p:spPr>
        <p:txBody>
          <a:bodyPr/>
          <a:lstStyle>
            <a:lvl1pPr algn="r">
              <a:defRPr smtClean="0">
                <a:solidFill>
                  <a:srgbClr val="000000"/>
                </a:solidFill>
              </a:defRPr>
            </a:lvl1pPr>
          </a:lstStyle>
          <a:p>
            <a:pPr algn="l">
              <a:defRPr/>
            </a:pPr>
            <a:r>
              <a:rPr lang="en-US" sz="1800" dirty="0"/>
              <a:t>For institutional use only.</a:t>
            </a:r>
          </a:p>
        </p:txBody>
      </p:sp>
      <p:sp>
        <p:nvSpPr>
          <p:cNvPr id="14" name="Rectangle 155"/>
          <p:cNvSpPr>
            <a:spLocks noGrp="1" noChangeArrowheads="1"/>
          </p:cNvSpPr>
          <p:nvPr>
            <p:ph type="dt" sz="half" idx="16"/>
          </p:nvPr>
        </p:nvSpPr>
        <p:spPr>
          <a:xfrm>
            <a:off x="320040" y="6655654"/>
            <a:ext cx="1983958" cy="120649"/>
          </a:xfrm>
        </p:spPr>
        <p:txBody>
          <a:bodyPr/>
          <a:lstStyle>
            <a:lvl1pPr algn="l">
              <a:defRPr sz="700" smtClean="0">
                <a:solidFill>
                  <a:srgbClr val="000000"/>
                </a:solidFill>
              </a:defRPr>
            </a:lvl1pPr>
          </a:lstStyle>
          <a:p>
            <a:pPr>
              <a:defRPr/>
            </a:pPr>
            <a:endParaRPr lang="en-US" dirty="0"/>
          </a:p>
        </p:txBody>
      </p:sp>
      <p:grpSp>
        <p:nvGrpSpPr>
          <p:cNvPr id="15" name="Group 14"/>
          <p:cNvGrpSpPr/>
          <p:nvPr userDrawn="1"/>
        </p:nvGrpSpPr>
        <p:grpSpPr>
          <a:xfrm>
            <a:off x="7364320" y="6412511"/>
            <a:ext cx="1371600" cy="283464"/>
            <a:chOff x="4291013" y="3178175"/>
            <a:chExt cx="3197225" cy="688975"/>
          </a:xfrm>
        </p:grpSpPr>
        <p:sp>
          <p:nvSpPr>
            <p:cNvPr id="16" name="Freeform 6"/>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7" name="Freeform 7"/>
            <p:cNvSpPr>
              <a:spLocks/>
            </p:cNvSpPr>
            <p:nvPr/>
          </p:nvSpPr>
          <p:spPr bwMode="auto">
            <a:xfrm>
              <a:off x="4300538" y="3190875"/>
              <a:ext cx="644525" cy="644525"/>
            </a:xfrm>
            <a:custGeom>
              <a:avLst/>
              <a:gdLst>
                <a:gd name="T0" fmla="*/ 204 w 406"/>
                <a:gd name="T1" fmla="*/ 406 h 406"/>
                <a:gd name="T2" fmla="*/ 244 w 406"/>
                <a:gd name="T3" fmla="*/ 402 h 406"/>
                <a:gd name="T4" fmla="*/ 282 w 406"/>
                <a:gd name="T5" fmla="*/ 390 h 406"/>
                <a:gd name="T6" fmla="*/ 316 w 406"/>
                <a:gd name="T7" fmla="*/ 372 h 406"/>
                <a:gd name="T8" fmla="*/ 346 w 406"/>
                <a:gd name="T9" fmla="*/ 346 h 406"/>
                <a:gd name="T10" fmla="*/ 372 w 406"/>
                <a:gd name="T11" fmla="*/ 316 h 406"/>
                <a:gd name="T12" fmla="*/ 390 w 406"/>
                <a:gd name="T13" fmla="*/ 282 h 406"/>
                <a:gd name="T14" fmla="*/ 402 w 406"/>
                <a:gd name="T15" fmla="*/ 244 h 406"/>
                <a:gd name="T16" fmla="*/ 406 w 406"/>
                <a:gd name="T17" fmla="*/ 204 h 406"/>
                <a:gd name="T18" fmla="*/ 404 w 406"/>
                <a:gd name="T19" fmla="*/ 182 h 406"/>
                <a:gd name="T20" fmla="*/ 396 w 406"/>
                <a:gd name="T21" fmla="*/ 144 h 406"/>
                <a:gd name="T22" fmla="*/ 382 w 406"/>
                <a:gd name="T23" fmla="*/ 106 h 406"/>
                <a:gd name="T24" fmla="*/ 360 w 406"/>
                <a:gd name="T25" fmla="*/ 74 h 406"/>
                <a:gd name="T26" fmla="*/ 332 w 406"/>
                <a:gd name="T27" fmla="*/ 46 h 406"/>
                <a:gd name="T28" fmla="*/ 300 w 406"/>
                <a:gd name="T29" fmla="*/ 26 h 406"/>
                <a:gd name="T30" fmla="*/ 264 w 406"/>
                <a:gd name="T31" fmla="*/ 10 h 406"/>
                <a:gd name="T32" fmla="*/ 224 w 406"/>
                <a:gd name="T33" fmla="*/ 2 h 406"/>
                <a:gd name="T34" fmla="*/ 204 w 406"/>
                <a:gd name="T35" fmla="*/ 0 h 406"/>
                <a:gd name="T36" fmla="*/ 162 w 406"/>
                <a:gd name="T37" fmla="*/ 4 h 406"/>
                <a:gd name="T38" fmla="*/ 124 w 406"/>
                <a:gd name="T39" fmla="*/ 16 h 406"/>
                <a:gd name="T40" fmla="*/ 90 w 406"/>
                <a:gd name="T41" fmla="*/ 36 h 406"/>
                <a:gd name="T42" fmla="*/ 60 w 406"/>
                <a:gd name="T43" fmla="*/ 60 h 406"/>
                <a:gd name="T44" fmla="*/ 36 w 406"/>
                <a:gd name="T45" fmla="*/ 90 h 406"/>
                <a:gd name="T46" fmla="*/ 16 w 406"/>
                <a:gd name="T47" fmla="*/ 124 h 406"/>
                <a:gd name="T48" fmla="*/ 4 w 406"/>
                <a:gd name="T49" fmla="*/ 162 h 406"/>
                <a:gd name="T50" fmla="*/ 0 w 406"/>
                <a:gd name="T51" fmla="*/ 204 h 406"/>
                <a:gd name="T52" fmla="*/ 2 w 406"/>
                <a:gd name="T53" fmla="*/ 224 h 406"/>
                <a:gd name="T54" fmla="*/ 10 w 406"/>
                <a:gd name="T55" fmla="*/ 264 h 406"/>
                <a:gd name="T56" fmla="*/ 24 w 406"/>
                <a:gd name="T57" fmla="*/ 300 h 406"/>
                <a:gd name="T58" fmla="*/ 46 w 406"/>
                <a:gd name="T59" fmla="*/ 332 h 406"/>
                <a:gd name="T60" fmla="*/ 74 w 406"/>
                <a:gd name="T61" fmla="*/ 360 h 406"/>
                <a:gd name="T62" fmla="*/ 106 w 406"/>
                <a:gd name="T63" fmla="*/ 382 h 406"/>
                <a:gd name="T64" fmla="*/ 142 w 406"/>
                <a:gd name="T65" fmla="*/ 398 h 406"/>
                <a:gd name="T66" fmla="*/ 182 w 406"/>
                <a:gd name="T67"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6" h="406">
                  <a:moveTo>
                    <a:pt x="204" y="406"/>
                  </a:moveTo>
                  <a:lnTo>
                    <a:pt x="204" y="406"/>
                  </a:lnTo>
                  <a:lnTo>
                    <a:pt x="224" y="406"/>
                  </a:lnTo>
                  <a:lnTo>
                    <a:pt x="244" y="402"/>
                  </a:lnTo>
                  <a:lnTo>
                    <a:pt x="264" y="398"/>
                  </a:lnTo>
                  <a:lnTo>
                    <a:pt x="282" y="390"/>
                  </a:lnTo>
                  <a:lnTo>
                    <a:pt x="300" y="382"/>
                  </a:lnTo>
                  <a:lnTo>
                    <a:pt x="316" y="372"/>
                  </a:lnTo>
                  <a:lnTo>
                    <a:pt x="332" y="360"/>
                  </a:lnTo>
                  <a:lnTo>
                    <a:pt x="346" y="346"/>
                  </a:lnTo>
                  <a:lnTo>
                    <a:pt x="360" y="332"/>
                  </a:lnTo>
                  <a:lnTo>
                    <a:pt x="372" y="316"/>
                  </a:lnTo>
                  <a:lnTo>
                    <a:pt x="382" y="300"/>
                  </a:lnTo>
                  <a:lnTo>
                    <a:pt x="390" y="282"/>
                  </a:lnTo>
                  <a:lnTo>
                    <a:pt x="396" y="264"/>
                  </a:lnTo>
                  <a:lnTo>
                    <a:pt x="402" y="244"/>
                  </a:lnTo>
                  <a:lnTo>
                    <a:pt x="404" y="224"/>
                  </a:lnTo>
                  <a:lnTo>
                    <a:pt x="406" y="204"/>
                  </a:lnTo>
                  <a:lnTo>
                    <a:pt x="406" y="204"/>
                  </a:lnTo>
                  <a:lnTo>
                    <a:pt x="404" y="182"/>
                  </a:lnTo>
                  <a:lnTo>
                    <a:pt x="402" y="162"/>
                  </a:lnTo>
                  <a:lnTo>
                    <a:pt x="396" y="144"/>
                  </a:lnTo>
                  <a:lnTo>
                    <a:pt x="390" y="124"/>
                  </a:lnTo>
                  <a:lnTo>
                    <a:pt x="382" y="106"/>
                  </a:lnTo>
                  <a:lnTo>
                    <a:pt x="372" y="90"/>
                  </a:lnTo>
                  <a:lnTo>
                    <a:pt x="360" y="74"/>
                  </a:lnTo>
                  <a:lnTo>
                    <a:pt x="346" y="60"/>
                  </a:lnTo>
                  <a:lnTo>
                    <a:pt x="332" y="46"/>
                  </a:lnTo>
                  <a:lnTo>
                    <a:pt x="316" y="36"/>
                  </a:lnTo>
                  <a:lnTo>
                    <a:pt x="300" y="26"/>
                  </a:lnTo>
                  <a:lnTo>
                    <a:pt x="282" y="16"/>
                  </a:lnTo>
                  <a:lnTo>
                    <a:pt x="264" y="10"/>
                  </a:lnTo>
                  <a:lnTo>
                    <a:pt x="244" y="4"/>
                  </a:lnTo>
                  <a:lnTo>
                    <a:pt x="224" y="2"/>
                  </a:lnTo>
                  <a:lnTo>
                    <a:pt x="204" y="0"/>
                  </a:lnTo>
                  <a:lnTo>
                    <a:pt x="204" y="0"/>
                  </a:lnTo>
                  <a:lnTo>
                    <a:pt x="182" y="2"/>
                  </a:lnTo>
                  <a:lnTo>
                    <a:pt x="162" y="4"/>
                  </a:lnTo>
                  <a:lnTo>
                    <a:pt x="142" y="10"/>
                  </a:lnTo>
                  <a:lnTo>
                    <a:pt x="124" y="16"/>
                  </a:lnTo>
                  <a:lnTo>
                    <a:pt x="106" y="26"/>
                  </a:lnTo>
                  <a:lnTo>
                    <a:pt x="90" y="36"/>
                  </a:lnTo>
                  <a:lnTo>
                    <a:pt x="74" y="46"/>
                  </a:lnTo>
                  <a:lnTo>
                    <a:pt x="60" y="60"/>
                  </a:lnTo>
                  <a:lnTo>
                    <a:pt x="46" y="74"/>
                  </a:lnTo>
                  <a:lnTo>
                    <a:pt x="36" y="90"/>
                  </a:lnTo>
                  <a:lnTo>
                    <a:pt x="24" y="106"/>
                  </a:lnTo>
                  <a:lnTo>
                    <a:pt x="16" y="124"/>
                  </a:lnTo>
                  <a:lnTo>
                    <a:pt x="10" y="144"/>
                  </a:lnTo>
                  <a:lnTo>
                    <a:pt x="4" y="162"/>
                  </a:lnTo>
                  <a:lnTo>
                    <a:pt x="2" y="182"/>
                  </a:lnTo>
                  <a:lnTo>
                    <a:pt x="0" y="204"/>
                  </a:lnTo>
                  <a:lnTo>
                    <a:pt x="0" y="204"/>
                  </a:lnTo>
                  <a:lnTo>
                    <a:pt x="2" y="224"/>
                  </a:lnTo>
                  <a:lnTo>
                    <a:pt x="4" y="244"/>
                  </a:lnTo>
                  <a:lnTo>
                    <a:pt x="10" y="264"/>
                  </a:lnTo>
                  <a:lnTo>
                    <a:pt x="16" y="282"/>
                  </a:lnTo>
                  <a:lnTo>
                    <a:pt x="24" y="300"/>
                  </a:lnTo>
                  <a:lnTo>
                    <a:pt x="36" y="316"/>
                  </a:lnTo>
                  <a:lnTo>
                    <a:pt x="46" y="332"/>
                  </a:lnTo>
                  <a:lnTo>
                    <a:pt x="60" y="346"/>
                  </a:lnTo>
                  <a:lnTo>
                    <a:pt x="74" y="360"/>
                  </a:lnTo>
                  <a:lnTo>
                    <a:pt x="90" y="372"/>
                  </a:lnTo>
                  <a:lnTo>
                    <a:pt x="106" y="382"/>
                  </a:lnTo>
                  <a:lnTo>
                    <a:pt x="124" y="390"/>
                  </a:lnTo>
                  <a:lnTo>
                    <a:pt x="142" y="398"/>
                  </a:lnTo>
                  <a:lnTo>
                    <a:pt x="162" y="402"/>
                  </a:lnTo>
                  <a:lnTo>
                    <a:pt x="182" y="406"/>
                  </a:lnTo>
                  <a:lnTo>
                    <a:pt x="204" y="4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8" name="Freeform 8"/>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19" name="Freeform 9"/>
            <p:cNvSpPr>
              <a:spLocks/>
            </p:cNvSpPr>
            <p:nvPr/>
          </p:nvSpPr>
          <p:spPr bwMode="auto">
            <a:xfrm>
              <a:off x="4291013" y="3178175"/>
              <a:ext cx="660400" cy="631825"/>
            </a:xfrm>
            <a:custGeom>
              <a:avLst/>
              <a:gdLst>
                <a:gd name="T0" fmla="*/ 274 w 416"/>
                <a:gd name="T1" fmla="*/ 260 h 398"/>
                <a:gd name="T2" fmla="*/ 130 w 416"/>
                <a:gd name="T3" fmla="*/ 398 h 398"/>
                <a:gd name="T4" fmla="*/ 94 w 416"/>
                <a:gd name="T5" fmla="*/ 378 h 398"/>
                <a:gd name="T6" fmla="*/ 48 w 416"/>
                <a:gd name="T7" fmla="*/ 336 h 398"/>
                <a:gd name="T8" fmla="*/ 16 w 416"/>
                <a:gd name="T9" fmla="*/ 284 h 398"/>
                <a:gd name="T10" fmla="*/ 4 w 416"/>
                <a:gd name="T11" fmla="*/ 246 h 398"/>
                <a:gd name="T12" fmla="*/ 2 w 416"/>
                <a:gd name="T13" fmla="*/ 184 h 398"/>
                <a:gd name="T14" fmla="*/ 16 w 416"/>
                <a:gd name="T15" fmla="*/ 126 h 398"/>
                <a:gd name="T16" fmla="*/ 36 w 416"/>
                <a:gd name="T17" fmla="*/ 90 h 398"/>
                <a:gd name="T18" fmla="*/ 78 w 416"/>
                <a:gd name="T19" fmla="*/ 44 h 398"/>
                <a:gd name="T20" fmla="*/ 132 w 416"/>
                <a:gd name="T21" fmla="*/ 12 h 398"/>
                <a:gd name="T22" fmla="*/ 164 w 416"/>
                <a:gd name="T23" fmla="*/ 4 h 398"/>
                <a:gd name="T24" fmla="*/ 216 w 416"/>
                <a:gd name="T25" fmla="*/ 0 h 398"/>
                <a:gd name="T26" fmla="*/ 266 w 416"/>
                <a:gd name="T27" fmla="*/ 8 h 398"/>
                <a:gd name="T28" fmla="*/ 302 w 416"/>
                <a:gd name="T29" fmla="*/ 22 h 398"/>
                <a:gd name="T30" fmla="*/ 350 w 416"/>
                <a:gd name="T31" fmla="*/ 56 h 398"/>
                <a:gd name="T32" fmla="*/ 386 w 416"/>
                <a:gd name="T33" fmla="*/ 100 h 398"/>
                <a:gd name="T34" fmla="*/ 404 w 416"/>
                <a:gd name="T35" fmla="*/ 140 h 398"/>
                <a:gd name="T36" fmla="*/ 416 w 416"/>
                <a:gd name="T37" fmla="*/ 204 h 398"/>
                <a:gd name="T38" fmla="*/ 406 w 416"/>
                <a:gd name="T39" fmla="*/ 268 h 398"/>
                <a:gd name="T40" fmla="*/ 380 w 416"/>
                <a:gd name="T41" fmla="*/ 322 h 398"/>
                <a:gd name="T42" fmla="*/ 340 w 416"/>
                <a:gd name="T43" fmla="*/ 368 h 398"/>
                <a:gd name="T44" fmla="*/ 362 w 416"/>
                <a:gd name="T45" fmla="*/ 318 h 398"/>
                <a:gd name="T46" fmla="*/ 262 w 416"/>
                <a:gd name="T47" fmla="*/ 230 h 398"/>
                <a:gd name="T48" fmla="*/ 392 w 416"/>
                <a:gd name="T49" fmla="*/ 250 h 398"/>
                <a:gd name="T50" fmla="*/ 396 w 416"/>
                <a:gd name="T51" fmla="*/ 176 h 398"/>
                <a:gd name="T52" fmla="*/ 266 w 416"/>
                <a:gd name="T53" fmla="*/ 184 h 398"/>
                <a:gd name="T54" fmla="*/ 368 w 416"/>
                <a:gd name="T55" fmla="*/ 106 h 398"/>
                <a:gd name="T56" fmla="*/ 252 w 416"/>
                <a:gd name="T57" fmla="*/ 164 h 398"/>
                <a:gd name="T58" fmla="*/ 314 w 416"/>
                <a:gd name="T59" fmla="*/ 52 h 398"/>
                <a:gd name="T60" fmla="*/ 248 w 416"/>
                <a:gd name="T61" fmla="*/ 22 h 398"/>
                <a:gd name="T62" fmla="*/ 198 w 416"/>
                <a:gd name="T63" fmla="*/ 106 h 398"/>
                <a:gd name="T64" fmla="*/ 174 w 416"/>
                <a:gd name="T65" fmla="*/ 18 h 398"/>
                <a:gd name="T66" fmla="*/ 106 w 416"/>
                <a:gd name="T67" fmla="*/ 48 h 398"/>
                <a:gd name="T68" fmla="*/ 164 w 416"/>
                <a:gd name="T69" fmla="*/ 160 h 398"/>
                <a:gd name="T70" fmla="*/ 50 w 416"/>
                <a:gd name="T71" fmla="*/ 100 h 398"/>
                <a:gd name="T72" fmla="*/ 24 w 416"/>
                <a:gd name="T73" fmla="*/ 168 h 398"/>
                <a:gd name="T74" fmla="*/ 148 w 416"/>
                <a:gd name="T75" fmla="*/ 206 h 398"/>
                <a:gd name="T76" fmla="*/ 24 w 416"/>
                <a:gd name="T77" fmla="*/ 242 h 398"/>
                <a:gd name="T78" fmla="*/ 52 w 416"/>
                <a:gd name="T79" fmla="*/ 312 h 398"/>
                <a:gd name="T80" fmla="*/ 132 w 416"/>
                <a:gd name="T81" fmla="*/ 272 h 398"/>
                <a:gd name="T82" fmla="*/ 158 w 416"/>
                <a:gd name="T83" fmla="*/ 230 h 398"/>
                <a:gd name="T84" fmla="*/ 178 w 416"/>
                <a:gd name="T85" fmla="*/ 24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6" h="398">
                  <a:moveTo>
                    <a:pt x="178" y="246"/>
                  </a:moveTo>
                  <a:lnTo>
                    <a:pt x="252" y="246"/>
                  </a:lnTo>
                  <a:lnTo>
                    <a:pt x="274" y="260"/>
                  </a:lnTo>
                  <a:lnTo>
                    <a:pt x="174" y="260"/>
                  </a:lnTo>
                  <a:lnTo>
                    <a:pt x="134" y="384"/>
                  </a:lnTo>
                  <a:lnTo>
                    <a:pt x="130" y="398"/>
                  </a:lnTo>
                  <a:lnTo>
                    <a:pt x="130" y="398"/>
                  </a:lnTo>
                  <a:lnTo>
                    <a:pt x="112" y="390"/>
                  </a:lnTo>
                  <a:lnTo>
                    <a:pt x="94" y="378"/>
                  </a:lnTo>
                  <a:lnTo>
                    <a:pt x="78" y="366"/>
                  </a:lnTo>
                  <a:lnTo>
                    <a:pt x="62" y="352"/>
                  </a:lnTo>
                  <a:lnTo>
                    <a:pt x="48" y="336"/>
                  </a:lnTo>
                  <a:lnTo>
                    <a:pt x="34" y="320"/>
                  </a:lnTo>
                  <a:lnTo>
                    <a:pt x="24" y="302"/>
                  </a:lnTo>
                  <a:lnTo>
                    <a:pt x="16" y="284"/>
                  </a:lnTo>
                  <a:lnTo>
                    <a:pt x="16" y="284"/>
                  </a:lnTo>
                  <a:lnTo>
                    <a:pt x="8" y="266"/>
                  </a:lnTo>
                  <a:lnTo>
                    <a:pt x="4" y="246"/>
                  </a:lnTo>
                  <a:lnTo>
                    <a:pt x="2" y="226"/>
                  </a:lnTo>
                  <a:lnTo>
                    <a:pt x="0" y="206"/>
                  </a:lnTo>
                  <a:lnTo>
                    <a:pt x="2" y="184"/>
                  </a:lnTo>
                  <a:lnTo>
                    <a:pt x="4" y="164"/>
                  </a:lnTo>
                  <a:lnTo>
                    <a:pt x="10" y="146"/>
                  </a:lnTo>
                  <a:lnTo>
                    <a:pt x="16" y="126"/>
                  </a:lnTo>
                  <a:lnTo>
                    <a:pt x="16" y="126"/>
                  </a:lnTo>
                  <a:lnTo>
                    <a:pt x="24" y="108"/>
                  </a:lnTo>
                  <a:lnTo>
                    <a:pt x="36" y="90"/>
                  </a:lnTo>
                  <a:lnTo>
                    <a:pt x="48" y="74"/>
                  </a:lnTo>
                  <a:lnTo>
                    <a:pt x="62" y="58"/>
                  </a:lnTo>
                  <a:lnTo>
                    <a:pt x="78" y="44"/>
                  </a:lnTo>
                  <a:lnTo>
                    <a:pt x="96" y="32"/>
                  </a:lnTo>
                  <a:lnTo>
                    <a:pt x="114" y="20"/>
                  </a:lnTo>
                  <a:lnTo>
                    <a:pt x="132" y="12"/>
                  </a:lnTo>
                  <a:lnTo>
                    <a:pt x="132" y="12"/>
                  </a:lnTo>
                  <a:lnTo>
                    <a:pt x="148" y="8"/>
                  </a:lnTo>
                  <a:lnTo>
                    <a:pt x="164" y="4"/>
                  </a:lnTo>
                  <a:lnTo>
                    <a:pt x="182" y="0"/>
                  </a:lnTo>
                  <a:lnTo>
                    <a:pt x="198" y="0"/>
                  </a:lnTo>
                  <a:lnTo>
                    <a:pt x="216" y="0"/>
                  </a:lnTo>
                  <a:lnTo>
                    <a:pt x="234" y="0"/>
                  </a:lnTo>
                  <a:lnTo>
                    <a:pt x="250" y="4"/>
                  </a:lnTo>
                  <a:lnTo>
                    <a:pt x="266" y="8"/>
                  </a:lnTo>
                  <a:lnTo>
                    <a:pt x="266" y="8"/>
                  </a:lnTo>
                  <a:lnTo>
                    <a:pt x="284" y="14"/>
                  </a:lnTo>
                  <a:lnTo>
                    <a:pt x="302" y="22"/>
                  </a:lnTo>
                  <a:lnTo>
                    <a:pt x="318" y="32"/>
                  </a:lnTo>
                  <a:lnTo>
                    <a:pt x="334" y="42"/>
                  </a:lnTo>
                  <a:lnTo>
                    <a:pt x="350" y="56"/>
                  </a:lnTo>
                  <a:lnTo>
                    <a:pt x="364" y="70"/>
                  </a:lnTo>
                  <a:lnTo>
                    <a:pt x="376" y="84"/>
                  </a:lnTo>
                  <a:lnTo>
                    <a:pt x="386" y="100"/>
                  </a:lnTo>
                  <a:lnTo>
                    <a:pt x="386" y="100"/>
                  </a:lnTo>
                  <a:lnTo>
                    <a:pt x="396" y="120"/>
                  </a:lnTo>
                  <a:lnTo>
                    <a:pt x="404" y="140"/>
                  </a:lnTo>
                  <a:lnTo>
                    <a:pt x="410" y="160"/>
                  </a:lnTo>
                  <a:lnTo>
                    <a:pt x="414" y="182"/>
                  </a:lnTo>
                  <a:lnTo>
                    <a:pt x="416" y="204"/>
                  </a:lnTo>
                  <a:lnTo>
                    <a:pt x="414" y="226"/>
                  </a:lnTo>
                  <a:lnTo>
                    <a:pt x="412" y="248"/>
                  </a:lnTo>
                  <a:lnTo>
                    <a:pt x="406" y="268"/>
                  </a:lnTo>
                  <a:lnTo>
                    <a:pt x="406" y="268"/>
                  </a:lnTo>
                  <a:lnTo>
                    <a:pt x="396" y="296"/>
                  </a:lnTo>
                  <a:lnTo>
                    <a:pt x="380" y="322"/>
                  </a:lnTo>
                  <a:lnTo>
                    <a:pt x="362" y="346"/>
                  </a:lnTo>
                  <a:lnTo>
                    <a:pt x="352" y="358"/>
                  </a:lnTo>
                  <a:lnTo>
                    <a:pt x="340" y="368"/>
                  </a:lnTo>
                  <a:lnTo>
                    <a:pt x="334" y="358"/>
                  </a:lnTo>
                  <a:lnTo>
                    <a:pt x="284" y="276"/>
                  </a:lnTo>
                  <a:lnTo>
                    <a:pt x="362" y="318"/>
                  </a:lnTo>
                  <a:lnTo>
                    <a:pt x="362" y="318"/>
                  </a:lnTo>
                  <a:lnTo>
                    <a:pt x="362" y="318"/>
                  </a:lnTo>
                  <a:lnTo>
                    <a:pt x="262" y="230"/>
                  </a:lnTo>
                  <a:lnTo>
                    <a:pt x="392" y="250"/>
                  </a:lnTo>
                  <a:lnTo>
                    <a:pt x="392" y="250"/>
                  </a:lnTo>
                  <a:lnTo>
                    <a:pt x="392" y="250"/>
                  </a:lnTo>
                  <a:lnTo>
                    <a:pt x="390" y="250"/>
                  </a:lnTo>
                  <a:lnTo>
                    <a:pt x="268" y="206"/>
                  </a:lnTo>
                  <a:lnTo>
                    <a:pt x="396" y="176"/>
                  </a:lnTo>
                  <a:lnTo>
                    <a:pt x="396" y="176"/>
                  </a:lnTo>
                  <a:lnTo>
                    <a:pt x="396" y="174"/>
                  </a:lnTo>
                  <a:lnTo>
                    <a:pt x="266" y="184"/>
                  </a:lnTo>
                  <a:lnTo>
                    <a:pt x="358" y="114"/>
                  </a:lnTo>
                  <a:lnTo>
                    <a:pt x="368" y="106"/>
                  </a:lnTo>
                  <a:lnTo>
                    <a:pt x="368" y="106"/>
                  </a:lnTo>
                  <a:lnTo>
                    <a:pt x="366" y="106"/>
                  </a:lnTo>
                  <a:lnTo>
                    <a:pt x="270" y="156"/>
                  </a:lnTo>
                  <a:lnTo>
                    <a:pt x="252" y="164"/>
                  </a:lnTo>
                  <a:lnTo>
                    <a:pt x="316" y="52"/>
                  </a:lnTo>
                  <a:lnTo>
                    <a:pt x="316" y="52"/>
                  </a:lnTo>
                  <a:lnTo>
                    <a:pt x="314" y="52"/>
                  </a:lnTo>
                  <a:lnTo>
                    <a:pt x="232" y="150"/>
                  </a:lnTo>
                  <a:lnTo>
                    <a:pt x="248" y="22"/>
                  </a:lnTo>
                  <a:lnTo>
                    <a:pt x="248" y="22"/>
                  </a:lnTo>
                  <a:lnTo>
                    <a:pt x="248" y="22"/>
                  </a:lnTo>
                  <a:lnTo>
                    <a:pt x="208" y="146"/>
                  </a:lnTo>
                  <a:lnTo>
                    <a:pt x="198" y="106"/>
                  </a:lnTo>
                  <a:lnTo>
                    <a:pt x="176" y="18"/>
                  </a:lnTo>
                  <a:lnTo>
                    <a:pt x="176" y="18"/>
                  </a:lnTo>
                  <a:lnTo>
                    <a:pt x="174" y="18"/>
                  </a:lnTo>
                  <a:lnTo>
                    <a:pt x="176" y="28"/>
                  </a:lnTo>
                  <a:lnTo>
                    <a:pt x="184" y="150"/>
                  </a:lnTo>
                  <a:lnTo>
                    <a:pt x="106" y="48"/>
                  </a:lnTo>
                  <a:lnTo>
                    <a:pt x="106" y="48"/>
                  </a:lnTo>
                  <a:lnTo>
                    <a:pt x="104" y="48"/>
                  </a:lnTo>
                  <a:lnTo>
                    <a:pt x="164" y="160"/>
                  </a:lnTo>
                  <a:lnTo>
                    <a:pt x="52" y="100"/>
                  </a:lnTo>
                  <a:lnTo>
                    <a:pt x="52" y="100"/>
                  </a:lnTo>
                  <a:lnTo>
                    <a:pt x="50" y="100"/>
                  </a:lnTo>
                  <a:lnTo>
                    <a:pt x="140" y="174"/>
                  </a:lnTo>
                  <a:lnTo>
                    <a:pt x="150" y="182"/>
                  </a:lnTo>
                  <a:lnTo>
                    <a:pt x="24" y="168"/>
                  </a:lnTo>
                  <a:lnTo>
                    <a:pt x="24" y="168"/>
                  </a:lnTo>
                  <a:lnTo>
                    <a:pt x="24" y="170"/>
                  </a:lnTo>
                  <a:lnTo>
                    <a:pt x="148" y="206"/>
                  </a:lnTo>
                  <a:lnTo>
                    <a:pt x="24" y="242"/>
                  </a:lnTo>
                  <a:lnTo>
                    <a:pt x="24" y="242"/>
                  </a:lnTo>
                  <a:lnTo>
                    <a:pt x="24" y="242"/>
                  </a:lnTo>
                  <a:lnTo>
                    <a:pt x="150" y="228"/>
                  </a:lnTo>
                  <a:lnTo>
                    <a:pt x="52" y="312"/>
                  </a:lnTo>
                  <a:lnTo>
                    <a:pt x="52" y="312"/>
                  </a:lnTo>
                  <a:lnTo>
                    <a:pt x="52" y="314"/>
                  </a:lnTo>
                  <a:lnTo>
                    <a:pt x="52" y="312"/>
                  </a:lnTo>
                  <a:lnTo>
                    <a:pt x="132" y="272"/>
                  </a:lnTo>
                  <a:lnTo>
                    <a:pt x="152" y="242"/>
                  </a:lnTo>
                  <a:lnTo>
                    <a:pt x="172" y="242"/>
                  </a:lnTo>
                  <a:lnTo>
                    <a:pt x="158" y="230"/>
                  </a:lnTo>
                  <a:lnTo>
                    <a:pt x="208" y="152"/>
                  </a:lnTo>
                  <a:lnTo>
                    <a:pt x="178" y="246"/>
                  </a:lnTo>
                  <a:lnTo>
                    <a:pt x="178"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0" name="Freeform 10"/>
            <p:cNvSpPr>
              <a:spLocks/>
            </p:cNvSpPr>
            <p:nvPr/>
          </p:nvSpPr>
          <p:spPr bwMode="auto">
            <a:xfrm>
              <a:off x="4999038" y="3279775"/>
              <a:ext cx="450850" cy="454025"/>
            </a:xfrm>
            <a:custGeom>
              <a:avLst/>
              <a:gdLst>
                <a:gd name="T0" fmla="*/ 100 w 284"/>
                <a:gd name="T1" fmla="*/ 286 h 286"/>
                <a:gd name="T2" fmla="*/ 0 w 284"/>
                <a:gd name="T3" fmla="*/ 286 h 286"/>
                <a:gd name="T4" fmla="*/ 80 w 284"/>
                <a:gd name="T5" fmla="*/ 0 h 286"/>
                <a:gd name="T6" fmla="*/ 284 w 284"/>
                <a:gd name="T7" fmla="*/ 0 h 286"/>
                <a:gd name="T8" fmla="*/ 266 w 284"/>
                <a:gd name="T9" fmla="*/ 68 h 286"/>
                <a:gd name="T10" fmla="*/ 162 w 284"/>
                <a:gd name="T11" fmla="*/ 68 h 286"/>
                <a:gd name="T12" fmla="*/ 148 w 284"/>
                <a:gd name="T13" fmla="*/ 116 h 286"/>
                <a:gd name="T14" fmla="*/ 252 w 284"/>
                <a:gd name="T15" fmla="*/ 116 h 286"/>
                <a:gd name="T16" fmla="*/ 234 w 284"/>
                <a:gd name="T17" fmla="*/ 180 h 286"/>
                <a:gd name="T18" fmla="*/ 130 w 284"/>
                <a:gd name="T19" fmla="*/ 180 h 286"/>
                <a:gd name="T20" fmla="*/ 100 w 284"/>
                <a:gd name="T2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86">
                  <a:moveTo>
                    <a:pt x="100" y="286"/>
                  </a:moveTo>
                  <a:lnTo>
                    <a:pt x="0" y="286"/>
                  </a:lnTo>
                  <a:lnTo>
                    <a:pt x="80" y="0"/>
                  </a:lnTo>
                  <a:lnTo>
                    <a:pt x="284" y="0"/>
                  </a:lnTo>
                  <a:lnTo>
                    <a:pt x="266" y="68"/>
                  </a:lnTo>
                  <a:lnTo>
                    <a:pt x="162" y="68"/>
                  </a:lnTo>
                  <a:lnTo>
                    <a:pt x="148" y="116"/>
                  </a:lnTo>
                  <a:lnTo>
                    <a:pt x="252" y="116"/>
                  </a:lnTo>
                  <a:lnTo>
                    <a:pt x="234" y="180"/>
                  </a:lnTo>
                  <a:lnTo>
                    <a:pt x="130" y="180"/>
                  </a:lnTo>
                  <a:lnTo>
                    <a:pt x="100"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1" name="Freeform 11"/>
            <p:cNvSpPr>
              <a:spLocks noEditPoints="1"/>
            </p:cNvSpPr>
            <p:nvPr/>
          </p:nvSpPr>
          <p:spPr bwMode="auto">
            <a:xfrm>
              <a:off x="5367338" y="3279775"/>
              <a:ext cx="282575" cy="454025"/>
            </a:xfrm>
            <a:custGeom>
              <a:avLst/>
              <a:gdLst>
                <a:gd name="T0" fmla="*/ 100 w 178"/>
                <a:gd name="T1" fmla="*/ 286 h 286"/>
                <a:gd name="T2" fmla="*/ 0 w 178"/>
                <a:gd name="T3" fmla="*/ 286 h 286"/>
                <a:gd name="T4" fmla="*/ 58 w 178"/>
                <a:gd name="T5" fmla="*/ 78 h 286"/>
                <a:gd name="T6" fmla="*/ 158 w 178"/>
                <a:gd name="T7" fmla="*/ 78 h 286"/>
                <a:gd name="T8" fmla="*/ 100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100" y="286"/>
                  </a:moveTo>
                  <a:lnTo>
                    <a:pt x="0" y="286"/>
                  </a:lnTo>
                  <a:lnTo>
                    <a:pt x="58" y="78"/>
                  </a:lnTo>
                  <a:lnTo>
                    <a:pt x="158" y="78"/>
                  </a:lnTo>
                  <a:lnTo>
                    <a:pt x="100"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2" name="Freeform 12"/>
            <p:cNvSpPr>
              <a:spLocks noEditPoints="1"/>
            </p:cNvSpPr>
            <p:nvPr/>
          </p:nvSpPr>
          <p:spPr bwMode="auto">
            <a:xfrm>
              <a:off x="5592763" y="3279775"/>
              <a:ext cx="463550" cy="460375"/>
            </a:xfrm>
            <a:custGeom>
              <a:avLst/>
              <a:gdLst>
                <a:gd name="T0" fmla="*/ 212 w 292"/>
                <a:gd name="T1" fmla="*/ 286 h 290"/>
                <a:gd name="T2" fmla="*/ 116 w 292"/>
                <a:gd name="T3" fmla="*/ 286 h 290"/>
                <a:gd name="T4" fmla="*/ 122 w 292"/>
                <a:gd name="T5" fmla="*/ 262 h 290"/>
                <a:gd name="T6" fmla="*/ 122 w 292"/>
                <a:gd name="T7" fmla="*/ 262 h 290"/>
                <a:gd name="T8" fmla="*/ 108 w 292"/>
                <a:gd name="T9" fmla="*/ 274 h 290"/>
                <a:gd name="T10" fmla="*/ 92 w 292"/>
                <a:gd name="T11" fmla="*/ 282 h 290"/>
                <a:gd name="T12" fmla="*/ 74 w 292"/>
                <a:gd name="T13" fmla="*/ 288 h 290"/>
                <a:gd name="T14" fmla="*/ 52 w 292"/>
                <a:gd name="T15" fmla="*/ 290 h 290"/>
                <a:gd name="T16" fmla="*/ 52 w 292"/>
                <a:gd name="T17" fmla="*/ 290 h 290"/>
                <a:gd name="T18" fmla="*/ 40 w 292"/>
                <a:gd name="T19" fmla="*/ 290 h 290"/>
                <a:gd name="T20" fmla="*/ 30 w 292"/>
                <a:gd name="T21" fmla="*/ 288 h 290"/>
                <a:gd name="T22" fmla="*/ 22 w 292"/>
                <a:gd name="T23" fmla="*/ 284 h 290"/>
                <a:gd name="T24" fmla="*/ 14 w 292"/>
                <a:gd name="T25" fmla="*/ 278 h 290"/>
                <a:gd name="T26" fmla="*/ 8 w 292"/>
                <a:gd name="T27" fmla="*/ 272 h 290"/>
                <a:gd name="T28" fmla="*/ 4 w 292"/>
                <a:gd name="T29" fmla="*/ 264 h 290"/>
                <a:gd name="T30" fmla="*/ 0 w 292"/>
                <a:gd name="T31" fmla="*/ 254 h 290"/>
                <a:gd name="T32" fmla="*/ 0 w 292"/>
                <a:gd name="T33" fmla="*/ 242 h 290"/>
                <a:gd name="T34" fmla="*/ 0 w 292"/>
                <a:gd name="T35" fmla="*/ 242 h 290"/>
                <a:gd name="T36" fmla="*/ 2 w 292"/>
                <a:gd name="T37" fmla="*/ 214 h 290"/>
                <a:gd name="T38" fmla="*/ 10 w 292"/>
                <a:gd name="T39" fmla="*/ 180 h 290"/>
                <a:gd name="T40" fmla="*/ 20 w 292"/>
                <a:gd name="T41" fmla="*/ 146 h 290"/>
                <a:gd name="T42" fmla="*/ 34 w 292"/>
                <a:gd name="T43" fmla="*/ 116 h 290"/>
                <a:gd name="T44" fmla="*/ 34 w 292"/>
                <a:gd name="T45" fmla="*/ 116 h 290"/>
                <a:gd name="T46" fmla="*/ 40 w 292"/>
                <a:gd name="T47" fmla="*/ 106 h 290"/>
                <a:gd name="T48" fmla="*/ 48 w 292"/>
                <a:gd name="T49" fmla="*/ 98 h 290"/>
                <a:gd name="T50" fmla="*/ 56 w 292"/>
                <a:gd name="T51" fmla="*/ 90 h 290"/>
                <a:gd name="T52" fmla="*/ 66 w 292"/>
                <a:gd name="T53" fmla="*/ 84 h 290"/>
                <a:gd name="T54" fmla="*/ 76 w 292"/>
                <a:gd name="T55" fmla="*/ 80 h 290"/>
                <a:gd name="T56" fmla="*/ 86 w 292"/>
                <a:gd name="T57" fmla="*/ 76 h 290"/>
                <a:gd name="T58" fmla="*/ 98 w 292"/>
                <a:gd name="T59" fmla="*/ 74 h 290"/>
                <a:gd name="T60" fmla="*/ 110 w 292"/>
                <a:gd name="T61" fmla="*/ 74 h 290"/>
                <a:gd name="T62" fmla="*/ 110 w 292"/>
                <a:gd name="T63" fmla="*/ 74 h 290"/>
                <a:gd name="T64" fmla="*/ 130 w 292"/>
                <a:gd name="T65" fmla="*/ 76 h 290"/>
                <a:gd name="T66" fmla="*/ 146 w 292"/>
                <a:gd name="T67" fmla="*/ 82 h 290"/>
                <a:gd name="T68" fmla="*/ 158 w 292"/>
                <a:gd name="T69" fmla="*/ 90 h 290"/>
                <a:gd name="T70" fmla="*/ 166 w 292"/>
                <a:gd name="T71" fmla="*/ 102 h 290"/>
                <a:gd name="T72" fmla="*/ 194 w 292"/>
                <a:gd name="T73" fmla="*/ 0 h 290"/>
                <a:gd name="T74" fmla="*/ 292 w 292"/>
                <a:gd name="T75" fmla="*/ 0 h 290"/>
                <a:gd name="T76" fmla="*/ 212 w 292"/>
                <a:gd name="T77" fmla="*/ 286 h 290"/>
                <a:gd name="T78" fmla="*/ 138 w 292"/>
                <a:gd name="T79" fmla="*/ 140 h 290"/>
                <a:gd name="T80" fmla="*/ 138 w 292"/>
                <a:gd name="T81" fmla="*/ 140 h 290"/>
                <a:gd name="T82" fmla="*/ 132 w 292"/>
                <a:gd name="T83" fmla="*/ 140 h 290"/>
                <a:gd name="T84" fmla="*/ 126 w 292"/>
                <a:gd name="T85" fmla="*/ 142 h 290"/>
                <a:gd name="T86" fmla="*/ 120 w 292"/>
                <a:gd name="T87" fmla="*/ 146 h 290"/>
                <a:gd name="T88" fmla="*/ 116 w 292"/>
                <a:gd name="T89" fmla="*/ 154 h 290"/>
                <a:gd name="T90" fmla="*/ 116 w 292"/>
                <a:gd name="T91" fmla="*/ 154 h 290"/>
                <a:gd name="T92" fmla="*/ 106 w 292"/>
                <a:gd name="T93" fmla="*/ 180 h 290"/>
                <a:gd name="T94" fmla="*/ 104 w 292"/>
                <a:gd name="T95" fmla="*/ 194 h 290"/>
                <a:gd name="T96" fmla="*/ 102 w 292"/>
                <a:gd name="T97" fmla="*/ 206 h 290"/>
                <a:gd name="T98" fmla="*/ 102 w 292"/>
                <a:gd name="T99" fmla="*/ 206 h 290"/>
                <a:gd name="T100" fmla="*/ 104 w 292"/>
                <a:gd name="T101" fmla="*/ 212 h 290"/>
                <a:gd name="T102" fmla="*/ 106 w 292"/>
                <a:gd name="T103" fmla="*/ 216 h 290"/>
                <a:gd name="T104" fmla="*/ 112 w 292"/>
                <a:gd name="T105" fmla="*/ 220 h 290"/>
                <a:gd name="T106" fmla="*/ 118 w 292"/>
                <a:gd name="T107" fmla="*/ 222 h 290"/>
                <a:gd name="T108" fmla="*/ 118 w 292"/>
                <a:gd name="T109" fmla="*/ 222 h 290"/>
                <a:gd name="T110" fmla="*/ 128 w 292"/>
                <a:gd name="T111" fmla="*/ 220 h 290"/>
                <a:gd name="T112" fmla="*/ 134 w 292"/>
                <a:gd name="T113" fmla="*/ 216 h 290"/>
                <a:gd name="T114" fmla="*/ 154 w 292"/>
                <a:gd name="T115" fmla="*/ 148 h 290"/>
                <a:gd name="T116" fmla="*/ 154 w 292"/>
                <a:gd name="T117" fmla="*/ 148 h 290"/>
                <a:gd name="T118" fmla="*/ 148 w 292"/>
                <a:gd name="T119" fmla="*/ 142 h 290"/>
                <a:gd name="T120" fmla="*/ 138 w 292"/>
                <a:gd name="T121" fmla="*/ 140 h 290"/>
                <a:gd name="T122" fmla="*/ 138 w 292"/>
                <a:gd name="T123" fmla="*/ 1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2" h="290">
                  <a:moveTo>
                    <a:pt x="212" y="286"/>
                  </a:moveTo>
                  <a:lnTo>
                    <a:pt x="116" y="286"/>
                  </a:lnTo>
                  <a:lnTo>
                    <a:pt x="122" y="262"/>
                  </a:lnTo>
                  <a:lnTo>
                    <a:pt x="122" y="262"/>
                  </a:lnTo>
                  <a:lnTo>
                    <a:pt x="108" y="274"/>
                  </a:lnTo>
                  <a:lnTo>
                    <a:pt x="92" y="282"/>
                  </a:lnTo>
                  <a:lnTo>
                    <a:pt x="74" y="288"/>
                  </a:lnTo>
                  <a:lnTo>
                    <a:pt x="52" y="290"/>
                  </a:lnTo>
                  <a:lnTo>
                    <a:pt x="52" y="290"/>
                  </a:lnTo>
                  <a:lnTo>
                    <a:pt x="40" y="290"/>
                  </a:lnTo>
                  <a:lnTo>
                    <a:pt x="30" y="288"/>
                  </a:lnTo>
                  <a:lnTo>
                    <a:pt x="22" y="284"/>
                  </a:lnTo>
                  <a:lnTo>
                    <a:pt x="14" y="278"/>
                  </a:lnTo>
                  <a:lnTo>
                    <a:pt x="8" y="272"/>
                  </a:lnTo>
                  <a:lnTo>
                    <a:pt x="4" y="264"/>
                  </a:lnTo>
                  <a:lnTo>
                    <a:pt x="0" y="254"/>
                  </a:lnTo>
                  <a:lnTo>
                    <a:pt x="0" y="242"/>
                  </a:lnTo>
                  <a:lnTo>
                    <a:pt x="0" y="242"/>
                  </a:lnTo>
                  <a:lnTo>
                    <a:pt x="2" y="214"/>
                  </a:lnTo>
                  <a:lnTo>
                    <a:pt x="10" y="180"/>
                  </a:lnTo>
                  <a:lnTo>
                    <a:pt x="20" y="146"/>
                  </a:lnTo>
                  <a:lnTo>
                    <a:pt x="34" y="116"/>
                  </a:lnTo>
                  <a:lnTo>
                    <a:pt x="34" y="116"/>
                  </a:lnTo>
                  <a:lnTo>
                    <a:pt x="40" y="106"/>
                  </a:lnTo>
                  <a:lnTo>
                    <a:pt x="48" y="98"/>
                  </a:lnTo>
                  <a:lnTo>
                    <a:pt x="56" y="90"/>
                  </a:lnTo>
                  <a:lnTo>
                    <a:pt x="66" y="84"/>
                  </a:lnTo>
                  <a:lnTo>
                    <a:pt x="76" y="80"/>
                  </a:lnTo>
                  <a:lnTo>
                    <a:pt x="86" y="76"/>
                  </a:lnTo>
                  <a:lnTo>
                    <a:pt x="98" y="74"/>
                  </a:lnTo>
                  <a:lnTo>
                    <a:pt x="110" y="74"/>
                  </a:lnTo>
                  <a:lnTo>
                    <a:pt x="110" y="74"/>
                  </a:lnTo>
                  <a:lnTo>
                    <a:pt x="130" y="76"/>
                  </a:lnTo>
                  <a:lnTo>
                    <a:pt x="146" y="82"/>
                  </a:lnTo>
                  <a:lnTo>
                    <a:pt x="158" y="90"/>
                  </a:lnTo>
                  <a:lnTo>
                    <a:pt x="166" y="102"/>
                  </a:lnTo>
                  <a:lnTo>
                    <a:pt x="194" y="0"/>
                  </a:lnTo>
                  <a:lnTo>
                    <a:pt x="292" y="0"/>
                  </a:lnTo>
                  <a:lnTo>
                    <a:pt x="212" y="286"/>
                  </a:lnTo>
                  <a:close/>
                  <a:moveTo>
                    <a:pt x="138" y="140"/>
                  </a:moveTo>
                  <a:lnTo>
                    <a:pt x="138" y="140"/>
                  </a:lnTo>
                  <a:lnTo>
                    <a:pt x="132" y="140"/>
                  </a:lnTo>
                  <a:lnTo>
                    <a:pt x="126" y="142"/>
                  </a:lnTo>
                  <a:lnTo>
                    <a:pt x="120" y="146"/>
                  </a:lnTo>
                  <a:lnTo>
                    <a:pt x="116" y="154"/>
                  </a:lnTo>
                  <a:lnTo>
                    <a:pt x="116" y="154"/>
                  </a:lnTo>
                  <a:lnTo>
                    <a:pt x="106" y="180"/>
                  </a:lnTo>
                  <a:lnTo>
                    <a:pt x="104" y="194"/>
                  </a:lnTo>
                  <a:lnTo>
                    <a:pt x="102" y="206"/>
                  </a:lnTo>
                  <a:lnTo>
                    <a:pt x="102" y="206"/>
                  </a:lnTo>
                  <a:lnTo>
                    <a:pt x="104" y="212"/>
                  </a:lnTo>
                  <a:lnTo>
                    <a:pt x="106" y="216"/>
                  </a:lnTo>
                  <a:lnTo>
                    <a:pt x="112" y="220"/>
                  </a:lnTo>
                  <a:lnTo>
                    <a:pt x="118" y="222"/>
                  </a:lnTo>
                  <a:lnTo>
                    <a:pt x="118" y="222"/>
                  </a:lnTo>
                  <a:lnTo>
                    <a:pt x="128" y="220"/>
                  </a:lnTo>
                  <a:lnTo>
                    <a:pt x="134" y="216"/>
                  </a:lnTo>
                  <a:lnTo>
                    <a:pt x="154" y="148"/>
                  </a:lnTo>
                  <a:lnTo>
                    <a:pt x="154" y="148"/>
                  </a:lnTo>
                  <a:lnTo>
                    <a:pt x="148" y="142"/>
                  </a:lnTo>
                  <a:lnTo>
                    <a:pt x="138" y="140"/>
                  </a:lnTo>
                  <a:lnTo>
                    <a:pt x="138" y="14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3" name="Freeform 13"/>
            <p:cNvSpPr>
              <a:spLocks noEditPoints="1"/>
            </p:cNvSpPr>
            <p:nvPr/>
          </p:nvSpPr>
          <p:spPr bwMode="auto">
            <a:xfrm>
              <a:off x="5999163" y="3394075"/>
              <a:ext cx="390525" cy="346075"/>
            </a:xfrm>
            <a:custGeom>
              <a:avLst/>
              <a:gdLst>
                <a:gd name="T0" fmla="*/ 98 w 246"/>
                <a:gd name="T1" fmla="*/ 122 h 218"/>
                <a:gd name="T2" fmla="*/ 96 w 246"/>
                <a:gd name="T3" fmla="*/ 138 h 218"/>
                <a:gd name="T4" fmla="*/ 94 w 246"/>
                <a:gd name="T5" fmla="*/ 150 h 218"/>
                <a:gd name="T6" fmla="*/ 96 w 246"/>
                <a:gd name="T7" fmla="*/ 160 h 218"/>
                <a:gd name="T8" fmla="*/ 108 w 246"/>
                <a:gd name="T9" fmla="*/ 166 h 218"/>
                <a:gd name="T10" fmla="*/ 116 w 246"/>
                <a:gd name="T11" fmla="*/ 164 h 218"/>
                <a:gd name="T12" fmla="*/ 130 w 246"/>
                <a:gd name="T13" fmla="*/ 152 h 218"/>
                <a:gd name="T14" fmla="*/ 230 w 246"/>
                <a:gd name="T15" fmla="*/ 140 h 218"/>
                <a:gd name="T16" fmla="*/ 228 w 246"/>
                <a:gd name="T17" fmla="*/ 150 h 218"/>
                <a:gd name="T18" fmla="*/ 218 w 246"/>
                <a:gd name="T19" fmla="*/ 168 h 218"/>
                <a:gd name="T20" fmla="*/ 196 w 246"/>
                <a:gd name="T21" fmla="*/ 190 h 218"/>
                <a:gd name="T22" fmla="*/ 160 w 246"/>
                <a:gd name="T23" fmla="*/ 210 h 218"/>
                <a:gd name="T24" fmla="*/ 122 w 246"/>
                <a:gd name="T25" fmla="*/ 218 h 218"/>
                <a:gd name="T26" fmla="*/ 104 w 246"/>
                <a:gd name="T27" fmla="*/ 218 h 218"/>
                <a:gd name="T28" fmla="*/ 64 w 246"/>
                <a:gd name="T29" fmla="*/ 216 h 218"/>
                <a:gd name="T30" fmla="*/ 30 w 246"/>
                <a:gd name="T31" fmla="*/ 208 h 218"/>
                <a:gd name="T32" fmla="*/ 8 w 246"/>
                <a:gd name="T33" fmla="*/ 188 h 218"/>
                <a:gd name="T34" fmla="*/ 2 w 246"/>
                <a:gd name="T35" fmla="*/ 174 h 218"/>
                <a:gd name="T36" fmla="*/ 0 w 246"/>
                <a:gd name="T37" fmla="*/ 154 h 218"/>
                <a:gd name="T38" fmla="*/ 4 w 246"/>
                <a:gd name="T39" fmla="*/ 128 h 218"/>
                <a:gd name="T40" fmla="*/ 22 w 246"/>
                <a:gd name="T41" fmla="*/ 70 h 218"/>
                <a:gd name="T42" fmla="*/ 36 w 246"/>
                <a:gd name="T43" fmla="*/ 46 h 218"/>
                <a:gd name="T44" fmla="*/ 48 w 246"/>
                <a:gd name="T45" fmla="*/ 34 h 218"/>
                <a:gd name="T46" fmla="*/ 72 w 246"/>
                <a:gd name="T47" fmla="*/ 16 h 218"/>
                <a:gd name="T48" fmla="*/ 100 w 246"/>
                <a:gd name="T49" fmla="*/ 6 h 218"/>
                <a:gd name="T50" fmla="*/ 130 w 246"/>
                <a:gd name="T51" fmla="*/ 2 h 218"/>
                <a:gd name="T52" fmla="*/ 144 w 246"/>
                <a:gd name="T53" fmla="*/ 0 h 218"/>
                <a:gd name="T54" fmla="*/ 186 w 246"/>
                <a:gd name="T55" fmla="*/ 4 h 218"/>
                <a:gd name="T56" fmla="*/ 218 w 246"/>
                <a:gd name="T57" fmla="*/ 14 h 218"/>
                <a:gd name="T58" fmla="*/ 238 w 246"/>
                <a:gd name="T59" fmla="*/ 34 h 218"/>
                <a:gd name="T60" fmla="*/ 246 w 246"/>
                <a:gd name="T61" fmla="*/ 66 h 218"/>
                <a:gd name="T62" fmla="*/ 242 w 246"/>
                <a:gd name="T63" fmla="*/ 92 h 218"/>
                <a:gd name="T64" fmla="*/ 234 w 246"/>
                <a:gd name="T65" fmla="*/ 122 h 218"/>
                <a:gd name="T66" fmla="*/ 136 w 246"/>
                <a:gd name="T67" fmla="*/ 52 h 218"/>
                <a:gd name="T68" fmla="*/ 120 w 246"/>
                <a:gd name="T69" fmla="*/ 60 h 218"/>
                <a:gd name="T70" fmla="*/ 110 w 246"/>
                <a:gd name="T71" fmla="*/ 82 h 218"/>
                <a:gd name="T72" fmla="*/ 150 w 246"/>
                <a:gd name="T73" fmla="*/ 82 h 218"/>
                <a:gd name="T74" fmla="*/ 154 w 246"/>
                <a:gd name="T75" fmla="*/ 68 h 218"/>
                <a:gd name="T76" fmla="*/ 148 w 246"/>
                <a:gd name="T77" fmla="*/ 56 h 218"/>
                <a:gd name="T78" fmla="*/ 136 w 246"/>
                <a:gd name="T79" fmla="*/ 5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6" h="218">
                  <a:moveTo>
                    <a:pt x="234" y="122"/>
                  </a:moveTo>
                  <a:lnTo>
                    <a:pt x="98" y="122"/>
                  </a:lnTo>
                  <a:lnTo>
                    <a:pt x="98" y="122"/>
                  </a:lnTo>
                  <a:lnTo>
                    <a:pt x="96" y="138"/>
                  </a:lnTo>
                  <a:lnTo>
                    <a:pt x="94" y="150"/>
                  </a:lnTo>
                  <a:lnTo>
                    <a:pt x="94" y="150"/>
                  </a:lnTo>
                  <a:lnTo>
                    <a:pt x="94" y="154"/>
                  </a:lnTo>
                  <a:lnTo>
                    <a:pt x="96" y="160"/>
                  </a:lnTo>
                  <a:lnTo>
                    <a:pt x="100" y="164"/>
                  </a:lnTo>
                  <a:lnTo>
                    <a:pt x="108" y="166"/>
                  </a:lnTo>
                  <a:lnTo>
                    <a:pt x="108" y="166"/>
                  </a:lnTo>
                  <a:lnTo>
                    <a:pt x="116" y="164"/>
                  </a:lnTo>
                  <a:lnTo>
                    <a:pt x="124" y="160"/>
                  </a:lnTo>
                  <a:lnTo>
                    <a:pt x="130" y="152"/>
                  </a:lnTo>
                  <a:lnTo>
                    <a:pt x="134" y="140"/>
                  </a:lnTo>
                  <a:lnTo>
                    <a:pt x="230" y="140"/>
                  </a:lnTo>
                  <a:lnTo>
                    <a:pt x="230" y="140"/>
                  </a:lnTo>
                  <a:lnTo>
                    <a:pt x="228" y="150"/>
                  </a:lnTo>
                  <a:lnTo>
                    <a:pt x="224" y="160"/>
                  </a:lnTo>
                  <a:lnTo>
                    <a:pt x="218" y="168"/>
                  </a:lnTo>
                  <a:lnTo>
                    <a:pt x="212" y="176"/>
                  </a:lnTo>
                  <a:lnTo>
                    <a:pt x="196" y="190"/>
                  </a:lnTo>
                  <a:lnTo>
                    <a:pt x="178" y="202"/>
                  </a:lnTo>
                  <a:lnTo>
                    <a:pt x="160" y="210"/>
                  </a:lnTo>
                  <a:lnTo>
                    <a:pt x="140" y="214"/>
                  </a:lnTo>
                  <a:lnTo>
                    <a:pt x="122" y="218"/>
                  </a:lnTo>
                  <a:lnTo>
                    <a:pt x="104" y="218"/>
                  </a:lnTo>
                  <a:lnTo>
                    <a:pt x="104" y="218"/>
                  </a:lnTo>
                  <a:lnTo>
                    <a:pt x="84" y="218"/>
                  </a:lnTo>
                  <a:lnTo>
                    <a:pt x="64" y="216"/>
                  </a:lnTo>
                  <a:lnTo>
                    <a:pt x="46" y="214"/>
                  </a:lnTo>
                  <a:lnTo>
                    <a:pt x="30" y="208"/>
                  </a:lnTo>
                  <a:lnTo>
                    <a:pt x="18" y="200"/>
                  </a:lnTo>
                  <a:lnTo>
                    <a:pt x="8" y="188"/>
                  </a:lnTo>
                  <a:lnTo>
                    <a:pt x="6" y="182"/>
                  </a:lnTo>
                  <a:lnTo>
                    <a:pt x="2" y="174"/>
                  </a:lnTo>
                  <a:lnTo>
                    <a:pt x="0" y="154"/>
                  </a:lnTo>
                  <a:lnTo>
                    <a:pt x="0" y="154"/>
                  </a:lnTo>
                  <a:lnTo>
                    <a:pt x="2" y="142"/>
                  </a:lnTo>
                  <a:lnTo>
                    <a:pt x="4" y="128"/>
                  </a:lnTo>
                  <a:lnTo>
                    <a:pt x="12" y="98"/>
                  </a:lnTo>
                  <a:lnTo>
                    <a:pt x="22" y="70"/>
                  </a:lnTo>
                  <a:lnTo>
                    <a:pt x="30" y="56"/>
                  </a:lnTo>
                  <a:lnTo>
                    <a:pt x="36" y="46"/>
                  </a:lnTo>
                  <a:lnTo>
                    <a:pt x="36" y="46"/>
                  </a:lnTo>
                  <a:lnTo>
                    <a:pt x="48" y="34"/>
                  </a:lnTo>
                  <a:lnTo>
                    <a:pt x="58" y="24"/>
                  </a:lnTo>
                  <a:lnTo>
                    <a:pt x="72" y="16"/>
                  </a:lnTo>
                  <a:lnTo>
                    <a:pt x="86" y="10"/>
                  </a:lnTo>
                  <a:lnTo>
                    <a:pt x="100" y="6"/>
                  </a:lnTo>
                  <a:lnTo>
                    <a:pt x="114" y="2"/>
                  </a:lnTo>
                  <a:lnTo>
                    <a:pt x="130" y="2"/>
                  </a:lnTo>
                  <a:lnTo>
                    <a:pt x="144" y="0"/>
                  </a:lnTo>
                  <a:lnTo>
                    <a:pt x="144" y="0"/>
                  </a:lnTo>
                  <a:lnTo>
                    <a:pt x="166" y="2"/>
                  </a:lnTo>
                  <a:lnTo>
                    <a:pt x="186" y="4"/>
                  </a:lnTo>
                  <a:lnTo>
                    <a:pt x="204" y="8"/>
                  </a:lnTo>
                  <a:lnTo>
                    <a:pt x="218" y="14"/>
                  </a:lnTo>
                  <a:lnTo>
                    <a:pt x="230" y="22"/>
                  </a:lnTo>
                  <a:lnTo>
                    <a:pt x="238" y="34"/>
                  </a:lnTo>
                  <a:lnTo>
                    <a:pt x="244" y="48"/>
                  </a:lnTo>
                  <a:lnTo>
                    <a:pt x="246" y="66"/>
                  </a:lnTo>
                  <a:lnTo>
                    <a:pt x="246" y="66"/>
                  </a:lnTo>
                  <a:lnTo>
                    <a:pt x="242" y="92"/>
                  </a:lnTo>
                  <a:lnTo>
                    <a:pt x="234" y="122"/>
                  </a:lnTo>
                  <a:lnTo>
                    <a:pt x="234" y="122"/>
                  </a:lnTo>
                  <a:close/>
                  <a:moveTo>
                    <a:pt x="136" y="52"/>
                  </a:moveTo>
                  <a:lnTo>
                    <a:pt x="136" y="52"/>
                  </a:lnTo>
                  <a:lnTo>
                    <a:pt x="128" y="54"/>
                  </a:lnTo>
                  <a:lnTo>
                    <a:pt x="120" y="60"/>
                  </a:lnTo>
                  <a:lnTo>
                    <a:pt x="114" y="68"/>
                  </a:lnTo>
                  <a:lnTo>
                    <a:pt x="110" y="82"/>
                  </a:lnTo>
                  <a:lnTo>
                    <a:pt x="150" y="82"/>
                  </a:lnTo>
                  <a:lnTo>
                    <a:pt x="150" y="82"/>
                  </a:lnTo>
                  <a:lnTo>
                    <a:pt x="154" y="68"/>
                  </a:lnTo>
                  <a:lnTo>
                    <a:pt x="154" y="68"/>
                  </a:lnTo>
                  <a:lnTo>
                    <a:pt x="152" y="60"/>
                  </a:lnTo>
                  <a:lnTo>
                    <a:pt x="148" y="56"/>
                  </a:lnTo>
                  <a:lnTo>
                    <a:pt x="144" y="54"/>
                  </a:lnTo>
                  <a:lnTo>
                    <a:pt x="136" y="52"/>
                  </a:lnTo>
                  <a:lnTo>
                    <a:pt x="136" y="5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4" name="Freeform 14"/>
            <p:cNvSpPr>
              <a:spLocks/>
            </p:cNvSpPr>
            <p:nvPr/>
          </p:nvSpPr>
          <p:spPr bwMode="auto">
            <a:xfrm>
              <a:off x="6373813" y="3279775"/>
              <a:ext cx="282575" cy="454025"/>
            </a:xfrm>
            <a:custGeom>
              <a:avLst/>
              <a:gdLst>
                <a:gd name="T0" fmla="*/ 98 w 178"/>
                <a:gd name="T1" fmla="*/ 286 h 286"/>
                <a:gd name="T2" fmla="*/ 0 w 178"/>
                <a:gd name="T3" fmla="*/ 286 h 286"/>
                <a:gd name="T4" fmla="*/ 80 w 178"/>
                <a:gd name="T5" fmla="*/ 0 h 286"/>
                <a:gd name="T6" fmla="*/ 178 w 178"/>
                <a:gd name="T7" fmla="*/ 0 h 286"/>
                <a:gd name="T8" fmla="*/ 98 w 178"/>
                <a:gd name="T9" fmla="*/ 286 h 286"/>
              </a:gdLst>
              <a:ahLst/>
              <a:cxnLst>
                <a:cxn ang="0">
                  <a:pos x="T0" y="T1"/>
                </a:cxn>
                <a:cxn ang="0">
                  <a:pos x="T2" y="T3"/>
                </a:cxn>
                <a:cxn ang="0">
                  <a:pos x="T4" y="T5"/>
                </a:cxn>
                <a:cxn ang="0">
                  <a:pos x="T6" y="T7"/>
                </a:cxn>
                <a:cxn ang="0">
                  <a:pos x="T8" y="T9"/>
                </a:cxn>
              </a:cxnLst>
              <a:rect l="0" t="0" r="r" b="b"/>
              <a:pathLst>
                <a:path w="178" h="286">
                  <a:moveTo>
                    <a:pt x="98" y="286"/>
                  </a:moveTo>
                  <a:lnTo>
                    <a:pt x="0" y="286"/>
                  </a:lnTo>
                  <a:lnTo>
                    <a:pt x="80" y="0"/>
                  </a:lnTo>
                  <a:lnTo>
                    <a:pt x="178" y="0"/>
                  </a:lnTo>
                  <a:lnTo>
                    <a:pt x="98" y="28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5" name="Freeform 15"/>
            <p:cNvSpPr>
              <a:spLocks noEditPoints="1"/>
            </p:cNvSpPr>
            <p:nvPr/>
          </p:nvSpPr>
          <p:spPr bwMode="auto">
            <a:xfrm>
              <a:off x="6580188" y="3279775"/>
              <a:ext cx="282575" cy="454025"/>
            </a:xfrm>
            <a:custGeom>
              <a:avLst/>
              <a:gdLst>
                <a:gd name="T0" fmla="*/ 98 w 178"/>
                <a:gd name="T1" fmla="*/ 286 h 286"/>
                <a:gd name="T2" fmla="*/ 0 w 178"/>
                <a:gd name="T3" fmla="*/ 286 h 286"/>
                <a:gd name="T4" fmla="*/ 58 w 178"/>
                <a:gd name="T5" fmla="*/ 78 h 286"/>
                <a:gd name="T6" fmla="*/ 156 w 178"/>
                <a:gd name="T7" fmla="*/ 78 h 286"/>
                <a:gd name="T8" fmla="*/ 98 w 178"/>
                <a:gd name="T9" fmla="*/ 286 h 286"/>
                <a:gd name="T10" fmla="*/ 162 w 178"/>
                <a:gd name="T11" fmla="*/ 58 h 286"/>
                <a:gd name="T12" fmla="*/ 64 w 178"/>
                <a:gd name="T13" fmla="*/ 58 h 286"/>
                <a:gd name="T14" fmla="*/ 80 w 178"/>
                <a:gd name="T15" fmla="*/ 0 h 286"/>
                <a:gd name="T16" fmla="*/ 178 w 178"/>
                <a:gd name="T17" fmla="*/ 0 h 286"/>
                <a:gd name="T18" fmla="*/ 162 w 178"/>
                <a:gd name="T19" fmla="*/ 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286">
                  <a:moveTo>
                    <a:pt x="98" y="286"/>
                  </a:moveTo>
                  <a:lnTo>
                    <a:pt x="0" y="286"/>
                  </a:lnTo>
                  <a:lnTo>
                    <a:pt x="58" y="78"/>
                  </a:lnTo>
                  <a:lnTo>
                    <a:pt x="156" y="78"/>
                  </a:lnTo>
                  <a:lnTo>
                    <a:pt x="98" y="286"/>
                  </a:lnTo>
                  <a:close/>
                  <a:moveTo>
                    <a:pt x="162" y="58"/>
                  </a:moveTo>
                  <a:lnTo>
                    <a:pt x="64" y="58"/>
                  </a:lnTo>
                  <a:lnTo>
                    <a:pt x="80" y="0"/>
                  </a:lnTo>
                  <a:lnTo>
                    <a:pt x="178" y="0"/>
                  </a:lnTo>
                  <a:lnTo>
                    <a:pt x="162" y="5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6" name="Freeform 16"/>
            <p:cNvSpPr>
              <a:spLocks/>
            </p:cNvSpPr>
            <p:nvPr/>
          </p:nvSpPr>
          <p:spPr bwMode="auto">
            <a:xfrm>
              <a:off x="6805613" y="3330575"/>
              <a:ext cx="327025" cy="403225"/>
            </a:xfrm>
            <a:custGeom>
              <a:avLst/>
              <a:gdLst>
                <a:gd name="T0" fmla="*/ 196 w 206"/>
                <a:gd name="T1" fmla="*/ 46 h 254"/>
                <a:gd name="T2" fmla="*/ 206 w 206"/>
                <a:gd name="T3" fmla="*/ 92 h 254"/>
                <a:gd name="T4" fmla="*/ 130 w 206"/>
                <a:gd name="T5" fmla="*/ 92 h 254"/>
                <a:gd name="T6" fmla="*/ 108 w 206"/>
                <a:gd name="T7" fmla="*/ 172 h 254"/>
                <a:gd name="T8" fmla="*/ 108 w 206"/>
                <a:gd name="T9" fmla="*/ 172 h 254"/>
                <a:gd name="T10" fmla="*/ 106 w 206"/>
                <a:gd name="T11" fmla="*/ 182 h 254"/>
                <a:gd name="T12" fmla="*/ 104 w 206"/>
                <a:gd name="T13" fmla="*/ 190 h 254"/>
                <a:gd name="T14" fmla="*/ 104 w 206"/>
                <a:gd name="T15" fmla="*/ 190 h 254"/>
                <a:gd name="T16" fmla="*/ 106 w 206"/>
                <a:gd name="T17" fmla="*/ 196 h 254"/>
                <a:gd name="T18" fmla="*/ 108 w 206"/>
                <a:gd name="T19" fmla="*/ 200 h 254"/>
                <a:gd name="T20" fmla="*/ 114 w 206"/>
                <a:gd name="T21" fmla="*/ 202 h 254"/>
                <a:gd name="T22" fmla="*/ 122 w 206"/>
                <a:gd name="T23" fmla="*/ 202 h 254"/>
                <a:gd name="T24" fmla="*/ 142 w 206"/>
                <a:gd name="T25" fmla="*/ 202 h 254"/>
                <a:gd name="T26" fmla="*/ 128 w 206"/>
                <a:gd name="T27" fmla="*/ 254 h 254"/>
                <a:gd name="T28" fmla="*/ 40 w 206"/>
                <a:gd name="T29" fmla="*/ 254 h 254"/>
                <a:gd name="T30" fmla="*/ 40 w 206"/>
                <a:gd name="T31" fmla="*/ 254 h 254"/>
                <a:gd name="T32" fmla="*/ 30 w 206"/>
                <a:gd name="T33" fmla="*/ 252 h 254"/>
                <a:gd name="T34" fmla="*/ 22 w 206"/>
                <a:gd name="T35" fmla="*/ 252 h 254"/>
                <a:gd name="T36" fmla="*/ 14 w 206"/>
                <a:gd name="T37" fmla="*/ 248 h 254"/>
                <a:gd name="T38" fmla="*/ 10 w 206"/>
                <a:gd name="T39" fmla="*/ 244 h 254"/>
                <a:gd name="T40" fmla="*/ 6 w 206"/>
                <a:gd name="T41" fmla="*/ 238 h 254"/>
                <a:gd name="T42" fmla="*/ 2 w 206"/>
                <a:gd name="T43" fmla="*/ 232 h 254"/>
                <a:gd name="T44" fmla="*/ 0 w 206"/>
                <a:gd name="T45" fmla="*/ 226 h 254"/>
                <a:gd name="T46" fmla="*/ 0 w 206"/>
                <a:gd name="T47" fmla="*/ 218 h 254"/>
                <a:gd name="T48" fmla="*/ 0 w 206"/>
                <a:gd name="T49" fmla="*/ 218 h 254"/>
                <a:gd name="T50" fmla="*/ 2 w 206"/>
                <a:gd name="T51" fmla="*/ 204 h 254"/>
                <a:gd name="T52" fmla="*/ 4 w 206"/>
                <a:gd name="T53" fmla="*/ 190 h 254"/>
                <a:gd name="T54" fmla="*/ 58 w 206"/>
                <a:gd name="T55" fmla="*/ 0 h 254"/>
                <a:gd name="T56" fmla="*/ 156 w 206"/>
                <a:gd name="T57" fmla="*/ 0 h 254"/>
                <a:gd name="T58" fmla="*/ 144 w 206"/>
                <a:gd name="T59" fmla="*/ 46 h 254"/>
                <a:gd name="T60" fmla="*/ 196 w 206"/>
                <a:gd name="T61" fmla="*/ 4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6" h="254">
                  <a:moveTo>
                    <a:pt x="196" y="46"/>
                  </a:moveTo>
                  <a:lnTo>
                    <a:pt x="206" y="92"/>
                  </a:lnTo>
                  <a:lnTo>
                    <a:pt x="130" y="92"/>
                  </a:lnTo>
                  <a:lnTo>
                    <a:pt x="108" y="172"/>
                  </a:lnTo>
                  <a:lnTo>
                    <a:pt x="108" y="172"/>
                  </a:lnTo>
                  <a:lnTo>
                    <a:pt x="106" y="182"/>
                  </a:lnTo>
                  <a:lnTo>
                    <a:pt x="104" y="190"/>
                  </a:lnTo>
                  <a:lnTo>
                    <a:pt x="104" y="190"/>
                  </a:lnTo>
                  <a:lnTo>
                    <a:pt x="106" y="196"/>
                  </a:lnTo>
                  <a:lnTo>
                    <a:pt x="108" y="200"/>
                  </a:lnTo>
                  <a:lnTo>
                    <a:pt x="114" y="202"/>
                  </a:lnTo>
                  <a:lnTo>
                    <a:pt x="122" y="202"/>
                  </a:lnTo>
                  <a:lnTo>
                    <a:pt x="142" y="202"/>
                  </a:lnTo>
                  <a:lnTo>
                    <a:pt x="128" y="254"/>
                  </a:lnTo>
                  <a:lnTo>
                    <a:pt x="40" y="254"/>
                  </a:lnTo>
                  <a:lnTo>
                    <a:pt x="40" y="254"/>
                  </a:lnTo>
                  <a:lnTo>
                    <a:pt x="30" y="252"/>
                  </a:lnTo>
                  <a:lnTo>
                    <a:pt x="22" y="252"/>
                  </a:lnTo>
                  <a:lnTo>
                    <a:pt x="14" y="248"/>
                  </a:lnTo>
                  <a:lnTo>
                    <a:pt x="10" y="244"/>
                  </a:lnTo>
                  <a:lnTo>
                    <a:pt x="6" y="238"/>
                  </a:lnTo>
                  <a:lnTo>
                    <a:pt x="2" y="232"/>
                  </a:lnTo>
                  <a:lnTo>
                    <a:pt x="0" y="226"/>
                  </a:lnTo>
                  <a:lnTo>
                    <a:pt x="0" y="218"/>
                  </a:lnTo>
                  <a:lnTo>
                    <a:pt x="0" y="218"/>
                  </a:lnTo>
                  <a:lnTo>
                    <a:pt x="2" y="204"/>
                  </a:lnTo>
                  <a:lnTo>
                    <a:pt x="4" y="190"/>
                  </a:lnTo>
                  <a:lnTo>
                    <a:pt x="58" y="0"/>
                  </a:lnTo>
                  <a:lnTo>
                    <a:pt x="156" y="0"/>
                  </a:lnTo>
                  <a:lnTo>
                    <a:pt x="144" y="46"/>
                  </a:lnTo>
                  <a:lnTo>
                    <a:pt x="196" y="4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7" name="Freeform 17"/>
            <p:cNvSpPr>
              <a:spLocks/>
            </p:cNvSpPr>
            <p:nvPr/>
          </p:nvSpPr>
          <p:spPr bwMode="auto">
            <a:xfrm>
              <a:off x="4973638" y="3784600"/>
              <a:ext cx="63500" cy="79375"/>
            </a:xfrm>
            <a:custGeom>
              <a:avLst/>
              <a:gdLst>
                <a:gd name="T0" fmla="*/ 14 w 40"/>
                <a:gd name="T1" fmla="*/ 0 h 50"/>
                <a:gd name="T2" fmla="*/ 40 w 40"/>
                <a:gd name="T3" fmla="*/ 0 h 50"/>
                <a:gd name="T4" fmla="*/ 24 w 40"/>
                <a:gd name="T5" fmla="*/ 50 h 50"/>
                <a:gd name="T6" fmla="*/ 0 w 40"/>
                <a:gd name="T7" fmla="*/ 50 h 50"/>
                <a:gd name="T8" fmla="*/ 14 w 40"/>
                <a:gd name="T9" fmla="*/ 0 h 50"/>
              </a:gdLst>
              <a:ahLst/>
              <a:cxnLst>
                <a:cxn ang="0">
                  <a:pos x="T0" y="T1"/>
                </a:cxn>
                <a:cxn ang="0">
                  <a:pos x="T2" y="T3"/>
                </a:cxn>
                <a:cxn ang="0">
                  <a:pos x="T4" y="T5"/>
                </a:cxn>
                <a:cxn ang="0">
                  <a:pos x="T6" y="T7"/>
                </a:cxn>
                <a:cxn ang="0">
                  <a:pos x="T8" y="T9"/>
                </a:cxn>
              </a:cxnLst>
              <a:rect l="0" t="0" r="r" b="b"/>
              <a:pathLst>
                <a:path w="40" h="50">
                  <a:moveTo>
                    <a:pt x="14" y="0"/>
                  </a:moveTo>
                  <a:lnTo>
                    <a:pt x="40" y="0"/>
                  </a:lnTo>
                  <a:lnTo>
                    <a:pt x="24"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8" name="Freeform 18"/>
            <p:cNvSpPr>
              <a:spLocks/>
            </p:cNvSpPr>
            <p:nvPr/>
          </p:nvSpPr>
          <p:spPr bwMode="auto">
            <a:xfrm>
              <a:off x="5110163" y="3784600"/>
              <a:ext cx="146050" cy="79375"/>
            </a:xfrm>
            <a:custGeom>
              <a:avLst/>
              <a:gdLst>
                <a:gd name="T0" fmla="*/ 14 w 92"/>
                <a:gd name="T1" fmla="*/ 0 h 50"/>
                <a:gd name="T2" fmla="*/ 50 w 92"/>
                <a:gd name="T3" fmla="*/ 0 h 50"/>
                <a:gd name="T4" fmla="*/ 60 w 92"/>
                <a:gd name="T5" fmla="*/ 34 h 50"/>
                <a:gd name="T6" fmla="*/ 60 w 92"/>
                <a:gd name="T7" fmla="*/ 34 h 50"/>
                <a:gd name="T8" fmla="*/ 70 w 92"/>
                <a:gd name="T9" fmla="*/ 0 h 50"/>
                <a:gd name="T10" fmla="*/ 92 w 92"/>
                <a:gd name="T11" fmla="*/ 0 h 50"/>
                <a:gd name="T12" fmla="*/ 76 w 92"/>
                <a:gd name="T13" fmla="*/ 50 h 50"/>
                <a:gd name="T14" fmla="*/ 42 w 92"/>
                <a:gd name="T15" fmla="*/ 50 h 50"/>
                <a:gd name="T16" fmla="*/ 32 w 92"/>
                <a:gd name="T17" fmla="*/ 14 h 50"/>
                <a:gd name="T18" fmla="*/ 32 w 92"/>
                <a:gd name="T19" fmla="*/ 14 h 50"/>
                <a:gd name="T20" fmla="*/ 20 w 92"/>
                <a:gd name="T21" fmla="*/ 50 h 50"/>
                <a:gd name="T22" fmla="*/ 0 w 92"/>
                <a:gd name="T23" fmla="*/ 50 h 50"/>
                <a:gd name="T24" fmla="*/ 14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4" y="0"/>
                  </a:moveTo>
                  <a:lnTo>
                    <a:pt x="50" y="0"/>
                  </a:lnTo>
                  <a:lnTo>
                    <a:pt x="60" y="34"/>
                  </a:lnTo>
                  <a:lnTo>
                    <a:pt x="60" y="34"/>
                  </a:lnTo>
                  <a:lnTo>
                    <a:pt x="70" y="0"/>
                  </a:lnTo>
                  <a:lnTo>
                    <a:pt x="92" y="0"/>
                  </a:lnTo>
                  <a:lnTo>
                    <a:pt x="76" y="50"/>
                  </a:lnTo>
                  <a:lnTo>
                    <a:pt x="42" y="50"/>
                  </a:lnTo>
                  <a:lnTo>
                    <a:pt x="32" y="14"/>
                  </a:lnTo>
                  <a:lnTo>
                    <a:pt x="32" y="14"/>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29" name="Freeform 19"/>
            <p:cNvSpPr>
              <a:spLocks/>
            </p:cNvSpPr>
            <p:nvPr/>
          </p:nvSpPr>
          <p:spPr bwMode="auto">
            <a:xfrm>
              <a:off x="5329238" y="3784600"/>
              <a:ext cx="130175" cy="79375"/>
            </a:xfrm>
            <a:custGeom>
              <a:avLst/>
              <a:gdLst>
                <a:gd name="T0" fmla="*/ 0 w 82"/>
                <a:gd name="T1" fmla="*/ 0 h 50"/>
                <a:gd name="T2" fmla="*/ 28 w 82"/>
                <a:gd name="T3" fmla="*/ 0 h 50"/>
                <a:gd name="T4" fmla="*/ 32 w 82"/>
                <a:gd name="T5" fmla="*/ 32 h 50"/>
                <a:gd name="T6" fmla="*/ 56 w 82"/>
                <a:gd name="T7" fmla="*/ 0 h 50"/>
                <a:gd name="T8" fmla="*/ 82 w 82"/>
                <a:gd name="T9" fmla="*/ 0 h 50"/>
                <a:gd name="T10" fmla="*/ 40 w 82"/>
                <a:gd name="T11" fmla="*/ 50 h 50"/>
                <a:gd name="T12" fmla="*/ 10 w 82"/>
                <a:gd name="T13" fmla="*/ 50 h 50"/>
                <a:gd name="T14" fmla="*/ 0 w 82"/>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0">
                  <a:moveTo>
                    <a:pt x="0" y="0"/>
                  </a:moveTo>
                  <a:lnTo>
                    <a:pt x="28" y="0"/>
                  </a:lnTo>
                  <a:lnTo>
                    <a:pt x="32" y="32"/>
                  </a:lnTo>
                  <a:lnTo>
                    <a:pt x="56" y="0"/>
                  </a:lnTo>
                  <a:lnTo>
                    <a:pt x="82" y="0"/>
                  </a:lnTo>
                  <a:lnTo>
                    <a:pt x="40" y="50"/>
                  </a:lnTo>
                  <a:lnTo>
                    <a:pt x="10" y="50"/>
                  </a:lnTo>
                  <a:lnTo>
                    <a:pt x="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0" name="Freeform 20"/>
            <p:cNvSpPr>
              <a:spLocks/>
            </p:cNvSpPr>
            <p:nvPr/>
          </p:nvSpPr>
          <p:spPr bwMode="auto">
            <a:xfrm>
              <a:off x="5510213" y="3784600"/>
              <a:ext cx="111125" cy="79375"/>
            </a:xfrm>
            <a:custGeom>
              <a:avLst/>
              <a:gdLst>
                <a:gd name="T0" fmla="*/ 14 w 70"/>
                <a:gd name="T1" fmla="*/ 0 h 50"/>
                <a:gd name="T2" fmla="*/ 70 w 70"/>
                <a:gd name="T3" fmla="*/ 0 h 50"/>
                <a:gd name="T4" fmla="*/ 68 w 70"/>
                <a:gd name="T5" fmla="*/ 10 h 50"/>
                <a:gd name="T6" fmla="*/ 36 w 70"/>
                <a:gd name="T7" fmla="*/ 10 h 50"/>
                <a:gd name="T8" fmla="*/ 32 w 70"/>
                <a:gd name="T9" fmla="*/ 20 h 50"/>
                <a:gd name="T10" fmla="*/ 62 w 70"/>
                <a:gd name="T11" fmla="*/ 20 h 50"/>
                <a:gd name="T12" fmla="*/ 60 w 70"/>
                <a:gd name="T13" fmla="*/ 30 h 50"/>
                <a:gd name="T14" fmla="*/ 30 w 70"/>
                <a:gd name="T15" fmla="*/ 30 h 50"/>
                <a:gd name="T16" fmla="*/ 26 w 70"/>
                <a:gd name="T17" fmla="*/ 40 h 50"/>
                <a:gd name="T18" fmla="*/ 58 w 70"/>
                <a:gd name="T19" fmla="*/ 40 h 50"/>
                <a:gd name="T20" fmla="*/ 56 w 70"/>
                <a:gd name="T21" fmla="*/ 50 h 50"/>
                <a:gd name="T22" fmla="*/ 0 w 70"/>
                <a:gd name="T23" fmla="*/ 50 h 50"/>
                <a:gd name="T24" fmla="*/ 14 w 70"/>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0">
                  <a:moveTo>
                    <a:pt x="14" y="0"/>
                  </a:moveTo>
                  <a:lnTo>
                    <a:pt x="70" y="0"/>
                  </a:lnTo>
                  <a:lnTo>
                    <a:pt x="68" y="10"/>
                  </a:lnTo>
                  <a:lnTo>
                    <a:pt x="36" y="10"/>
                  </a:lnTo>
                  <a:lnTo>
                    <a:pt x="32" y="20"/>
                  </a:lnTo>
                  <a:lnTo>
                    <a:pt x="62" y="20"/>
                  </a:lnTo>
                  <a:lnTo>
                    <a:pt x="60" y="30"/>
                  </a:lnTo>
                  <a:lnTo>
                    <a:pt x="30" y="30"/>
                  </a:lnTo>
                  <a:lnTo>
                    <a:pt x="26" y="40"/>
                  </a:lnTo>
                  <a:lnTo>
                    <a:pt x="58" y="40"/>
                  </a:lnTo>
                  <a:lnTo>
                    <a:pt x="56"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1" name="Freeform 21"/>
            <p:cNvSpPr>
              <a:spLocks/>
            </p:cNvSpPr>
            <p:nvPr/>
          </p:nvSpPr>
          <p:spPr bwMode="auto">
            <a:xfrm>
              <a:off x="5884863" y="3784600"/>
              <a:ext cx="104775" cy="79375"/>
            </a:xfrm>
            <a:custGeom>
              <a:avLst/>
              <a:gdLst>
                <a:gd name="T0" fmla="*/ 18 w 66"/>
                <a:gd name="T1" fmla="*/ 12 h 50"/>
                <a:gd name="T2" fmla="*/ 0 w 66"/>
                <a:gd name="T3" fmla="*/ 12 h 50"/>
                <a:gd name="T4" fmla="*/ 4 w 66"/>
                <a:gd name="T5" fmla="*/ 0 h 50"/>
                <a:gd name="T6" fmla="*/ 66 w 66"/>
                <a:gd name="T7" fmla="*/ 0 h 50"/>
                <a:gd name="T8" fmla="*/ 62 w 66"/>
                <a:gd name="T9" fmla="*/ 12 h 50"/>
                <a:gd name="T10" fmla="*/ 44 w 66"/>
                <a:gd name="T11" fmla="*/ 12 h 50"/>
                <a:gd name="T12" fmla="*/ 32 w 66"/>
                <a:gd name="T13" fmla="*/ 50 h 50"/>
                <a:gd name="T14" fmla="*/ 6 w 66"/>
                <a:gd name="T15" fmla="*/ 50 h 50"/>
                <a:gd name="T16" fmla="*/ 18 w 66"/>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0">
                  <a:moveTo>
                    <a:pt x="18" y="12"/>
                  </a:moveTo>
                  <a:lnTo>
                    <a:pt x="0" y="12"/>
                  </a:lnTo>
                  <a:lnTo>
                    <a:pt x="4" y="0"/>
                  </a:lnTo>
                  <a:lnTo>
                    <a:pt x="66" y="0"/>
                  </a:lnTo>
                  <a:lnTo>
                    <a:pt x="62" y="12"/>
                  </a:lnTo>
                  <a:lnTo>
                    <a:pt x="44" y="12"/>
                  </a:lnTo>
                  <a:lnTo>
                    <a:pt x="32" y="50"/>
                  </a:lnTo>
                  <a:lnTo>
                    <a:pt x="6" y="50"/>
                  </a:lnTo>
                  <a:lnTo>
                    <a:pt x="18"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2" name="Freeform 22"/>
            <p:cNvSpPr>
              <a:spLocks/>
            </p:cNvSpPr>
            <p:nvPr/>
          </p:nvSpPr>
          <p:spPr bwMode="auto">
            <a:xfrm>
              <a:off x="6046788" y="3784600"/>
              <a:ext cx="180975" cy="79375"/>
            </a:xfrm>
            <a:custGeom>
              <a:avLst/>
              <a:gdLst>
                <a:gd name="T0" fmla="*/ 14 w 114"/>
                <a:gd name="T1" fmla="*/ 0 h 50"/>
                <a:gd name="T2" fmla="*/ 52 w 114"/>
                <a:gd name="T3" fmla="*/ 0 h 50"/>
                <a:gd name="T4" fmla="*/ 54 w 114"/>
                <a:gd name="T5" fmla="*/ 34 h 50"/>
                <a:gd name="T6" fmla="*/ 54 w 114"/>
                <a:gd name="T7" fmla="*/ 34 h 50"/>
                <a:gd name="T8" fmla="*/ 76 w 114"/>
                <a:gd name="T9" fmla="*/ 0 h 50"/>
                <a:gd name="T10" fmla="*/ 114 w 114"/>
                <a:gd name="T11" fmla="*/ 0 h 50"/>
                <a:gd name="T12" fmla="*/ 98 w 114"/>
                <a:gd name="T13" fmla="*/ 50 h 50"/>
                <a:gd name="T14" fmla="*/ 76 w 114"/>
                <a:gd name="T15" fmla="*/ 50 h 50"/>
                <a:gd name="T16" fmla="*/ 86 w 114"/>
                <a:gd name="T17" fmla="*/ 12 h 50"/>
                <a:gd name="T18" fmla="*/ 86 w 114"/>
                <a:gd name="T19" fmla="*/ 12 h 50"/>
                <a:gd name="T20" fmla="*/ 60 w 114"/>
                <a:gd name="T21" fmla="*/ 50 h 50"/>
                <a:gd name="T22" fmla="*/ 36 w 114"/>
                <a:gd name="T23" fmla="*/ 50 h 50"/>
                <a:gd name="T24" fmla="*/ 32 w 114"/>
                <a:gd name="T25" fmla="*/ 12 h 50"/>
                <a:gd name="T26" fmla="*/ 32 w 114"/>
                <a:gd name="T27" fmla="*/ 12 h 50"/>
                <a:gd name="T28" fmla="*/ 20 w 114"/>
                <a:gd name="T29" fmla="*/ 50 h 50"/>
                <a:gd name="T30" fmla="*/ 0 w 114"/>
                <a:gd name="T31" fmla="*/ 50 h 50"/>
                <a:gd name="T32" fmla="*/ 14 w 114"/>
                <a:gd name="T3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50">
                  <a:moveTo>
                    <a:pt x="14" y="0"/>
                  </a:moveTo>
                  <a:lnTo>
                    <a:pt x="52" y="0"/>
                  </a:lnTo>
                  <a:lnTo>
                    <a:pt x="54" y="34"/>
                  </a:lnTo>
                  <a:lnTo>
                    <a:pt x="54" y="34"/>
                  </a:lnTo>
                  <a:lnTo>
                    <a:pt x="76" y="0"/>
                  </a:lnTo>
                  <a:lnTo>
                    <a:pt x="114" y="0"/>
                  </a:lnTo>
                  <a:lnTo>
                    <a:pt x="98" y="50"/>
                  </a:lnTo>
                  <a:lnTo>
                    <a:pt x="76" y="50"/>
                  </a:lnTo>
                  <a:lnTo>
                    <a:pt x="86" y="12"/>
                  </a:lnTo>
                  <a:lnTo>
                    <a:pt x="86" y="12"/>
                  </a:lnTo>
                  <a:lnTo>
                    <a:pt x="60" y="50"/>
                  </a:lnTo>
                  <a:lnTo>
                    <a:pt x="36" y="50"/>
                  </a:lnTo>
                  <a:lnTo>
                    <a:pt x="32" y="12"/>
                  </a:lnTo>
                  <a:lnTo>
                    <a:pt x="32" y="12"/>
                  </a:lnTo>
                  <a:lnTo>
                    <a:pt x="20" y="50"/>
                  </a:lnTo>
                  <a:lnTo>
                    <a:pt x="0" y="50"/>
                  </a:lnTo>
                  <a:lnTo>
                    <a:pt x="1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3" name="Freeform 23"/>
            <p:cNvSpPr>
              <a:spLocks/>
            </p:cNvSpPr>
            <p:nvPr/>
          </p:nvSpPr>
          <p:spPr bwMode="auto">
            <a:xfrm>
              <a:off x="6450013" y="3784600"/>
              <a:ext cx="146050" cy="79375"/>
            </a:xfrm>
            <a:custGeom>
              <a:avLst/>
              <a:gdLst>
                <a:gd name="T0" fmla="*/ 16 w 92"/>
                <a:gd name="T1" fmla="*/ 0 h 50"/>
                <a:gd name="T2" fmla="*/ 52 w 92"/>
                <a:gd name="T3" fmla="*/ 0 h 50"/>
                <a:gd name="T4" fmla="*/ 62 w 92"/>
                <a:gd name="T5" fmla="*/ 34 h 50"/>
                <a:gd name="T6" fmla="*/ 62 w 92"/>
                <a:gd name="T7" fmla="*/ 34 h 50"/>
                <a:gd name="T8" fmla="*/ 72 w 92"/>
                <a:gd name="T9" fmla="*/ 0 h 50"/>
                <a:gd name="T10" fmla="*/ 92 w 92"/>
                <a:gd name="T11" fmla="*/ 0 h 50"/>
                <a:gd name="T12" fmla="*/ 78 w 92"/>
                <a:gd name="T13" fmla="*/ 50 h 50"/>
                <a:gd name="T14" fmla="*/ 42 w 92"/>
                <a:gd name="T15" fmla="*/ 50 h 50"/>
                <a:gd name="T16" fmla="*/ 32 w 92"/>
                <a:gd name="T17" fmla="*/ 14 h 50"/>
                <a:gd name="T18" fmla="*/ 32 w 92"/>
                <a:gd name="T19" fmla="*/ 14 h 50"/>
                <a:gd name="T20" fmla="*/ 22 w 92"/>
                <a:gd name="T21" fmla="*/ 50 h 50"/>
                <a:gd name="T22" fmla="*/ 0 w 92"/>
                <a:gd name="T23" fmla="*/ 50 h 50"/>
                <a:gd name="T24" fmla="*/ 16 w 9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50">
                  <a:moveTo>
                    <a:pt x="16" y="0"/>
                  </a:moveTo>
                  <a:lnTo>
                    <a:pt x="52" y="0"/>
                  </a:lnTo>
                  <a:lnTo>
                    <a:pt x="62" y="34"/>
                  </a:lnTo>
                  <a:lnTo>
                    <a:pt x="62" y="34"/>
                  </a:lnTo>
                  <a:lnTo>
                    <a:pt x="72" y="0"/>
                  </a:lnTo>
                  <a:lnTo>
                    <a:pt x="92" y="0"/>
                  </a:lnTo>
                  <a:lnTo>
                    <a:pt x="78" y="50"/>
                  </a:lnTo>
                  <a:lnTo>
                    <a:pt x="42" y="50"/>
                  </a:lnTo>
                  <a:lnTo>
                    <a:pt x="32" y="14"/>
                  </a:lnTo>
                  <a:lnTo>
                    <a:pt x="32" y="14"/>
                  </a:lnTo>
                  <a:lnTo>
                    <a:pt x="22"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4" name="Freeform 24"/>
            <p:cNvSpPr>
              <a:spLocks/>
            </p:cNvSpPr>
            <p:nvPr/>
          </p:nvSpPr>
          <p:spPr bwMode="auto">
            <a:xfrm>
              <a:off x="6659563" y="3784600"/>
              <a:ext cx="107950" cy="79375"/>
            </a:xfrm>
            <a:custGeom>
              <a:avLst/>
              <a:gdLst>
                <a:gd name="T0" fmla="*/ 20 w 68"/>
                <a:gd name="T1" fmla="*/ 12 h 50"/>
                <a:gd name="T2" fmla="*/ 0 w 68"/>
                <a:gd name="T3" fmla="*/ 12 h 50"/>
                <a:gd name="T4" fmla="*/ 4 w 68"/>
                <a:gd name="T5" fmla="*/ 0 h 50"/>
                <a:gd name="T6" fmla="*/ 68 w 68"/>
                <a:gd name="T7" fmla="*/ 0 h 50"/>
                <a:gd name="T8" fmla="*/ 64 w 68"/>
                <a:gd name="T9" fmla="*/ 12 h 50"/>
                <a:gd name="T10" fmla="*/ 44 w 68"/>
                <a:gd name="T11" fmla="*/ 12 h 50"/>
                <a:gd name="T12" fmla="*/ 32 w 68"/>
                <a:gd name="T13" fmla="*/ 50 h 50"/>
                <a:gd name="T14" fmla="*/ 8 w 68"/>
                <a:gd name="T15" fmla="*/ 50 h 50"/>
                <a:gd name="T16" fmla="*/ 20 w 68"/>
                <a:gd name="T17"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50">
                  <a:moveTo>
                    <a:pt x="20" y="12"/>
                  </a:moveTo>
                  <a:lnTo>
                    <a:pt x="0" y="12"/>
                  </a:lnTo>
                  <a:lnTo>
                    <a:pt x="4" y="0"/>
                  </a:lnTo>
                  <a:lnTo>
                    <a:pt x="68" y="0"/>
                  </a:lnTo>
                  <a:lnTo>
                    <a:pt x="64" y="12"/>
                  </a:lnTo>
                  <a:lnTo>
                    <a:pt x="44" y="12"/>
                  </a:lnTo>
                  <a:lnTo>
                    <a:pt x="32" y="50"/>
                  </a:lnTo>
                  <a:lnTo>
                    <a:pt x="8" y="50"/>
                  </a:lnTo>
                  <a:lnTo>
                    <a:pt x="20"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5" name="Freeform 25"/>
            <p:cNvSpPr>
              <a:spLocks noEditPoints="1"/>
            </p:cNvSpPr>
            <p:nvPr/>
          </p:nvSpPr>
          <p:spPr bwMode="auto">
            <a:xfrm>
              <a:off x="7326313" y="3667125"/>
              <a:ext cx="85725" cy="85725"/>
            </a:xfrm>
            <a:custGeom>
              <a:avLst/>
              <a:gdLst>
                <a:gd name="T0" fmla="*/ 26 w 54"/>
                <a:gd name="T1" fmla="*/ 0 h 54"/>
                <a:gd name="T2" fmla="*/ 26 w 54"/>
                <a:gd name="T3" fmla="*/ 0 h 54"/>
                <a:gd name="T4" fmla="*/ 16 w 54"/>
                <a:gd name="T5" fmla="*/ 2 h 54"/>
                <a:gd name="T6" fmla="*/ 8 w 54"/>
                <a:gd name="T7" fmla="*/ 8 h 54"/>
                <a:gd name="T8" fmla="*/ 2 w 54"/>
                <a:gd name="T9" fmla="*/ 16 h 54"/>
                <a:gd name="T10" fmla="*/ 0 w 54"/>
                <a:gd name="T11" fmla="*/ 26 h 54"/>
                <a:gd name="T12" fmla="*/ 0 w 54"/>
                <a:gd name="T13" fmla="*/ 26 h 54"/>
                <a:gd name="T14" fmla="*/ 2 w 54"/>
                <a:gd name="T15" fmla="*/ 36 h 54"/>
                <a:gd name="T16" fmla="*/ 8 w 54"/>
                <a:gd name="T17" fmla="*/ 46 h 54"/>
                <a:gd name="T18" fmla="*/ 16 w 54"/>
                <a:gd name="T19" fmla="*/ 52 h 54"/>
                <a:gd name="T20" fmla="*/ 26 w 54"/>
                <a:gd name="T21" fmla="*/ 54 h 54"/>
                <a:gd name="T22" fmla="*/ 26 w 54"/>
                <a:gd name="T23" fmla="*/ 54 h 54"/>
                <a:gd name="T24" fmla="*/ 36 w 54"/>
                <a:gd name="T25" fmla="*/ 52 h 54"/>
                <a:gd name="T26" fmla="*/ 46 w 54"/>
                <a:gd name="T27" fmla="*/ 46 h 54"/>
                <a:gd name="T28" fmla="*/ 52 w 54"/>
                <a:gd name="T29" fmla="*/ 36 h 54"/>
                <a:gd name="T30" fmla="*/ 54 w 54"/>
                <a:gd name="T31" fmla="*/ 26 h 54"/>
                <a:gd name="T32" fmla="*/ 54 w 54"/>
                <a:gd name="T33" fmla="*/ 26 h 54"/>
                <a:gd name="T34" fmla="*/ 52 w 54"/>
                <a:gd name="T35" fmla="*/ 16 h 54"/>
                <a:gd name="T36" fmla="*/ 46 w 54"/>
                <a:gd name="T37" fmla="*/ 8 h 54"/>
                <a:gd name="T38" fmla="*/ 36 w 54"/>
                <a:gd name="T39" fmla="*/ 2 h 54"/>
                <a:gd name="T40" fmla="*/ 26 w 54"/>
                <a:gd name="T41" fmla="*/ 0 h 54"/>
                <a:gd name="T42" fmla="*/ 26 w 54"/>
                <a:gd name="T43" fmla="*/ 0 h 54"/>
                <a:gd name="T44" fmla="*/ 26 w 54"/>
                <a:gd name="T45" fmla="*/ 48 h 54"/>
                <a:gd name="T46" fmla="*/ 26 w 54"/>
                <a:gd name="T47" fmla="*/ 48 h 54"/>
                <a:gd name="T48" fmla="*/ 18 w 54"/>
                <a:gd name="T49" fmla="*/ 46 h 54"/>
                <a:gd name="T50" fmla="*/ 10 w 54"/>
                <a:gd name="T51" fmla="*/ 42 h 54"/>
                <a:gd name="T52" fmla="*/ 6 w 54"/>
                <a:gd name="T53" fmla="*/ 36 h 54"/>
                <a:gd name="T54" fmla="*/ 4 w 54"/>
                <a:gd name="T55" fmla="*/ 26 h 54"/>
                <a:gd name="T56" fmla="*/ 4 w 54"/>
                <a:gd name="T57" fmla="*/ 26 h 54"/>
                <a:gd name="T58" fmla="*/ 6 w 54"/>
                <a:gd name="T59" fmla="*/ 18 h 54"/>
                <a:gd name="T60" fmla="*/ 10 w 54"/>
                <a:gd name="T61" fmla="*/ 10 h 54"/>
                <a:gd name="T62" fmla="*/ 18 w 54"/>
                <a:gd name="T63" fmla="*/ 6 h 54"/>
                <a:gd name="T64" fmla="*/ 26 w 54"/>
                <a:gd name="T65" fmla="*/ 4 h 54"/>
                <a:gd name="T66" fmla="*/ 26 w 54"/>
                <a:gd name="T67" fmla="*/ 4 h 54"/>
                <a:gd name="T68" fmla="*/ 36 w 54"/>
                <a:gd name="T69" fmla="*/ 6 h 54"/>
                <a:gd name="T70" fmla="*/ 42 w 54"/>
                <a:gd name="T71" fmla="*/ 10 h 54"/>
                <a:gd name="T72" fmla="*/ 46 w 54"/>
                <a:gd name="T73" fmla="*/ 18 h 54"/>
                <a:gd name="T74" fmla="*/ 48 w 54"/>
                <a:gd name="T75" fmla="*/ 26 h 54"/>
                <a:gd name="T76" fmla="*/ 48 w 54"/>
                <a:gd name="T77" fmla="*/ 26 h 54"/>
                <a:gd name="T78" fmla="*/ 46 w 54"/>
                <a:gd name="T79" fmla="*/ 36 h 54"/>
                <a:gd name="T80" fmla="*/ 42 w 54"/>
                <a:gd name="T81" fmla="*/ 42 h 54"/>
                <a:gd name="T82" fmla="*/ 36 w 54"/>
                <a:gd name="T83" fmla="*/ 46 h 54"/>
                <a:gd name="T84" fmla="*/ 26 w 54"/>
                <a:gd name="T85" fmla="*/ 48 h 54"/>
                <a:gd name="T86" fmla="*/ 26 w 54"/>
                <a:gd name="T8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54">
                  <a:moveTo>
                    <a:pt x="26" y="0"/>
                  </a:moveTo>
                  <a:lnTo>
                    <a:pt x="26" y="0"/>
                  </a:lnTo>
                  <a:lnTo>
                    <a:pt x="16" y="2"/>
                  </a:lnTo>
                  <a:lnTo>
                    <a:pt x="8" y="8"/>
                  </a:lnTo>
                  <a:lnTo>
                    <a:pt x="2" y="16"/>
                  </a:lnTo>
                  <a:lnTo>
                    <a:pt x="0" y="26"/>
                  </a:lnTo>
                  <a:lnTo>
                    <a:pt x="0" y="26"/>
                  </a:lnTo>
                  <a:lnTo>
                    <a:pt x="2" y="36"/>
                  </a:lnTo>
                  <a:lnTo>
                    <a:pt x="8" y="46"/>
                  </a:lnTo>
                  <a:lnTo>
                    <a:pt x="16" y="52"/>
                  </a:lnTo>
                  <a:lnTo>
                    <a:pt x="26" y="54"/>
                  </a:lnTo>
                  <a:lnTo>
                    <a:pt x="26" y="54"/>
                  </a:lnTo>
                  <a:lnTo>
                    <a:pt x="36" y="52"/>
                  </a:lnTo>
                  <a:lnTo>
                    <a:pt x="46" y="46"/>
                  </a:lnTo>
                  <a:lnTo>
                    <a:pt x="52" y="36"/>
                  </a:lnTo>
                  <a:lnTo>
                    <a:pt x="54" y="26"/>
                  </a:lnTo>
                  <a:lnTo>
                    <a:pt x="54" y="26"/>
                  </a:lnTo>
                  <a:lnTo>
                    <a:pt x="52" y="16"/>
                  </a:lnTo>
                  <a:lnTo>
                    <a:pt x="46" y="8"/>
                  </a:lnTo>
                  <a:lnTo>
                    <a:pt x="36" y="2"/>
                  </a:lnTo>
                  <a:lnTo>
                    <a:pt x="26" y="0"/>
                  </a:lnTo>
                  <a:lnTo>
                    <a:pt x="26" y="0"/>
                  </a:lnTo>
                  <a:close/>
                  <a:moveTo>
                    <a:pt x="26" y="48"/>
                  </a:moveTo>
                  <a:lnTo>
                    <a:pt x="26" y="48"/>
                  </a:lnTo>
                  <a:lnTo>
                    <a:pt x="18" y="46"/>
                  </a:lnTo>
                  <a:lnTo>
                    <a:pt x="10" y="42"/>
                  </a:lnTo>
                  <a:lnTo>
                    <a:pt x="6" y="36"/>
                  </a:lnTo>
                  <a:lnTo>
                    <a:pt x="4" y="26"/>
                  </a:lnTo>
                  <a:lnTo>
                    <a:pt x="4" y="26"/>
                  </a:lnTo>
                  <a:lnTo>
                    <a:pt x="6" y="18"/>
                  </a:lnTo>
                  <a:lnTo>
                    <a:pt x="10" y="10"/>
                  </a:lnTo>
                  <a:lnTo>
                    <a:pt x="18" y="6"/>
                  </a:lnTo>
                  <a:lnTo>
                    <a:pt x="26" y="4"/>
                  </a:lnTo>
                  <a:lnTo>
                    <a:pt x="26" y="4"/>
                  </a:lnTo>
                  <a:lnTo>
                    <a:pt x="36" y="6"/>
                  </a:lnTo>
                  <a:lnTo>
                    <a:pt x="42" y="10"/>
                  </a:lnTo>
                  <a:lnTo>
                    <a:pt x="46" y="18"/>
                  </a:lnTo>
                  <a:lnTo>
                    <a:pt x="48" y="26"/>
                  </a:lnTo>
                  <a:lnTo>
                    <a:pt x="48" y="26"/>
                  </a:lnTo>
                  <a:lnTo>
                    <a:pt x="46" y="36"/>
                  </a:lnTo>
                  <a:lnTo>
                    <a:pt x="42" y="42"/>
                  </a:lnTo>
                  <a:lnTo>
                    <a:pt x="36" y="46"/>
                  </a:lnTo>
                  <a:lnTo>
                    <a:pt x="26" y="48"/>
                  </a:lnTo>
                  <a:lnTo>
                    <a:pt x="26" y="4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6" name="Freeform 26"/>
            <p:cNvSpPr>
              <a:spLocks noEditPoints="1"/>
            </p:cNvSpPr>
            <p:nvPr/>
          </p:nvSpPr>
          <p:spPr bwMode="auto">
            <a:xfrm>
              <a:off x="7354888" y="3686175"/>
              <a:ext cx="31750" cy="44450"/>
            </a:xfrm>
            <a:custGeom>
              <a:avLst/>
              <a:gdLst>
                <a:gd name="T0" fmla="*/ 20 w 20"/>
                <a:gd name="T1" fmla="*/ 10 h 28"/>
                <a:gd name="T2" fmla="*/ 20 w 20"/>
                <a:gd name="T3" fmla="*/ 10 h 28"/>
                <a:gd name="T4" fmla="*/ 18 w 20"/>
                <a:gd name="T5" fmla="*/ 6 h 28"/>
                <a:gd name="T6" fmla="*/ 16 w 20"/>
                <a:gd name="T7" fmla="*/ 2 h 28"/>
                <a:gd name="T8" fmla="*/ 14 w 20"/>
                <a:gd name="T9" fmla="*/ 2 h 28"/>
                <a:gd name="T10" fmla="*/ 10 w 20"/>
                <a:gd name="T11" fmla="*/ 0 h 28"/>
                <a:gd name="T12" fmla="*/ 0 w 20"/>
                <a:gd name="T13" fmla="*/ 0 h 28"/>
                <a:gd name="T14" fmla="*/ 0 w 20"/>
                <a:gd name="T15" fmla="*/ 28 h 28"/>
                <a:gd name="T16" fmla="*/ 4 w 20"/>
                <a:gd name="T17" fmla="*/ 28 h 28"/>
                <a:gd name="T18" fmla="*/ 4 w 20"/>
                <a:gd name="T19" fmla="*/ 18 h 28"/>
                <a:gd name="T20" fmla="*/ 8 w 20"/>
                <a:gd name="T21" fmla="*/ 18 h 28"/>
                <a:gd name="T22" fmla="*/ 14 w 20"/>
                <a:gd name="T23" fmla="*/ 28 h 28"/>
                <a:gd name="T24" fmla="*/ 20 w 20"/>
                <a:gd name="T25" fmla="*/ 28 h 28"/>
                <a:gd name="T26" fmla="*/ 12 w 20"/>
                <a:gd name="T27" fmla="*/ 16 h 28"/>
                <a:gd name="T28" fmla="*/ 12 w 20"/>
                <a:gd name="T29" fmla="*/ 16 h 28"/>
                <a:gd name="T30" fmla="*/ 18 w 20"/>
                <a:gd name="T31" fmla="*/ 14 h 28"/>
                <a:gd name="T32" fmla="*/ 20 w 20"/>
                <a:gd name="T33" fmla="*/ 10 h 28"/>
                <a:gd name="T34" fmla="*/ 20 w 20"/>
                <a:gd name="T35" fmla="*/ 10 h 28"/>
                <a:gd name="T36" fmla="*/ 4 w 20"/>
                <a:gd name="T37" fmla="*/ 12 h 28"/>
                <a:gd name="T38" fmla="*/ 4 w 20"/>
                <a:gd name="T39" fmla="*/ 4 h 28"/>
                <a:gd name="T40" fmla="*/ 8 w 20"/>
                <a:gd name="T41" fmla="*/ 4 h 28"/>
                <a:gd name="T42" fmla="*/ 8 w 20"/>
                <a:gd name="T43" fmla="*/ 4 h 28"/>
                <a:gd name="T44" fmla="*/ 12 w 20"/>
                <a:gd name="T45" fmla="*/ 6 h 28"/>
                <a:gd name="T46" fmla="*/ 14 w 20"/>
                <a:gd name="T47" fmla="*/ 6 h 28"/>
                <a:gd name="T48" fmla="*/ 14 w 20"/>
                <a:gd name="T49" fmla="*/ 8 h 28"/>
                <a:gd name="T50" fmla="*/ 14 w 20"/>
                <a:gd name="T51" fmla="*/ 8 h 28"/>
                <a:gd name="T52" fmla="*/ 14 w 20"/>
                <a:gd name="T53" fmla="*/ 12 h 28"/>
                <a:gd name="T54" fmla="*/ 12 w 20"/>
                <a:gd name="T55" fmla="*/ 12 h 28"/>
                <a:gd name="T56" fmla="*/ 8 w 20"/>
                <a:gd name="T57" fmla="*/ 12 h 28"/>
                <a:gd name="T58" fmla="*/ 4 w 20"/>
                <a:gd name="T59"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8">
                  <a:moveTo>
                    <a:pt x="20" y="10"/>
                  </a:moveTo>
                  <a:lnTo>
                    <a:pt x="20" y="10"/>
                  </a:lnTo>
                  <a:lnTo>
                    <a:pt x="18" y="6"/>
                  </a:lnTo>
                  <a:lnTo>
                    <a:pt x="16" y="2"/>
                  </a:lnTo>
                  <a:lnTo>
                    <a:pt x="14" y="2"/>
                  </a:lnTo>
                  <a:lnTo>
                    <a:pt x="10" y="0"/>
                  </a:lnTo>
                  <a:lnTo>
                    <a:pt x="0" y="0"/>
                  </a:lnTo>
                  <a:lnTo>
                    <a:pt x="0" y="28"/>
                  </a:lnTo>
                  <a:lnTo>
                    <a:pt x="4" y="28"/>
                  </a:lnTo>
                  <a:lnTo>
                    <a:pt x="4" y="18"/>
                  </a:lnTo>
                  <a:lnTo>
                    <a:pt x="8" y="18"/>
                  </a:lnTo>
                  <a:lnTo>
                    <a:pt x="14" y="28"/>
                  </a:lnTo>
                  <a:lnTo>
                    <a:pt x="20" y="28"/>
                  </a:lnTo>
                  <a:lnTo>
                    <a:pt x="12" y="16"/>
                  </a:lnTo>
                  <a:lnTo>
                    <a:pt x="12" y="16"/>
                  </a:lnTo>
                  <a:lnTo>
                    <a:pt x="18" y="14"/>
                  </a:lnTo>
                  <a:lnTo>
                    <a:pt x="20" y="10"/>
                  </a:lnTo>
                  <a:lnTo>
                    <a:pt x="20" y="10"/>
                  </a:lnTo>
                  <a:close/>
                  <a:moveTo>
                    <a:pt x="4" y="12"/>
                  </a:moveTo>
                  <a:lnTo>
                    <a:pt x="4" y="4"/>
                  </a:lnTo>
                  <a:lnTo>
                    <a:pt x="8" y="4"/>
                  </a:lnTo>
                  <a:lnTo>
                    <a:pt x="8" y="4"/>
                  </a:lnTo>
                  <a:lnTo>
                    <a:pt x="12" y="6"/>
                  </a:lnTo>
                  <a:lnTo>
                    <a:pt x="14" y="6"/>
                  </a:lnTo>
                  <a:lnTo>
                    <a:pt x="14" y="8"/>
                  </a:lnTo>
                  <a:lnTo>
                    <a:pt x="14" y="8"/>
                  </a:lnTo>
                  <a:lnTo>
                    <a:pt x="14" y="12"/>
                  </a:lnTo>
                  <a:lnTo>
                    <a:pt x="12" y="12"/>
                  </a:lnTo>
                  <a:lnTo>
                    <a:pt x="8" y="12"/>
                  </a:lnTo>
                  <a:lnTo>
                    <a:pt x="4" y="1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7" name="Freeform 27"/>
            <p:cNvSpPr>
              <a:spLocks/>
            </p:cNvSpPr>
            <p:nvPr/>
          </p:nvSpPr>
          <p:spPr bwMode="auto">
            <a:xfrm>
              <a:off x="5688013" y="3784600"/>
              <a:ext cx="120650" cy="82550"/>
            </a:xfrm>
            <a:custGeom>
              <a:avLst/>
              <a:gdLst>
                <a:gd name="T0" fmla="*/ 34 w 76"/>
                <a:gd name="T1" fmla="*/ 16 h 52"/>
                <a:gd name="T2" fmla="*/ 34 w 76"/>
                <a:gd name="T3" fmla="*/ 12 h 52"/>
                <a:gd name="T4" fmla="*/ 42 w 76"/>
                <a:gd name="T5" fmla="*/ 8 h 52"/>
                <a:gd name="T6" fmla="*/ 48 w 76"/>
                <a:gd name="T7" fmla="*/ 8 h 52"/>
                <a:gd name="T8" fmla="*/ 52 w 76"/>
                <a:gd name="T9" fmla="*/ 10 h 52"/>
                <a:gd name="T10" fmla="*/ 54 w 76"/>
                <a:gd name="T11" fmla="*/ 14 h 52"/>
                <a:gd name="T12" fmla="*/ 74 w 76"/>
                <a:gd name="T13" fmla="*/ 14 h 52"/>
                <a:gd name="T14" fmla="*/ 72 w 76"/>
                <a:gd name="T15" fmla="*/ 4 h 52"/>
                <a:gd name="T16" fmla="*/ 48 w 76"/>
                <a:gd name="T17" fmla="*/ 0 h 52"/>
                <a:gd name="T18" fmla="*/ 32 w 76"/>
                <a:gd name="T19" fmla="*/ 0 h 52"/>
                <a:gd name="T20" fmla="*/ 12 w 76"/>
                <a:gd name="T21" fmla="*/ 8 h 52"/>
                <a:gd name="T22" fmla="*/ 8 w 76"/>
                <a:gd name="T23" fmla="*/ 16 h 52"/>
                <a:gd name="T24" fmla="*/ 8 w 76"/>
                <a:gd name="T25" fmla="*/ 24 h 52"/>
                <a:gd name="T26" fmla="*/ 16 w 76"/>
                <a:gd name="T27" fmla="*/ 28 h 52"/>
                <a:gd name="T28" fmla="*/ 38 w 76"/>
                <a:gd name="T29" fmla="*/ 34 h 52"/>
                <a:gd name="T30" fmla="*/ 44 w 76"/>
                <a:gd name="T31" fmla="*/ 36 h 52"/>
                <a:gd name="T32" fmla="*/ 44 w 76"/>
                <a:gd name="T33" fmla="*/ 38 h 52"/>
                <a:gd name="T34" fmla="*/ 40 w 76"/>
                <a:gd name="T35" fmla="*/ 42 h 52"/>
                <a:gd name="T36" fmla="*/ 32 w 76"/>
                <a:gd name="T37" fmla="*/ 44 h 52"/>
                <a:gd name="T38" fmla="*/ 24 w 76"/>
                <a:gd name="T39" fmla="*/ 42 h 52"/>
                <a:gd name="T40" fmla="*/ 22 w 76"/>
                <a:gd name="T41" fmla="*/ 38 h 52"/>
                <a:gd name="T42" fmla="*/ 0 w 76"/>
                <a:gd name="T43" fmla="*/ 36 h 52"/>
                <a:gd name="T44" fmla="*/ 0 w 76"/>
                <a:gd name="T45" fmla="*/ 42 h 52"/>
                <a:gd name="T46" fmla="*/ 2 w 76"/>
                <a:gd name="T47" fmla="*/ 48 h 52"/>
                <a:gd name="T48" fmla="*/ 10 w 76"/>
                <a:gd name="T49" fmla="*/ 52 h 52"/>
                <a:gd name="T50" fmla="*/ 28 w 76"/>
                <a:gd name="T51" fmla="*/ 52 h 52"/>
                <a:gd name="T52" fmla="*/ 58 w 76"/>
                <a:gd name="T53" fmla="*/ 48 h 52"/>
                <a:gd name="T54" fmla="*/ 70 w 76"/>
                <a:gd name="T55" fmla="*/ 36 h 52"/>
                <a:gd name="T56" fmla="*/ 70 w 76"/>
                <a:gd name="T57" fmla="*/ 30 h 52"/>
                <a:gd name="T58" fmla="*/ 68 w 76"/>
                <a:gd name="T59" fmla="*/ 26 h 52"/>
                <a:gd name="T60" fmla="*/ 50 w 76"/>
                <a:gd name="T61" fmla="*/ 20 h 52"/>
                <a:gd name="T62" fmla="*/ 34 w 76"/>
                <a:gd name="T63"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2">
                  <a:moveTo>
                    <a:pt x="34" y="16"/>
                  </a:moveTo>
                  <a:lnTo>
                    <a:pt x="34" y="16"/>
                  </a:lnTo>
                  <a:lnTo>
                    <a:pt x="34" y="12"/>
                  </a:lnTo>
                  <a:lnTo>
                    <a:pt x="34" y="12"/>
                  </a:lnTo>
                  <a:lnTo>
                    <a:pt x="36" y="10"/>
                  </a:lnTo>
                  <a:lnTo>
                    <a:pt x="42" y="8"/>
                  </a:lnTo>
                  <a:lnTo>
                    <a:pt x="42" y="8"/>
                  </a:lnTo>
                  <a:lnTo>
                    <a:pt x="48" y="8"/>
                  </a:lnTo>
                  <a:lnTo>
                    <a:pt x="52" y="10"/>
                  </a:lnTo>
                  <a:lnTo>
                    <a:pt x="52" y="10"/>
                  </a:lnTo>
                  <a:lnTo>
                    <a:pt x="54" y="12"/>
                  </a:lnTo>
                  <a:lnTo>
                    <a:pt x="54" y="14"/>
                  </a:lnTo>
                  <a:lnTo>
                    <a:pt x="74" y="14"/>
                  </a:lnTo>
                  <a:lnTo>
                    <a:pt x="74" y="14"/>
                  </a:lnTo>
                  <a:lnTo>
                    <a:pt x="76" y="8"/>
                  </a:lnTo>
                  <a:lnTo>
                    <a:pt x="72" y="4"/>
                  </a:lnTo>
                  <a:lnTo>
                    <a:pt x="62" y="0"/>
                  </a:lnTo>
                  <a:lnTo>
                    <a:pt x="48" y="0"/>
                  </a:lnTo>
                  <a:lnTo>
                    <a:pt x="48" y="0"/>
                  </a:lnTo>
                  <a:lnTo>
                    <a:pt x="32" y="0"/>
                  </a:lnTo>
                  <a:lnTo>
                    <a:pt x="20" y="4"/>
                  </a:lnTo>
                  <a:lnTo>
                    <a:pt x="12" y="8"/>
                  </a:lnTo>
                  <a:lnTo>
                    <a:pt x="8" y="16"/>
                  </a:lnTo>
                  <a:lnTo>
                    <a:pt x="8" y="16"/>
                  </a:lnTo>
                  <a:lnTo>
                    <a:pt x="6" y="20"/>
                  </a:lnTo>
                  <a:lnTo>
                    <a:pt x="8" y="24"/>
                  </a:lnTo>
                  <a:lnTo>
                    <a:pt x="8" y="24"/>
                  </a:lnTo>
                  <a:lnTo>
                    <a:pt x="16" y="28"/>
                  </a:lnTo>
                  <a:lnTo>
                    <a:pt x="28" y="32"/>
                  </a:lnTo>
                  <a:lnTo>
                    <a:pt x="38" y="34"/>
                  </a:lnTo>
                  <a:lnTo>
                    <a:pt x="44" y="36"/>
                  </a:lnTo>
                  <a:lnTo>
                    <a:pt x="44" y="36"/>
                  </a:lnTo>
                  <a:lnTo>
                    <a:pt x="44" y="38"/>
                  </a:lnTo>
                  <a:lnTo>
                    <a:pt x="44" y="38"/>
                  </a:lnTo>
                  <a:lnTo>
                    <a:pt x="42" y="40"/>
                  </a:lnTo>
                  <a:lnTo>
                    <a:pt x="40" y="42"/>
                  </a:lnTo>
                  <a:lnTo>
                    <a:pt x="32" y="44"/>
                  </a:lnTo>
                  <a:lnTo>
                    <a:pt x="32" y="44"/>
                  </a:lnTo>
                  <a:lnTo>
                    <a:pt x="28" y="42"/>
                  </a:lnTo>
                  <a:lnTo>
                    <a:pt x="24" y="42"/>
                  </a:lnTo>
                  <a:lnTo>
                    <a:pt x="24" y="42"/>
                  </a:lnTo>
                  <a:lnTo>
                    <a:pt x="22" y="38"/>
                  </a:lnTo>
                  <a:lnTo>
                    <a:pt x="24" y="36"/>
                  </a:lnTo>
                  <a:lnTo>
                    <a:pt x="0" y="36"/>
                  </a:lnTo>
                  <a:lnTo>
                    <a:pt x="0" y="36"/>
                  </a:lnTo>
                  <a:lnTo>
                    <a:pt x="0" y="42"/>
                  </a:lnTo>
                  <a:lnTo>
                    <a:pt x="0" y="46"/>
                  </a:lnTo>
                  <a:lnTo>
                    <a:pt x="2" y="48"/>
                  </a:lnTo>
                  <a:lnTo>
                    <a:pt x="6" y="50"/>
                  </a:lnTo>
                  <a:lnTo>
                    <a:pt x="10" y="52"/>
                  </a:lnTo>
                  <a:lnTo>
                    <a:pt x="28" y="52"/>
                  </a:lnTo>
                  <a:lnTo>
                    <a:pt x="28" y="52"/>
                  </a:lnTo>
                  <a:lnTo>
                    <a:pt x="46" y="52"/>
                  </a:lnTo>
                  <a:lnTo>
                    <a:pt x="58" y="48"/>
                  </a:lnTo>
                  <a:lnTo>
                    <a:pt x="66" y="42"/>
                  </a:lnTo>
                  <a:lnTo>
                    <a:pt x="70" y="36"/>
                  </a:lnTo>
                  <a:lnTo>
                    <a:pt x="70" y="36"/>
                  </a:lnTo>
                  <a:lnTo>
                    <a:pt x="70" y="30"/>
                  </a:lnTo>
                  <a:lnTo>
                    <a:pt x="68" y="26"/>
                  </a:lnTo>
                  <a:lnTo>
                    <a:pt x="68" y="26"/>
                  </a:lnTo>
                  <a:lnTo>
                    <a:pt x="62" y="22"/>
                  </a:lnTo>
                  <a:lnTo>
                    <a:pt x="50" y="20"/>
                  </a:lnTo>
                  <a:lnTo>
                    <a:pt x="40" y="18"/>
                  </a:lnTo>
                  <a:lnTo>
                    <a:pt x="34" y="16"/>
                  </a:lnTo>
                  <a:lnTo>
                    <a:pt x="34" y="1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8" name="Freeform 28"/>
            <p:cNvSpPr>
              <a:spLocks/>
            </p:cNvSpPr>
            <p:nvPr/>
          </p:nvSpPr>
          <p:spPr bwMode="auto">
            <a:xfrm>
              <a:off x="6281738" y="3784600"/>
              <a:ext cx="114300" cy="79375"/>
            </a:xfrm>
            <a:custGeom>
              <a:avLst/>
              <a:gdLst>
                <a:gd name="T0" fmla="*/ 16 w 72"/>
                <a:gd name="T1" fmla="*/ 0 h 50"/>
                <a:gd name="T2" fmla="*/ 72 w 72"/>
                <a:gd name="T3" fmla="*/ 0 h 50"/>
                <a:gd name="T4" fmla="*/ 68 w 72"/>
                <a:gd name="T5" fmla="*/ 10 h 50"/>
                <a:gd name="T6" fmla="*/ 36 w 72"/>
                <a:gd name="T7" fmla="*/ 10 h 50"/>
                <a:gd name="T8" fmla="*/ 34 w 72"/>
                <a:gd name="T9" fmla="*/ 20 h 50"/>
                <a:gd name="T10" fmla="*/ 64 w 72"/>
                <a:gd name="T11" fmla="*/ 20 h 50"/>
                <a:gd name="T12" fmla="*/ 60 w 72"/>
                <a:gd name="T13" fmla="*/ 30 h 50"/>
                <a:gd name="T14" fmla="*/ 30 w 72"/>
                <a:gd name="T15" fmla="*/ 30 h 50"/>
                <a:gd name="T16" fmla="*/ 26 w 72"/>
                <a:gd name="T17" fmla="*/ 40 h 50"/>
                <a:gd name="T18" fmla="*/ 60 w 72"/>
                <a:gd name="T19" fmla="*/ 40 h 50"/>
                <a:gd name="T20" fmla="*/ 56 w 72"/>
                <a:gd name="T21" fmla="*/ 50 h 50"/>
                <a:gd name="T22" fmla="*/ 0 w 72"/>
                <a:gd name="T23" fmla="*/ 50 h 50"/>
                <a:gd name="T24" fmla="*/ 16 w 72"/>
                <a:gd name="T2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50">
                  <a:moveTo>
                    <a:pt x="16" y="0"/>
                  </a:moveTo>
                  <a:lnTo>
                    <a:pt x="72" y="0"/>
                  </a:lnTo>
                  <a:lnTo>
                    <a:pt x="68" y="10"/>
                  </a:lnTo>
                  <a:lnTo>
                    <a:pt x="36" y="10"/>
                  </a:lnTo>
                  <a:lnTo>
                    <a:pt x="34" y="20"/>
                  </a:lnTo>
                  <a:lnTo>
                    <a:pt x="64" y="20"/>
                  </a:lnTo>
                  <a:lnTo>
                    <a:pt x="60" y="30"/>
                  </a:lnTo>
                  <a:lnTo>
                    <a:pt x="30" y="30"/>
                  </a:lnTo>
                  <a:lnTo>
                    <a:pt x="26" y="40"/>
                  </a:lnTo>
                  <a:lnTo>
                    <a:pt x="60" y="40"/>
                  </a:lnTo>
                  <a:lnTo>
                    <a:pt x="56" y="50"/>
                  </a:lnTo>
                  <a:lnTo>
                    <a:pt x="0" y="50"/>
                  </a:lnTo>
                  <a:lnTo>
                    <a:pt x="1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39" name="Freeform 29"/>
            <p:cNvSpPr>
              <a:spLocks/>
            </p:cNvSpPr>
            <p:nvPr/>
          </p:nvSpPr>
          <p:spPr bwMode="auto">
            <a:xfrm>
              <a:off x="7015163" y="3403600"/>
              <a:ext cx="473075" cy="460375"/>
            </a:xfrm>
            <a:custGeom>
              <a:avLst/>
              <a:gdLst>
                <a:gd name="T0" fmla="*/ 198 w 298"/>
                <a:gd name="T1" fmla="*/ 0 h 290"/>
                <a:gd name="T2" fmla="*/ 144 w 298"/>
                <a:gd name="T3" fmla="*/ 114 h 290"/>
                <a:gd name="T4" fmla="*/ 146 w 298"/>
                <a:gd name="T5" fmla="*/ 0 h 290"/>
                <a:gd name="T6" fmla="*/ 46 w 298"/>
                <a:gd name="T7" fmla="*/ 0 h 290"/>
                <a:gd name="T8" fmla="*/ 66 w 298"/>
                <a:gd name="T9" fmla="*/ 208 h 290"/>
                <a:gd name="T10" fmla="*/ 66 w 298"/>
                <a:gd name="T11" fmla="*/ 208 h 290"/>
                <a:gd name="T12" fmla="*/ 64 w 298"/>
                <a:gd name="T13" fmla="*/ 216 h 290"/>
                <a:gd name="T14" fmla="*/ 60 w 298"/>
                <a:gd name="T15" fmla="*/ 222 h 290"/>
                <a:gd name="T16" fmla="*/ 56 w 298"/>
                <a:gd name="T17" fmla="*/ 226 h 290"/>
                <a:gd name="T18" fmla="*/ 52 w 298"/>
                <a:gd name="T19" fmla="*/ 230 h 290"/>
                <a:gd name="T20" fmla="*/ 52 w 298"/>
                <a:gd name="T21" fmla="*/ 230 h 290"/>
                <a:gd name="T22" fmla="*/ 44 w 298"/>
                <a:gd name="T23" fmla="*/ 232 h 290"/>
                <a:gd name="T24" fmla="*/ 34 w 298"/>
                <a:gd name="T25" fmla="*/ 232 h 290"/>
                <a:gd name="T26" fmla="*/ 18 w 298"/>
                <a:gd name="T27" fmla="*/ 232 h 290"/>
                <a:gd name="T28" fmla="*/ 16 w 298"/>
                <a:gd name="T29" fmla="*/ 232 h 290"/>
                <a:gd name="T30" fmla="*/ 0 w 298"/>
                <a:gd name="T31" fmla="*/ 290 h 290"/>
                <a:gd name="T32" fmla="*/ 68 w 298"/>
                <a:gd name="T33" fmla="*/ 290 h 290"/>
                <a:gd name="T34" fmla="*/ 68 w 298"/>
                <a:gd name="T35" fmla="*/ 290 h 290"/>
                <a:gd name="T36" fmla="*/ 82 w 298"/>
                <a:gd name="T37" fmla="*/ 288 h 290"/>
                <a:gd name="T38" fmla="*/ 94 w 298"/>
                <a:gd name="T39" fmla="*/ 286 h 290"/>
                <a:gd name="T40" fmla="*/ 106 w 298"/>
                <a:gd name="T41" fmla="*/ 280 h 290"/>
                <a:gd name="T42" fmla="*/ 116 w 298"/>
                <a:gd name="T43" fmla="*/ 274 h 290"/>
                <a:gd name="T44" fmla="*/ 126 w 298"/>
                <a:gd name="T45" fmla="*/ 266 h 290"/>
                <a:gd name="T46" fmla="*/ 136 w 298"/>
                <a:gd name="T47" fmla="*/ 254 h 290"/>
                <a:gd name="T48" fmla="*/ 156 w 298"/>
                <a:gd name="T49" fmla="*/ 226 h 290"/>
                <a:gd name="T50" fmla="*/ 298 w 298"/>
                <a:gd name="T51" fmla="*/ 0 h 290"/>
                <a:gd name="T52" fmla="*/ 198 w 298"/>
                <a:gd name="T53" fmla="*/ 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8" h="290">
                  <a:moveTo>
                    <a:pt x="198" y="0"/>
                  </a:moveTo>
                  <a:lnTo>
                    <a:pt x="144" y="114"/>
                  </a:lnTo>
                  <a:lnTo>
                    <a:pt x="146" y="0"/>
                  </a:lnTo>
                  <a:lnTo>
                    <a:pt x="46" y="0"/>
                  </a:lnTo>
                  <a:lnTo>
                    <a:pt x="66" y="208"/>
                  </a:lnTo>
                  <a:lnTo>
                    <a:pt x="66" y="208"/>
                  </a:lnTo>
                  <a:lnTo>
                    <a:pt x="64" y="216"/>
                  </a:lnTo>
                  <a:lnTo>
                    <a:pt x="60" y="222"/>
                  </a:lnTo>
                  <a:lnTo>
                    <a:pt x="56" y="226"/>
                  </a:lnTo>
                  <a:lnTo>
                    <a:pt x="52" y="230"/>
                  </a:lnTo>
                  <a:lnTo>
                    <a:pt x="52" y="230"/>
                  </a:lnTo>
                  <a:lnTo>
                    <a:pt x="44" y="232"/>
                  </a:lnTo>
                  <a:lnTo>
                    <a:pt x="34" y="232"/>
                  </a:lnTo>
                  <a:lnTo>
                    <a:pt x="18" y="232"/>
                  </a:lnTo>
                  <a:lnTo>
                    <a:pt x="16" y="232"/>
                  </a:lnTo>
                  <a:lnTo>
                    <a:pt x="0" y="290"/>
                  </a:lnTo>
                  <a:lnTo>
                    <a:pt x="68" y="290"/>
                  </a:lnTo>
                  <a:lnTo>
                    <a:pt x="68" y="290"/>
                  </a:lnTo>
                  <a:lnTo>
                    <a:pt x="82" y="288"/>
                  </a:lnTo>
                  <a:lnTo>
                    <a:pt x="94" y="286"/>
                  </a:lnTo>
                  <a:lnTo>
                    <a:pt x="106" y="280"/>
                  </a:lnTo>
                  <a:lnTo>
                    <a:pt x="116" y="274"/>
                  </a:lnTo>
                  <a:lnTo>
                    <a:pt x="126" y="266"/>
                  </a:lnTo>
                  <a:lnTo>
                    <a:pt x="136" y="254"/>
                  </a:lnTo>
                  <a:lnTo>
                    <a:pt x="156" y="226"/>
                  </a:lnTo>
                  <a:lnTo>
                    <a:pt x="298" y="0"/>
                  </a:lnTo>
                  <a:lnTo>
                    <a:pt x="198"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sp>
          <p:nvSpPr>
            <p:cNvPr id="40" name="Freeform 30"/>
            <p:cNvSpPr>
              <a:spLocks/>
            </p:cNvSpPr>
            <p:nvPr/>
          </p:nvSpPr>
          <p:spPr bwMode="auto">
            <a:xfrm>
              <a:off x="6811963" y="3781425"/>
              <a:ext cx="120650" cy="85725"/>
            </a:xfrm>
            <a:custGeom>
              <a:avLst/>
              <a:gdLst>
                <a:gd name="T0" fmla="*/ 34 w 76"/>
                <a:gd name="T1" fmla="*/ 18 h 54"/>
                <a:gd name="T2" fmla="*/ 34 w 76"/>
                <a:gd name="T3" fmla="*/ 14 h 54"/>
                <a:gd name="T4" fmla="*/ 44 w 76"/>
                <a:gd name="T5" fmla="*/ 10 h 54"/>
                <a:gd name="T6" fmla="*/ 50 w 76"/>
                <a:gd name="T7" fmla="*/ 10 h 54"/>
                <a:gd name="T8" fmla="*/ 52 w 76"/>
                <a:gd name="T9" fmla="*/ 12 h 54"/>
                <a:gd name="T10" fmla="*/ 54 w 76"/>
                <a:gd name="T11" fmla="*/ 16 h 54"/>
                <a:gd name="T12" fmla="*/ 76 w 76"/>
                <a:gd name="T13" fmla="*/ 16 h 54"/>
                <a:gd name="T14" fmla="*/ 72 w 76"/>
                <a:gd name="T15" fmla="*/ 6 h 54"/>
                <a:gd name="T16" fmla="*/ 48 w 76"/>
                <a:gd name="T17" fmla="*/ 0 h 54"/>
                <a:gd name="T18" fmla="*/ 32 w 76"/>
                <a:gd name="T19" fmla="*/ 2 h 54"/>
                <a:gd name="T20" fmla="*/ 12 w 76"/>
                <a:gd name="T21" fmla="*/ 10 h 54"/>
                <a:gd name="T22" fmla="*/ 8 w 76"/>
                <a:gd name="T23" fmla="*/ 18 h 54"/>
                <a:gd name="T24" fmla="*/ 10 w 76"/>
                <a:gd name="T25" fmla="*/ 26 h 54"/>
                <a:gd name="T26" fmla="*/ 18 w 76"/>
                <a:gd name="T27" fmla="*/ 30 h 54"/>
                <a:gd name="T28" fmla="*/ 40 w 76"/>
                <a:gd name="T29" fmla="*/ 36 h 54"/>
                <a:gd name="T30" fmla="*/ 46 w 76"/>
                <a:gd name="T31" fmla="*/ 38 h 54"/>
                <a:gd name="T32" fmla="*/ 46 w 76"/>
                <a:gd name="T33" fmla="*/ 40 h 54"/>
                <a:gd name="T34" fmla="*/ 40 w 76"/>
                <a:gd name="T35" fmla="*/ 44 h 54"/>
                <a:gd name="T36" fmla="*/ 34 w 76"/>
                <a:gd name="T37" fmla="*/ 46 h 54"/>
                <a:gd name="T38" fmla="*/ 24 w 76"/>
                <a:gd name="T39" fmla="*/ 44 h 54"/>
                <a:gd name="T40" fmla="*/ 24 w 76"/>
                <a:gd name="T41" fmla="*/ 40 h 54"/>
                <a:gd name="T42" fmla="*/ 2 w 76"/>
                <a:gd name="T43" fmla="*/ 38 h 54"/>
                <a:gd name="T44" fmla="*/ 0 w 76"/>
                <a:gd name="T45" fmla="*/ 44 h 54"/>
                <a:gd name="T46" fmla="*/ 4 w 76"/>
                <a:gd name="T47" fmla="*/ 50 h 54"/>
                <a:gd name="T48" fmla="*/ 12 w 76"/>
                <a:gd name="T49" fmla="*/ 54 h 54"/>
                <a:gd name="T50" fmla="*/ 30 w 76"/>
                <a:gd name="T51" fmla="*/ 54 h 54"/>
                <a:gd name="T52" fmla="*/ 60 w 76"/>
                <a:gd name="T53" fmla="*/ 50 h 54"/>
                <a:gd name="T54" fmla="*/ 72 w 76"/>
                <a:gd name="T55" fmla="*/ 38 h 54"/>
                <a:gd name="T56" fmla="*/ 72 w 76"/>
                <a:gd name="T57" fmla="*/ 32 h 54"/>
                <a:gd name="T58" fmla="*/ 70 w 76"/>
                <a:gd name="T59" fmla="*/ 28 h 54"/>
                <a:gd name="T60" fmla="*/ 52 w 76"/>
                <a:gd name="T61" fmla="*/ 22 h 54"/>
                <a:gd name="T62" fmla="*/ 34 w 76"/>
                <a:gd name="T63" fmla="*/ 1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54">
                  <a:moveTo>
                    <a:pt x="34" y="18"/>
                  </a:moveTo>
                  <a:lnTo>
                    <a:pt x="34" y="18"/>
                  </a:lnTo>
                  <a:lnTo>
                    <a:pt x="34" y="14"/>
                  </a:lnTo>
                  <a:lnTo>
                    <a:pt x="34" y="14"/>
                  </a:lnTo>
                  <a:lnTo>
                    <a:pt x="38" y="12"/>
                  </a:lnTo>
                  <a:lnTo>
                    <a:pt x="44" y="10"/>
                  </a:lnTo>
                  <a:lnTo>
                    <a:pt x="44" y="10"/>
                  </a:lnTo>
                  <a:lnTo>
                    <a:pt x="50" y="10"/>
                  </a:lnTo>
                  <a:lnTo>
                    <a:pt x="52" y="12"/>
                  </a:lnTo>
                  <a:lnTo>
                    <a:pt x="52" y="12"/>
                  </a:lnTo>
                  <a:lnTo>
                    <a:pt x="54" y="14"/>
                  </a:lnTo>
                  <a:lnTo>
                    <a:pt x="54" y="16"/>
                  </a:lnTo>
                  <a:lnTo>
                    <a:pt x="76" y="16"/>
                  </a:lnTo>
                  <a:lnTo>
                    <a:pt x="76" y="16"/>
                  </a:lnTo>
                  <a:lnTo>
                    <a:pt x="76" y="10"/>
                  </a:lnTo>
                  <a:lnTo>
                    <a:pt x="72" y="6"/>
                  </a:lnTo>
                  <a:lnTo>
                    <a:pt x="64" y="2"/>
                  </a:lnTo>
                  <a:lnTo>
                    <a:pt x="48" y="0"/>
                  </a:lnTo>
                  <a:lnTo>
                    <a:pt x="48" y="0"/>
                  </a:lnTo>
                  <a:lnTo>
                    <a:pt x="32" y="2"/>
                  </a:lnTo>
                  <a:lnTo>
                    <a:pt x="20" y="4"/>
                  </a:lnTo>
                  <a:lnTo>
                    <a:pt x="12" y="10"/>
                  </a:lnTo>
                  <a:lnTo>
                    <a:pt x="8" y="18"/>
                  </a:lnTo>
                  <a:lnTo>
                    <a:pt x="8" y="18"/>
                  </a:lnTo>
                  <a:lnTo>
                    <a:pt x="8" y="22"/>
                  </a:lnTo>
                  <a:lnTo>
                    <a:pt x="10" y="26"/>
                  </a:lnTo>
                  <a:lnTo>
                    <a:pt x="10" y="26"/>
                  </a:lnTo>
                  <a:lnTo>
                    <a:pt x="18" y="30"/>
                  </a:lnTo>
                  <a:lnTo>
                    <a:pt x="28" y="32"/>
                  </a:lnTo>
                  <a:lnTo>
                    <a:pt x="40" y="36"/>
                  </a:lnTo>
                  <a:lnTo>
                    <a:pt x="46" y="38"/>
                  </a:lnTo>
                  <a:lnTo>
                    <a:pt x="46" y="38"/>
                  </a:lnTo>
                  <a:lnTo>
                    <a:pt x="46" y="40"/>
                  </a:lnTo>
                  <a:lnTo>
                    <a:pt x="46" y="40"/>
                  </a:lnTo>
                  <a:lnTo>
                    <a:pt x="44" y="42"/>
                  </a:lnTo>
                  <a:lnTo>
                    <a:pt x="40" y="44"/>
                  </a:lnTo>
                  <a:lnTo>
                    <a:pt x="34" y="46"/>
                  </a:lnTo>
                  <a:lnTo>
                    <a:pt x="34" y="46"/>
                  </a:lnTo>
                  <a:lnTo>
                    <a:pt x="28" y="44"/>
                  </a:lnTo>
                  <a:lnTo>
                    <a:pt x="24" y="44"/>
                  </a:lnTo>
                  <a:lnTo>
                    <a:pt x="24" y="44"/>
                  </a:lnTo>
                  <a:lnTo>
                    <a:pt x="24" y="40"/>
                  </a:lnTo>
                  <a:lnTo>
                    <a:pt x="24" y="38"/>
                  </a:lnTo>
                  <a:lnTo>
                    <a:pt x="2" y="38"/>
                  </a:lnTo>
                  <a:lnTo>
                    <a:pt x="2" y="38"/>
                  </a:lnTo>
                  <a:lnTo>
                    <a:pt x="0" y="44"/>
                  </a:lnTo>
                  <a:lnTo>
                    <a:pt x="2" y="48"/>
                  </a:lnTo>
                  <a:lnTo>
                    <a:pt x="4" y="50"/>
                  </a:lnTo>
                  <a:lnTo>
                    <a:pt x="6" y="52"/>
                  </a:lnTo>
                  <a:lnTo>
                    <a:pt x="12" y="54"/>
                  </a:lnTo>
                  <a:lnTo>
                    <a:pt x="30" y="54"/>
                  </a:lnTo>
                  <a:lnTo>
                    <a:pt x="30" y="54"/>
                  </a:lnTo>
                  <a:lnTo>
                    <a:pt x="48" y="54"/>
                  </a:lnTo>
                  <a:lnTo>
                    <a:pt x="60" y="50"/>
                  </a:lnTo>
                  <a:lnTo>
                    <a:pt x="68" y="44"/>
                  </a:lnTo>
                  <a:lnTo>
                    <a:pt x="72" y="38"/>
                  </a:lnTo>
                  <a:lnTo>
                    <a:pt x="72" y="38"/>
                  </a:lnTo>
                  <a:lnTo>
                    <a:pt x="72" y="32"/>
                  </a:lnTo>
                  <a:lnTo>
                    <a:pt x="70" y="28"/>
                  </a:lnTo>
                  <a:lnTo>
                    <a:pt x="70" y="28"/>
                  </a:lnTo>
                  <a:lnTo>
                    <a:pt x="62" y="24"/>
                  </a:lnTo>
                  <a:lnTo>
                    <a:pt x="52" y="22"/>
                  </a:lnTo>
                  <a:lnTo>
                    <a:pt x="40" y="20"/>
                  </a:lnTo>
                  <a:lnTo>
                    <a:pt x="34" y="18"/>
                  </a:lnTo>
                  <a:lnTo>
                    <a:pt x="34" y="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cs typeface="+mn-cs"/>
              </a:endParaRPr>
            </a:p>
          </p:txBody>
        </p:sp>
      </p:grpSp>
      <p:sp>
        <p:nvSpPr>
          <p:cNvPr id="41" name="Slide Number Placeholder 3"/>
          <p:cNvSpPr>
            <a:spLocks noGrp="1"/>
          </p:cNvSpPr>
          <p:nvPr>
            <p:ph type="sldNum" sz="quarter" idx="14"/>
          </p:nvPr>
        </p:nvSpPr>
        <p:spPr>
          <a:xfrm>
            <a:off x="0" y="6382512"/>
            <a:ext cx="327880" cy="268288"/>
          </a:xfrm>
        </p:spPr>
        <p:txBody>
          <a:bodyPr/>
          <a:lstStyle>
            <a:lvl1pPr>
              <a:defRPr>
                <a:solidFill>
                  <a:srgbClr val="000000"/>
                </a:solidFill>
              </a:defRPr>
            </a:lvl1pPr>
          </a:lstStyle>
          <a:p>
            <a:pPr>
              <a:defRPr/>
            </a:pPr>
            <a:fld id="{E6474CC2-1230-4213-AD1A-4B2FEEABA7A1}" type="slidenum">
              <a:rPr lang="en-US" smtClean="0"/>
              <a:pPr>
                <a:defRPr/>
              </a:pPr>
              <a:t>‹#›</a:t>
            </a:fld>
            <a:endParaRPr lang="en-US" dirty="0"/>
          </a:p>
        </p:txBody>
      </p:sp>
    </p:spTree>
    <p:extLst>
      <p:ext uri="{BB962C8B-B14F-4D97-AF65-F5344CB8AC3E}">
        <p14:creationId xmlns:p14="http://schemas.microsoft.com/office/powerpoint/2010/main" val="13574785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theme" Target="../theme/theme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theme" Target="../theme/theme3.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81.xml"/><Relationship Id="rId21" Type="http://schemas.openxmlformats.org/officeDocument/2006/relationships/slideLayout" Target="../slideLayouts/slideLayout76.xml"/><Relationship Id="rId42" Type="http://schemas.openxmlformats.org/officeDocument/2006/relationships/slideLayout" Target="../slideLayouts/slideLayout97.xml"/><Relationship Id="rId47" Type="http://schemas.openxmlformats.org/officeDocument/2006/relationships/slideLayout" Target="../slideLayouts/slideLayout102.xml"/><Relationship Id="rId63" Type="http://schemas.openxmlformats.org/officeDocument/2006/relationships/slideLayout" Target="../slideLayouts/slideLayout118.xml"/><Relationship Id="rId68" Type="http://schemas.openxmlformats.org/officeDocument/2006/relationships/slideLayout" Target="../slideLayouts/slideLayout123.xml"/><Relationship Id="rId84" Type="http://schemas.openxmlformats.org/officeDocument/2006/relationships/slideLayout" Target="../slideLayouts/slideLayout139.xml"/><Relationship Id="rId89" Type="http://schemas.openxmlformats.org/officeDocument/2006/relationships/slideLayout" Target="../slideLayouts/slideLayout144.xml"/><Relationship Id="rId16" Type="http://schemas.openxmlformats.org/officeDocument/2006/relationships/slideLayout" Target="../slideLayouts/slideLayout71.xml"/><Relationship Id="rId11" Type="http://schemas.openxmlformats.org/officeDocument/2006/relationships/slideLayout" Target="../slideLayouts/slideLayout66.xml"/><Relationship Id="rId32" Type="http://schemas.openxmlformats.org/officeDocument/2006/relationships/slideLayout" Target="../slideLayouts/slideLayout87.xml"/><Relationship Id="rId37" Type="http://schemas.openxmlformats.org/officeDocument/2006/relationships/slideLayout" Target="../slideLayouts/slideLayout92.xml"/><Relationship Id="rId53" Type="http://schemas.openxmlformats.org/officeDocument/2006/relationships/slideLayout" Target="../slideLayouts/slideLayout108.xml"/><Relationship Id="rId58" Type="http://schemas.openxmlformats.org/officeDocument/2006/relationships/slideLayout" Target="../slideLayouts/slideLayout113.xml"/><Relationship Id="rId74" Type="http://schemas.openxmlformats.org/officeDocument/2006/relationships/slideLayout" Target="../slideLayouts/slideLayout129.xml"/><Relationship Id="rId79" Type="http://schemas.openxmlformats.org/officeDocument/2006/relationships/slideLayout" Target="../slideLayouts/slideLayout134.xml"/><Relationship Id="rId5" Type="http://schemas.openxmlformats.org/officeDocument/2006/relationships/slideLayout" Target="../slideLayouts/slideLayout60.xml"/><Relationship Id="rId90" Type="http://schemas.openxmlformats.org/officeDocument/2006/relationships/theme" Target="../theme/theme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30" Type="http://schemas.openxmlformats.org/officeDocument/2006/relationships/slideLayout" Target="../slideLayouts/slideLayout85.xml"/><Relationship Id="rId35" Type="http://schemas.openxmlformats.org/officeDocument/2006/relationships/slideLayout" Target="../slideLayouts/slideLayout90.xml"/><Relationship Id="rId43" Type="http://schemas.openxmlformats.org/officeDocument/2006/relationships/slideLayout" Target="../slideLayouts/slideLayout98.xml"/><Relationship Id="rId48" Type="http://schemas.openxmlformats.org/officeDocument/2006/relationships/slideLayout" Target="../slideLayouts/slideLayout103.xml"/><Relationship Id="rId56" Type="http://schemas.openxmlformats.org/officeDocument/2006/relationships/slideLayout" Target="../slideLayouts/slideLayout111.xml"/><Relationship Id="rId64" Type="http://schemas.openxmlformats.org/officeDocument/2006/relationships/slideLayout" Target="../slideLayouts/slideLayout119.xml"/><Relationship Id="rId69" Type="http://schemas.openxmlformats.org/officeDocument/2006/relationships/slideLayout" Target="../slideLayouts/slideLayout124.xml"/><Relationship Id="rId77" Type="http://schemas.openxmlformats.org/officeDocument/2006/relationships/slideLayout" Target="../slideLayouts/slideLayout132.xml"/><Relationship Id="rId8" Type="http://schemas.openxmlformats.org/officeDocument/2006/relationships/slideLayout" Target="../slideLayouts/slideLayout63.xml"/><Relationship Id="rId51" Type="http://schemas.openxmlformats.org/officeDocument/2006/relationships/slideLayout" Target="../slideLayouts/slideLayout106.xml"/><Relationship Id="rId72" Type="http://schemas.openxmlformats.org/officeDocument/2006/relationships/slideLayout" Target="../slideLayouts/slideLayout127.xml"/><Relationship Id="rId80" Type="http://schemas.openxmlformats.org/officeDocument/2006/relationships/slideLayout" Target="../slideLayouts/slideLayout135.xml"/><Relationship Id="rId85" Type="http://schemas.openxmlformats.org/officeDocument/2006/relationships/slideLayout" Target="../slideLayouts/slideLayout140.xml"/><Relationship Id="rId3" Type="http://schemas.openxmlformats.org/officeDocument/2006/relationships/slideLayout" Target="../slideLayouts/slideLayout58.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33" Type="http://schemas.openxmlformats.org/officeDocument/2006/relationships/slideLayout" Target="../slideLayouts/slideLayout88.xml"/><Relationship Id="rId38" Type="http://schemas.openxmlformats.org/officeDocument/2006/relationships/slideLayout" Target="../slideLayouts/slideLayout93.xml"/><Relationship Id="rId46" Type="http://schemas.openxmlformats.org/officeDocument/2006/relationships/slideLayout" Target="../slideLayouts/slideLayout101.xml"/><Relationship Id="rId59" Type="http://schemas.openxmlformats.org/officeDocument/2006/relationships/slideLayout" Target="../slideLayouts/slideLayout114.xml"/><Relationship Id="rId67" Type="http://schemas.openxmlformats.org/officeDocument/2006/relationships/slideLayout" Target="../slideLayouts/slideLayout122.xml"/><Relationship Id="rId20" Type="http://schemas.openxmlformats.org/officeDocument/2006/relationships/slideLayout" Target="../slideLayouts/slideLayout75.xml"/><Relationship Id="rId41" Type="http://schemas.openxmlformats.org/officeDocument/2006/relationships/slideLayout" Target="../slideLayouts/slideLayout96.xml"/><Relationship Id="rId54" Type="http://schemas.openxmlformats.org/officeDocument/2006/relationships/slideLayout" Target="../slideLayouts/slideLayout109.xml"/><Relationship Id="rId62" Type="http://schemas.openxmlformats.org/officeDocument/2006/relationships/slideLayout" Target="../slideLayouts/slideLayout117.xml"/><Relationship Id="rId70" Type="http://schemas.openxmlformats.org/officeDocument/2006/relationships/slideLayout" Target="../slideLayouts/slideLayout125.xml"/><Relationship Id="rId75" Type="http://schemas.openxmlformats.org/officeDocument/2006/relationships/slideLayout" Target="../slideLayouts/slideLayout130.xml"/><Relationship Id="rId83" Type="http://schemas.openxmlformats.org/officeDocument/2006/relationships/slideLayout" Target="../slideLayouts/slideLayout138.xml"/><Relationship Id="rId88" Type="http://schemas.openxmlformats.org/officeDocument/2006/relationships/slideLayout" Target="../slideLayouts/slideLayout143.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36" Type="http://schemas.openxmlformats.org/officeDocument/2006/relationships/slideLayout" Target="../slideLayouts/slideLayout91.xml"/><Relationship Id="rId49" Type="http://schemas.openxmlformats.org/officeDocument/2006/relationships/slideLayout" Target="../slideLayouts/slideLayout104.xml"/><Relationship Id="rId57" Type="http://schemas.openxmlformats.org/officeDocument/2006/relationships/slideLayout" Target="../slideLayouts/slideLayout112.xml"/><Relationship Id="rId10" Type="http://schemas.openxmlformats.org/officeDocument/2006/relationships/slideLayout" Target="../slideLayouts/slideLayout65.xml"/><Relationship Id="rId31" Type="http://schemas.openxmlformats.org/officeDocument/2006/relationships/slideLayout" Target="../slideLayouts/slideLayout86.xml"/><Relationship Id="rId44" Type="http://schemas.openxmlformats.org/officeDocument/2006/relationships/slideLayout" Target="../slideLayouts/slideLayout99.xml"/><Relationship Id="rId52" Type="http://schemas.openxmlformats.org/officeDocument/2006/relationships/slideLayout" Target="../slideLayouts/slideLayout107.xml"/><Relationship Id="rId60" Type="http://schemas.openxmlformats.org/officeDocument/2006/relationships/slideLayout" Target="../slideLayouts/slideLayout115.xml"/><Relationship Id="rId65" Type="http://schemas.openxmlformats.org/officeDocument/2006/relationships/slideLayout" Target="../slideLayouts/slideLayout120.xml"/><Relationship Id="rId73" Type="http://schemas.openxmlformats.org/officeDocument/2006/relationships/slideLayout" Target="../slideLayouts/slideLayout128.xml"/><Relationship Id="rId78" Type="http://schemas.openxmlformats.org/officeDocument/2006/relationships/slideLayout" Target="../slideLayouts/slideLayout133.xml"/><Relationship Id="rId81" Type="http://schemas.openxmlformats.org/officeDocument/2006/relationships/slideLayout" Target="../slideLayouts/slideLayout136.xml"/><Relationship Id="rId86" Type="http://schemas.openxmlformats.org/officeDocument/2006/relationships/slideLayout" Target="../slideLayouts/slideLayout141.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39" Type="http://schemas.openxmlformats.org/officeDocument/2006/relationships/slideLayout" Target="../slideLayouts/slideLayout94.xml"/><Relationship Id="rId34" Type="http://schemas.openxmlformats.org/officeDocument/2006/relationships/slideLayout" Target="../slideLayouts/slideLayout89.xml"/><Relationship Id="rId50" Type="http://schemas.openxmlformats.org/officeDocument/2006/relationships/slideLayout" Target="../slideLayouts/slideLayout105.xml"/><Relationship Id="rId55" Type="http://schemas.openxmlformats.org/officeDocument/2006/relationships/slideLayout" Target="../slideLayouts/slideLayout110.xml"/><Relationship Id="rId76" Type="http://schemas.openxmlformats.org/officeDocument/2006/relationships/slideLayout" Target="../slideLayouts/slideLayout131.xml"/><Relationship Id="rId7" Type="http://schemas.openxmlformats.org/officeDocument/2006/relationships/slideLayout" Target="../slideLayouts/slideLayout62.xml"/><Relationship Id="rId71" Type="http://schemas.openxmlformats.org/officeDocument/2006/relationships/slideLayout" Target="../slideLayouts/slideLayout126.xml"/><Relationship Id="rId2" Type="http://schemas.openxmlformats.org/officeDocument/2006/relationships/slideLayout" Target="../slideLayouts/slideLayout57.xml"/><Relationship Id="rId29" Type="http://schemas.openxmlformats.org/officeDocument/2006/relationships/slideLayout" Target="../slideLayouts/slideLayout84.xml"/><Relationship Id="rId24" Type="http://schemas.openxmlformats.org/officeDocument/2006/relationships/slideLayout" Target="../slideLayouts/slideLayout79.xml"/><Relationship Id="rId40" Type="http://schemas.openxmlformats.org/officeDocument/2006/relationships/slideLayout" Target="../slideLayouts/slideLayout95.xml"/><Relationship Id="rId45" Type="http://schemas.openxmlformats.org/officeDocument/2006/relationships/slideLayout" Target="../slideLayouts/slideLayout100.xml"/><Relationship Id="rId66" Type="http://schemas.openxmlformats.org/officeDocument/2006/relationships/slideLayout" Target="../slideLayouts/slideLayout121.xml"/><Relationship Id="rId87" Type="http://schemas.openxmlformats.org/officeDocument/2006/relationships/slideLayout" Target="../slideLayouts/slideLayout142.xml"/><Relationship Id="rId61" Type="http://schemas.openxmlformats.org/officeDocument/2006/relationships/slideLayout" Target="../slideLayouts/slideLayout116.xml"/><Relationship Id="rId82" Type="http://schemas.openxmlformats.org/officeDocument/2006/relationships/slideLayout" Target="../slideLayouts/slideLayout137.xml"/><Relationship Id="rId19" Type="http://schemas.openxmlformats.org/officeDocument/2006/relationships/slideLayout" Target="../slideLayouts/slideLayout74.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170.xml"/><Relationship Id="rId21" Type="http://schemas.openxmlformats.org/officeDocument/2006/relationships/slideLayout" Target="../slideLayouts/slideLayout165.xml"/><Relationship Id="rId42" Type="http://schemas.openxmlformats.org/officeDocument/2006/relationships/slideLayout" Target="../slideLayouts/slideLayout186.xml"/><Relationship Id="rId47" Type="http://schemas.openxmlformats.org/officeDocument/2006/relationships/slideLayout" Target="../slideLayouts/slideLayout191.xml"/><Relationship Id="rId63" Type="http://schemas.openxmlformats.org/officeDocument/2006/relationships/slideLayout" Target="../slideLayouts/slideLayout207.xml"/><Relationship Id="rId68" Type="http://schemas.openxmlformats.org/officeDocument/2006/relationships/slideLayout" Target="../slideLayouts/slideLayout212.xml"/><Relationship Id="rId84" Type="http://schemas.openxmlformats.org/officeDocument/2006/relationships/slideLayout" Target="../slideLayouts/slideLayout228.xml"/><Relationship Id="rId89" Type="http://schemas.openxmlformats.org/officeDocument/2006/relationships/slideLayout" Target="../slideLayouts/slideLayout233.xml"/><Relationship Id="rId16" Type="http://schemas.openxmlformats.org/officeDocument/2006/relationships/slideLayout" Target="../slideLayouts/slideLayout160.xml"/><Relationship Id="rId11" Type="http://schemas.openxmlformats.org/officeDocument/2006/relationships/slideLayout" Target="../slideLayouts/slideLayout155.xml"/><Relationship Id="rId32" Type="http://schemas.openxmlformats.org/officeDocument/2006/relationships/slideLayout" Target="../slideLayouts/slideLayout176.xml"/><Relationship Id="rId37" Type="http://schemas.openxmlformats.org/officeDocument/2006/relationships/slideLayout" Target="../slideLayouts/slideLayout181.xml"/><Relationship Id="rId53" Type="http://schemas.openxmlformats.org/officeDocument/2006/relationships/slideLayout" Target="../slideLayouts/slideLayout197.xml"/><Relationship Id="rId58" Type="http://schemas.openxmlformats.org/officeDocument/2006/relationships/slideLayout" Target="../slideLayouts/slideLayout202.xml"/><Relationship Id="rId74" Type="http://schemas.openxmlformats.org/officeDocument/2006/relationships/slideLayout" Target="../slideLayouts/slideLayout218.xml"/><Relationship Id="rId79" Type="http://schemas.openxmlformats.org/officeDocument/2006/relationships/slideLayout" Target="../slideLayouts/slideLayout223.xml"/><Relationship Id="rId5" Type="http://schemas.openxmlformats.org/officeDocument/2006/relationships/slideLayout" Target="../slideLayouts/slideLayout149.xml"/><Relationship Id="rId90" Type="http://schemas.openxmlformats.org/officeDocument/2006/relationships/theme" Target="../theme/theme5.xml"/><Relationship Id="rId14" Type="http://schemas.openxmlformats.org/officeDocument/2006/relationships/slideLayout" Target="../slideLayouts/slideLayout158.xml"/><Relationship Id="rId22" Type="http://schemas.openxmlformats.org/officeDocument/2006/relationships/slideLayout" Target="../slideLayouts/slideLayout166.xml"/><Relationship Id="rId27" Type="http://schemas.openxmlformats.org/officeDocument/2006/relationships/slideLayout" Target="../slideLayouts/slideLayout171.xml"/><Relationship Id="rId30" Type="http://schemas.openxmlformats.org/officeDocument/2006/relationships/slideLayout" Target="../slideLayouts/slideLayout174.xml"/><Relationship Id="rId35" Type="http://schemas.openxmlformats.org/officeDocument/2006/relationships/slideLayout" Target="../slideLayouts/slideLayout179.xml"/><Relationship Id="rId43" Type="http://schemas.openxmlformats.org/officeDocument/2006/relationships/slideLayout" Target="../slideLayouts/slideLayout187.xml"/><Relationship Id="rId48" Type="http://schemas.openxmlformats.org/officeDocument/2006/relationships/slideLayout" Target="../slideLayouts/slideLayout192.xml"/><Relationship Id="rId56" Type="http://schemas.openxmlformats.org/officeDocument/2006/relationships/slideLayout" Target="../slideLayouts/slideLayout200.xml"/><Relationship Id="rId64" Type="http://schemas.openxmlformats.org/officeDocument/2006/relationships/slideLayout" Target="../slideLayouts/slideLayout208.xml"/><Relationship Id="rId69" Type="http://schemas.openxmlformats.org/officeDocument/2006/relationships/slideLayout" Target="../slideLayouts/slideLayout213.xml"/><Relationship Id="rId77" Type="http://schemas.openxmlformats.org/officeDocument/2006/relationships/slideLayout" Target="../slideLayouts/slideLayout221.xml"/><Relationship Id="rId8" Type="http://schemas.openxmlformats.org/officeDocument/2006/relationships/slideLayout" Target="../slideLayouts/slideLayout152.xml"/><Relationship Id="rId51" Type="http://schemas.openxmlformats.org/officeDocument/2006/relationships/slideLayout" Target="../slideLayouts/slideLayout195.xml"/><Relationship Id="rId72" Type="http://schemas.openxmlformats.org/officeDocument/2006/relationships/slideLayout" Target="../slideLayouts/slideLayout216.xml"/><Relationship Id="rId80" Type="http://schemas.openxmlformats.org/officeDocument/2006/relationships/slideLayout" Target="../slideLayouts/slideLayout224.xml"/><Relationship Id="rId85" Type="http://schemas.openxmlformats.org/officeDocument/2006/relationships/slideLayout" Target="../slideLayouts/slideLayout229.xml"/><Relationship Id="rId3" Type="http://schemas.openxmlformats.org/officeDocument/2006/relationships/slideLayout" Target="../slideLayouts/slideLayout147.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5" Type="http://schemas.openxmlformats.org/officeDocument/2006/relationships/slideLayout" Target="../slideLayouts/slideLayout169.xml"/><Relationship Id="rId33" Type="http://schemas.openxmlformats.org/officeDocument/2006/relationships/slideLayout" Target="../slideLayouts/slideLayout177.xml"/><Relationship Id="rId38" Type="http://schemas.openxmlformats.org/officeDocument/2006/relationships/slideLayout" Target="../slideLayouts/slideLayout182.xml"/><Relationship Id="rId46" Type="http://schemas.openxmlformats.org/officeDocument/2006/relationships/slideLayout" Target="../slideLayouts/slideLayout190.xml"/><Relationship Id="rId59" Type="http://schemas.openxmlformats.org/officeDocument/2006/relationships/slideLayout" Target="../slideLayouts/slideLayout203.xml"/><Relationship Id="rId67" Type="http://schemas.openxmlformats.org/officeDocument/2006/relationships/slideLayout" Target="../slideLayouts/slideLayout211.xml"/><Relationship Id="rId20" Type="http://schemas.openxmlformats.org/officeDocument/2006/relationships/slideLayout" Target="../slideLayouts/slideLayout164.xml"/><Relationship Id="rId41" Type="http://schemas.openxmlformats.org/officeDocument/2006/relationships/slideLayout" Target="../slideLayouts/slideLayout185.xml"/><Relationship Id="rId54" Type="http://schemas.openxmlformats.org/officeDocument/2006/relationships/slideLayout" Target="../slideLayouts/slideLayout198.xml"/><Relationship Id="rId62" Type="http://schemas.openxmlformats.org/officeDocument/2006/relationships/slideLayout" Target="../slideLayouts/slideLayout206.xml"/><Relationship Id="rId70" Type="http://schemas.openxmlformats.org/officeDocument/2006/relationships/slideLayout" Target="../slideLayouts/slideLayout214.xml"/><Relationship Id="rId75" Type="http://schemas.openxmlformats.org/officeDocument/2006/relationships/slideLayout" Target="../slideLayouts/slideLayout219.xml"/><Relationship Id="rId83" Type="http://schemas.openxmlformats.org/officeDocument/2006/relationships/slideLayout" Target="../slideLayouts/slideLayout227.xml"/><Relationship Id="rId88" Type="http://schemas.openxmlformats.org/officeDocument/2006/relationships/slideLayout" Target="../slideLayouts/slideLayout232.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5" Type="http://schemas.openxmlformats.org/officeDocument/2006/relationships/slideLayout" Target="../slideLayouts/slideLayout159.xml"/><Relationship Id="rId23" Type="http://schemas.openxmlformats.org/officeDocument/2006/relationships/slideLayout" Target="../slideLayouts/slideLayout167.xml"/><Relationship Id="rId28" Type="http://schemas.openxmlformats.org/officeDocument/2006/relationships/slideLayout" Target="../slideLayouts/slideLayout172.xml"/><Relationship Id="rId36" Type="http://schemas.openxmlformats.org/officeDocument/2006/relationships/slideLayout" Target="../slideLayouts/slideLayout180.xml"/><Relationship Id="rId49" Type="http://schemas.openxmlformats.org/officeDocument/2006/relationships/slideLayout" Target="../slideLayouts/slideLayout193.xml"/><Relationship Id="rId57" Type="http://schemas.openxmlformats.org/officeDocument/2006/relationships/slideLayout" Target="../slideLayouts/slideLayout201.xml"/><Relationship Id="rId10" Type="http://schemas.openxmlformats.org/officeDocument/2006/relationships/slideLayout" Target="../slideLayouts/slideLayout154.xml"/><Relationship Id="rId31" Type="http://schemas.openxmlformats.org/officeDocument/2006/relationships/slideLayout" Target="../slideLayouts/slideLayout175.xml"/><Relationship Id="rId44" Type="http://schemas.openxmlformats.org/officeDocument/2006/relationships/slideLayout" Target="../slideLayouts/slideLayout188.xml"/><Relationship Id="rId52" Type="http://schemas.openxmlformats.org/officeDocument/2006/relationships/slideLayout" Target="../slideLayouts/slideLayout196.xml"/><Relationship Id="rId60" Type="http://schemas.openxmlformats.org/officeDocument/2006/relationships/slideLayout" Target="../slideLayouts/slideLayout204.xml"/><Relationship Id="rId65" Type="http://schemas.openxmlformats.org/officeDocument/2006/relationships/slideLayout" Target="../slideLayouts/slideLayout209.xml"/><Relationship Id="rId73" Type="http://schemas.openxmlformats.org/officeDocument/2006/relationships/slideLayout" Target="../slideLayouts/slideLayout217.xml"/><Relationship Id="rId78" Type="http://schemas.openxmlformats.org/officeDocument/2006/relationships/slideLayout" Target="../slideLayouts/slideLayout222.xml"/><Relationship Id="rId81" Type="http://schemas.openxmlformats.org/officeDocument/2006/relationships/slideLayout" Target="../slideLayouts/slideLayout225.xml"/><Relationship Id="rId86" Type="http://schemas.openxmlformats.org/officeDocument/2006/relationships/slideLayout" Target="../slideLayouts/slideLayout230.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3" Type="http://schemas.openxmlformats.org/officeDocument/2006/relationships/slideLayout" Target="../slideLayouts/slideLayout157.xml"/><Relationship Id="rId18" Type="http://schemas.openxmlformats.org/officeDocument/2006/relationships/slideLayout" Target="../slideLayouts/slideLayout162.xml"/><Relationship Id="rId39" Type="http://schemas.openxmlformats.org/officeDocument/2006/relationships/slideLayout" Target="../slideLayouts/slideLayout183.xml"/><Relationship Id="rId34" Type="http://schemas.openxmlformats.org/officeDocument/2006/relationships/slideLayout" Target="../slideLayouts/slideLayout178.xml"/><Relationship Id="rId50" Type="http://schemas.openxmlformats.org/officeDocument/2006/relationships/slideLayout" Target="../slideLayouts/slideLayout194.xml"/><Relationship Id="rId55" Type="http://schemas.openxmlformats.org/officeDocument/2006/relationships/slideLayout" Target="../slideLayouts/slideLayout199.xml"/><Relationship Id="rId76" Type="http://schemas.openxmlformats.org/officeDocument/2006/relationships/slideLayout" Target="../slideLayouts/slideLayout220.xml"/><Relationship Id="rId7" Type="http://schemas.openxmlformats.org/officeDocument/2006/relationships/slideLayout" Target="../slideLayouts/slideLayout151.xml"/><Relationship Id="rId71" Type="http://schemas.openxmlformats.org/officeDocument/2006/relationships/slideLayout" Target="../slideLayouts/slideLayout215.xml"/><Relationship Id="rId2" Type="http://schemas.openxmlformats.org/officeDocument/2006/relationships/slideLayout" Target="../slideLayouts/slideLayout146.xml"/><Relationship Id="rId29" Type="http://schemas.openxmlformats.org/officeDocument/2006/relationships/slideLayout" Target="../slideLayouts/slideLayout173.xml"/><Relationship Id="rId24" Type="http://schemas.openxmlformats.org/officeDocument/2006/relationships/slideLayout" Target="../slideLayouts/slideLayout168.xml"/><Relationship Id="rId40" Type="http://schemas.openxmlformats.org/officeDocument/2006/relationships/slideLayout" Target="../slideLayouts/slideLayout184.xml"/><Relationship Id="rId45" Type="http://schemas.openxmlformats.org/officeDocument/2006/relationships/slideLayout" Target="../slideLayouts/slideLayout189.xml"/><Relationship Id="rId66" Type="http://schemas.openxmlformats.org/officeDocument/2006/relationships/slideLayout" Target="../slideLayouts/slideLayout210.xml"/><Relationship Id="rId87" Type="http://schemas.openxmlformats.org/officeDocument/2006/relationships/slideLayout" Target="../slideLayouts/slideLayout231.xml"/><Relationship Id="rId61" Type="http://schemas.openxmlformats.org/officeDocument/2006/relationships/slideLayout" Target="../slideLayouts/slideLayout205.xml"/><Relationship Id="rId82" Type="http://schemas.openxmlformats.org/officeDocument/2006/relationships/slideLayout" Target="../slideLayouts/slideLayout226.xml"/><Relationship Id="rId19" Type="http://schemas.openxmlformats.org/officeDocument/2006/relationships/slideLayout" Target="../slideLayouts/slideLayout16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41.xml"/><Relationship Id="rId13" Type="http://schemas.openxmlformats.org/officeDocument/2006/relationships/slideLayout" Target="../slideLayouts/slideLayout246.xml"/><Relationship Id="rId3" Type="http://schemas.openxmlformats.org/officeDocument/2006/relationships/slideLayout" Target="../slideLayouts/slideLayout236.xml"/><Relationship Id="rId7" Type="http://schemas.openxmlformats.org/officeDocument/2006/relationships/slideLayout" Target="../slideLayouts/slideLayout240.xml"/><Relationship Id="rId12" Type="http://schemas.openxmlformats.org/officeDocument/2006/relationships/slideLayout" Target="../slideLayouts/slideLayout245.xml"/><Relationship Id="rId2" Type="http://schemas.openxmlformats.org/officeDocument/2006/relationships/slideLayout" Target="../slideLayouts/slideLayout235.xml"/><Relationship Id="rId1" Type="http://schemas.openxmlformats.org/officeDocument/2006/relationships/slideLayout" Target="../slideLayouts/slideLayout234.xml"/><Relationship Id="rId6" Type="http://schemas.openxmlformats.org/officeDocument/2006/relationships/slideLayout" Target="../slideLayouts/slideLayout239.xml"/><Relationship Id="rId11" Type="http://schemas.openxmlformats.org/officeDocument/2006/relationships/slideLayout" Target="../slideLayouts/slideLayout244.xml"/><Relationship Id="rId5" Type="http://schemas.openxmlformats.org/officeDocument/2006/relationships/slideLayout" Target="../slideLayouts/slideLayout238.xml"/><Relationship Id="rId15" Type="http://schemas.openxmlformats.org/officeDocument/2006/relationships/image" Target="../media/image18.png"/><Relationship Id="rId10" Type="http://schemas.openxmlformats.org/officeDocument/2006/relationships/slideLayout" Target="../slideLayouts/slideLayout243.xml"/><Relationship Id="rId4" Type="http://schemas.openxmlformats.org/officeDocument/2006/relationships/slideLayout" Target="../slideLayouts/slideLayout237.xml"/><Relationship Id="rId9" Type="http://schemas.openxmlformats.org/officeDocument/2006/relationships/slideLayout" Target="../slideLayouts/slideLayout242.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54.xml"/><Relationship Id="rId13" Type="http://schemas.openxmlformats.org/officeDocument/2006/relationships/slideLayout" Target="../slideLayouts/slideLayout259.xml"/><Relationship Id="rId3" Type="http://schemas.openxmlformats.org/officeDocument/2006/relationships/slideLayout" Target="../slideLayouts/slideLayout249.xml"/><Relationship Id="rId7" Type="http://schemas.openxmlformats.org/officeDocument/2006/relationships/slideLayout" Target="../slideLayouts/slideLayout253.xml"/><Relationship Id="rId12" Type="http://schemas.openxmlformats.org/officeDocument/2006/relationships/slideLayout" Target="../slideLayouts/slideLayout258.xml"/><Relationship Id="rId2" Type="http://schemas.openxmlformats.org/officeDocument/2006/relationships/slideLayout" Target="../slideLayouts/slideLayout248.xml"/><Relationship Id="rId1" Type="http://schemas.openxmlformats.org/officeDocument/2006/relationships/slideLayout" Target="../slideLayouts/slideLayout247.xml"/><Relationship Id="rId6" Type="http://schemas.openxmlformats.org/officeDocument/2006/relationships/slideLayout" Target="../slideLayouts/slideLayout252.xml"/><Relationship Id="rId11" Type="http://schemas.openxmlformats.org/officeDocument/2006/relationships/slideLayout" Target="../slideLayouts/slideLayout257.xml"/><Relationship Id="rId5" Type="http://schemas.openxmlformats.org/officeDocument/2006/relationships/slideLayout" Target="../slideLayouts/slideLayout251.xml"/><Relationship Id="rId15" Type="http://schemas.openxmlformats.org/officeDocument/2006/relationships/theme" Target="../theme/theme7.xml"/><Relationship Id="rId10" Type="http://schemas.openxmlformats.org/officeDocument/2006/relationships/slideLayout" Target="../slideLayouts/slideLayout256.xml"/><Relationship Id="rId4" Type="http://schemas.openxmlformats.org/officeDocument/2006/relationships/slideLayout" Target="../slideLayouts/slideLayout250.xml"/><Relationship Id="rId9" Type="http://schemas.openxmlformats.org/officeDocument/2006/relationships/slideLayout" Target="../slideLayouts/slideLayout255.xml"/><Relationship Id="rId14" Type="http://schemas.openxmlformats.org/officeDocument/2006/relationships/slideLayout" Target="../slideLayouts/slideLayout26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68.xml"/><Relationship Id="rId13" Type="http://schemas.openxmlformats.org/officeDocument/2006/relationships/slideLayout" Target="../slideLayouts/slideLayout273.xml"/><Relationship Id="rId18" Type="http://schemas.openxmlformats.org/officeDocument/2006/relationships/slideLayout" Target="../slideLayouts/slideLayout278.xml"/><Relationship Id="rId3" Type="http://schemas.openxmlformats.org/officeDocument/2006/relationships/slideLayout" Target="../slideLayouts/slideLayout263.xml"/><Relationship Id="rId21" Type="http://schemas.openxmlformats.org/officeDocument/2006/relationships/slideLayout" Target="../slideLayouts/slideLayout281.xml"/><Relationship Id="rId7" Type="http://schemas.openxmlformats.org/officeDocument/2006/relationships/slideLayout" Target="../slideLayouts/slideLayout267.xml"/><Relationship Id="rId12" Type="http://schemas.openxmlformats.org/officeDocument/2006/relationships/slideLayout" Target="../slideLayouts/slideLayout272.xml"/><Relationship Id="rId17" Type="http://schemas.openxmlformats.org/officeDocument/2006/relationships/slideLayout" Target="../slideLayouts/slideLayout277.xml"/><Relationship Id="rId2" Type="http://schemas.openxmlformats.org/officeDocument/2006/relationships/slideLayout" Target="../slideLayouts/slideLayout262.xml"/><Relationship Id="rId16" Type="http://schemas.openxmlformats.org/officeDocument/2006/relationships/slideLayout" Target="../slideLayouts/slideLayout276.xml"/><Relationship Id="rId20" Type="http://schemas.openxmlformats.org/officeDocument/2006/relationships/slideLayout" Target="../slideLayouts/slideLayout280.xml"/><Relationship Id="rId1" Type="http://schemas.openxmlformats.org/officeDocument/2006/relationships/slideLayout" Target="../slideLayouts/slideLayout261.xml"/><Relationship Id="rId6" Type="http://schemas.openxmlformats.org/officeDocument/2006/relationships/slideLayout" Target="../slideLayouts/slideLayout266.xml"/><Relationship Id="rId11" Type="http://schemas.openxmlformats.org/officeDocument/2006/relationships/slideLayout" Target="../slideLayouts/slideLayout271.xml"/><Relationship Id="rId24" Type="http://schemas.openxmlformats.org/officeDocument/2006/relationships/theme" Target="../theme/theme8.xml"/><Relationship Id="rId5" Type="http://schemas.openxmlformats.org/officeDocument/2006/relationships/slideLayout" Target="../slideLayouts/slideLayout265.xml"/><Relationship Id="rId15" Type="http://schemas.openxmlformats.org/officeDocument/2006/relationships/slideLayout" Target="../slideLayouts/slideLayout275.xml"/><Relationship Id="rId23" Type="http://schemas.openxmlformats.org/officeDocument/2006/relationships/slideLayout" Target="../slideLayouts/slideLayout283.xml"/><Relationship Id="rId10" Type="http://schemas.openxmlformats.org/officeDocument/2006/relationships/slideLayout" Target="../slideLayouts/slideLayout270.xml"/><Relationship Id="rId19" Type="http://schemas.openxmlformats.org/officeDocument/2006/relationships/slideLayout" Target="../slideLayouts/slideLayout279.xml"/><Relationship Id="rId4" Type="http://schemas.openxmlformats.org/officeDocument/2006/relationships/slideLayout" Target="../slideLayouts/slideLayout264.xml"/><Relationship Id="rId9" Type="http://schemas.openxmlformats.org/officeDocument/2006/relationships/slideLayout" Target="../slideLayouts/slideLayout269.xml"/><Relationship Id="rId14" Type="http://schemas.openxmlformats.org/officeDocument/2006/relationships/slideLayout" Target="../slideLayouts/slideLayout274.xml"/><Relationship Id="rId22" Type="http://schemas.openxmlformats.org/officeDocument/2006/relationships/slideLayout" Target="../slideLayouts/slideLayout28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91.xml"/><Relationship Id="rId13" Type="http://schemas.openxmlformats.org/officeDocument/2006/relationships/slideLayout" Target="../slideLayouts/slideLayout296.xml"/><Relationship Id="rId18" Type="http://schemas.openxmlformats.org/officeDocument/2006/relationships/slideLayout" Target="../slideLayouts/slideLayout301.xml"/><Relationship Id="rId3" Type="http://schemas.openxmlformats.org/officeDocument/2006/relationships/slideLayout" Target="../slideLayouts/slideLayout286.xml"/><Relationship Id="rId21" Type="http://schemas.openxmlformats.org/officeDocument/2006/relationships/slideLayout" Target="../slideLayouts/slideLayout304.xml"/><Relationship Id="rId7" Type="http://schemas.openxmlformats.org/officeDocument/2006/relationships/slideLayout" Target="../slideLayouts/slideLayout290.xml"/><Relationship Id="rId12" Type="http://schemas.openxmlformats.org/officeDocument/2006/relationships/slideLayout" Target="../slideLayouts/slideLayout295.xml"/><Relationship Id="rId17" Type="http://schemas.openxmlformats.org/officeDocument/2006/relationships/slideLayout" Target="../slideLayouts/slideLayout300.xml"/><Relationship Id="rId2" Type="http://schemas.openxmlformats.org/officeDocument/2006/relationships/slideLayout" Target="../slideLayouts/slideLayout285.xml"/><Relationship Id="rId16" Type="http://schemas.openxmlformats.org/officeDocument/2006/relationships/slideLayout" Target="../slideLayouts/slideLayout299.xml"/><Relationship Id="rId20" Type="http://schemas.openxmlformats.org/officeDocument/2006/relationships/slideLayout" Target="../slideLayouts/slideLayout303.xml"/><Relationship Id="rId1" Type="http://schemas.openxmlformats.org/officeDocument/2006/relationships/slideLayout" Target="../slideLayouts/slideLayout284.xml"/><Relationship Id="rId6" Type="http://schemas.openxmlformats.org/officeDocument/2006/relationships/slideLayout" Target="../slideLayouts/slideLayout289.xml"/><Relationship Id="rId11" Type="http://schemas.openxmlformats.org/officeDocument/2006/relationships/slideLayout" Target="../slideLayouts/slideLayout294.xml"/><Relationship Id="rId5" Type="http://schemas.openxmlformats.org/officeDocument/2006/relationships/slideLayout" Target="../slideLayouts/slideLayout288.xml"/><Relationship Id="rId15" Type="http://schemas.openxmlformats.org/officeDocument/2006/relationships/slideLayout" Target="../slideLayouts/slideLayout298.xml"/><Relationship Id="rId23" Type="http://schemas.openxmlformats.org/officeDocument/2006/relationships/theme" Target="../theme/theme9.xml"/><Relationship Id="rId10" Type="http://schemas.openxmlformats.org/officeDocument/2006/relationships/slideLayout" Target="../slideLayouts/slideLayout293.xml"/><Relationship Id="rId19" Type="http://schemas.openxmlformats.org/officeDocument/2006/relationships/slideLayout" Target="../slideLayouts/slideLayout302.xml"/><Relationship Id="rId4" Type="http://schemas.openxmlformats.org/officeDocument/2006/relationships/slideLayout" Target="../slideLayouts/slideLayout287.xml"/><Relationship Id="rId9" Type="http://schemas.openxmlformats.org/officeDocument/2006/relationships/slideLayout" Target="../slideLayouts/slideLayout292.xml"/><Relationship Id="rId14" Type="http://schemas.openxmlformats.org/officeDocument/2006/relationships/slideLayout" Target="../slideLayouts/slideLayout297.xml"/><Relationship Id="rId22" Type="http://schemas.openxmlformats.org/officeDocument/2006/relationships/slideLayout" Target="../slideLayouts/slideLayout30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317115" y="228600"/>
            <a:ext cx="8229600" cy="838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itle style</a:t>
            </a:r>
            <a:endParaRPr lang="en-US" dirty="0"/>
          </a:p>
        </p:txBody>
      </p:sp>
      <p:sp>
        <p:nvSpPr>
          <p:cNvPr id="4099" name="Rectangle 3"/>
          <p:cNvSpPr>
            <a:spLocks noGrp="1" noChangeArrowheads="1"/>
          </p:cNvSpPr>
          <p:nvPr>
            <p:ph type="body" idx="1"/>
          </p:nvPr>
        </p:nvSpPr>
        <p:spPr bwMode="auto">
          <a:xfrm>
            <a:off x="317115" y="1339850"/>
            <a:ext cx="7908925" cy="48918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First level</a:t>
            </a:r>
          </a:p>
          <a:p>
            <a:pPr lvl="2"/>
            <a:r>
              <a:rPr lang="en-US" dirty="0"/>
              <a:t>Second level</a:t>
            </a:r>
          </a:p>
          <a:p>
            <a:pPr lvl="3"/>
            <a:r>
              <a:rPr lang="en-US" dirty="0"/>
              <a:t>Third level</a:t>
            </a:r>
          </a:p>
        </p:txBody>
      </p:sp>
      <p:sp>
        <p:nvSpPr>
          <p:cNvPr id="429061" name="Rectangle 5"/>
          <p:cNvSpPr>
            <a:spLocks noGrp="1" noChangeArrowheads="1"/>
          </p:cNvSpPr>
          <p:nvPr>
            <p:ph type="sldNum" sz="quarter" idx="4"/>
          </p:nvPr>
        </p:nvSpPr>
        <p:spPr bwMode="auto">
          <a:xfrm>
            <a:off x="0" y="6382512"/>
            <a:ext cx="329184" cy="265176"/>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defRPr sz="800" b="1">
                <a:solidFill>
                  <a:srgbClr val="000000"/>
                </a:solidFill>
                <a:latin typeface="Arial" charset="0"/>
                <a:ea typeface="ＭＳ Ｐゴシック" charset="-128"/>
                <a:cs typeface="+mn-cs"/>
              </a:defRPr>
            </a:lvl1pPr>
          </a:lstStyle>
          <a:p>
            <a:pPr>
              <a:defRPr/>
            </a:pPr>
            <a:fld id="{287592CB-37D3-4196-AC6E-CD3990F28521}" type="slidenum">
              <a:rPr lang="en-US" smtClean="0"/>
              <a:pPr>
                <a:defRPr/>
              </a:pPr>
              <a:t>‹#›</a:t>
            </a:fld>
            <a:endParaRPr lang="en-US" dirty="0"/>
          </a:p>
        </p:txBody>
      </p:sp>
      <p:sp>
        <p:nvSpPr>
          <p:cNvPr id="429211" name="Rectangle 155"/>
          <p:cNvSpPr>
            <a:spLocks noGrp="1" noChangeArrowheads="1"/>
          </p:cNvSpPr>
          <p:nvPr>
            <p:ph type="dt" sz="half" idx="2"/>
          </p:nvPr>
        </p:nvSpPr>
        <p:spPr bwMode="auto">
          <a:xfrm>
            <a:off x="317115" y="6656832"/>
            <a:ext cx="1984248" cy="118872"/>
          </a:xfrm>
          <a:prstGeom prst="rect">
            <a:avLst/>
          </a:prstGeom>
          <a:noFill/>
          <a:ln w="9525">
            <a:noFill/>
            <a:miter lim="800000"/>
            <a:headEnd/>
            <a:tailEnd/>
          </a:ln>
          <a:effectLst/>
        </p:spPr>
        <p:txBody>
          <a:bodyPr vert="horz" wrap="square" lIns="91440" tIns="0" rIns="91440" bIns="0" numCol="1" anchor="b" anchorCtr="0" compatLnSpc="1">
            <a:prstTxWarp prst="textNoShape">
              <a:avLst/>
            </a:prstTxWarp>
          </a:bodyPr>
          <a:lstStyle>
            <a:lvl1pPr algn="l" eaLnBrk="0" hangingPunct="0">
              <a:defRPr sz="700" smtClean="0">
                <a:solidFill>
                  <a:srgbClr val="000000"/>
                </a:solidFill>
                <a:latin typeface="Arial" charset="0"/>
                <a:ea typeface="ＭＳ Ｐゴシック" charset="-128"/>
                <a:cs typeface="+mn-cs"/>
              </a:defRPr>
            </a:lvl1pPr>
          </a:lstStyle>
          <a:p>
            <a:pPr>
              <a:defRPr/>
            </a:pPr>
            <a:r>
              <a:rPr lang="en-US"/>
              <a:t>201607-20094</a:t>
            </a:r>
            <a:endParaRPr lang="en-US" dirty="0"/>
          </a:p>
        </p:txBody>
      </p:sp>
      <p:sp>
        <p:nvSpPr>
          <p:cNvPr id="429212" name="Rectangle 156"/>
          <p:cNvSpPr>
            <a:spLocks noGrp="1" noChangeArrowheads="1"/>
          </p:cNvSpPr>
          <p:nvPr>
            <p:ph type="ftr" sz="quarter" idx="3"/>
          </p:nvPr>
        </p:nvSpPr>
        <p:spPr bwMode="auto">
          <a:xfrm>
            <a:off x="317115" y="6483096"/>
            <a:ext cx="3931920" cy="173736"/>
          </a:xfrm>
          <a:prstGeom prst="rect">
            <a:avLst/>
          </a:prstGeom>
          <a:noFill/>
          <a:ln w="9525">
            <a:noFill/>
            <a:miter lim="800000"/>
            <a:headEnd/>
            <a:tailEnd/>
          </a:ln>
          <a:effectLst/>
        </p:spPr>
        <p:txBody>
          <a:bodyPr vert="horz" wrap="square" lIns="91440" tIns="0" rIns="91440" bIns="0" numCol="1" anchor="b" anchorCtr="0" compatLnSpc="1">
            <a:prstTxWarp prst="textNoShape">
              <a:avLst/>
            </a:prstTxWarp>
          </a:bodyPr>
          <a:lstStyle>
            <a:lvl1pPr algn="l" eaLnBrk="0" hangingPunct="0">
              <a:defRPr sz="800" smtClean="0">
                <a:solidFill>
                  <a:srgbClr val="000000"/>
                </a:solidFill>
                <a:latin typeface="Arial" charset="0"/>
                <a:ea typeface="ＭＳ Ｐゴシック" charset="-128"/>
                <a:cs typeface="+mn-cs"/>
              </a:defRPr>
            </a:lvl1pPr>
          </a:lstStyle>
          <a:p>
            <a:pPr>
              <a:defRPr/>
            </a:pPr>
            <a:r>
              <a:rPr lang="en-US"/>
              <a:t>For institutional use only</a:t>
            </a:r>
            <a:endParaRPr lang="en-US" dirty="0"/>
          </a:p>
        </p:txBody>
      </p:sp>
    </p:spTree>
    <p:extLst>
      <p:ext uri="{BB962C8B-B14F-4D97-AF65-F5344CB8AC3E}">
        <p14:creationId xmlns:p14="http://schemas.microsoft.com/office/powerpoint/2010/main" val="2324731622"/>
      </p:ext>
    </p:extLst>
  </p:cSld>
  <p:clrMap bg1="lt1" tx1="dk1" bg2="lt2" tx2="dk2" accent1="accent1" accent2="accent2" accent3="accent3" accent4="accent4" accent5="accent5" accent6="accent6" hlink="hlink" folHlink="folHlink"/>
  <p:sldLayoutIdLst>
    <p:sldLayoutId id="2147484080" r:id="rId1"/>
    <p:sldLayoutId id="2147484081" r:id="rId2"/>
    <p:sldLayoutId id="2147484082" r:id="rId3"/>
    <p:sldLayoutId id="2147484083" r:id="rId4"/>
    <p:sldLayoutId id="2147484084" r:id="rId5"/>
    <p:sldLayoutId id="2147484085" r:id="rId6"/>
    <p:sldLayoutId id="2147484086" r:id="rId7"/>
    <p:sldLayoutId id="2147484087" r:id="rId8"/>
    <p:sldLayoutId id="2147484088" r:id="rId9"/>
    <p:sldLayoutId id="2147484089" r:id="rId10"/>
    <p:sldLayoutId id="2147484090" r:id="rId11"/>
    <p:sldLayoutId id="2147484091" r:id="rId12"/>
    <p:sldLayoutId id="2147484092" r:id="rId13"/>
    <p:sldLayoutId id="2147484093" r:id="rId14"/>
    <p:sldLayoutId id="2147484094" r:id="rId15"/>
    <p:sldLayoutId id="2147484095" r:id="rId16"/>
    <p:sldLayoutId id="2147484096" r:id="rId17"/>
  </p:sldLayoutIdLst>
  <p:hf hdr="0"/>
  <p:txStyles>
    <p:titleStyle>
      <a:lvl1pPr algn="l" rtl="0" eaLnBrk="1" fontAlgn="base" hangingPunct="1">
        <a:spcBef>
          <a:spcPct val="0"/>
        </a:spcBef>
        <a:spcAft>
          <a:spcPct val="0"/>
        </a:spcAft>
        <a:defRPr sz="2400">
          <a:solidFill>
            <a:srgbClr val="333F48"/>
          </a:solidFill>
          <a:latin typeface="+mj-lt"/>
          <a:ea typeface="+mj-ea"/>
          <a:cs typeface="+mj-cs"/>
        </a:defRPr>
      </a:lvl1pPr>
      <a:lvl2pPr algn="l" rtl="0" eaLnBrk="1" fontAlgn="base" hangingPunct="1">
        <a:spcBef>
          <a:spcPct val="0"/>
        </a:spcBef>
        <a:spcAft>
          <a:spcPct val="0"/>
        </a:spcAft>
        <a:defRPr sz="2400">
          <a:solidFill>
            <a:schemeClr val="tx1"/>
          </a:solidFill>
          <a:latin typeface="Arial" charset="0"/>
        </a:defRPr>
      </a:lvl2pPr>
      <a:lvl3pPr algn="l" rtl="0" eaLnBrk="1" fontAlgn="base" hangingPunct="1">
        <a:spcBef>
          <a:spcPct val="0"/>
        </a:spcBef>
        <a:spcAft>
          <a:spcPct val="0"/>
        </a:spcAft>
        <a:defRPr sz="2400">
          <a:solidFill>
            <a:schemeClr val="tx1"/>
          </a:solidFill>
          <a:latin typeface="Arial" charset="0"/>
        </a:defRPr>
      </a:lvl3pPr>
      <a:lvl4pPr algn="l" rtl="0" eaLnBrk="1" fontAlgn="base" hangingPunct="1">
        <a:spcBef>
          <a:spcPct val="0"/>
        </a:spcBef>
        <a:spcAft>
          <a:spcPct val="0"/>
        </a:spcAft>
        <a:defRPr sz="2400">
          <a:solidFill>
            <a:schemeClr val="tx1"/>
          </a:solidFill>
          <a:latin typeface="Arial" charset="0"/>
        </a:defRPr>
      </a:lvl4pPr>
      <a:lvl5pPr algn="l" rtl="0" eaLnBrk="1" fontAlgn="base" hangingPunct="1">
        <a:spcBef>
          <a:spcPct val="0"/>
        </a:spcBef>
        <a:spcAft>
          <a:spcPct val="0"/>
        </a:spcAft>
        <a:defRPr sz="2400">
          <a:solidFill>
            <a:schemeClr val="tx1"/>
          </a:solidFill>
          <a:latin typeface="Arial" charset="0"/>
        </a:defRPr>
      </a:lvl5pPr>
      <a:lvl6pPr marL="457200" algn="l" rtl="0" eaLnBrk="1" fontAlgn="base" hangingPunct="1">
        <a:spcBef>
          <a:spcPct val="0"/>
        </a:spcBef>
        <a:spcAft>
          <a:spcPct val="0"/>
        </a:spcAft>
        <a:defRPr sz="2400">
          <a:solidFill>
            <a:schemeClr val="tx1"/>
          </a:solidFill>
          <a:latin typeface="Arial" charset="0"/>
        </a:defRPr>
      </a:lvl6pPr>
      <a:lvl7pPr marL="914400" algn="l" rtl="0" eaLnBrk="1" fontAlgn="base" hangingPunct="1">
        <a:spcBef>
          <a:spcPct val="0"/>
        </a:spcBef>
        <a:spcAft>
          <a:spcPct val="0"/>
        </a:spcAft>
        <a:defRPr sz="2400">
          <a:solidFill>
            <a:schemeClr val="tx1"/>
          </a:solidFill>
          <a:latin typeface="Arial" charset="0"/>
        </a:defRPr>
      </a:lvl7pPr>
      <a:lvl8pPr marL="1371600" algn="l" rtl="0" eaLnBrk="1" fontAlgn="base" hangingPunct="1">
        <a:spcBef>
          <a:spcPct val="0"/>
        </a:spcBef>
        <a:spcAft>
          <a:spcPct val="0"/>
        </a:spcAft>
        <a:defRPr sz="2400">
          <a:solidFill>
            <a:schemeClr val="tx1"/>
          </a:solidFill>
          <a:latin typeface="Arial" charset="0"/>
        </a:defRPr>
      </a:lvl8pPr>
      <a:lvl9pPr marL="1828800" algn="l" rtl="0" eaLnBrk="1" fontAlgn="base" hangingPunct="1">
        <a:spcBef>
          <a:spcPct val="0"/>
        </a:spcBef>
        <a:spcAft>
          <a:spcPct val="0"/>
        </a:spcAft>
        <a:defRPr sz="2400">
          <a:solidFill>
            <a:schemeClr val="tx1"/>
          </a:solidFill>
          <a:latin typeface="Arial" charset="0"/>
        </a:defRPr>
      </a:lvl9pPr>
    </p:titleStyle>
    <p:bodyStyle>
      <a:lvl1pPr marL="114300" indent="-114300" algn="l" rtl="0" eaLnBrk="1" fontAlgn="base" hangingPunct="1">
        <a:spcBef>
          <a:spcPts val="600"/>
        </a:spcBef>
        <a:spcAft>
          <a:spcPct val="0"/>
        </a:spcAft>
        <a:buSzPct val="40000"/>
        <a:defRPr sz="1600" b="1">
          <a:solidFill>
            <a:srgbClr val="7A9B3D"/>
          </a:solidFill>
          <a:latin typeface="+mn-lt"/>
          <a:ea typeface="+mn-ea"/>
          <a:cs typeface="+mn-cs"/>
        </a:defRPr>
      </a:lvl1pPr>
      <a:lvl2pPr marL="342900" indent="-114300" algn="l" rtl="0" eaLnBrk="1" fontAlgn="base" hangingPunct="1">
        <a:spcBef>
          <a:spcPts val="600"/>
        </a:spcBef>
        <a:spcAft>
          <a:spcPct val="0"/>
        </a:spcAft>
        <a:buClr>
          <a:srgbClr val="7A9B3D"/>
        </a:buClr>
        <a:buChar char="•"/>
        <a:defRPr sz="1400">
          <a:solidFill>
            <a:srgbClr val="000000"/>
          </a:solidFill>
          <a:latin typeface="+mn-lt"/>
        </a:defRPr>
      </a:lvl2pPr>
      <a:lvl3pPr marL="571500" indent="-114300" algn="l" rtl="0" eaLnBrk="1" fontAlgn="base" hangingPunct="1">
        <a:spcBef>
          <a:spcPts val="600"/>
        </a:spcBef>
        <a:spcAft>
          <a:spcPct val="0"/>
        </a:spcAft>
        <a:buClr>
          <a:srgbClr val="768692"/>
        </a:buClr>
        <a:buFont typeface="Arial" pitchFamily="34" charset="0"/>
        <a:buChar char="–"/>
        <a:defRPr sz="1200">
          <a:solidFill>
            <a:srgbClr val="000000"/>
          </a:solidFill>
          <a:latin typeface="+mn-lt"/>
        </a:defRPr>
      </a:lvl3pPr>
      <a:lvl4pPr marL="800100" indent="-114300" algn="l" rtl="0" eaLnBrk="1" fontAlgn="base" hangingPunct="1">
        <a:spcBef>
          <a:spcPts val="600"/>
        </a:spcBef>
        <a:spcAft>
          <a:spcPct val="0"/>
        </a:spcAft>
        <a:buFont typeface="Arial" pitchFamily="34" charset="0"/>
        <a:buChar char="•"/>
        <a:defRPr sz="1200">
          <a:solidFill>
            <a:srgbClr val="000000"/>
          </a:solidFill>
          <a:latin typeface="+mn-lt"/>
        </a:defRPr>
      </a:lvl4pPr>
      <a:lvl5pPr marL="2057400" indent="-228600" algn="l" rtl="0" eaLnBrk="1" fontAlgn="base" hangingPunct="1">
        <a:lnSpc>
          <a:spcPts val="2400"/>
        </a:lnSpc>
        <a:spcBef>
          <a:spcPct val="0"/>
        </a:spcBef>
        <a:spcAft>
          <a:spcPct val="0"/>
        </a:spcAft>
        <a:defRPr sz="1400">
          <a:solidFill>
            <a:schemeClr val="tx1"/>
          </a:solidFill>
          <a:latin typeface="+mn-lt"/>
        </a:defRPr>
      </a:lvl5pPr>
      <a:lvl6pPr marL="2514600" indent="-228600" algn="l" rtl="0" eaLnBrk="1" fontAlgn="base" hangingPunct="1">
        <a:lnSpc>
          <a:spcPts val="2400"/>
        </a:lnSpc>
        <a:spcBef>
          <a:spcPct val="0"/>
        </a:spcBef>
        <a:spcAft>
          <a:spcPct val="0"/>
        </a:spcAft>
        <a:defRPr sz="1400">
          <a:solidFill>
            <a:schemeClr val="tx1"/>
          </a:solidFill>
          <a:latin typeface="+mn-lt"/>
        </a:defRPr>
      </a:lvl6pPr>
      <a:lvl7pPr marL="2971800" indent="-228600" algn="l" rtl="0" eaLnBrk="1" fontAlgn="base" hangingPunct="1">
        <a:lnSpc>
          <a:spcPts val="2400"/>
        </a:lnSpc>
        <a:spcBef>
          <a:spcPct val="0"/>
        </a:spcBef>
        <a:spcAft>
          <a:spcPct val="0"/>
        </a:spcAft>
        <a:defRPr sz="1400">
          <a:solidFill>
            <a:schemeClr val="tx1"/>
          </a:solidFill>
          <a:latin typeface="+mn-lt"/>
        </a:defRPr>
      </a:lvl7pPr>
      <a:lvl8pPr marL="3429000" indent="-228600" algn="l" rtl="0" eaLnBrk="1" fontAlgn="base" hangingPunct="1">
        <a:lnSpc>
          <a:spcPts val="2400"/>
        </a:lnSpc>
        <a:spcBef>
          <a:spcPct val="0"/>
        </a:spcBef>
        <a:spcAft>
          <a:spcPct val="0"/>
        </a:spcAft>
        <a:defRPr sz="1400">
          <a:solidFill>
            <a:schemeClr val="tx1"/>
          </a:solidFill>
          <a:latin typeface="+mn-lt"/>
        </a:defRPr>
      </a:lvl8pPr>
      <a:lvl9pPr marL="3886200" indent="-228600" algn="l" rtl="0" eaLnBrk="1" fontAlgn="base" hangingPunct="1">
        <a:lnSpc>
          <a:spcPts val="2400"/>
        </a:lnSpc>
        <a:spcBef>
          <a:spcPct val="0"/>
        </a:spcBef>
        <a:spcAft>
          <a:spcPct val="0"/>
        </a:spcAft>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317115" y="228600"/>
            <a:ext cx="8229600" cy="838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itle style</a:t>
            </a:r>
            <a:endParaRPr lang="en-US" dirty="0"/>
          </a:p>
        </p:txBody>
      </p:sp>
      <p:sp>
        <p:nvSpPr>
          <p:cNvPr id="4099" name="Rectangle 3"/>
          <p:cNvSpPr>
            <a:spLocks noGrp="1" noChangeArrowheads="1"/>
          </p:cNvSpPr>
          <p:nvPr>
            <p:ph type="body" idx="1"/>
          </p:nvPr>
        </p:nvSpPr>
        <p:spPr bwMode="auto">
          <a:xfrm>
            <a:off x="317115" y="1339850"/>
            <a:ext cx="7908925" cy="48918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First level</a:t>
            </a:r>
          </a:p>
          <a:p>
            <a:pPr lvl="2"/>
            <a:r>
              <a:rPr lang="en-US" dirty="0"/>
              <a:t>Second level</a:t>
            </a:r>
          </a:p>
          <a:p>
            <a:pPr lvl="3"/>
            <a:r>
              <a:rPr lang="en-US" dirty="0"/>
              <a:t>Third level</a:t>
            </a:r>
          </a:p>
        </p:txBody>
      </p:sp>
      <p:sp>
        <p:nvSpPr>
          <p:cNvPr id="429061" name="Rectangle 5"/>
          <p:cNvSpPr>
            <a:spLocks noGrp="1" noChangeArrowheads="1"/>
          </p:cNvSpPr>
          <p:nvPr>
            <p:ph type="sldNum" sz="quarter" idx="4"/>
          </p:nvPr>
        </p:nvSpPr>
        <p:spPr bwMode="auto">
          <a:xfrm>
            <a:off x="0" y="6382512"/>
            <a:ext cx="329184" cy="265176"/>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defRPr sz="800" b="1">
                <a:solidFill>
                  <a:srgbClr val="000000"/>
                </a:solidFill>
                <a:latin typeface="Arial" charset="0"/>
                <a:ea typeface="ＭＳ Ｐゴシック" charset="-128"/>
                <a:cs typeface="+mn-cs"/>
              </a:defRPr>
            </a:lvl1pPr>
          </a:lstStyle>
          <a:p>
            <a:pPr>
              <a:defRPr/>
            </a:pPr>
            <a:fld id="{287592CB-37D3-4196-AC6E-CD3990F28521}" type="slidenum">
              <a:rPr lang="en-US" smtClean="0"/>
              <a:pPr>
                <a:defRPr/>
              </a:pPr>
              <a:t>‹#›</a:t>
            </a:fld>
            <a:endParaRPr lang="en-US" dirty="0"/>
          </a:p>
        </p:txBody>
      </p:sp>
      <p:sp>
        <p:nvSpPr>
          <p:cNvPr id="429211" name="Rectangle 155"/>
          <p:cNvSpPr>
            <a:spLocks noGrp="1" noChangeArrowheads="1"/>
          </p:cNvSpPr>
          <p:nvPr>
            <p:ph type="dt" sz="half" idx="2"/>
          </p:nvPr>
        </p:nvSpPr>
        <p:spPr bwMode="auto">
          <a:xfrm>
            <a:off x="317115" y="6656832"/>
            <a:ext cx="1984248" cy="118872"/>
          </a:xfrm>
          <a:prstGeom prst="rect">
            <a:avLst/>
          </a:prstGeom>
          <a:noFill/>
          <a:ln w="9525">
            <a:noFill/>
            <a:miter lim="800000"/>
            <a:headEnd/>
            <a:tailEnd/>
          </a:ln>
          <a:effectLst/>
        </p:spPr>
        <p:txBody>
          <a:bodyPr vert="horz" wrap="square" lIns="91440" tIns="0" rIns="91440" bIns="0" numCol="1" anchor="b" anchorCtr="0" compatLnSpc="1">
            <a:prstTxWarp prst="textNoShape">
              <a:avLst/>
            </a:prstTxWarp>
          </a:bodyPr>
          <a:lstStyle>
            <a:lvl1pPr algn="l" eaLnBrk="0" hangingPunct="0">
              <a:defRPr sz="700" smtClean="0">
                <a:solidFill>
                  <a:srgbClr val="000000"/>
                </a:solidFill>
                <a:latin typeface="Arial" charset="0"/>
                <a:ea typeface="ＭＳ Ｐゴシック" charset="-128"/>
                <a:cs typeface="+mn-cs"/>
              </a:defRPr>
            </a:lvl1pPr>
          </a:lstStyle>
          <a:p>
            <a:pPr>
              <a:defRPr/>
            </a:pPr>
            <a:r>
              <a:rPr lang="en-US"/>
              <a:t>Production code #</a:t>
            </a:r>
            <a:endParaRPr lang="en-US" dirty="0"/>
          </a:p>
        </p:txBody>
      </p:sp>
      <p:sp>
        <p:nvSpPr>
          <p:cNvPr id="429212" name="Rectangle 156"/>
          <p:cNvSpPr>
            <a:spLocks noGrp="1" noChangeArrowheads="1"/>
          </p:cNvSpPr>
          <p:nvPr>
            <p:ph type="ftr" sz="quarter" idx="3"/>
          </p:nvPr>
        </p:nvSpPr>
        <p:spPr bwMode="auto">
          <a:xfrm>
            <a:off x="317115" y="6483096"/>
            <a:ext cx="3931920" cy="173736"/>
          </a:xfrm>
          <a:prstGeom prst="rect">
            <a:avLst/>
          </a:prstGeom>
          <a:noFill/>
          <a:ln w="9525">
            <a:noFill/>
            <a:miter lim="800000"/>
            <a:headEnd/>
            <a:tailEnd/>
          </a:ln>
          <a:effectLst/>
        </p:spPr>
        <p:txBody>
          <a:bodyPr vert="horz" wrap="square" lIns="91440" tIns="0" rIns="91440" bIns="0" numCol="1" anchor="b" anchorCtr="0" compatLnSpc="1">
            <a:prstTxWarp prst="textNoShape">
              <a:avLst/>
            </a:prstTxWarp>
          </a:bodyPr>
          <a:lstStyle>
            <a:lvl1pPr algn="l" eaLnBrk="0" hangingPunct="0">
              <a:defRPr sz="800" smtClean="0">
                <a:solidFill>
                  <a:srgbClr val="000000"/>
                </a:solidFill>
                <a:latin typeface="Arial" charset="0"/>
                <a:ea typeface="ＭＳ Ｐゴシック" charset="-128"/>
                <a:cs typeface="+mn-cs"/>
              </a:defRPr>
            </a:lvl1pPr>
          </a:lstStyle>
          <a:p>
            <a:pPr>
              <a:defRPr/>
            </a:pPr>
            <a:r>
              <a:rPr lang="en-US" dirty="0"/>
              <a:t>Page footer, i.e., For institutional use only.</a:t>
            </a:r>
          </a:p>
        </p:txBody>
      </p:sp>
    </p:spTree>
    <p:extLst>
      <p:ext uri="{BB962C8B-B14F-4D97-AF65-F5344CB8AC3E}">
        <p14:creationId xmlns:p14="http://schemas.microsoft.com/office/powerpoint/2010/main" val="1777988345"/>
      </p:ext>
    </p:extLst>
  </p:cSld>
  <p:clrMap bg1="lt1" tx1="dk1" bg2="lt2" tx2="dk2" accent1="accent1" accent2="accent2" accent3="accent3" accent4="accent4" accent5="accent5" accent6="accent6" hlink="hlink" folHlink="folHlink"/>
  <p:sldLayoutIdLst>
    <p:sldLayoutId id="2147484264" r:id="rId1"/>
    <p:sldLayoutId id="2147484265" r:id="rId2"/>
    <p:sldLayoutId id="2147484266" r:id="rId3"/>
    <p:sldLayoutId id="2147484267" r:id="rId4"/>
    <p:sldLayoutId id="2147484268" r:id="rId5"/>
    <p:sldLayoutId id="2147484269" r:id="rId6"/>
    <p:sldLayoutId id="2147484270" r:id="rId7"/>
    <p:sldLayoutId id="2147484271" r:id="rId8"/>
    <p:sldLayoutId id="2147484272" r:id="rId9"/>
    <p:sldLayoutId id="2147484273" r:id="rId10"/>
    <p:sldLayoutId id="2147484274" r:id="rId11"/>
    <p:sldLayoutId id="2147484275" r:id="rId12"/>
    <p:sldLayoutId id="2147484276" r:id="rId13"/>
    <p:sldLayoutId id="2147484277" r:id="rId14"/>
    <p:sldLayoutId id="2147484278" r:id="rId15"/>
    <p:sldLayoutId id="2147484482" r:id="rId16"/>
  </p:sldLayoutIdLst>
  <p:hf hdr="0"/>
  <p:txStyles>
    <p:titleStyle>
      <a:lvl1pPr algn="l" rtl="0" eaLnBrk="1" fontAlgn="base" hangingPunct="1">
        <a:spcBef>
          <a:spcPct val="0"/>
        </a:spcBef>
        <a:spcAft>
          <a:spcPct val="0"/>
        </a:spcAft>
        <a:defRPr sz="2400">
          <a:solidFill>
            <a:srgbClr val="333F48"/>
          </a:solidFill>
          <a:latin typeface="+mj-lt"/>
          <a:ea typeface="+mj-ea"/>
          <a:cs typeface="+mj-cs"/>
        </a:defRPr>
      </a:lvl1pPr>
      <a:lvl2pPr algn="l" rtl="0" eaLnBrk="1" fontAlgn="base" hangingPunct="1">
        <a:spcBef>
          <a:spcPct val="0"/>
        </a:spcBef>
        <a:spcAft>
          <a:spcPct val="0"/>
        </a:spcAft>
        <a:defRPr sz="2400">
          <a:solidFill>
            <a:schemeClr val="tx1"/>
          </a:solidFill>
          <a:latin typeface="Arial" charset="0"/>
        </a:defRPr>
      </a:lvl2pPr>
      <a:lvl3pPr algn="l" rtl="0" eaLnBrk="1" fontAlgn="base" hangingPunct="1">
        <a:spcBef>
          <a:spcPct val="0"/>
        </a:spcBef>
        <a:spcAft>
          <a:spcPct val="0"/>
        </a:spcAft>
        <a:defRPr sz="2400">
          <a:solidFill>
            <a:schemeClr val="tx1"/>
          </a:solidFill>
          <a:latin typeface="Arial" charset="0"/>
        </a:defRPr>
      </a:lvl3pPr>
      <a:lvl4pPr algn="l" rtl="0" eaLnBrk="1" fontAlgn="base" hangingPunct="1">
        <a:spcBef>
          <a:spcPct val="0"/>
        </a:spcBef>
        <a:spcAft>
          <a:spcPct val="0"/>
        </a:spcAft>
        <a:defRPr sz="2400">
          <a:solidFill>
            <a:schemeClr val="tx1"/>
          </a:solidFill>
          <a:latin typeface="Arial" charset="0"/>
        </a:defRPr>
      </a:lvl4pPr>
      <a:lvl5pPr algn="l" rtl="0" eaLnBrk="1" fontAlgn="base" hangingPunct="1">
        <a:spcBef>
          <a:spcPct val="0"/>
        </a:spcBef>
        <a:spcAft>
          <a:spcPct val="0"/>
        </a:spcAft>
        <a:defRPr sz="2400">
          <a:solidFill>
            <a:schemeClr val="tx1"/>
          </a:solidFill>
          <a:latin typeface="Arial" charset="0"/>
        </a:defRPr>
      </a:lvl5pPr>
      <a:lvl6pPr marL="457200" algn="l" rtl="0" eaLnBrk="1" fontAlgn="base" hangingPunct="1">
        <a:spcBef>
          <a:spcPct val="0"/>
        </a:spcBef>
        <a:spcAft>
          <a:spcPct val="0"/>
        </a:spcAft>
        <a:defRPr sz="2400">
          <a:solidFill>
            <a:schemeClr val="tx1"/>
          </a:solidFill>
          <a:latin typeface="Arial" charset="0"/>
        </a:defRPr>
      </a:lvl6pPr>
      <a:lvl7pPr marL="914400" algn="l" rtl="0" eaLnBrk="1" fontAlgn="base" hangingPunct="1">
        <a:spcBef>
          <a:spcPct val="0"/>
        </a:spcBef>
        <a:spcAft>
          <a:spcPct val="0"/>
        </a:spcAft>
        <a:defRPr sz="2400">
          <a:solidFill>
            <a:schemeClr val="tx1"/>
          </a:solidFill>
          <a:latin typeface="Arial" charset="0"/>
        </a:defRPr>
      </a:lvl7pPr>
      <a:lvl8pPr marL="1371600" algn="l" rtl="0" eaLnBrk="1" fontAlgn="base" hangingPunct="1">
        <a:spcBef>
          <a:spcPct val="0"/>
        </a:spcBef>
        <a:spcAft>
          <a:spcPct val="0"/>
        </a:spcAft>
        <a:defRPr sz="2400">
          <a:solidFill>
            <a:schemeClr val="tx1"/>
          </a:solidFill>
          <a:latin typeface="Arial" charset="0"/>
        </a:defRPr>
      </a:lvl8pPr>
      <a:lvl9pPr marL="1828800" algn="l" rtl="0" eaLnBrk="1" fontAlgn="base" hangingPunct="1">
        <a:spcBef>
          <a:spcPct val="0"/>
        </a:spcBef>
        <a:spcAft>
          <a:spcPct val="0"/>
        </a:spcAft>
        <a:defRPr sz="2400">
          <a:solidFill>
            <a:schemeClr val="tx1"/>
          </a:solidFill>
          <a:latin typeface="Arial" charset="0"/>
        </a:defRPr>
      </a:lvl9pPr>
    </p:titleStyle>
    <p:bodyStyle>
      <a:lvl1pPr marL="114300" indent="-114300" algn="l" rtl="0" eaLnBrk="1" fontAlgn="base" hangingPunct="1">
        <a:spcBef>
          <a:spcPts val="600"/>
        </a:spcBef>
        <a:spcAft>
          <a:spcPct val="0"/>
        </a:spcAft>
        <a:buSzPct val="40000"/>
        <a:defRPr sz="1600" b="1">
          <a:solidFill>
            <a:srgbClr val="7A9A3D"/>
          </a:solidFill>
          <a:latin typeface="+mn-lt"/>
          <a:ea typeface="+mn-ea"/>
          <a:cs typeface="+mn-cs"/>
        </a:defRPr>
      </a:lvl1pPr>
      <a:lvl2pPr marL="342900" indent="-114300" algn="l" rtl="0" eaLnBrk="1" fontAlgn="base" hangingPunct="1">
        <a:spcBef>
          <a:spcPts val="600"/>
        </a:spcBef>
        <a:spcAft>
          <a:spcPct val="0"/>
        </a:spcAft>
        <a:buClr>
          <a:srgbClr val="7A9B3D"/>
        </a:buClr>
        <a:buChar char="•"/>
        <a:defRPr sz="1400">
          <a:solidFill>
            <a:srgbClr val="000000"/>
          </a:solidFill>
          <a:latin typeface="+mn-lt"/>
        </a:defRPr>
      </a:lvl2pPr>
      <a:lvl3pPr marL="571500" indent="-114300" algn="l" rtl="0" eaLnBrk="1" fontAlgn="base" hangingPunct="1">
        <a:spcBef>
          <a:spcPts val="600"/>
        </a:spcBef>
        <a:spcAft>
          <a:spcPct val="0"/>
        </a:spcAft>
        <a:buClr>
          <a:srgbClr val="7A9A3D"/>
        </a:buClr>
        <a:buFont typeface="Arial" pitchFamily="34" charset="0"/>
        <a:buChar char="–"/>
        <a:defRPr sz="1200">
          <a:solidFill>
            <a:srgbClr val="000000"/>
          </a:solidFill>
          <a:latin typeface="+mn-lt"/>
        </a:defRPr>
      </a:lvl3pPr>
      <a:lvl4pPr marL="800100" indent="-114300" algn="l" rtl="0" eaLnBrk="1" fontAlgn="base" hangingPunct="1">
        <a:spcBef>
          <a:spcPts val="600"/>
        </a:spcBef>
        <a:spcAft>
          <a:spcPct val="0"/>
        </a:spcAft>
        <a:buClr>
          <a:srgbClr val="7A9A3D"/>
        </a:buClr>
        <a:buFont typeface="Arial" pitchFamily="34" charset="0"/>
        <a:buChar char="•"/>
        <a:defRPr sz="1200">
          <a:solidFill>
            <a:srgbClr val="000000"/>
          </a:solidFill>
          <a:latin typeface="+mn-lt"/>
        </a:defRPr>
      </a:lvl4pPr>
      <a:lvl5pPr marL="2057400" indent="-228600" algn="l" rtl="0" eaLnBrk="1" fontAlgn="base" hangingPunct="1">
        <a:lnSpc>
          <a:spcPts val="2400"/>
        </a:lnSpc>
        <a:spcBef>
          <a:spcPct val="0"/>
        </a:spcBef>
        <a:spcAft>
          <a:spcPct val="0"/>
        </a:spcAft>
        <a:defRPr sz="1400">
          <a:solidFill>
            <a:schemeClr val="tx1"/>
          </a:solidFill>
          <a:latin typeface="+mn-lt"/>
        </a:defRPr>
      </a:lvl5pPr>
      <a:lvl6pPr marL="2514600" indent="-228600" algn="l" rtl="0" eaLnBrk="1" fontAlgn="base" hangingPunct="1">
        <a:lnSpc>
          <a:spcPts val="2400"/>
        </a:lnSpc>
        <a:spcBef>
          <a:spcPct val="0"/>
        </a:spcBef>
        <a:spcAft>
          <a:spcPct val="0"/>
        </a:spcAft>
        <a:defRPr sz="1400">
          <a:solidFill>
            <a:schemeClr val="tx1"/>
          </a:solidFill>
          <a:latin typeface="+mn-lt"/>
        </a:defRPr>
      </a:lvl6pPr>
      <a:lvl7pPr marL="2971800" indent="-228600" algn="l" rtl="0" eaLnBrk="1" fontAlgn="base" hangingPunct="1">
        <a:lnSpc>
          <a:spcPts val="2400"/>
        </a:lnSpc>
        <a:spcBef>
          <a:spcPct val="0"/>
        </a:spcBef>
        <a:spcAft>
          <a:spcPct val="0"/>
        </a:spcAft>
        <a:defRPr sz="1400">
          <a:solidFill>
            <a:schemeClr val="tx1"/>
          </a:solidFill>
          <a:latin typeface="+mn-lt"/>
        </a:defRPr>
      </a:lvl7pPr>
      <a:lvl8pPr marL="3429000" indent="-228600" algn="l" rtl="0" eaLnBrk="1" fontAlgn="base" hangingPunct="1">
        <a:lnSpc>
          <a:spcPts val="2400"/>
        </a:lnSpc>
        <a:spcBef>
          <a:spcPct val="0"/>
        </a:spcBef>
        <a:spcAft>
          <a:spcPct val="0"/>
        </a:spcAft>
        <a:defRPr sz="1400">
          <a:solidFill>
            <a:schemeClr val="tx1"/>
          </a:solidFill>
          <a:latin typeface="+mn-lt"/>
        </a:defRPr>
      </a:lvl8pPr>
      <a:lvl9pPr marL="3886200" indent="-228600" algn="l" rtl="0" eaLnBrk="1" fontAlgn="base" hangingPunct="1">
        <a:lnSpc>
          <a:spcPts val="2400"/>
        </a:lnSpc>
        <a:spcBef>
          <a:spcPct val="0"/>
        </a:spcBef>
        <a:spcAft>
          <a:spcPct val="0"/>
        </a:spcAft>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317115" y="228600"/>
            <a:ext cx="8229600" cy="838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itle style</a:t>
            </a:r>
          </a:p>
        </p:txBody>
      </p:sp>
      <p:sp>
        <p:nvSpPr>
          <p:cNvPr id="4099" name="Rectangle 3"/>
          <p:cNvSpPr>
            <a:spLocks noGrp="1" noChangeArrowheads="1"/>
          </p:cNvSpPr>
          <p:nvPr>
            <p:ph type="body" idx="1"/>
          </p:nvPr>
        </p:nvSpPr>
        <p:spPr bwMode="auto">
          <a:xfrm>
            <a:off x="317115" y="1339850"/>
            <a:ext cx="7908925" cy="48918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First level</a:t>
            </a:r>
          </a:p>
          <a:p>
            <a:pPr lvl="2"/>
            <a:r>
              <a:rPr lang="en-US" dirty="0"/>
              <a:t>Second level</a:t>
            </a:r>
          </a:p>
          <a:p>
            <a:pPr lvl="3"/>
            <a:r>
              <a:rPr lang="en-US" dirty="0"/>
              <a:t>Third level</a:t>
            </a:r>
          </a:p>
        </p:txBody>
      </p:sp>
      <p:sp>
        <p:nvSpPr>
          <p:cNvPr id="429061" name="Rectangle 5"/>
          <p:cNvSpPr>
            <a:spLocks noGrp="1" noChangeArrowheads="1"/>
          </p:cNvSpPr>
          <p:nvPr>
            <p:ph type="sldNum" sz="quarter" idx="4"/>
          </p:nvPr>
        </p:nvSpPr>
        <p:spPr bwMode="auto">
          <a:xfrm>
            <a:off x="0" y="6382512"/>
            <a:ext cx="329184" cy="265176"/>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defRPr sz="800" b="1">
                <a:solidFill>
                  <a:srgbClr val="000000"/>
                </a:solidFill>
                <a:latin typeface="Arial" charset="0"/>
                <a:ea typeface="ＭＳ Ｐゴシック" charset="-128"/>
                <a:cs typeface="+mn-cs"/>
              </a:defRPr>
            </a:lvl1pPr>
          </a:lstStyle>
          <a:p>
            <a:pPr>
              <a:defRPr/>
            </a:pPr>
            <a:fld id="{287592CB-37D3-4196-AC6E-CD3990F28521}" type="slidenum">
              <a:rPr lang="en-US" smtClean="0"/>
              <a:pPr>
                <a:defRPr/>
              </a:pPr>
              <a:t>‹#›</a:t>
            </a:fld>
            <a:endParaRPr lang="en-US" dirty="0"/>
          </a:p>
        </p:txBody>
      </p:sp>
      <p:sp>
        <p:nvSpPr>
          <p:cNvPr id="429211" name="Rectangle 155"/>
          <p:cNvSpPr>
            <a:spLocks noGrp="1" noChangeArrowheads="1"/>
          </p:cNvSpPr>
          <p:nvPr>
            <p:ph type="dt" sz="half" idx="2"/>
          </p:nvPr>
        </p:nvSpPr>
        <p:spPr bwMode="auto">
          <a:xfrm>
            <a:off x="317115" y="6656832"/>
            <a:ext cx="1984248" cy="118872"/>
          </a:xfrm>
          <a:prstGeom prst="rect">
            <a:avLst/>
          </a:prstGeom>
          <a:noFill/>
          <a:ln w="9525">
            <a:noFill/>
            <a:miter lim="800000"/>
            <a:headEnd/>
            <a:tailEnd/>
          </a:ln>
          <a:effectLst/>
        </p:spPr>
        <p:txBody>
          <a:bodyPr vert="horz" wrap="square" lIns="91440" tIns="0" rIns="91440" bIns="0" numCol="1" anchor="b" anchorCtr="0" compatLnSpc="1">
            <a:prstTxWarp prst="textNoShape">
              <a:avLst/>
            </a:prstTxWarp>
          </a:bodyPr>
          <a:lstStyle>
            <a:lvl1pPr algn="l" eaLnBrk="0" hangingPunct="0">
              <a:defRPr sz="700" smtClean="0">
                <a:solidFill>
                  <a:srgbClr val="000000"/>
                </a:solidFill>
                <a:latin typeface="Arial" charset="0"/>
                <a:ea typeface="ＭＳ Ｐゴシック" charset="-128"/>
                <a:cs typeface="+mn-cs"/>
              </a:defRPr>
            </a:lvl1pPr>
          </a:lstStyle>
          <a:p>
            <a:pPr>
              <a:defRPr/>
            </a:pPr>
            <a:r>
              <a:rPr lang="en-US"/>
              <a:t>Production code #</a:t>
            </a:r>
            <a:endParaRPr lang="en-US" dirty="0"/>
          </a:p>
        </p:txBody>
      </p:sp>
      <p:sp>
        <p:nvSpPr>
          <p:cNvPr id="429212" name="Rectangle 156"/>
          <p:cNvSpPr>
            <a:spLocks noGrp="1" noChangeArrowheads="1"/>
          </p:cNvSpPr>
          <p:nvPr>
            <p:ph type="ftr" sz="quarter" idx="3"/>
          </p:nvPr>
        </p:nvSpPr>
        <p:spPr bwMode="auto">
          <a:xfrm>
            <a:off x="317115" y="6483096"/>
            <a:ext cx="3931920" cy="173736"/>
          </a:xfrm>
          <a:prstGeom prst="rect">
            <a:avLst/>
          </a:prstGeom>
          <a:noFill/>
          <a:ln w="9525">
            <a:noFill/>
            <a:miter lim="800000"/>
            <a:headEnd/>
            <a:tailEnd/>
          </a:ln>
          <a:effectLst/>
        </p:spPr>
        <p:txBody>
          <a:bodyPr vert="horz" wrap="square" lIns="91440" tIns="0" rIns="91440" bIns="0" numCol="1" anchor="b" anchorCtr="0" compatLnSpc="1">
            <a:prstTxWarp prst="textNoShape">
              <a:avLst/>
            </a:prstTxWarp>
          </a:bodyPr>
          <a:lstStyle>
            <a:lvl1pPr algn="l" eaLnBrk="0" hangingPunct="0">
              <a:defRPr sz="800">
                <a:solidFill>
                  <a:srgbClr val="000000"/>
                </a:solidFill>
                <a:latin typeface="Arial" charset="0"/>
                <a:ea typeface="ＭＳ Ｐゴシック" charset="-128"/>
                <a:cs typeface="+mn-cs"/>
              </a:defRPr>
            </a:lvl1pPr>
          </a:lstStyle>
          <a:p>
            <a:pPr>
              <a:defRPr/>
            </a:pPr>
            <a:r>
              <a:rPr lang="en-US" dirty="0"/>
              <a:t>Insert page footer, i.e. For investment professional </a:t>
            </a:r>
            <a:r>
              <a:rPr lang="en-US" dirty="0">
                <a:solidFill>
                  <a:srgbClr val="FF0000"/>
                </a:solidFill>
              </a:rPr>
              <a:t>or</a:t>
            </a:r>
            <a:r>
              <a:rPr lang="en-US" dirty="0"/>
              <a:t> internal use only.</a:t>
            </a:r>
          </a:p>
        </p:txBody>
      </p:sp>
    </p:spTree>
    <p:extLst>
      <p:ext uri="{BB962C8B-B14F-4D97-AF65-F5344CB8AC3E}">
        <p14:creationId xmlns:p14="http://schemas.microsoft.com/office/powerpoint/2010/main" val="2300004175"/>
      </p:ext>
    </p:extLst>
  </p:cSld>
  <p:clrMap bg1="lt1" tx1="dk1" bg2="lt2" tx2="dk2" accent1="accent1" accent2="accent2" accent3="accent3" accent4="accent4" accent5="accent5" accent6="accent6" hlink="hlink" folHlink="folHlink"/>
  <p:sldLayoutIdLst>
    <p:sldLayoutId id="2147484280" r:id="rId1"/>
    <p:sldLayoutId id="2147484281" r:id="rId2"/>
    <p:sldLayoutId id="2147484282" r:id="rId3"/>
    <p:sldLayoutId id="2147484283" r:id="rId4"/>
    <p:sldLayoutId id="2147484284" r:id="rId5"/>
    <p:sldLayoutId id="2147484285" r:id="rId6"/>
    <p:sldLayoutId id="2147484286" r:id="rId7"/>
    <p:sldLayoutId id="2147484287" r:id="rId8"/>
    <p:sldLayoutId id="2147484288" r:id="rId9"/>
    <p:sldLayoutId id="2147484289" r:id="rId10"/>
    <p:sldLayoutId id="2147484290" r:id="rId11"/>
    <p:sldLayoutId id="2147484291" r:id="rId12"/>
    <p:sldLayoutId id="2147484292" r:id="rId13"/>
    <p:sldLayoutId id="2147484293" r:id="rId14"/>
    <p:sldLayoutId id="2147484294" r:id="rId15"/>
    <p:sldLayoutId id="2147484295" r:id="rId16"/>
    <p:sldLayoutId id="2147484296" r:id="rId17"/>
    <p:sldLayoutId id="2147484297" r:id="rId18"/>
    <p:sldLayoutId id="2147484298" r:id="rId19"/>
    <p:sldLayoutId id="2147484299" r:id="rId20"/>
    <p:sldLayoutId id="2147484301" r:id="rId21"/>
    <p:sldLayoutId id="2147484512" r:id="rId22"/>
  </p:sldLayoutIdLst>
  <p:hf hdr="0"/>
  <p:txStyles>
    <p:titleStyle>
      <a:lvl1pPr algn="l" rtl="0" eaLnBrk="1" fontAlgn="base" hangingPunct="1">
        <a:spcBef>
          <a:spcPct val="0"/>
        </a:spcBef>
        <a:spcAft>
          <a:spcPct val="0"/>
        </a:spcAft>
        <a:defRPr sz="2400">
          <a:solidFill>
            <a:srgbClr val="333F48"/>
          </a:solidFill>
          <a:latin typeface="+mj-lt"/>
          <a:ea typeface="+mj-ea"/>
          <a:cs typeface="+mj-cs"/>
        </a:defRPr>
      </a:lvl1pPr>
      <a:lvl2pPr algn="l" rtl="0" eaLnBrk="1" fontAlgn="base" hangingPunct="1">
        <a:spcBef>
          <a:spcPct val="0"/>
        </a:spcBef>
        <a:spcAft>
          <a:spcPct val="0"/>
        </a:spcAft>
        <a:defRPr sz="2400">
          <a:solidFill>
            <a:schemeClr val="tx1"/>
          </a:solidFill>
          <a:latin typeface="Arial" charset="0"/>
        </a:defRPr>
      </a:lvl2pPr>
      <a:lvl3pPr algn="l" rtl="0" eaLnBrk="1" fontAlgn="base" hangingPunct="1">
        <a:spcBef>
          <a:spcPct val="0"/>
        </a:spcBef>
        <a:spcAft>
          <a:spcPct val="0"/>
        </a:spcAft>
        <a:defRPr sz="2400">
          <a:solidFill>
            <a:schemeClr val="tx1"/>
          </a:solidFill>
          <a:latin typeface="Arial" charset="0"/>
        </a:defRPr>
      </a:lvl3pPr>
      <a:lvl4pPr algn="l" rtl="0" eaLnBrk="1" fontAlgn="base" hangingPunct="1">
        <a:spcBef>
          <a:spcPct val="0"/>
        </a:spcBef>
        <a:spcAft>
          <a:spcPct val="0"/>
        </a:spcAft>
        <a:defRPr sz="2400">
          <a:solidFill>
            <a:schemeClr val="tx1"/>
          </a:solidFill>
          <a:latin typeface="Arial" charset="0"/>
        </a:defRPr>
      </a:lvl4pPr>
      <a:lvl5pPr algn="l" rtl="0" eaLnBrk="1" fontAlgn="base" hangingPunct="1">
        <a:spcBef>
          <a:spcPct val="0"/>
        </a:spcBef>
        <a:spcAft>
          <a:spcPct val="0"/>
        </a:spcAft>
        <a:defRPr sz="2400">
          <a:solidFill>
            <a:schemeClr val="tx1"/>
          </a:solidFill>
          <a:latin typeface="Arial" charset="0"/>
        </a:defRPr>
      </a:lvl5pPr>
      <a:lvl6pPr marL="457200" algn="l" rtl="0" eaLnBrk="1" fontAlgn="base" hangingPunct="1">
        <a:spcBef>
          <a:spcPct val="0"/>
        </a:spcBef>
        <a:spcAft>
          <a:spcPct val="0"/>
        </a:spcAft>
        <a:defRPr sz="2400">
          <a:solidFill>
            <a:schemeClr val="tx1"/>
          </a:solidFill>
          <a:latin typeface="Arial" charset="0"/>
        </a:defRPr>
      </a:lvl6pPr>
      <a:lvl7pPr marL="914400" algn="l" rtl="0" eaLnBrk="1" fontAlgn="base" hangingPunct="1">
        <a:spcBef>
          <a:spcPct val="0"/>
        </a:spcBef>
        <a:spcAft>
          <a:spcPct val="0"/>
        </a:spcAft>
        <a:defRPr sz="2400">
          <a:solidFill>
            <a:schemeClr val="tx1"/>
          </a:solidFill>
          <a:latin typeface="Arial" charset="0"/>
        </a:defRPr>
      </a:lvl7pPr>
      <a:lvl8pPr marL="1371600" algn="l" rtl="0" eaLnBrk="1" fontAlgn="base" hangingPunct="1">
        <a:spcBef>
          <a:spcPct val="0"/>
        </a:spcBef>
        <a:spcAft>
          <a:spcPct val="0"/>
        </a:spcAft>
        <a:defRPr sz="2400">
          <a:solidFill>
            <a:schemeClr val="tx1"/>
          </a:solidFill>
          <a:latin typeface="Arial" charset="0"/>
        </a:defRPr>
      </a:lvl8pPr>
      <a:lvl9pPr marL="1828800" algn="l" rtl="0" eaLnBrk="1" fontAlgn="base" hangingPunct="1">
        <a:spcBef>
          <a:spcPct val="0"/>
        </a:spcBef>
        <a:spcAft>
          <a:spcPct val="0"/>
        </a:spcAft>
        <a:defRPr sz="2400">
          <a:solidFill>
            <a:schemeClr val="tx1"/>
          </a:solidFill>
          <a:latin typeface="Arial" charset="0"/>
        </a:defRPr>
      </a:lvl9pPr>
    </p:titleStyle>
    <p:bodyStyle>
      <a:lvl1pPr marL="114300" indent="-114300" algn="l" rtl="0" eaLnBrk="1" fontAlgn="base" hangingPunct="1">
        <a:spcBef>
          <a:spcPts val="600"/>
        </a:spcBef>
        <a:spcAft>
          <a:spcPct val="0"/>
        </a:spcAft>
        <a:buSzPct val="40000"/>
        <a:defRPr sz="1600" b="1">
          <a:solidFill>
            <a:srgbClr val="7A9B3D"/>
          </a:solidFill>
          <a:latin typeface="+mn-lt"/>
          <a:ea typeface="+mn-ea"/>
          <a:cs typeface="+mn-cs"/>
        </a:defRPr>
      </a:lvl1pPr>
      <a:lvl2pPr marL="342900" indent="-114300" algn="l" rtl="0" eaLnBrk="1" fontAlgn="base" hangingPunct="1">
        <a:spcBef>
          <a:spcPts val="600"/>
        </a:spcBef>
        <a:spcAft>
          <a:spcPct val="0"/>
        </a:spcAft>
        <a:buClr>
          <a:srgbClr val="7A9B3D"/>
        </a:buClr>
        <a:buChar char="•"/>
        <a:defRPr sz="1400">
          <a:solidFill>
            <a:srgbClr val="000000"/>
          </a:solidFill>
          <a:latin typeface="+mn-lt"/>
        </a:defRPr>
      </a:lvl2pPr>
      <a:lvl3pPr marL="571500" indent="-114300" algn="l" rtl="0" eaLnBrk="1" fontAlgn="base" hangingPunct="1">
        <a:spcBef>
          <a:spcPts val="600"/>
        </a:spcBef>
        <a:spcAft>
          <a:spcPct val="0"/>
        </a:spcAft>
        <a:buClr>
          <a:srgbClr val="768692"/>
        </a:buClr>
        <a:buFont typeface="Arial" pitchFamily="34" charset="0"/>
        <a:buChar char="–"/>
        <a:defRPr sz="1200">
          <a:solidFill>
            <a:srgbClr val="000000"/>
          </a:solidFill>
          <a:latin typeface="+mn-lt"/>
        </a:defRPr>
      </a:lvl3pPr>
      <a:lvl4pPr marL="800100" indent="-114300" algn="l" rtl="0" eaLnBrk="1" fontAlgn="base" hangingPunct="1">
        <a:spcBef>
          <a:spcPts val="600"/>
        </a:spcBef>
        <a:spcAft>
          <a:spcPct val="0"/>
        </a:spcAft>
        <a:buFont typeface="Arial" pitchFamily="34" charset="0"/>
        <a:buChar char="•"/>
        <a:defRPr sz="1200">
          <a:solidFill>
            <a:srgbClr val="000000"/>
          </a:solidFill>
          <a:latin typeface="+mn-lt"/>
        </a:defRPr>
      </a:lvl4pPr>
      <a:lvl5pPr marL="2057400" indent="-228600" algn="l" rtl="0" eaLnBrk="1" fontAlgn="base" hangingPunct="1">
        <a:lnSpc>
          <a:spcPts val="2400"/>
        </a:lnSpc>
        <a:spcBef>
          <a:spcPct val="0"/>
        </a:spcBef>
        <a:spcAft>
          <a:spcPct val="0"/>
        </a:spcAft>
        <a:defRPr sz="1400">
          <a:solidFill>
            <a:schemeClr val="tx1"/>
          </a:solidFill>
          <a:latin typeface="+mn-lt"/>
        </a:defRPr>
      </a:lvl5pPr>
      <a:lvl6pPr marL="2514600" indent="-228600" algn="l" rtl="0" eaLnBrk="1" fontAlgn="base" hangingPunct="1">
        <a:lnSpc>
          <a:spcPts val="2400"/>
        </a:lnSpc>
        <a:spcBef>
          <a:spcPct val="0"/>
        </a:spcBef>
        <a:spcAft>
          <a:spcPct val="0"/>
        </a:spcAft>
        <a:defRPr sz="1400">
          <a:solidFill>
            <a:schemeClr val="tx1"/>
          </a:solidFill>
          <a:latin typeface="+mn-lt"/>
        </a:defRPr>
      </a:lvl6pPr>
      <a:lvl7pPr marL="2971800" indent="-228600" algn="l" rtl="0" eaLnBrk="1" fontAlgn="base" hangingPunct="1">
        <a:lnSpc>
          <a:spcPts val="2400"/>
        </a:lnSpc>
        <a:spcBef>
          <a:spcPct val="0"/>
        </a:spcBef>
        <a:spcAft>
          <a:spcPct val="0"/>
        </a:spcAft>
        <a:defRPr sz="1400">
          <a:solidFill>
            <a:schemeClr val="tx1"/>
          </a:solidFill>
          <a:latin typeface="+mn-lt"/>
        </a:defRPr>
      </a:lvl7pPr>
      <a:lvl8pPr marL="3429000" indent="-228600" algn="l" rtl="0" eaLnBrk="1" fontAlgn="base" hangingPunct="1">
        <a:lnSpc>
          <a:spcPts val="2400"/>
        </a:lnSpc>
        <a:spcBef>
          <a:spcPct val="0"/>
        </a:spcBef>
        <a:spcAft>
          <a:spcPct val="0"/>
        </a:spcAft>
        <a:defRPr sz="1400">
          <a:solidFill>
            <a:schemeClr val="tx1"/>
          </a:solidFill>
          <a:latin typeface="+mn-lt"/>
        </a:defRPr>
      </a:lvl8pPr>
      <a:lvl9pPr marL="3886200" indent="-228600" algn="l" rtl="0" eaLnBrk="1" fontAlgn="base" hangingPunct="1">
        <a:lnSpc>
          <a:spcPts val="2400"/>
        </a:lnSpc>
        <a:spcBef>
          <a:spcPct val="0"/>
        </a:spcBef>
        <a:spcAft>
          <a:spcPct val="0"/>
        </a:spcAft>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317115" y="228600"/>
            <a:ext cx="8229600" cy="838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itle style</a:t>
            </a:r>
            <a:endParaRPr lang="en-US" dirty="0"/>
          </a:p>
        </p:txBody>
      </p:sp>
      <p:sp>
        <p:nvSpPr>
          <p:cNvPr id="4099" name="Rectangle 3"/>
          <p:cNvSpPr>
            <a:spLocks noGrp="1" noChangeArrowheads="1"/>
          </p:cNvSpPr>
          <p:nvPr>
            <p:ph type="body" idx="1"/>
          </p:nvPr>
        </p:nvSpPr>
        <p:spPr bwMode="auto">
          <a:xfrm>
            <a:off x="317115" y="1339850"/>
            <a:ext cx="7908925" cy="48918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First level</a:t>
            </a:r>
          </a:p>
          <a:p>
            <a:pPr lvl="2"/>
            <a:r>
              <a:rPr lang="en-US" dirty="0"/>
              <a:t>Second level</a:t>
            </a:r>
          </a:p>
          <a:p>
            <a:pPr lvl="3"/>
            <a:r>
              <a:rPr lang="en-US" dirty="0"/>
              <a:t>Third level</a:t>
            </a:r>
          </a:p>
        </p:txBody>
      </p:sp>
      <p:sp>
        <p:nvSpPr>
          <p:cNvPr id="429061" name="Rectangle 5"/>
          <p:cNvSpPr>
            <a:spLocks noGrp="1" noChangeArrowheads="1"/>
          </p:cNvSpPr>
          <p:nvPr>
            <p:ph type="sldNum" sz="quarter" idx="4"/>
          </p:nvPr>
        </p:nvSpPr>
        <p:spPr bwMode="auto">
          <a:xfrm>
            <a:off x="0" y="6382512"/>
            <a:ext cx="329184" cy="265176"/>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defRPr sz="800" b="1">
                <a:solidFill>
                  <a:srgbClr val="000000"/>
                </a:solidFill>
                <a:latin typeface="Arial" charset="0"/>
                <a:ea typeface="ＭＳ Ｐゴシック" charset="-128"/>
                <a:cs typeface="+mn-cs"/>
              </a:defRPr>
            </a:lvl1pPr>
          </a:lstStyle>
          <a:p>
            <a:pPr>
              <a:defRPr/>
            </a:pPr>
            <a:fld id="{287592CB-37D3-4196-AC6E-CD3990F28521}" type="slidenum">
              <a:rPr lang="en-US" smtClean="0"/>
              <a:pPr>
                <a:defRPr/>
              </a:pPr>
              <a:t>‹#›</a:t>
            </a:fld>
            <a:endParaRPr lang="en-US" dirty="0"/>
          </a:p>
        </p:txBody>
      </p:sp>
      <p:sp>
        <p:nvSpPr>
          <p:cNvPr id="429211" name="Rectangle 155"/>
          <p:cNvSpPr>
            <a:spLocks noGrp="1" noChangeArrowheads="1"/>
          </p:cNvSpPr>
          <p:nvPr>
            <p:ph type="dt" sz="half" idx="2"/>
          </p:nvPr>
        </p:nvSpPr>
        <p:spPr bwMode="auto">
          <a:xfrm>
            <a:off x="317115" y="6656832"/>
            <a:ext cx="1984248" cy="118872"/>
          </a:xfrm>
          <a:prstGeom prst="rect">
            <a:avLst/>
          </a:prstGeom>
          <a:noFill/>
          <a:ln w="9525">
            <a:noFill/>
            <a:miter lim="800000"/>
            <a:headEnd/>
            <a:tailEnd/>
          </a:ln>
          <a:effectLst/>
        </p:spPr>
        <p:txBody>
          <a:bodyPr vert="horz" wrap="square" lIns="91440" tIns="0" rIns="91440" bIns="0" numCol="1" anchor="b" anchorCtr="0" compatLnSpc="1">
            <a:prstTxWarp prst="textNoShape">
              <a:avLst/>
            </a:prstTxWarp>
          </a:bodyPr>
          <a:lstStyle>
            <a:lvl1pPr algn="l" eaLnBrk="0" hangingPunct="0">
              <a:defRPr sz="700" smtClean="0">
                <a:solidFill>
                  <a:srgbClr val="000000"/>
                </a:solidFill>
                <a:latin typeface="Arial" charset="0"/>
                <a:ea typeface="ＭＳ Ｐゴシック" charset="-128"/>
                <a:cs typeface="+mn-cs"/>
              </a:defRPr>
            </a:lvl1pPr>
          </a:lstStyle>
          <a:p>
            <a:pPr>
              <a:defRPr/>
            </a:pPr>
            <a:r>
              <a:rPr lang="en-US"/>
              <a:t>Production code #</a:t>
            </a:r>
            <a:endParaRPr lang="en-US" dirty="0"/>
          </a:p>
        </p:txBody>
      </p:sp>
      <p:sp>
        <p:nvSpPr>
          <p:cNvPr id="429212" name="Rectangle 156"/>
          <p:cNvSpPr>
            <a:spLocks noGrp="1" noChangeArrowheads="1"/>
          </p:cNvSpPr>
          <p:nvPr>
            <p:ph type="ftr" sz="quarter" idx="3"/>
          </p:nvPr>
        </p:nvSpPr>
        <p:spPr bwMode="auto">
          <a:xfrm>
            <a:off x="317115" y="6483096"/>
            <a:ext cx="3931920" cy="173736"/>
          </a:xfrm>
          <a:prstGeom prst="rect">
            <a:avLst/>
          </a:prstGeom>
          <a:noFill/>
          <a:ln w="9525">
            <a:noFill/>
            <a:miter lim="800000"/>
            <a:headEnd/>
            <a:tailEnd/>
          </a:ln>
          <a:effectLst/>
        </p:spPr>
        <p:txBody>
          <a:bodyPr vert="horz" wrap="square" lIns="91440" tIns="0" rIns="91440" bIns="0" numCol="1" anchor="b" anchorCtr="0" compatLnSpc="1">
            <a:prstTxWarp prst="textNoShape">
              <a:avLst/>
            </a:prstTxWarp>
          </a:bodyPr>
          <a:lstStyle>
            <a:lvl1pPr algn="l" eaLnBrk="0" hangingPunct="0">
              <a:defRPr sz="800" smtClean="0">
                <a:solidFill>
                  <a:srgbClr val="000000"/>
                </a:solidFill>
                <a:latin typeface="Arial" charset="0"/>
                <a:ea typeface="ＭＳ Ｐゴシック" charset="-128"/>
                <a:cs typeface="+mn-cs"/>
              </a:defRPr>
            </a:lvl1pPr>
          </a:lstStyle>
          <a:p>
            <a:pPr>
              <a:defRPr/>
            </a:pPr>
            <a:r>
              <a:rPr lang="en-US" dirty="0"/>
              <a:t>Page footer, i.e., For institutional use only.</a:t>
            </a:r>
          </a:p>
        </p:txBody>
      </p:sp>
    </p:spTree>
    <p:extLst>
      <p:ext uri="{BB962C8B-B14F-4D97-AF65-F5344CB8AC3E}">
        <p14:creationId xmlns:p14="http://schemas.microsoft.com/office/powerpoint/2010/main" val="2611643778"/>
      </p:ext>
    </p:extLst>
  </p:cSld>
  <p:clrMap bg1="lt1" tx1="dk1" bg2="lt2" tx2="dk2" accent1="accent1" accent2="accent2" accent3="accent3" accent4="accent4" accent5="accent5" accent6="accent6" hlink="hlink" folHlink="folHlink"/>
  <p:sldLayoutIdLst>
    <p:sldLayoutId id="2147484303" r:id="rId1"/>
    <p:sldLayoutId id="2147484304" r:id="rId2"/>
    <p:sldLayoutId id="2147484305" r:id="rId3"/>
    <p:sldLayoutId id="2147484306" r:id="rId4"/>
    <p:sldLayoutId id="2147484307" r:id="rId5"/>
    <p:sldLayoutId id="2147484308" r:id="rId6"/>
    <p:sldLayoutId id="2147484309" r:id="rId7"/>
    <p:sldLayoutId id="2147484310" r:id="rId8"/>
    <p:sldLayoutId id="2147484311" r:id="rId9"/>
    <p:sldLayoutId id="2147484312" r:id="rId10"/>
    <p:sldLayoutId id="2147484313" r:id="rId11"/>
    <p:sldLayoutId id="2147484314" r:id="rId12"/>
    <p:sldLayoutId id="2147484315" r:id="rId13"/>
    <p:sldLayoutId id="2147484316" r:id="rId14"/>
    <p:sldLayoutId id="2147484317" r:id="rId15"/>
    <p:sldLayoutId id="2147484318" r:id="rId16"/>
    <p:sldLayoutId id="2147484319" r:id="rId17"/>
    <p:sldLayoutId id="2147484320" r:id="rId18"/>
    <p:sldLayoutId id="2147484321" r:id="rId19"/>
    <p:sldLayoutId id="2147484322" r:id="rId20"/>
    <p:sldLayoutId id="2147484323" r:id="rId21"/>
    <p:sldLayoutId id="2147484324" r:id="rId22"/>
    <p:sldLayoutId id="2147484325" r:id="rId23"/>
    <p:sldLayoutId id="2147484326" r:id="rId24"/>
    <p:sldLayoutId id="2147484327" r:id="rId25"/>
    <p:sldLayoutId id="2147484328" r:id="rId26"/>
    <p:sldLayoutId id="2147484329" r:id="rId27"/>
    <p:sldLayoutId id="2147484330" r:id="rId28"/>
    <p:sldLayoutId id="2147484331" r:id="rId29"/>
    <p:sldLayoutId id="2147484332" r:id="rId30"/>
    <p:sldLayoutId id="2147484333" r:id="rId31"/>
    <p:sldLayoutId id="2147484334" r:id="rId32"/>
    <p:sldLayoutId id="2147484335" r:id="rId33"/>
    <p:sldLayoutId id="2147484336" r:id="rId34"/>
    <p:sldLayoutId id="2147484337" r:id="rId35"/>
    <p:sldLayoutId id="2147484338" r:id="rId36"/>
    <p:sldLayoutId id="2147484339" r:id="rId37"/>
    <p:sldLayoutId id="2147484340" r:id="rId38"/>
    <p:sldLayoutId id="2147484341" r:id="rId39"/>
    <p:sldLayoutId id="2147484342" r:id="rId40"/>
    <p:sldLayoutId id="2147484343" r:id="rId41"/>
    <p:sldLayoutId id="2147484344" r:id="rId42"/>
    <p:sldLayoutId id="2147484345" r:id="rId43"/>
    <p:sldLayoutId id="2147484346" r:id="rId44"/>
    <p:sldLayoutId id="2147484347" r:id="rId45"/>
    <p:sldLayoutId id="2147484348" r:id="rId46"/>
    <p:sldLayoutId id="2147484349" r:id="rId47"/>
    <p:sldLayoutId id="2147484350" r:id="rId48"/>
    <p:sldLayoutId id="2147484351" r:id="rId49"/>
    <p:sldLayoutId id="2147484352" r:id="rId50"/>
    <p:sldLayoutId id="2147484353" r:id="rId51"/>
    <p:sldLayoutId id="2147484354" r:id="rId52"/>
    <p:sldLayoutId id="2147484355" r:id="rId53"/>
    <p:sldLayoutId id="2147484356" r:id="rId54"/>
    <p:sldLayoutId id="2147484357" r:id="rId55"/>
    <p:sldLayoutId id="2147484358" r:id="rId56"/>
    <p:sldLayoutId id="2147484359" r:id="rId57"/>
    <p:sldLayoutId id="2147484360" r:id="rId58"/>
    <p:sldLayoutId id="2147484361" r:id="rId59"/>
    <p:sldLayoutId id="2147484362" r:id="rId60"/>
    <p:sldLayoutId id="2147484363" r:id="rId61"/>
    <p:sldLayoutId id="2147484364" r:id="rId62"/>
    <p:sldLayoutId id="2147484365" r:id="rId63"/>
    <p:sldLayoutId id="2147484366" r:id="rId64"/>
    <p:sldLayoutId id="2147484367" r:id="rId65"/>
    <p:sldLayoutId id="2147484368" r:id="rId66"/>
    <p:sldLayoutId id="2147484369" r:id="rId67"/>
    <p:sldLayoutId id="2147484370" r:id="rId68"/>
    <p:sldLayoutId id="2147484371" r:id="rId69"/>
    <p:sldLayoutId id="2147484372" r:id="rId70"/>
    <p:sldLayoutId id="2147484373" r:id="rId71"/>
    <p:sldLayoutId id="2147484374" r:id="rId72"/>
    <p:sldLayoutId id="2147484375" r:id="rId73"/>
    <p:sldLayoutId id="2147484376" r:id="rId74"/>
    <p:sldLayoutId id="2147484377" r:id="rId75"/>
    <p:sldLayoutId id="2147484378" r:id="rId76"/>
    <p:sldLayoutId id="2147484379" r:id="rId77"/>
    <p:sldLayoutId id="2147484380" r:id="rId78"/>
    <p:sldLayoutId id="2147484381" r:id="rId79"/>
    <p:sldLayoutId id="2147484382" r:id="rId80"/>
    <p:sldLayoutId id="2147484383" r:id="rId81"/>
    <p:sldLayoutId id="2147484384" r:id="rId82"/>
    <p:sldLayoutId id="2147484385" r:id="rId83"/>
    <p:sldLayoutId id="2147484386" r:id="rId84"/>
    <p:sldLayoutId id="2147484387" r:id="rId85"/>
    <p:sldLayoutId id="2147484388" r:id="rId86"/>
    <p:sldLayoutId id="2147484389" r:id="rId87"/>
    <p:sldLayoutId id="2147484390" r:id="rId88"/>
    <p:sldLayoutId id="2147484391" r:id="rId89"/>
  </p:sldLayoutIdLst>
  <p:hf hdr="0"/>
  <p:txStyles>
    <p:titleStyle>
      <a:lvl1pPr algn="l" rtl="0" eaLnBrk="1" fontAlgn="base" hangingPunct="1">
        <a:spcBef>
          <a:spcPct val="0"/>
        </a:spcBef>
        <a:spcAft>
          <a:spcPct val="0"/>
        </a:spcAft>
        <a:defRPr sz="2400">
          <a:solidFill>
            <a:srgbClr val="333F48"/>
          </a:solidFill>
          <a:latin typeface="+mj-lt"/>
          <a:ea typeface="+mj-ea"/>
          <a:cs typeface="+mj-cs"/>
        </a:defRPr>
      </a:lvl1pPr>
      <a:lvl2pPr algn="l" rtl="0" eaLnBrk="1" fontAlgn="base" hangingPunct="1">
        <a:spcBef>
          <a:spcPct val="0"/>
        </a:spcBef>
        <a:spcAft>
          <a:spcPct val="0"/>
        </a:spcAft>
        <a:defRPr sz="2400">
          <a:solidFill>
            <a:schemeClr val="tx1"/>
          </a:solidFill>
          <a:latin typeface="Arial" charset="0"/>
        </a:defRPr>
      </a:lvl2pPr>
      <a:lvl3pPr algn="l" rtl="0" eaLnBrk="1" fontAlgn="base" hangingPunct="1">
        <a:spcBef>
          <a:spcPct val="0"/>
        </a:spcBef>
        <a:spcAft>
          <a:spcPct val="0"/>
        </a:spcAft>
        <a:defRPr sz="2400">
          <a:solidFill>
            <a:schemeClr val="tx1"/>
          </a:solidFill>
          <a:latin typeface="Arial" charset="0"/>
        </a:defRPr>
      </a:lvl3pPr>
      <a:lvl4pPr algn="l" rtl="0" eaLnBrk="1" fontAlgn="base" hangingPunct="1">
        <a:spcBef>
          <a:spcPct val="0"/>
        </a:spcBef>
        <a:spcAft>
          <a:spcPct val="0"/>
        </a:spcAft>
        <a:defRPr sz="2400">
          <a:solidFill>
            <a:schemeClr val="tx1"/>
          </a:solidFill>
          <a:latin typeface="Arial" charset="0"/>
        </a:defRPr>
      </a:lvl4pPr>
      <a:lvl5pPr algn="l" rtl="0" eaLnBrk="1" fontAlgn="base" hangingPunct="1">
        <a:spcBef>
          <a:spcPct val="0"/>
        </a:spcBef>
        <a:spcAft>
          <a:spcPct val="0"/>
        </a:spcAft>
        <a:defRPr sz="2400">
          <a:solidFill>
            <a:schemeClr val="tx1"/>
          </a:solidFill>
          <a:latin typeface="Arial" charset="0"/>
        </a:defRPr>
      </a:lvl5pPr>
      <a:lvl6pPr marL="457200" algn="l" rtl="0" eaLnBrk="1" fontAlgn="base" hangingPunct="1">
        <a:spcBef>
          <a:spcPct val="0"/>
        </a:spcBef>
        <a:spcAft>
          <a:spcPct val="0"/>
        </a:spcAft>
        <a:defRPr sz="2400">
          <a:solidFill>
            <a:schemeClr val="tx1"/>
          </a:solidFill>
          <a:latin typeface="Arial" charset="0"/>
        </a:defRPr>
      </a:lvl6pPr>
      <a:lvl7pPr marL="914400" algn="l" rtl="0" eaLnBrk="1" fontAlgn="base" hangingPunct="1">
        <a:spcBef>
          <a:spcPct val="0"/>
        </a:spcBef>
        <a:spcAft>
          <a:spcPct val="0"/>
        </a:spcAft>
        <a:defRPr sz="2400">
          <a:solidFill>
            <a:schemeClr val="tx1"/>
          </a:solidFill>
          <a:latin typeface="Arial" charset="0"/>
        </a:defRPr>
      </a:lvl7pPr>
      <a:lvl8pPr marL="1371600" algn="l" rtl="0" eaLnBrk="1" fontAlgn="base" hangingPunct="1">
        <a:spcBef>
          <a:spcPct val="0"/>
        </a:spcBef>
        <a:spcAft>
          <a:spcPct val="0"/>
        </a:spcAft>
        <a:defRPr sz="2400">
          <a:solidFill>
            <a:schemeClr val="tx1"/>
          </a:solidFill>
          <a:latin typeface="Arial" charset="0"/>
        </a:defRPr>
      </a:lvl8pPr>
      <a:lvl9pPr marL="1828800" algn="l" rtl="0" eaLnBrk="1" fontAlgn="base" hangingPunct="1">
        <a:spcBef>
          <a:spcPct val="0"/>
        </a:spcBef>
        <a:spcAft>
          <a:spcPct val="0"/>
        </a:spcAft>
        <a:defRPr sz="2400">
          <a:solidFill>
            <a:schemeClr val="tx1"/>
          </a:solidFill>
          <a:latin typeface="Arial" charset="0"/>
        </a:defRPr>
      </a:lvl9pPr>
    </p:titleStyle>
    <p:bodyStyle>
      <a:lvl1pPr marL="114300" indent="-114300" algn="l" rtl="0" eaLnBrk="1" fontAlgn="base" hangingPunct="1">
        <a:spcBef>
          <a:spcPts val="600"/>
        </a:spcBef>
        <a:spcAft>
          <a:spcPct val="0"/>
        </a:spcAft>
        <a:buSzPct val="40000"/>
        <a:defRPr sz="1600" b="1">
          <a:solidFill>
            <a:srgbClr val="7A9A3D"/>
          </a:solidFill>
          <a:latin typeface="+mn-lt"/>
          <a:ea typeface="+mn-ea"/>
          <a:cs typeface="+mn-cs"/>
        </a:defRPr>
      </a:lvl1pPr>
      <a:lvl2pPr marL="342900" indent="-114300" algn="l" rtl="0" eaLnBrk="1" fontAlgn="base" hangingPunct="1">
        <a:spcBef>
          <a:spcPts val="600"/>
        </a:spcBef>
        <a:spcAft>
          <a:spcPct val="0"/>
        </a:spcAft>
        <a:buClr>
          <a:srgbClr val="7A9B3D"/>
        </a:buClr>
        <a:buChar char="•"/>
        <a:defRPr sz="1400">
          <a:solidFill>
            <a:srgbClr val="000000"/>
          </a:solidFill>
          <a:latin typeface="+mn-lt"/>
        </a:defRPr>
      </a:lvl2pPr>
      <a:lvl3pPr marL="571500" indent="-114300" algn="l" rtl="0" eaLnBrk="1" fontAlgn="base" hangingPunct="1">
        <a:spcBef>
          <a:spcPts val="600"/>
        </a:spcBef>
        <a:spcAft>
          <a:spcPct val="0"/>
        </a:spcAft>
        <a:buClr>
          <a:srgbClr val="7A9A3D"/>
        </a:buClr>
        <a:buFont typeface="Arial" pitchFamily="34" charset="0"/>
        <a:buChar char="–"/>
        <a:defRPr sz="1200">
          <a:solidFill>
            <a:srgbClr val="000000"/>
          </a:solidFill>
          <a:latin typeface="+mn-lt"/>
        </a:defRPr>
      </a:lvl3pPr>
      <a:lvl4pPr marL="800100" indent="-114300" algn="l" rtl="0" eaLnBrk="1" fontAlgn="base" hangingPunct="1">
        <a:spcBef>
          <a:spcPts val="600"/>
        </a:spcBef>
        <a:spcAft>
          <a:spcPct val="0"/>
        </a:spcAft>
        <a:buClr>
          <a:srgbClr val="7A9A3D"/>
        </a:buClr>
        <a:buFont typeface="Arial" pitchFamily="34" charset="0"/>
        <a:buChar char="•"/>
        <a:defRPr sz="1200">
          <a:solidFill>
            <a:srgbClr val="000000"/>
          </a:solidFill>
          <a:latin typeface="+mn-lt"/>
        </a:defRPr>
      </a:lvl4pPr>
      <a:lvl5pPr marL="2057400" indent="-228600" algn="l" rtl="0" eaLnBrk="1" fontAlgn="base" hangingPunct="1">
        <a:lnSpc>
          <a:spcPts val="2400"/>
        </a:lnSpc>
        <a:spcBef>
          <a:spcPct val="0"/>
        </a:spcBef>
        <a:spcAft>
          <a:spcPct val="0"/>
        </a:spcAft>
        <a:defRPr sz="1400">
          <a:solidFill>
            <a:schemeClr val="tx1"/>
          </a:solidFill>
          <a:latin typeface="+mn-lt"/>
        </a:defRPr>
      </a:lvl5pPr>
      <a:lvl6pPr marL="2514600" indent="-228600" algn="l" rtl="0" eaLnBrk="1" fontAlgn="base" hangingPunct="1">
        <a:lnSpc>
          <a:spcPts val="2400"/>
        </a:lnSpc>
        <a:spcBef>
          <a:spcPct val="0"/>
        </a:spcBef>
        <a:spcAft>
          <a:spcPct val="0"/>
        </a:spcAft>
        <a:defRPr sz="1400">
          <a:solidFill>
            <a:schemeClr val="tx1"/>
          </a:solidFill>
          <a:latin typeface="+mn-lt"/>
        </a:defRPr>
      </a:lvl6pPr>
      <a:lvl7pPr marL="2971800" indent="-228600" algn="l" rtl="0" eaLnBrk="1" fontAlgn="base" hangingPunct="1">
        <a:lnSpc>
          <a:spcPts val="2400"/>
        </a:lnSpc>
        <a:spcBef>
          <a:spcPct val="0"/>
        </a:spcBef>
        <a:spcAft>
          <a:spcPct val="0"/>
        </a:spcAft>
        <a:defRPr sz="1400">
          <a:solidFill>
            <a:schemeClr val="tx1"/>
          </a:solidFill>
          <a:latin typeface="+mn-lt"/>
        </a:defRPr>
      </a:lvl7pPr>
      <a:lvl8pPr marL="3429000" indent="-228600" algn="l" rtl="0" eaLnBrk="1" fontAlgn="base" hangingPunct="1">
        <a:lnSpc>
          <a:spcPts val="2400"/>
        </a:lnSpc>
        <a:spcBef>
          <a:spcPct val="0"/>
        </a:spcBef>
        <a:spcAft>
          <a:spcPct val="0"/>
        </a:spcAft>
        <a:defRPr sz="1400">
          <a:solidFill>
            <a:schemeClr val="tx1"/>
          </a:solidFill>
          <a:latin typeface="+mn-lt"/>
        </a:defRPr>
      </a:lvl8pPr>
      <a:lvl9pPr marL="3886200" indent="-228600" algn="l" rtl="0" eaLnBrk="1" fontAlgn="base" hangingPunct="1">
        <a:lnSpc>
          <a:spcPts val="2400"/>
        </a:lnSpc>
        <a:spcBef>
          <a:spcPct val="0"/>
        </a:spcBef>
        <a:spcAft>
          <a:spcPct val="0"/>
        </a:spcAft>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317115" y="228600"/>
            <a:ext cx="8229600" cy="838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itle style</a:t>
            </a:r>
            <a:endParaRPr lang="en-US" dirty="0"/>
          </a:p>
        </p:txBody>
      </p:sp>
      <p:sp>
        <p:nvSpPr>
          <p:cNvPr id="4099" name="Rectangle 3"/>
          <p:cNvSpPr>
            <a:spLocks noGrp="1" noChangeArrowheads="1"/>
          </p:cNvSpPr>
          <p:nvPr>
            <p:ph type="body" idx="1"/>
          </p:nvPr>
        </p:nvSpPr>
        <p:spPr bwMode="auto">
          <a:xfrm>
            <a:off x="317115" y="1339850"/>
            <a:ext cx="7908925" cy="48918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First level</a:t>
            </a:r>
          </a:p>
          <a:p>
            <a:pPr lvl="2"/>
            <a:r>
              <a:rPr lang="en-US" dirty="0"/>
              <a:t>Second level</a:t>
            </a:r>
          </a:p>
          <a:p>
            <a:pPr lvl="3"/>
            <a:r>
              <a:rPr lang="en-US" dirty="0"/>
              <a:t>Third level</a:t>
            </a:r>
          </a:p>
        </p:txBody>
      </p:sp>
      <p:sp>
        <p:nvSpPr>
          <p:cNvPr id="429061" name="Rectangle 5"/>
          <p:cNvSpPr>
            <a:spLocks noGrp="1" noChangeArrowheads="1"/>
          </p:cNvSpPr>
          <p:nvPr>
            <p:ph type="sldNum" sz="quarter" idx="4"/>
          </p:nvPr>
        </p:nvSpPr>
        <p:spPr bwMode="auto">
          <a:xfrm>
            <a:off x="0" y="6382512"/>
            <a:ext cx="329184" cy="265176"/>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defRPr sz="800" b="1">
                <a:solidFill>
                  <a:srgbClr val="000000"/>
                </a:solidFill>
                <a:latin typeface="Arial" charset="0"/>
                <a:ea typeface="ＭＳ Ｐゴシック" charset="-128"/>
                <a:cs typeface="+mn-cs"/>
              </a:defRPr>
            </a:lvl1pPr>
          </a:lstStyle>
          <a:p>
            <a:pPr fontAlgn="base">
              <a:spcBef>
                <a:spcPct val="0"/>
              </a:spcBef>
              <a:spcAft>
                <a:spcPct val="0"/>
              </a:spcAft>
              <a:defRPr/>
            </a:pPr>
            <a:fld id="{287592CB-37D3-4196-AC6E-CD3990F28521}" type="slidenum">
              <a:rPr lang="en-US" smtClean="0"/>
              <a:pPr fontAlgn="base">
                <a:spcBef>
                  <a:spcPct val="0"/>
                </a:spcBef>
                <a:spcAft>
                  <a:spcPct val="0"/>
                </a:spcAft>
                <a:defRPr/>
              </a:pPr>
              <a:t>‹#›</a:t>
            </a:fld>
            <a:endParaRPr lang="en-US" dirty="0"/>
          </a:p>
        </p:txBody>
      </p:sp>
      <p:sp>
        <p:nvSpPr>
          <p:cNvPr id="429211" name="Rectangle 155"/>
          <p:cNvSpPr>
            <a:spLocks noGrp="1" noChangeArrowheads="1"/>
          </p:cNvSpPr>
          <p:nvPr>
            <p:ph type="dt" sz="half" idx="2"/>
          </p:nvPr>
        </p:nvSpPr>
        <p:spPr bwMode="auto">
          <a:xfrm>
            <a:off x="317115" y="6656832"/>
            <a:ext cx="1984248" cy="118872"/>
          </a:xfrm>
          <a:prstGeom prst="rect">
            <a:avLst/>
          </a:prstGeom>
          <a:noFill/>
          <a:ln w="9525">
            <a:noFill/>
            <a:miter lim="800000"/>
            <a:headEnd/>
            <a:tailEnd/>
          </a:ln>
          <a:effectLst/>
        </p:spPr>
        <p:txBody>
          <a:bodyPr vert="horz" wrap="square" lIns="91440" tIns="0" rIns="91440" bIns="0" numCol="1" anchor="b" anchorCtr="0" compatLnSpc="1">
            <a:prstTxWarp prst="textNoShape">
              <a:avLst/>
            </a:prstTxWarp>
          </a:bodyPr>
          <a:lstStyle>
            <a:lvl1pPr algn="l" eaLnBrk="0" hangingPunct="0">
              <a:defRPr sz="700" smtClean="0">
                <a:solidFill>
                  <a:srgbClr val="000000"/>
                </a:solidFill>
                <a:latin typeface="Arial" charset="0"/>
                <a:ea typeface="ＭＳ Ｐゴシック" charset="-128"/>
                <a:cs typeface="+mn-cs"/>
              </a:defRPr>
            </a:lvl1pPr>
          </a:lstStyle>
          <a:p>
            <a:pPr fontAlgn="base">
              <a:spcBef>
                <a:spcPct val="0"/>
              </a:spcBef>
              <a:spcAft>
                <a:spcPct val="0"/>
              </a:spcAft>
              <a:defRPr/>
            </a:pPr>
            <a:r>
              <a:rPr lang="en-US"/>
              <a:t>Production code #</a:t>
            </a:r>
            <a:endParaRPr lang="en-US" dirty="0"/>
          </a:p>
        </p:txBody>
      </p:sp>
      <p:sp>
        <p:nvSpPr>
          <p:cNvPr id="429212" name="Rectangle 156"/>
          <p:cNvSpPr>
            <a:spLocks noGrp="1" noChangeArrowheads="1"/>
          </p:cNvSpPr>
          <p:nvPr>
            <p:ph type="ftr" sz="quarter" idx="3"/>
          </p:nvPr>
        </p:nvSpPr>
        <p:spPr bwMode="auto">
          <a:xfrm>
            <a:off x="317115" y="6483096"/>
            <a:ext cx="3931920" cy="173736"/>
          </a:xfrm>
          <a:prstGeom prst="rect">
            <a:avLst/>
          </a:prstGeom>
          <a:noFill/>
          <a:ln w="9525">
            <a:noFill/>
            <a:miter lim="800000"/>
            <a:headEnd/>
            <a:tailEnd/>
          </a:ln>
          <a:effectLst/>
        </p:spPr>
        <p:txBody>
          <a:bodyPr vert="horz" wrap="square" lIns="91440" tIns="0" rIns="91440" bIns="0" numCol="1" anchor="b" anchorCtr="0" compatLnSpc="1">
            <a:prstTxWarp prst="textNoShape">
              <a:avLst/>
            </a:prstTxWarp>
          </a:bodyPr>
          <a:lstStyle>
            <a:lvl1pPr algn="l" eaLnBrk="0" hangingPunct="0">
              <a:defRPr sz="800" smtClean="0">
                <a:solidFill>
                  <a:srgbClr val="000000"/>
                </a:solidFill>
                <a:latin typeface="Arial" charset="0"/>
                <a:ea typeface="ＭＳ Ｐゴシック" charset="-128"/>
                <a:cs typeface="+mn-cs"/>
              </a:defRPr>
            </a:lvl1pPr>
          </a:lstStyle>
          <a:p>
            <a:pPr fontAlgn="base">
              <a:spcBef>
                <a:spcPct val="0"/>
              </a:spcBef>
              <a:spcAft>
                <a:spcPct val="0"/>
              </a:spcAft>
              <a:defRPr/>
            </a:pPr>
            <a:r>
              <a:rPr lang="en-US" dirty="0"/>
              <a:t>Page footer, i.e., For institutional use only.</a:t>
            </a:r>
          </a:p>
        </p:txBody>
      </p:sp>
    </p:spTree>
    <p:extLst>
      <p:ext uri="{BB962C8B-B14F-4D97-AF65-F5344CB8AC3E}">
        <p14:creationId xmlns:p14="http://schemas.microsoft.com/office/powerpoint/2010/main" val="2695743460"/>
      </p:ext>
    </p:extLst>
  </p:cSld>
  <p:clrMap bg1="lt1" tx1="dk1" bg2="lt2" tx2="dk2" accent1="accent1" accent2="accent2" accent3="accent3" accent4="accent4" accent5="accent5" accent6="accent6" hlink="hlink" folHlink="folHlink"/>
  <p:sldLayoutIdLst>
    <p:sldLayoutId id="2147484393" r:id="rId1"/>
    <p:sldLayoutId id="2147484394" r:id="rId2"/>
    <p:sldLayoutId id="2147484395" r:id="rId3"/>
    <p:sldLayoutId id="2147484396" r:id="rId4"/>
    <p:sldLayoutId id="2147484397" r:id="rId5"/>
    <p:sldLayoutId id="2147484398" r:id="rId6"/>
    <p:sldLayoutId id="2147484399" r:id="rId7"/>
    <p:sldLayoutId id="2147484400" r:id="rId8"/>
    <p:sldLayoutId id="2147484401" r:id="rId9"/>
    <p:sldLayoutId id="2147484402" r:id="rId10"/>
    <p:sldLayoutId id="2147484403" r:id="rId11"/>
    <p:sldLayoutId id="2147484404" r:id="rId12"/>
    <p:sldLayoutId id="2147484405" r:id="rId13"/>
    <p:sldLayoutId id="2147484406" r:id="rId14"/>
    <p:sldLayoutId id="2147484407" r:id="rId15"/>
    <p:sldLayoutId id="2147484408" r:id="rId16"/>
    <p:sldLayoutId id="2147484409" r:id="rId17"/>
    <p:sldLayoutId id="2147484410" r:id="rId18"/>
    <p:sldLayoutId id="2147484411" r:id="rId19"/>
    <p:sldLayoutId id="2147484412" r:id="rId20"/>
    <p:sldLayoutId id="2147484413" r:id="rId21"/>
    <p:sldLayoutId id="2147484414" r:id="rId22"/>
    <p:sldLayoutId id="2147484415" r:id="rId23"/>
    <p:sldLayoutId id="2147484416" r:id="rId24"/>
    <p:sldLayoutId id="2147484417" r:id="rId25"/>
    <p:sldLayoutId id="2147484418" r:id="rId26"/>
    <p:sldLayoutId id="2147484419" r:id="rId27"/>
    <p:sldLayoutId id="2147484420" r:id="rId28"/>
    <p:sldLayoutId id="2147484421" r:id="rId29"/>
    <p:sldLayoutId id="2147484422" r:id="rId30"/>
    <p:sldLayoutId id="2147484423" r:id="rId31"/>
    <p:sldLayoutId id="2147484424" r:id="rId32"/>
    <p:sldLayoutId id="2147484425" r:id="rId33"/>
    <p:sldLayoutId id="2147484426" r:id="rId34"/>
    <p:sldLayoutId id="2147484427" r:id="rId35"/>
    <p:sldLayoutId id="2147484428" r:id="rId36"/>
    <p:sldLayoutId id="2147484429" r:id="rId37"/>
    <p:sldLayoutId id="2147484430" r:id="rId38"/>
    <p:sldLayoutId id="2147484431" r:id="rId39"/>
    <p:sldLayoutId id="2147484432" r:id="rId40"/>
    <p:sldLayoutId id="2147484433" r:id="rId41"/>
    <p:sldLayoutId id="2147484434" r:id="rId42"/>
    <p:sldLayoutId id="2147484435" r:id="rId43"/>
    <p:sldLayoutId id="2147484436" r:id="rId44"/>
    <p:sldLayoutId id="2147484437" r:id="rId45"/>
    <p:sldLayoutId id="2147484438" r:id="rId46"/>
    <p:sldLayoutId id="2147484439" r:id="rId47"/>
    <p:sldLayoutId id="2147484440" r:id="rId48"/>
    <p:sldLayoutId id="2147484441" r:id="rId49"/>
    <p:sldLayoutId id="2147484442" r:id="rId50"/>
    <p:sldLayoutId id="2147484443" r:id="rId51"/>
    <p:sldLayoutId id="2147484444" r:id="rId52"/>
    <p:sldLayoutId id="2147484445" r:id="rId53"/>
    <p:sldLayoutId id="2147484446" r:id="rId54"/>
    <p:sldLayoutId id="2147484447" r:id="rId55"/>
    <p:sldLayoutId id="2147484448" r:id="rId56"/>
    <p:sldLayoutId id="2147484449" r:id="rId57"/>
    <p:sldLayoutId id="2147484450" r:id="rId58"/>
    <p:sldLayoutId id="2147484451" r:id="rId59"/>
    <p:sldLayoutId id="2147484452" r:id="rId60"/>
    <p:sldLayoutId id="2147484453" r:id="rId61"/>
    <p:sldLayoutId id="2147484454" r:id="rId62"/>
    <p:sldLayoutId id="2147484455" r:id="rId63"/>
    <p:sldLayoutId id="2147484456" r:id="rId64"/>
    <p:sldLayoutId id="2147484457" r:id="rId65"/>
    <p:sldLayoutId id="2147484458" r:id="rId66"/>
    <p:sldLayoutId id="2147484459" r:id="rId67"/>
    <p:sldLayoutId id="2147484460" r:id="rId68"/>
    <p:sldLayoutId id="2147484461" r:id="rId69"/>
    <p:sldLayoutId id="2147484462" r:id="rId70"/>
    <p:sldLayoutId id="2147484463" r:id="rId71"/>
    <p:sldLayoutId id="2147484464" r:id="rId72"/>
    <p:sldLayoutId id="2147484465" r:id="rId73"/>
    <p:sldLayoutId id="2147484466" r:id="rId74"/>
    <p:sldLayoutId id="2147484467" r:id="rId75"/>
    <p:sldLayoutId id="2147484468" r:id="rId76"/>
    <p:sldLayoutId id="2147484469" r:id="rId77"/>
    <p:sldLayoutId id="2147484470" r:id="rId78"/>
    <p:sldLayoutId id="2147484471" r:id="rId79"/>
    <p:sldLayoutId id="2147484472" r:id="rId80"/>
    <p:sldLayoutId id="2147484473" r:id="rId81"/>
    <p:sldLayoutId id="2147484474" r:id="rId82"/>
    <p:sldLayoutId id="2147484475" r:id="rId83"/>
    <p:sldLayoutId id="2147484476" r:id="rId84"/>
    <p:sldLayoutId id="2147484477" r:id="rId85"/>
    <p:sldLayoutId id="2147484478" r:id="rId86"/>
    <p:sldLayoutId id="2147484479" r:id="rId87"/>
    <p:sldLayoutId id="2147484480" r:id="rId88"/>
    <p:sldLayoutId id="2147484481" r:id="rId89"/>
  </p:sldLayoutIdLst>
  <p:hf hdr="0"/>
  <p:txStyles>
    <p:titleStyle>
      <a:lvl1pPr algn="l" rtl="0" eaLnBrk="1" fontAlgn="base" hangingPunct="1">
        <a:spcBef>
          <a:spcPct val="0"/>
        </a:spcBef>
        <a:spcAft>
          <a:spcPct val="0"/>
        </a:spcAft>
        <a:defRPr sz="2400">
          <a:solidFill>
            <a:srgbClr val="333F48"/>
          </a:solidFill>
          <a:latin typeface="+mj-lt"/>
          <a:ea typeface="+mj-ea"/>
          <a:cs typeface="+mj-cs"/>
        </a:defRPr>
      </a:lvl1pPr>
      <a:lvl2pPr algn="l" rtl="0" eaLnBrk="1" fontAlgn="base" hangingPunct="1">
        <a:spcBef>
          <a:spcPct val="0"/>
        </a:spcBef>
        <a:spcAft>
          <a:spcPct val="0"/>
        </a:spcAft>
        <a:defRPr sz="2400">
          <a:solidFill>
            <a:schemeClr val="tx1"/>
          </a:solidFill>
          <a:latin typeface="Arial" charset="0"/>
        </a:defRPr>
      </a:lvl2pPr>
      <a:lvl3pPr algn="l" rtl="0" eaLnBrk="1" fontAlgn="base" hangingPunct="1">
        <a:spcBef>
          <a:spcPct val="0"/>
        </a:spcBef>
        <a:spcAft>
          <a:spcPct val="0"/>
        </a:spcAft>
        <a:defRPr sz="2400">
          <a:solidFill>
            <a:schemeClr val="tx1"/>
          </a:solidFill>
          <a:latin typeface="Arial" charset="0"/>
        </a:defRPr>
      </a:lvl3pPr>
      <a:lvl4pPr algn="l" rtl="0" eaLnBrk="1" fontAlgn="base" hangingPunct="1">
        <a:spcBef>
          <a:spcPct val="0"/>
        </a:spcBef>
        <a:spcAft>
          <a:spcPct val="0"/>
        </a:spcAft>
        <a:defRPr sz="2400">
          <a:solidFill>
            <a:schemeClr val="tx1"/>
          </a:solidFill>
          <a:latin typeface="Arial" charset="0"/>
        </a:defRPr>
      </a:lvl4pPr>
      <a:lvl5pPr algn="l" rtl="0" eaLnBrk="1" fontAlgn="base" hangingPunct="1">
        <a:spcBef>
          <a:spcPct val="0"/>
        </a:spcBef>
        <a:spcAft>
          <a:spcPct val="0"/>
        </a:spcAft>
        <a:defRPr sz="2400">
          <a:solidFill>
            <a:schemeClr val="tx1"/>
          </a:solidFill>
          <a:latin typeface="Arial" charset="0"/>
        </a:defRPr>
      </a:lvl5pPr>
      <a:lvl6pPr marL="457200" algn="l" rtl="0" eaLnBrk="1" fontAlgn="base" hangingPunct="1">
        <a:spcBef>
          <a:spcPct val="0"/>
        </a:spcBef>
        <a:spcAft>
          <a:spcPct val="0"/>
        </a:spcAft>
        <a:defRPr sz="2400">
          <a:solidFill>
            <a:schemeClr val="tx1"/>
          </a:solidFill>
          <a:latin typeface="Arial" charset="0"/>
        </a:defRPr>
      </a:lvl6pPr>
      <a:lvl7pPr marL="914400" algn="l" rtl="0" eaLnBrk="1" fontAlgn="base" hangingPunct="1">
        <a:spcBef>
          <a:spcPct val="0"/>
        </a:spcBef>
        <a:spcAft>
          <a:spcPct val="0"/>
        </a:spcAft>
        <a:defRPr sz="2400">
          <a:solidFill>
            <a:schemeClr val="tx1"/>
          </a:solidFill>
          <a:latin typeface="Arial" charset="0"/>
        </a:defRPr>
      </a:lvl7pPr>
      <a:lvl8pPr marL="1371600" algn="l" rtl="0" eaLnBrk="1" fontAlgn="base" hangingPunct="1">
        <a:spcBef>
          <a:spcPct val="0"/>
        </a:spcBef>
        <a:spcAft>
          <a:spcPct val="0"/>
        </a:spcAft>
        <a:defRPr sz="2400">
          <a:solidFill>
            <a:schemeClr val="tx1"/>
          </a:solidFill>
          <a:latin typeface="Arial" charset="0"/>
        </a:defRPr>
      </a:lvl8pPr>
      <a:lvl9pPr marL="1828800" algn="l" rtl="0" eaLnBrk="1" fontAlgn="base" hangingPunct="1">
        <a:spcBef>
          <a:spcPct val="0"/>
        </a:spcBef>
        <a:spcAft>
          <a:spcPct val="0"/>
        </a:spcAft>
        <a:defRPr sz="2400">
          <a:solidFill>
            <a:schemeClr val="tx1"/>
          </a:solidFill>
          <a:latin typeface="Arial" charset="0"/>
        </a:defRPr>
      </a:lvl9pPr>
    </p:titleStyle>
    <p:bodyStyle>
      <a:lvl1pPr marL="114300" indent="-114300" algn="l" rtl="0" eaLnBrk="1" fontAlgn="base" hangingPunct="1">
        <a:spcBef>
          <a:spcPts val="600"/>
        </a:spcBef>
        <a:spcAft>
          <a:spcPct val="0"/>
        </a:spcAft>
        <a:buSzPct val="40000"/>
        <a:defRPr sz="1600" b="1">
          <a:solidFill>
            <a:srgbClr val="7A9A3D"/>
          </a:solidFill>
          <a:latin typeface="+mn-lt"/>
          <a:ea typeface="+mn-ea"/>
          <a:cs typeface="+mn-cs"/>
        </a:defRPr>
      </a:lvl1pPr>
      <a:lvl2pPr marL="342900" indent="-114300" algn="l" rtl="0" eaLnBrk="1" fontAlgn="base" hangingPunct="1">
        <a:spcBef>
          <a:spcPts val="600"/>
        </a:spcBef>
        <a:spcAft>
          <a:spcPct val="0"/>
        </a:spcAft>
        <a:buClr>
          <a:srgbClr val="7A9B3D"/>
        </a:buClr>
        <a:buChar char="•"/>
        <a:defRPr sz="1400">
          <a:solidFill>
            <a:srgbClr val="000000"/>
          </a:solidFill>
          <a:latin typeface="+mn-lt"/>
        </a:defRPr>
      </a:lvl2pPr>
      <a:lvl3pPr marL="571500" indent="-114300" algn="l" rtl="0" eaLnBrk="1" fontAlgn="base" hangingPunct="1">
        <a:spcBef>
          <a:spcPts val="600"/>
        </a:spcBef>
        <a:spcAft>
          <a:spcPct val="0"/>
        </a:spcAft>
        <a:buClr>
          <a:srgbClr val="7A9A3D"/>
        </a:buClr>
        <a:buFont typeface="Arial" pitchFamily="34" charset="0"/>
        <a:buChar char="–"/>
        <a:defRPr sz="1200">
          <a:solidFill>
            <a:srgbClr val="000000"/>
          </a:solidFill>
          <a:latin typeface="+mn-lt"/>
        </a:defRPr>
      </a:lvl3pPr>
      <a:lvl4pPr marL="800100" indent="-114300" algn="l" rtl="0" eaLnBrk="1" fontAlgn="base" hangingPunct="1">
        <a:spcBef>
          <a:spcPts val="600"/>
        </a:spcBef>
        <a:spcAft>
          <a:spcPct val="0"/>
        </a:spcAft>
        <a:buClr>
          <a:srgbClr val="7A9A3D"/>
        </a:buClr>
        <a:buFont typeface="Arial" pitchFamily="34" charset="0"/>
        <a:buChar char="•"/>
        <a:defRPr sz="1200">
          <a:solidFill>
            <a:srgbClr val="000000"/>
          </a:solidFill>
          <a:latin typeface="+mn-lt"/>
        </a:defRPr>
      </a:lvl4pPr>
      <a:lvl5pPr marL="2057400" indent="-228600" algn="l" rtl="0" eaLnBrk="1" fontAlgn="base" hangingPunct="1">
        <a:lnSpc>
          <a:spcPts val="2400"/>
        </a:lnSpc>
        <a:spcBef>
          <a:spcPct val="0"/>
        </a:spcBef>
        <a:spcAft>
          <a:spcPct val="0"/>
        </a:spcAft>
        <a:defRPr sz="1400">
          <a:solidFill>
            <a:schemeClr val="tx1"/>
          </a:solidFill>
          <a:latin typeface="+mn-lt"/>
        </a:defRPr>
      </a:lvl5pPr>
      <a:lvl6pPr marL="2514600" indent="-228600" algn="l" rtl="0" eaLnBrk="1" fontAlgn="base" hangingPunct="1">
        <a:lnSpc>
          <a:spcPts val="2400"/>
        </a:lnSpc>
        <a:spcBef>
          <a:spcPct val="0"/>
        </a:spcBef>
        <a:spcAft>
          <a:spcPct val="0"/>
        </a:spcAft>
        <a:defRPr sz="1400">
          <a:solidFill>
            <a:schemeClr val="tx1"/>
          </a:solidFill>
          <a:latin typeface="+mn-lt"/>
        </a:defRPr>
      </a:lvl6pPr>
      <a:lvl7pPr marL="2971800" indent="-228600" algn="l" rtl="0" eaLnBrk="1" fontAlgn="base" hangingPunct="1">
        <a:lnSpc>
          <a:spcPts val="2400"/>
        </a:lnSpc>
        <a:spcBef>
          <a:spcPct val="0"/>
        </a:spcBef>
        <a:spcAft>
          <a:spcPct val="0"/>
        </a:spcAft>
        <a:defRPr sz="1400">
          <a:solidFill>
            <a:schemeClr val="tx1"/>
          </a:solidFill>
          <a:latin typeface="+mn-lt"/>
        </a:defRPr>
      </a:lvl7pPr>
      <a:lvl8pPr marL="3429000" indent="-228600" algn="l" rtl="0" eaLnBrk="1" fontAlgn="base" hangingPunct="1">
        <a:lnSpc>
          <a:spcPts val="2400"/>
        </a:lnSpc>
        <a:spcBef>
          <a:spcPct val="0"/>
        </a:spcBef>
        <a:spcAft>
          <a:spcPct val="0"/>
        </a:spcAft>
        <a:defRPr sz="1400">
          <a:solidFill>
            <a:schemeClr val="tx1"/>
          </a:solidFill>
          <a:latin typeface="+mn-lt"/>
        </a:defRPr>
      </a:lvl8pPr>
      <a:lvl9pPr marL="3886200" indent="-228600" algn="l" rtl="0" eaLnBrk="1" fontAlgn="base" hangingPunct="1">
        <a:lnSpc>
          <a:spcPts val="2400"/>
        </a:lnSpc>
        <a:spcBef>
          <a:spcPct val="0"/>
        </a:spcBef>
        <a:spcAft>
          <a:spcPct val="0"/>
        </a:spcAft>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4479" y="336211"/>
            <a:ext cx="8522208" cy="461665"/>
          </a:xfrm>
          <a:prstGeom prst="rect">
            <a:avLst/>
          </a:prstGeom>
        </p:spPr>
        <p:txBody>
          <a:bodyPr vert="horz" lIns="91440" tIns="45720" rIns="91440" bIns="45720" rtlCol="0" anchor="t">
            <a:spAutoFit/>
          </a:bodyPr>
          <a:lstStyle/>
          <a:p>
            <a:r>
              <a:rPr lang="en-US" dirty="0"/>
              <a:t>Click to edit Master title style</a:t>
            </a:r>
          </a:p>
        </p:txBody>
      </p:sp>
      <p:sp>
        <p:nvSpPr>
          <p:cNvPr id="3" name="Text Placeholder 2"/>
          <p:cNvSpPr>
            <a:spLocks noGrp="1"/>
          </p:cNvSpPr>
          <p:nvPr>
            <p:ph type="body" idx="1"/>
          </p:nvPr>
        </p:nvSpPr>
        <p:spPr>
          <a:xfrm>
            <a:off x="284479" y="1476069"/>
            <a:ext cx="8522208" cy="4525963"/>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7" name="Picture 6"/>
          <p:cNvPicPr>
            <a:picLocks noChangeAspect="1"/>
          </p:cNvPicPr>
          <p:nvPr userDrawn="1"/>
        </p:nvPicPr>
        <p:blipFill rotWithShape="1">
          <a:blip r:embed="rId15" cstate="print">
            <a:extLst>
              <a:ext uri="{28A0092B-C50C-407E-A947-70E740481C1C}">
                <a14:useLocalDpi xmlns:a14="http://schemas.microsoft.com/office/drawing/2010/main"/>
              </a:ext>
            </a:extLst>
          </a:blip>
          <a:srcRect l="21785" t="15713" r="24292" b="58094"/>
          <a:stretch/>
        </p:blipFill>
        <p:spPr>
          <a:xfrm>
            <a:off x="7629479" y="6106076"/>
            <a:ext cx="1431056" cy="716211"/>
          </a:xfrm>
          <a:prstGeom prst="rect">
            <a:avLst/>
          </a:prstGeom>
        </p:spPr>
      </p:pic>
      <p:sp>
        <p:nvSpPr>
          <p:cNvPr id="4" name="TextBox 3"/>
          <p:cNvSpPr txBox="1"/>
          <p:nvPr userDrawn="1"/>
        </p:nvSpPr>
        <p:spPr>
          <a:xfrm>
            <a:off x="359070" y="6435295"/>
            <a:ext cx="1628972" cy="215444"/>
          </a:xfrm>
          <a:prstGeom prst="rect">
            <a:avLst/>
          </a:prstGeom>
          <a:noFill/>
        </p:spPr>
        <p:txBody>
          <a:bodyPr wrap="none" rtlCol="0">
            <a:spAutoFit/>
          </a:bodyPr>
          <a:lstStyle/>
          <a:p>
            <a:r>
              <a:rPr lang="en-US" sz="800" dirty="0">
                <a:solidFill>
                  <a:schemeClr val="tx1">
                    <a:lumMod val="50000"/>
                    <a:lumOff val="50000"/>
                  </a:schemeClr>
                </a:solidFill>
              </a:rPr>
              <a:t>Fidelity </a:t>
            </a:r>
            <a:r>
              <a:rPr lang="en-US" sz="800" dirty="0">
                <a:solidFill>
                  <a:schemeClr val="tx1">
                    <a:lumMod val="50000"/>
                    <a:lumOff val="50000"/>
                  </a:schemeClr>
                </a:solidFill>
                <a:latin typeface="Arial" panose="020B0604020202020204" pitchFamily="34" charset="0"/>
                <a:cs typeface="Arial" panose="020B0604020202020204" pitchFamily="34" charset="0"/>
              </a:rPr>
              <a:t>Confidential</a:t>
            </a:r>
            <a:r>
              <a:rPr lang="en-US" sz="800" dirty="0">
                <a:solidFill>
                  <a:schemeClr val="tx1">
                    <a:lumMod val="50000"/>
                    <a:lumOff val="50000"/>
                  </a:schemeClr>
                </a:solidFill>
              </a:rPr>
              <a:t> Information</a:t>
            </a:r>
          </a:p>
        </p:txBody>
      </p:sp>
    </p:spTree>
    <p:extLst>
      <p:ext uri="{BB962C8B-B14F-4D97-AF65-F5344CB8AC3E}">
        <p14:creationId xmlns:p14="http://schemas.microsoft.com/office/powerpoint/2010/main" val="531247953"/>
      </p:ext>
    </p:extLst>
  </p:cSld>
  <p:clrMap bg1="lt1" tx1="dk1" bg2="lt2" tx2="dk2" accent1="accent1" accent2="accent2" accent3="accent3" accent4="accent4" accent5="accent5" accent6="accent6" hlink="hlink" folHlink="folHlink"/>
  <p:sldLayoutIdLst>
    <p:sldLayoutId id="2147484484" r:id="rId1"/>
    <p:sldLayoutId id="2147484485" r:id="rId2"/>
    <p:sldLayoutId id="2147484486" r:id="rId3"/>
    <p:sldLayoutId id="2147484487" r:id="rId4"/>
    <p:sldLayoutId id="2147484488" r:id="rId5"/>
    <p:sldLayoutId id="2147484489" r:id="rId6"/>
    <p:sldLayoutId id="2147484490" r:id="rId7"/>
    <p:sldLayoutId id="2147484491" r:id="rId8"/>
    <p:sldLayoutId id="2147484492" r:id="rId9"/>
    <p:sldLayoutId id="2147484493" r:id="rId10"/>
    <p:sldLayoutId id="2147484494" r:id="rId11"/>
    <p:sldLayoutId id="2147484495" r:id="rId12"/>
    <p:sldLayoutId id="2147484496" r:id="rId13"/>
  </p:sldLayoutIdLst>
  <p:hf hdr="0" ftr="0" dt="0"/>
  <p:txStyles>
    <p:titleStyle>
      <a:lvl1pPr algn="l" defTabSz="914400" rtl="0" eaLnBrk="1" latinLnBrk="0" hangingPunct="1">
        <a:lnSpc>
          <a:spcPct val="100000"/>
        </a:lnSpc>
        <a:spcBef>
          <a:spcPct val="0"/>
        </a:spcBef>
        <a:buClrTx/>
        <a:buNone/>
        <a:defRPr lang="en-US" sz="2400" b="1" kern="1200" dirty="0">
          <a:solidFill>
            <a:srgbClr val="4D4D4D"/>
          </a:solidFill>
          <a:latin typeface="Arial" panose="020B0604020202020204" pitchFamily="34" charset="0"/>
          <a:ea typeface="+mj-ea"/>
          <a:cs typeface="Arial" panose="020B0604020202020204" pitchFamily="34" charset="0"/>
        </a:defRPr>
      </a:lvl1pPr>
    </p:titleStyle>
    <p:bodyStyle>
      <a:lvl1pPr marL="236538" indent="-236538" algn="l" defTabSz="914400" rtl="0" eaLnBrk="1" latinLnBrk="0" hangingPunct="1">
        <a:spcBef>
          <a:spcPct val="20000"/>
        </a:spcBef>
        <a:buClrTx/>
        <a:buFont typeface="Arial" panose="020B0604020202020204" pitchFamily="34" charset="0"/>
        <a:buChar char="•"/>
        <a:defRPr lang="en-US" sz="1800" b="0" kern="1200" dirty="0" smtClean="0">
          <a:solidFill>
            <a:srgbClr val="4D4D4D"/>
          </a:solidFill>
          <a:latin typeface="Arial" panose="020B0604020202020204" pitchFamily="34" charset="0"/>
          <a:ea typeface="+mj-ea"/>
          <a:cs typeface="Arial" panose="020B0604020202020204" pitchFamily="34" charset="0"/>
        </a:defRPr>
      </a:lvl1pPr>
      <a:lvl2pPr marL="457200" indent="-220663" algn="l" defTabSz="914400" rtl="0" eaLnBrk="1" latinLnBrk="0" hangingPunct="1">
        <a:spcBef>
          <a:spcPct val="20000"/>
        </a:spcBef>
        <a:buClrTx/>
        <a:buFont typeface="Arial" panose="020B0604020202020204" pitchFamily="34" charset="0"/>
        <a:buChar char="–"/>
        <a:defRPr sz="1600" kern="1200">
          <a:solidFill>
            <a:srgbClr val="4D4D4D"/>
          </a:solidFill>
          <a:latin typeface="Arial" panose="020B0604020202020204" pitchFamily="34" charset="0"/>
          <a:ea typeface="+mn-ea"/>
          <a:cs typeface="Arial" panose="020B0604020202020204" pitchFamily="34" charset="0"/>
        </a:defRPr>
      </a:lvl2pPr>
      <a:lvl3pPr marL="630238" indent="-173038" algn="l" defTabSz="914400" rtl="0" eaLnBrk="1" latinLnBrk="0" hangingPunct="1">
        <a:spcBef>
          <a:spcPct val="20000"/>
        </a:spcBef>
        <a:buClrTx/>
        <a:buFont typeface="Arial" panose="020B0604020202020204" pitchFamily="34" charset="0"/>
        <a:buChar char="•"/>
        <a:defRPr sz="1400" kern="1200">
          <a:solidFill>
            <a:srgbClr val="4D4D4D"/>
          </a:solidFill>
          <a:latin typeface="Arial" panose="020B0604020202020204" pitchFamily="34" charset="0"/>
          <a:ea typeface="+mn-ea"/>
          <a:cs typeface="Arial" panose="020B0604020202020204" pitchFamily="34" charset="0"/>
        </a:defRPr>
      </a:lvl3pPr>
      <a:lvl4pPr marL="803275" indent="-173038" algn="l" defTabSz="914400" rtl="0" eaLnBrk="1" latinLnBrk="0" hangingPunct="1">
        <a:spcBef>
          <a:spcPct val="20000"/>
        </a:spcBef>
        <a:buClrTx/>
        <a:buFont typeface="Arial" panose="020B0604020202020204" pitchFamily="34" charset="0"/>
        <a:buChar char="–"/>
        <a:defRPr sz="1200" kern="1200">
          <a:solidFill>
            <a:srgbClr val="4D4D4D"/>
          </a:solidFill>
          <a:latin typeface="Arial" panose="020B0604020202020204" pitchFamily="34" charset="0"/>
          <a:ea typeface="+mn-ea"/>
          <a:cs typeface="Arial" panose="020B0604020202020204" pitchFamily="34" charset="0"/>
        </a:defRPr>
      </a:lvl4pPr>
      <a:lvl5pPr marL="977900" indent="-174625" algn="l" defTabSz="914400" rtl="0" eaLnBrk="1" latinLnBrk="0" hangingPunct="1">
        <a:spcBef>
          <a:spcPct val="20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317115" y="228600"/>
            <a:ext cx="8229600" cy="838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itle style</a:t>
            </a:r>
            <a:endParaRPr lang="en-US" dirty="0"/>
          </a:p>
        </p:txBody>
      </p:sp>
      <p:sp>
        <p:nvSpPr>
          <p:cNvPr id="4099" name="Rectangle 3"/>
          <p:cNvSpPr>
            <a:spLocks noGrp="1" noChangeArrowheads="1"/>
          </p:cNvSpPr>
          <p:nvPr>
            <p:ph type="body" idx="1"/>
          </p:nvPr>
        </p:nvSpPr>
        <p:spPr bwMode="auto">
          <a:xfrm>
            <a:off x="317115" y="1339850"/>
            <a:ext cx="7908925" cy="48918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First level</a:t>
            </a:r>
          </a:p>
          <a:p>
            <a:pPr lvl="2"/>
            <a:r>
              <a:rPr lang="en-US" dirty="0"/>
              <a:t>Second level</a:t>
            </a:r>
          </a:p>
          <a:p>
            <a:pPr lvl="3"/>
            <a:r>
              <a:rPr lang="en-US" dirty="0"/>
              <a:t>Third level</a:t>
            </a:r>
          </a:p>
        </p:txBody>
      </p:sp>
      <p:sp>
        <p:nvSpPr>
          <p:cNvPr id="429061" name="Rectangle 5"/>
          <p:cNvSpPr>
            <a:spLocks noGrp="1" noChangeArrowheads="1"/>
          </p:cNvSpPr>
          <p:nvPr>
            <p:ph type="sldNum" sz="quarter" idx="4"/>
          </p:nvPr>
        </p:nvSpPr>
        <p:spPr bwMode="auto">
          <a:xfrm>
            <a:off x="0" y="6382512"/>
            <a:ext cx="329184" cy="265176"/>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defRPr sz="800" b="1">
                <a:solidFill>
                  <a:srgbClr val="000000"/>
                </a:solidFill>
                <a:latin typeface="Arial" charset="0"/>
                <a:ea typeface="ＭＳ Ｐゴシック" charset="-128"/>
                <a:cs typeface="+mn-cs"/>
              </a:defRPr>
            </a:lvl1pPr>
          </a:lstStyle>
          <a:p>
            <a:pPr>
              <a:defRPr/>
            </a:pPr>
            <a:fld id="{287592CB-37D3-4196-AC6E-CD3990F28521}" type="slidenum">
              <a:rPr lang="en-US" smtClean="0"/>
              <a:pPr>
                <a:defRPr/>
              </a:pPr>
              <a:t>‹#›</a:t>
            </a:fld>
            <a:endParaRPr lang="en-US" dirty="0"/>
          </a:p>
        </p:txBody>
      </p:sp>
      <p:sp>
        <p:nvSpPr>
          <p:cNvPr id="429211" name="Rectangle 155"/>
          <p:cNvSpPr>
            <a:spLocks noGrp="1" noChangeArrowheads="1"/>
          </p:cNvSpPr>
          <p:nvPr>
            <p:ph type="dt" sz="half" idx="2"/>
          </p:nvPr>
        </p:nvSpPr>
        <p:spPr bwMode="auto">
          <a:xfrm>
            <a:off x="317115" y="6656832"/>
            <a:ext cx="1984248" cy="118872"/>
          </a:xfrm>
          <a:prstGeom prst="rect">
            <a:avLst/>
          </a:prstGeom>
          <a:noFill/>
          <a:ln w="9525">
            <a:noFill/>
            <a:miter lim="800000"/>
            <a:headEnd/>
            <a:tailEnd/>
          </a:ln>
          <a:effectLst/>
        </p:spPr>
        <p:txBody>
          <a:bodyPr vert="horz" wrap="square" lIns="91440" tIns="0" rIns="91440" bIns="0" numCol="1" anchor="b" anchorCtr="0" compatLnSpc="1">
            <a:prstTxWarp prst="textNoShape">
              <a:avLst/>
            </a:prstTxWarp>
          </a:bodyPr>
          <a:lstStyle>
            <a:lvl1pPr algn="l" eaLnBrk="0" hangingPunct="0">
              <a:defRPr sz="700" smtClean="0">
                <a:solidFill>
                  <a:srgbClr val="000000"/>
                </a:solidFill>
                <a:latin typeface="Arial" charset="0"/>
                <a:ea typeface="ＭＳ Ｐゴシック" charset="-128"/>
                <a:cs typeface="+mn-cs"/>
              </a:defRPr>
            </a:lvl1pPr>
          </a:lstStyle>
          <a:p>
            <a:pPr>
              <a:defRPr/>
            </a:pPr>
            <a:r>
              <a:rPr lang="en-US"/>
              <a:t>Production code #</a:t>
            </a:r>
            <a:endParaRPr lang="en-US" dirty="0"/>
          </a:p>
        </p:txBody>
      </p:sp>
      <p:sp>
        <p:nvSpPr>
          <p:cNvPr id="429212" name="Rectangle 156"/>
          <p:cNvSpPr>
            <a:spLocks noGrp="1" noChangeArrowheads="1"/>
          </p:cNvSpPr>
          <p:nvPr>
            <p:ph type="ftr" sz="quarter" idx="3"/>
          </p:nvPr>
        </p:nvSpPr>
        <p:spPr bwMode="auto">
          <a:xfrm>
            <a:off x="317115" y="6483096"/>
            <a:ext cx="3931920" cy="173736"/>
          </a:xfrm>
          <a:prstGeom prst="rect">
            <a:avLst/>
          </a:prstGeom>
          <a:noFill/>
          <a:ln w="9525">
            <a:noFill/>
            <a:miter lim="800000"/>
            <a:headEnd/>
            <a:tailEnd/>
          </a:ln>
          <a:effectLst/>
        </p:spPr>
        <p:txBody>
          <a:bodyPr vert="horz" wrap="square" lIns="91440" tIns="0" rIns="91440" bIns="0" numCol="1" anchor="b" anchorCtr="0" compatLnSpc="1">
            <a:prstTxWarp prst="textNoShape">
              <a:avLst/>
            </a:prstTxWarp>
          </a:bodyPr>
          <a:lstStyle>
            <a:lvl1pPr algn="l" eaLnBrk="0" hangingPunct="0">
              <a:defRPr sz="800" smtClean="0">
                <a:solidFill>
                  <a:srgbClr val="000000"/>
                </a:solidFill>
                <a:latin typeface="Arial" charset="0"/>
                <a:ea typeface="ＭＳ Ｐゴシック" charset="-128"/>
                <a:cs typeface="+mn-cs"/>
              </a:defRPr>
            </a:lvl1pPr>
          </a:lstStyle>
          <a:p>
            <a:pPr>
              <a:defRPr/>
            </a:pPr>
            <a:r>
              <a:rPr lang="en-US" dirty="0"/>
              <a:t>Page footer, i.e., For institutional use only.</a:t>
            </a:r>
          </a:p>
        </p:txBody>
      </p:sp>
    </p:spTree>
    <p:extLst>
      <p:ext uri="{BB962C8B-B14F-4D97-AF65-F5344CB8AC3E}">
        <p14:creationId xmlns:p14="http://schemas.microsoft.com/office/powerpoint/2010/main" val="1347534516"/>
      </p:ext>
    </p:extLst>
  </p:cSld>
  <p:clrMap bg1="lt1" tx1="dk1" bg2="lt2" tx2="dk2" accent1="accent1" accent2="accent2" accent3="accent3" accent4="accent4" accent5="accent5" accent6="accent6" hlink="hlink" folHlink="folHlink"/>
  <p:sldLayoutIdLst>
    <p:sldLayoutId id="2147484498" r:id="rId1"/>
    <p:sldLayoutId id="2147484499" r:id="rId2"/>
    <p:sldLayoutId id="2147484500" r:id="rId3"/>
    <p:sldLayoutId id="2147484501" r:id="rId4"/>
    <p:sldLayoutId id="2147484502" r:id="rId5"/>
    <p:sldLayoutId id="2147484503" r:id="rId6"/>
    <p:sldLayoutId id="2147484504" r:id="rId7"/>
    <p:sldLayoutId id="2147484505" r:id="rId8"/>
    <p:sldLayoutId id="2147484506" r:id="rId9"/>
    <p:sldLayoutId id="2147484507" r:id="rId10"/>
    <p:sldLayoutId id="2147484508" r:id="rId11"/>
    <p:sldLayoutId id="2147484509" r:id="rId12"/>
    <p:sldLayoutId id="2147484510" r:id="rId13"/>
    <p:sldLayoutId id="2147484511" r:id="rId14"/>
  </p:sldLayoutIdLst>
  <p:hf hdr="0"/>
  <p:txStyles>
    <p:titleStyle>
      <a:lvl1pPr algn="l" rtl="0" eaLnBrk="1" fontAlgn="base" hangingPunct="1">
        <a:spcBef>
          <a:spcPct val="0"/>
        </a:spcBef>
        <a:spcAft>
          <a:spcPct val="0"/>
        </a:spcAft>
        <a:defRPr sz="2400">
          <a:solidFill>
            <a:srgbClr val="333F48"/>
          </a:solidFill>
          <a:latin typeface="+mj-lt"/>
          <a:ea typeface="+mj-ea"/>
          <a:cs typeface="+mj-cs"/>
        </a:defRPr>
      </a:lvl1pPr>
      <a:lvl2pPr algn="l" rtl="0" eaLnBrk="1" fontAlgn="base" hangingPunct="1">
        <a:spcBef>
          <a:spcPct val="0"/>
        </a:spcBef>
        <a:spcAft>
          <a:spcPct val="0"/>
        </a:spcAft>
        <a:defRPr sz="2400">
          <a:solidFill>
            <a:schemeClr val="tx1"/>
          </a:solidFill>
          <a:latin typeface="Arial" charset="0"/>
        </a:defRPr>
      </a:lvl2pPr>
      <a:lvl3pPr algn="l" rtl="0" eaLnBrk="1" fontAlgn="base" hangingPunct="1">
        <a:spcBef>
          <a:spcPct val="0"/>
        </a:spcBef>
        <a:spcAft>
          <a:spcPct val="0"/>
        </a:spcAft>
        <a:defRPr sz="2400">
          <a:solidFill>
            <a:schemeClr val="tx1"/>
          </a:solidFill>
          <a:latin typeface="Arial" charset="0"/>
        </a:defRPr>
      </a:lvl3pPr>
      <a:lvl4pPr algn="l" rtl="0" eaLnBrk="1" fontAlgn="base" hangingPunct="1">
        <a:spcBef>
          <a:spcPct val="0"/>
        </a:spcBef>
        <a:spcAft>
          <a:spcPct val="0"/>
        </a:spcAft>
        <a:defRPr sz="2400">
          <a:solidFill>
            <a:schemeClr val="tx1"/>
          </a:solidFill>
          <a:latin typeface="Arial" charset="0"/>
        </a:defRPr>
      </a:lvl4pPr>
      <a:lvl5pPr algn="l" rtl="0" eaLnBrk="1" fontAlgn="base" hangingPunct="1">
        <a:spcBef>
          <a:spcPct val="0"/>
        </a:spcBef>
        <a:spcAft>
          <a:spcPct val="0"/>
        </a:spcAft>
        <a:defRPr sz="2400">
          <a:solidFill>
            <a:schemeClr val="tx1"/>
          </a:solidFill>
          <a:latin typeface="Arial" charset="0"/>
        </a:defRPr>
      </a:lvl5pPr>
      <a:lvl6pPr marL="457200" algn="l" rtl="0" eaLnBrk="1" fontAlgn="base" hangingPunct="1">
        <a:spcBef>
          <a:spcPct val="0"/>
        </a:spcBef>
        <a:spcAft>
          <a:spcPct val="0"/>
        </a:spcAft>
        <a:defRPr sz="2400">
          <a:solidFill>
            <a:schemeClr val="tx1"/>
          </a:solidFill>
          <a:latin typeface="Arial" charset="0"/>
        </a:defRPr>
      </a:lvl6pPr>
      <a:lvl7pPr marL="914400" algn="l" rtl="0" eaLnBrk="1" fontAlgn="base" hangingPunct="1">
        <a:spcBef>
          <a:spcPct val="0"/>
        </a:spcBef>
        <a:spcAft>
          <a:spcPct val="0"/>
        </a:spcAft>
        <a:defRPr sz="2400">
          <a:solidFill>
            <a:schemeClr val="tx1"/>
          </a:solidFill>
          <a:latin typeface="Arial" charset="0"/>
        </a:defRPr>
      </a:lvl7pPr>
      <a:lvl8pPr marL="1371600" algn="l" rtl="0" eaLnBrk="1" fontAlgn="base" hangingPunct="1">
        <a:spcBef>
          <a:spcPct val="0"/>
        </a:spcBef>
        <a:spcAft>
          <a:spcPct val="0"/>
        </a:spcAft>
        <a:defRPr sz="2400">
          <a:solidFill>
            <a:schemeClr val="tx1"/>
          </a:solidFill>
          <a:latin typeface="Arial" charset="0"/>
        </a:defRPr>
      </a:lvl8pPr>
      <a:lvl9pPr marL="1828800" algn="l" rtl="0" eaLnBrk="1" fontAlgn="base" hangingPunct="1">
        <a:spcBef>
          <a:spcPct val="0"/>
        </a:spcBef>
        <a:spcAft>
          <a:spcPct val="0"/>
        </a:spcAft>
        <a:defRPr sz="2400">
          <a:solidFill>
            <a:schemeClr val="tx1"/>
          </a:solidFill>
          <a:latin typeface="Arial" charset="0"/>
        </a:defRPr>
      </a:lvl9pPr>
    </p:titleStyle>
    <p:bodyStyle>
      <a:lvl1pPr marL="114300" indent="-114300" algn="l" rtl="0" eaLnBrk="1" fontAlgn="base" hangingPunct="1">
        <a:spcBef>
          <a:spcPts val="600"/>
        </a:spcBef>
        <a:spcAft>
          <a:spcPct val="0"/>
        </a:spcAft>
        <a:buSzPct val="40000"/>
        <a:defRPr sz="1600" b="1">
          <a:solidFill>
            <a:srgbClr val="7A9A3D"/>
          </a:solidFill>
          <a:latin typeface="+mn-lt"/>
          <a:ea typeface="+mn-ea"/>
          <a:cs typeface="+mn-cs"/>
        </a:defRPr>
      </a:lvl1pPr>
      <a:lvl2pPr marL="342900" indent="-114300" algn="l" rtl="0" eaLnBrk="1" fontAlgn="base" hangingPunct="1">
        <a:spcBef>
          <a:spcPts val="600"/>
        </a:spcBef>
        <a:spcAft>
          <a:spcPct val="0"/>
        </a:spcAft>
        <a:buClr>
          <a:srgbClr val="7A9B3D"/>
        </a:buClr>
        <a:buChar char="•"/>
        <a:defRPr sz="1400">
          <a:solidFill>
            <a:srgbClr val="000000"/>
          </a:solidFill>
          <a:latin typeface="+mn-lt"/>
        </a:defRPr>
      </a:lvl2pPr>
      <a:lvl3pPr marL="571500" indent="-114300" algn="l" rtl="0" eaLnBrk="1" fontAlgn="base" hangingPunct="1">
        <a:spcBef>
          <a:spcPts val="600"/>
        </a:spcBef>
        <a:spcAft>
          <a:spcPct val="0"/>
        </a:spcAft>
        <a:buClr>
          <a:srgbClr val="7A9A3D"/>
        </a:buClr>
        <a:buFont typeface="Arial" pitchFamily="34" charset="0"/>
        <a:buChar char="–"/>
        <a:defRPr sz="1200">
          <a:solidFill>
            <a:srgbClr val="000000"/>
          </a:solidFill>
          <a:latin typeface="+mn-lt"/>
        </a:defRPr>
      </a:lvl3pPr>
      <a:lvl4pPr marL="800100" indent="-114300" algn="l" rtl="0" eaLnBrk="1" fontAlgn="base" hangingPunct="1">
        <a:spcBef>
          <a:spcPts val="600"/>
        </a:spcBef>
        <a:spcAft>
          <a:spcPct val="0"/>
        </a:spcAft>
        <a:buClr>
          <a:srgbClr val="7A9A3D"/>
        </a:buClr>
        <a:buFont typeface="Arial" pitchFamily="34" charset="0"/>
        <a:buChar char="•"/>
        <a:defRPr sz="1200">
          <a:solidFill>
            <a:srgbClr val="000000"/>
          </a:solidFill>
          <a:latin typeface="+mn-lt"/>
        </a:defRPr>
      </a:lvl4pPr>
      <a:lvl5pPr marL="2057400" indent="-228600" algn="l" rtl="0" eaLnBrk="1" fontAlgn="base" hangingPunct="1">
        <a:lnSpc>
          <a:spcPts val="2400"/>
        </a:lnSpc>
        <a:spcBef>
          <a:spcPct val="0"/>
        </a:spcBef>
        <a:spcAft>
          <a:spcPct val="0"/>
        </a:spcAft>
        <a:defRPr sz="1400">
          <a:solidFill>
            <a:schemeClr val="tx1"/>
          </a:solidFill>
          <a:latin typeface="+mn-lt"/>
        </a:defRPr>
      </a:lvl5pPr>
      <a:lvl6pPr marL="2514600" indent="-228600" algn="l" rtl="0" eaLnBrk="1" fontAlgn="base" hangingPunct="1">
        <a:lnSpc>
          <a:spcPts val="2400"/>
        </a:lnSpc>
        <a:spcBef>
          <a:spcPct val="0"/>
        </a:spcBef>
        <a:spcAft>
          <a:spcPct val="0"/>
        </a:spcAft>
        <a:defRPr sz="1400">
          <a:solidFill>
            <a:schemeClr val="tx1"/>
          </a:solidFill>
          <a:latin typeface="+mn-lt"/>
        </a:defRPr>
      </a:lvl6pPr>
      <a:lvl7pPr marL="2971800" indent="-228600" algn="l" rtl="0" eaLnBrk="1" fontAlgn="base" hangingPunct="1">
        <a:lnSpc>
          <a:spcPts val="2400"/>
        </a:lnSpc>
        <a:spcBef>
          <a:spcPct val="0"/>
        </a:spcBef>
        <a:spcAft>
          <a:spcPct val="0"/>
        </a:spcAft>
        <a:defRPr sz="1400">
          <a:solidFill>
            <a:schemeClr val="tx1"/>
          </a:solidFill>
          <a:latin typeface="+mn-lt"/>
        </a:defRPr>
      </a:lvl7pPr>
      <a:lvl8pPr marL="3429000" indent="-228600" algn="l" rtl="0" eaLnBrk="1" fontAlgn="base" hangingPunct="1">
        <a:lnSpc>
          <a:spcPts val="2400"/>
        </a:lnSpc>
        <a:spcBef>
          <a:spcPct val="0"/>
        </a:spcBef>
        <a:spcAft>
          <a:spcPct val="0"/>
        </a:spcAft>
        <a:defRPr sz="1400">
          <a:solidFill>
            <a:schemeClr val="tx1"/>
          </a:solidFill>
          <a:latin typeface="+mn-lt"/>
        </a:defRPr>
      </a:lvl8pPr>
      <a:lvl9pPr marL="3886200" indent="-228600" algn="l" rtl="0" eaLnBrk="1" fontAlgn="base" hangingPunct="1">
        <a:lnSpc>
          <a:spcPts val="2400"/>
        </a:lnSpc>
        <a:spcBef>
          <a:spcPct val="0"/>
        </a:spcBef>
        <a:spcAft>
          <a:spcPct val="0"/>
        </a:spcAft>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317115" y="228600"/>
            <a:ext cx="8229600" cy="838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itle style</a:t>
            </a:r>
          </a:p>
        </p:txBody>
      </p:sp>
      <p:sp>
        <p:nvSpPr>
          <p:cNvPr id="4099" name="Rectangle 3"/>
          <p:cNvSpPr>
            <a:spLocks noGrp="1" noChangeArrowheads="1"/>
          </p:cNvSpPr>
          <p:nvPr>
            <p:ph type="body" idx="1"/>
          </p:nvPr>
        </p:nvSpPr>
        <p:spPr bwMode="auto">
          <a:xfrm>
            <a:off x="317115" y="1339850"/>
            <a:ext cx="7908925" cy="48918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First level</a:t>
            </a:r>
          </a:p>
          <a:p>
            <a:pPr lvl="2"/>
            <a:r>
              <a:rPr lang="en-US"/>
              <a:t>Second level</a:t>
            </a:r>
          </a:p>
          <a:p>
            <a:pPr lvl="3"/>
            <a:r>
              <a:rPr lang="en-US"/>
              <a:t>Third level</a:t>
            </a:r>
          </a:p>
        </p:txBody>
      </p:sp>
      <p:sp>
        <p:nvSpPr>
          <p:cNvPr id="429061" name="Rectangle 5"/>
          <p:cNvSpPr>
            <a:spLocks noGrp="1" noChangeArrowheads="1"/>
          </p:cNvSpPr>
          <p:nvPr>
            <p:ph type="sldNum" sz="quarter" idx="4"/>
          </p:nvPr>
        </p:nvSpPr>
        <p:spPr bwMode="auto">
          <a:xfrm>
            <a:off x="0" y="6382512"/>
            <a:ext cx="329184" cy="265176"/>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defRPr sz="800" b="1">
                <a:solidFill>
                  <a:srgbClr val="000000"/>
                </a:solidFill>
                <a:latin typeface="Arial" charset="0"/>
                <a:ea typeface="ＭＳ Ｐゴシック" charset="-128"/>
                <a:cs typeface="+mn-cs"/>
              </a:defRPr>
            </a:lvl1pPr>
          </a:lstStyle>
          <a:p>
            <a:pPr>
              <a:defRPr/>
            </a:pPr>
            <a:fld id="{287592CB-37D3-4196-AC6E-CD3990F28521}" type="slidenum">
              <a:rPr lang="en-US" smtClean="0"/>
              <a:pPr>
                <a:defRPr/>
              </a:pPr>
              <a:t>‹#›</a:t>
            </a:fld>
            <a:endParaRPr lang="en-US"/>
          </a:p>
        </p:txBody>
      </p:sp>
      <p:sp>
        <p:nvSpPr>
          <p:cNvPr id="429211" name="Rectangle 155"/>
          <p:cNvSpPr>
            <a:spLocks noGrp="1" noChangeArrowheads="1"/>
          </p:cNvSpPr>
          <p:nvPr>
            <p:ph type="dt" sz="half" idx="2"/>
          </p:nvPr>
        </p:nvSpPr>
        <p:spPr bwMode="auto">
          <a:xfrm>
            <a:off x="317115" y="6656832"/>
            <a:ext cx="1984248" cy="118872"/>
          </a:xfrm>
          <a:prstGeom prst="rect">
            <a:avLst/>
          </a:prstGeom>
          <a:noFill/>
          <a:ln w="9525">
            <a:noFill/>
            <a:miter lim="800000"/>
            <a:headEnd/>
            <a:tailEnd/>
          </a:ln>
          <a:effectLst/>
        </p:spPr>
        <p:txBody>
          <a:bodyPr vert="horz" wrap="square" lIns="91440" tIns="0" rIns="91440" bIns="0" numCol="1" anchor="b" anchorCtr="0" compatLnSpc="1">
            <a:prstTxWarp prst="textNoShape">
              <a:avLst/>
            </a:prstTxWarp>
          </a:bodyPr>
          <a:lstStyle>
            <a:lvl1pPr algn="l" eaLnBrk="0" hangingPunct="0">
              <a:defRPr sz="700" smtClean="0">
                <a:solidFill>
                  <a:srgbClr val="000000"/>
                </a:solidFill>
                <a:latin typeface="Arial" charset="0"/>
                <a:ea typeface="ＭＳ Ｐゴシック" charset="-128"/>
                <a:cs typeface="+mn-cs"/>
              </a:defRPr>
            </a:lvl1pPr>
          </a:lstStyle>
          <a:p>
            <a:pPr>
              <a:defRPr/>
            </a:pPr>
            <a:r>
              <a:rPr lang="en-US"/>
              <a:t>Production code #</a:t>
            </a:r>
          </a:p>
        </p:txBody>
      </p:sp>
      <p:sp>
        <p:nvSpPr>
          <p:cNvPr id="429212" name="Rectangle 156"/>
          <p:cNvSpPr>
            <a:spLocks noGrp="1" noChangeArrowheads="1"/>
          </p:cNvSpPr>
          <p:nvPr>
            <p:ph type="ftr" sz="quarter" idx="3"/>
          </p:nvPr>
        </p:nvSpPr>
        <p:spPr bwMode="auto">
          <a:xfrm>
            <a:off x="317115" y="6483096"/>
            <a:ext cx="3931920" cy="173736"/>
          </a:xfrm>
          <a:prstGeom prst="rect">
            <a:avLst/>
          </a:prstGeom>
          <a:noFill/>
          <a:ln w="9525">
            <a:noFill/>
            <a:miter lim="800000"/>
            <a:headEnd/>
            <a:tailEnd/>
          </a:ln>
          <a:effectLst/>
        </p:spPr>
        <p:txBody>
          <a:bodyPr vert="horz" wrap="square" lIns="91440" tIns="0" rIns="91440" bIns="0" numCol="1" anchor="b" anchorCtr="0" compatLnSpc="1">
            <a:prstTxWarp prst="textNoShape">
              <a:avLst/>
            </a:prstTxWarp>
          </a:bodyPr>
          <a:lstStyle>
            <a:lvl1pPr algn="l" eaLnBrk="0" hangingPunct="0">
              <a:defRPr sz="800" smtClean="0">
                <a:solidFill>
                  <a:srgbClr val="000000"/>
                </a:solidFill>
                <a:latin typeface="Arial" charset="0"/>
                <a:ea typeface="ＭＳ Ｐゴシック" charset="-128"/>
                <a:cs typeface="+mn-cs"/>
              </a:defRPr>
            </a:lvl1pPr>
          </a:lstStyle>
          <a:p>
            <a:pPr>
              <a:defRPr/>
            </a:pPr>
            <a:r>
              <a:rPr lang="en-US"/>
              <a:t>Page footer, i.e., For institutional use only.</a:t>
            </a:r>
          </a:p>
        </p:txBody>
      </p:sp>
    </p:spTree>
    <p:extLst>
      <p:ext uri="{BB962C8B-B14F-4D97-AF65-F5344CB8AC3E}">
        <p14:creationId xmlns:p14="http://schemas.microsoft.com/office/powerpoint/2010/main" val="2118030056"/>
      </p:ext>
    </p:extLst>
  </p:cSld>
  <p:clrMap bg1="lt1" tx1="dk1" bg2="lt2" tx2="dk2" accent1="accent1" accent2="accent2" accent3="accent3" accent4="accent4" accent5="accent5" accent6="accent6" hlink="hlink" folHlink="folHlink"/>
  <p:sldLayoutIdLst>
    <p:sldLayoutId id="2147484514" r:id="rId1"/>
    <p:sldLayoutId id="2147484515" r:id="rId2"/>
    <p:sldLayoutId id="2147484516" r:id="rId3"/>
    <p:sldLayoutId id="2147484517" r:id="rId4"/>
    <p:sldLayoutId id="2147484518" r:id="rId5"/>
    <p:sldLayoutId id="2147484519" r:id="rId6"/>
    <p:sldLayoutId id="2147484520" r:id="rId7"/>
    <p:sldLayoutId id="2147484521" r:id="rId8"/>
    <p:sldLayoutId id="2147484522" r:id="rId9"/>
    <p:sldLayoutId id="2147484523" r:id="rId10"/>
    <p:sldLayoutId id="2147484524" r:id="rId11"/>
    <p:sldLayoutId id="2147484525" r:id="rId12"/>
    <p:sldLayoutId id="2147484526" r:id="rId13"/>
    <p:sldLayoutId id="2147484527" r:id="rId14"/>
    <p:sldLayoutId id="2147484528" r:id="rId15"/>
    <p:sldLayoutId id="2147484529" r:id="rId16"/>
    <p:sldLayoutId id="2147484530" r:id="rId17"/>
    <p:sldLayoutId id="2147484531" r:id="rId18"/>
    <p:sldLayoutId id="2147484532" r:id="rId19"/>
    <p:sldLayoutId id="2147484533" r:id="rId20"/>
    <p:sldLayoutId id="2147484534" r:id="rId21"/>
    <p:sldLayoutId id="2147484535" r:id="rId22"/>
    <p:sldLayoutId id="2147484536" r:id="rId23"/>
  </p:sldLayoutIdLst>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hf hdr="0"/>
  <p:txStyles>
    <p:titleStyle>
      <a:lvl1pPr algn="l" rtl="0" eaLnBrk="1" fontAlgn="base" hangingPunct="1">
        <a:spcBef>
          <a:spcPct val="0"/>
        </a:spcBef>
        <a:spcAft>
          <a:spcPct val="0"/>
        </a:spcAft>
        <a:defRPr sz="2400">
          <a:solidFill>
            <a:srgbClr val="333F48"/>
          </a:solidFill>
          <a:latin typeface="+mj-lt"/>
          <a:ea typeface="+mj-ea"/>
          <a:cs typeface="+mj-cs"/>
        </a:defRPr>
      </a:lvl1pPr>
      <a:lvl2pPr algn="l" rtl="0" eaLnBrk="1" fontAlgn="base" hangingPunct="1">
        <a:spcBef>
          <a:spcPct val="0"/>
        </a:spcBef>
        <a:spcAft>
          <a:spcPct val="0"/>
        </a:spcAft>
        <a:defRPr sz="2400">
          <a:solidFill>
            <a:schemeClr val="tx1"/>
          </a:solidFill>
          <a:latin typeface="Arial" charset="0"/>
        </a:defRPr>
      </a:lvl2pPr>
      <a:lvl3pPr algn="l" rtl="0" eaLnBrk="1" fontAlgn="base" hangingPunct="1">
        <a:spcBef>
          <a:spcPct val="0"/>
        </a:spcBef>
        <a:spcAft>
          <a:spcPct val="0"/>
        </a:spcAft>
        <a:defRPr sz="2400">
          <a:solidFill>
            <a:schemeClr val="tx1"/>
          </a:solidFill>
          <a:latin typeface="Arial" charset="0"/>
        </a:defRPr>
      </a:lvl3pPr>
      <a:lvl4pPr algn="l" rtl="0" eaLnBrk="1" fontAlgn="base" hangingPunct="1">
        <a:spcBef>
          <a:spcPct val="0"/>
        </a:spcBef>
        <a:spcAft>
          <a:spcPct val="0"/>
        </a:spcAft>
        <a:defRPr sz="2400">
          <a:solidFill>
            <a:schemeClr val="tx1"/>
          </a:solidFill>
          <a:latin typeface="Arial" charset="0"/>
        </a:defRPr>
      </a:lvl4pPr>
      <a:lvl5pPr algn="l" rtl="0" eaLnBrk="1" fontAlgn="base" hangingPunct="1">
        <a:spcBef>
          <a:spcPct val="0"/>
        </a:spcBef>
        <a:spcAft>
          <a:spcPct val="0"/>
        </a:spcAft>
        <a:defRPr sz="2400">
          <a:solidFill>
            <a:schemeClr val="tx1"/>
          </a:solidFill>
          <a:latin typeface="Arial" charset="0"/>
        </a:defRPr>
      </a:lvl5pPr>
      <a:lvl6pPr marL="457200" algn="l" rtl="0" eaLnBrk="1" fontAlgn="base" hangingPunct="1">
        <a:spcBef>
          <a:spcPct val="0"/>
        </a:spcBef>
        <a:spcAft>
          <a:spcPct val="0"/>
        </a:spcAft>
        <a:defRPr sz="2400">
          <a:solidFill>
            <a:schemeClr val="tx1"/>
          </a:solidFill>
          <a:latin typeface="Arial" charset="0"/>
        </a:defRPr>
      </a:lvl6pPr>
      <a:lvl7pPr marL="914400" algn="l" rtl="0" eaLnBrk="1" fontAlgn="base" hangingPunct="1">
        <a:spcBef>
          <a:spcPct val="0"/>
        </a:spcBef>
        <a:spcAft>
          <a:spcPct val="0"/>
        </a:spcAft>
        <a:defRPr sz="2400">
          <a:solidFill>
            <a:schemeClr val="tx1"/>
          </a:solidFill>
          <a:latin typeface="Arial" charset="0"/>
        </a:defRPr>
      </a:lvl7pPr>
      <a:lvl8pPr marL="1371600" algn="l" rtl="0" eaLnBrk="1" fontAlgn="base" hangingPunct="1">
        <a:spcBef>
          <a:spcPct val="0"/>
        </a:spcBef>
        <a:spcAft>
          <a:spcPct val="0"/>
        </a:spcAft>
        <a:defRPr sz="2400">
          <a:solidFill>
            <a:schemeClr val="tx1"/>
          </a:solidFill>
          <a:latin typeface="Arial" charset="0"/>
        </a:defRPr>
      </a:lvl8pPr>
      <a:lvl9pPr marL="1828800" algn="l" rtl="0" eaLnBrk="1" fontAlgn="base" hangingPunct="1">
        <a:spcBef>
          <a:spcPct val="0"/>
        </a:spcBef>
        <a:spcAft>
          <a:spcPct val="0"/>
        </a:spcAft>
        <a:defRPr sz="2400">
          <a:solidFill>
            <a:schemeClr val="tx1"/>
          </a:solidFill>
          <a:latin typeface="Arial" charset="0"/>
        </a:defRPr>
      </a:lvl9pPr>
    </p:titleStyle>
    <p:bodyStyle>
      <a:lvl1pPr marL="114300" indent="-114300" algn="l" rtl="0" eaLnBrk="1" fontAlgn="base" hangingPunct="1">
        <a:spcBef>
          <a:spcPts val="600"/>
        </a:spcBef>
        <a:spcAft>
          <a:spcPct val="0"/>
        </a:spcAft>
        <a:buSzPct val="40000"/>
        <a:defRPr sz="1600" b="1">
          <a:solidFill>
            <a:srgbClr val="7A9A3D"/>
          </a:solidFill>
          <a:latin typeface="+mn-lt"/>
          <a:ea typeface="+mn-ea"/>
          <a:cs typeface="+mn-cs"/>
        </a:defRPr>
      </a:lvl1pPr>
      <a:lvl2pPr marL="342900" indent="-114300" algn="l" rtl="0" eaLnBrk="1" fontAlgn="base" hangingPunct="1">
        <a:spcBef>
          <a:spcPts val="600"/>
        </a:spcBef>
        <a:spcAft>
          <a:spcPct val="0"/>
        </a:spcAft>
        <a:buClr>
          <a:srgbClr val="7A9B3D"/>
        </a:buClr>
        <a:buChar char="•"/>
        <a:defRPr sz="1400">
          <a:solidFill>
            <a:srgbClr val="000000"/>
          </a:solidFill>
          <a:latin typeface="+mn-lt"/>
        </a:defRPr>
      </a:lvl2pPr>
      <a:lvl3pPr marL="571500" indent="-114300" algn="l" rtl="0" eaLnBrk="1" fontAlgn="base" hangingPunct="1">
        <a:spcBef>
          <a:spcPts val="600"/>
        </a:spcBef>
        <a:spcAft>
          <a:spcPct val="0"/>
        </a:spcAft>
        <a:buClr>
          <a:srgbClr val="7A9A3D"/>
        </a:buClr>
        <a:buFont typeface="Arial" pitchFamily="34" charset="0"/>
        <a:buChar char="–"/>
        <a:defRPr sz="1200">
          <a:solidFill>
            <a:srgbClr val="000000"/>
          </a:solidFill>
          <a:latin typeface="+mn-lt"/>
        </a:defRPr>
      </a:lvl3pPr>
      <a:lvl4pPr marL="800100" indent="-114300" algn="l" rtl="0" eaLnBrk="1" fontAlgn="base" hangingPunct="1">
        <a:spcBef>
          <a:spcPts val="600"/>
        </a:spcBef>
        <a:spcAft>
          <a:spcPct val="0"/>
        </a:spcAft>
        <a:buClr>
          <a:srgbClr val="7A9A3D"/>
        </a:buClr>
        <a:buFont typeface="Arial" pitchFamily="34" charset="0"/>
        <a:buChar char="•"/>
        <a:defRPr sz="1200">
          <a:solidFill>
            <a:srgbClr val="000000"/>
          </a:solidFill>
          <a:latin typeface="+mn-lt"/>
        </a:defRPr>
      </a:lvl4pPr>
      <a:lvl5pPr marL="2057400" indent="-228600" algn="l" rtl="0" eaLnBrk="1" fontAlgn="base" hangingPunct="1">
        <a:lnSpc>
          <a:spcPts val="2400"/>
        </a:lnSpc>
        <a:spcBef>
          <a:spcPct val="0"/>
        </a:spcBef>
        <a:spcAft>
          <a:spcPct val="0"/>
        </a:spcAft>
        <a:defRPr sz="1400">
          <a:solidFill>
            <a:schemeClr val="tx1"/>
          </a:solidFill>
          <a:latin typeface="+mn-lt"/>
        </a:defRPr>
      </a:lvl5pPr>
      <a:lvl6pPr marL="2514600" indent="-228600" algn="l" rtl="0" eaLnBrk="1" fontAlgn="base" hangingPunct="1">
        <a:lnSpc>
          <a:spcPts val="2400"/>
        </a:lnSpc>
        <a:spcBef>
          <a:spcPct val="0"/>
        </a:spcBef>
        <a:spcAft>
          <a:spcPct val="0"/>
        </a:spcAft>
        <a:defRPr sz="1400">
          <a:solidFill>
            <a:schemeClr val="tx1"/>
          </a:solidFill>
          <a:latin typeface="+mn-lt"/>
        </a:defRPr>
      </a:lvl6pPr>
      <a:lvl7pPr marL="2971800" indent="-228600" algn="l" rtl="0" eaLnBrk="1" fontAlgn="base" hangingPunct="1">
        <a:lnSpc>
          <a:spcPts val="2400"/>
        </a:lnSpc>
        <a:spcBef>
          <a:spcPct val="0"/>
        </a:spcBef>
        <a:spcAft>
          <a:spcPct val="0"/>
        </a:spcAft>
        <a:defRPr sz="1400">
          <a:solidFill>
            <a:schemeClr val="tx1"/>
          </a:solidFill>
          <a:latin typeface="+mn-lt"/>
        </a:defRPr>
      </a:lvl7pPr>
      <a:lvl8pPr marL="3429000" indent="-228600" algn="l" rtl="0" eaLnBrk="1" fontAlgn="base" hangingPunct="1">
        <a:lnSpc>
          <a:spcPts val="2400"/>
        </a:lnSpc>
        <a:spcBef>
          <a:spcPct val="0"/>
        </a:spcBef>
        <a:spcAft>
          <a:spcPct val="0"/>
        </a:spcAft>
        <a:defRPr sz="1400">
          <a:solidFill>
            <a:schemeClr val="tx1"/>
          </a:solidFill>
          <a:latin typeface="+mn-lt"/>
        </a:defRPr>
      </a:lvl8pPr>
      <a:lvl9pPr marL="3886200" indent="-228600" algn="l" rtl="0" eaLnBrk="1" fontAlgn="base" hangingPunct="1">
        <a:lnSpc>
          <a:spcPts val="2400"/>
        </a:lnSpc>
        <a:spcBef>
          <a:spcPct val="0"/>
        </a:spcBef>
        <a:spcAft>
          <a:spcPct val="0"/>
        </a:spcAft>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317115" y="228600"/>
            <a:ext cx="8229600" cy="838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itle style</a:t>
            </a:r>
          </a:p>
        </p:txBody>
      </p:sp>
      <p:sp>
        <p:nvSpPr>
          <p:cNvPr id="4099" name="Rectangle 3"/>
          <p:cNvSpPr>
            <a:spLocks noGrp="1" noChangeArrowheads="1"/>
          </p:cNvSpPr>
          <p:nvPr>
            <p:ph type="body" idx="1"/>
          </p:nvPr>
        </p:nvSpPr>
        <p:spPr bwMode="auto">
          <a:xfrm>
            <a:off x="317115" y="1339850"/>
            <a:ext cx="7908925" cy="48918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First level</a:t>
            </a:r>
          </a:p>
          <a:p>
            <a:pPr lvl="2"/>
            <a:r>
              <a:rPr lang="en-US"/>
              <a:t>Second level</a:t>
            </a:r>
          </a:p>
          <a:p>
            <a:pPr lvl="3"/>
            <a:r>
              <a:rPr lang="en-US"/>
              <a:t>Third level</a:t>
            </a:r>
          </a:p>
        </p:txBody>
      </p:sp>
      <p:sp>
        <p:nvSpPr>
          <p:cNvPr id="429061" name="Rectangle 5"/>
          <p:cNvSpPr>
            <a:spLocks noGrp="1" noChangeArrowheads="1"/>
          </p:cNvSpPr>
          <p:nvPr>
            <p:ph type="sldNum" sz="quarter" idx="4"/>
          </p:nvPr>
        </p:nvSpPr>
        <p:spPr bwMode="auto">
          <a:xfrm>
            <a:off x="0" y="6382512"/>
            <a:ext cx="329184" cy="265176"/>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defRPr sz="800" b="1">
                <a:solidFill>
                  <a:srgbClr val="000000"/>
                </a:solidFill>
                <a:latin typeface="Arial" charset="0"/>
                <a:ea typeface="ＭＳ Ｐゴシック" charset="-128"/>
                <a:cs typeface="+mn-cs"/>
              </a:defRPr>
            </a:lvl1pPr>
          </a:lstStyle>
          <a:p>
            <a:pPr>
              <a:defRPr/>
            </a:pPr>
            <a:fld id="{287592CB-37D3-4196-AC6E-CD3990F28521}" type="slidenum">
              <a:rPr lang="en-US" smtClean="0"/>
              <a:pPr>
                <a:defRPr/>
              </a:pPr>
              <a:t>‹#›</a:t>
            </a:fld>
            <a:endParaRPr lang="en-US"/>
          </a:p>
        </p:txBody>
      </p:sp>
      <p:sp>
        <p:nvSpPr>
          <p:cNvPr id="429211" name="Rectangle 155"/>
          <p:cNvSpPr>
            <a:spLocks noGrp="1" noChangeArrowheads="1"/>
          </p:cNvSpPr>
          <p:nvPr>
            <p:ph type="dt" sz="half" idx="2"/>
          </p:nvPr>
        </p:nvSpPr>
        <p:spPr bwMode="auto">
          <a:xfrm>
            <a:off x="317115" y="6656832"/>
            <a:ext cx="1984248" cy="118872"/>
          </a:xfrm>
          <a:prstGeom prst="rect">
            <a:avLst/>
          </a:prstGeom>
          <a:noFill/>
          <a:ln w="9525">
            <a:noFill/>
            <a:miter lim="800000"/>
            <a:headEnd/>
            <a:tailEnd/>
          </a:ln>
          <a:effectLst/>
        </p:spPr>
        <p:txBody>
          <a:bodyPr vert="horz" wrap="square" lIns="91440" tIns="0" rIns="91440" bIns="0" numCol="1" anchor="b" anchorCtr="0" compatLnSpc="1">
            <a:prstTxWarp prst="textNoShape">
              <a:avLst/>
            </a:prstTxWarp>
          </a:bodyPr>
          <a:lstStyle>
            <a:lvl1pPr algn="l" eaLnBrk="0" hangingPunct="0">
              <a:defRPr sz="700" smtClean="0">
                <a:solidFill>
                  <a:srgbClr val="000000"/>
                </a:solidFill>
                <a:latin typeface="Arial" charset="0"/>
                <a:ea typeface="ＭＳ Ｐゴシック" charset="-128"/>
                <a:cs typeface="+mn-cs"/>
              </a:defRPr>
            </a:lvl1pPr>
          </a:lstStyle>
          <a:p>
            <a:pPr>
              <a:defRPr/>
            </a:pPr>
            <a:r>
              <a:rPr lang="en-US"/>
              <a:t>Production code #</a:t>
            </a:r>
          </a:p>
        </p:txBody>
      </p:sp>
      <p:sp>
        <p:nvSpPr>
          <p:cNvPr id="429212" name="Rectangle 156"/>
          <p:cNvSpPr>
            <a:spLocks noGrp="1" noChangeArrowheads="1"/>
          </p:cNvSpPr>
          <p:nvPr>
            <p:ph type="ftr" sz="quarter" idx="3"/>
          </p:nvPr>
        </p:nvSpPr>
        <p:spPr bwMode="auto">
          <a:xfrm>
            <a:off x="317115" y="6483096"/>
            <a:ext cx="3931920" cy="173736"/>
          </a:xfrm>
          <a:prstGeom prst="rect">
            <a:avLst/>
          </a:prstGeom>
          <a:noFill/>
          <a:ln w="9525">
            <a:noFill/>
            <a:miter lim="800000"/>
            <a:headEnd/>
            <a:tailEnd/>
          </a:ln>
          <a:effectLst/>
        </p:spPr>
        <p:txBody>
          <a:bodyPr vert="horz" wrap="square" lIns="91440" tIns="0" rIns="91440" bIns="0" numCol="1" anchor="b" anchorCtr="0" compatLnSpc="1">
            <a:prstTxWarp prst="textNoShape">
              <a:avLst/>
            </a:prstTxWarp>
          </a:bodyPr>
          <a:lstStyle>
            <a:lvl1pPr algn="l" eaLnBrk="0" hangingPunct="0">
              <a:defRPr sz="800" smtClean="0">
                <a:solidFill>
                  <a:srgbClr val="000000"/>
                </a:solidFill>
                <a:latin typeface="Arial" charset="0"/>
                <a:ea typeface="ＭＳ Ｐゴシック" charset="-128"/>
                <a:cs typeface="+mn-cs"/>
              </a:defRPr>
            </a:lvl1pPr>
          </a:lstStyle>
          <a:p>
            <a:pPr>
              <a:defRPr/>
            </a:pPr>
            <a:r>
              <a:rPr lang="en-US"/>
              <a:t>Page footer, i.e., For institutional use only.</a:t>
            </a:r>
          </a:p>
        </p:txBody>
      </p:sp>
    </p:spTree>
    <p:extLst>
      <p:ext uri="{BB962C8B-B14F-4D97-AF65-F5344CB8AC3E}">
        <p14:creationId xmlns:p14="http://schemas.microsoft.com/office/powerpoint/2010/main" val="1505086852"/>
      </p:ext>
    </p:extLst>
  </p:cSld>
  <p:clrMap bg1="lt1" tx1="dk1" bg2="lt2" tx2="dk2" accent1="accent1" accent2="accent2" accent3="accent3" accent4="accent4" accent5="accent5" accent6="accent6" hlink="hlink" folHlink="folHlink"/>
  <p:sldLayoutIdLst>
    <p:sldLayoutId id="2147484538" r:id="rId1"/>
    <p:sldLayoutId id="2147484539" r:id="rId2"/>
    <p:sldLayoutId id="2147484540" r:id="rId3"/>
    <p:sldLayoutId id="2147484541" r:id="rId4"/>
    <p:sldLayoutId id="2147484542" r:id="rId5"/>
    <p:sldLayoutId id="2147484543" r:id="rId6"/>
    <p:sldLayoutId id="2147484544" r:id="rId7"/>
    <p:sldLayoutId id="2147484545" r:id="rId8"/>
    <p:sldLayoutId id="2147484546" r:id="rId9"/>
    <p:sldLayoutId id="2147484547" r:id="rId10"/>
    <p:sldLayoutId id="2147484548" r:id="rId11"/>
    <p:sldLayoutId id="2147484549" r:id="rId12"/>
    <p:sldLayoutId id="2147484550" r:id="rId13"/>
    <p:sldLayoutId id="2147484551" r:id="rId14"/>
    <p:sldLayoutId id="2147484552" r:id="rId15"/>
    <p:sldLayoutId id="2147484553" r:id="rId16"/>
    <p:sldLayoutId id="2147484554" r:id="rId17"/>
    <p:sldLayoutId id="2147484555" r:id="rId18"/>
    <p:sldLayoutId id="2147484556" r:id="rId19"/>
    <p:sldLayoutId id="2147484557" r:id="rId20"/>
    <p:sldLayoutId id="2147484558" r:id="rId21"/>
    <p:sldLayoutId id="2147484559" r:id="rId22"/>
  </p:sldLayoutIdLst>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hf hdr="0"/>
  <p:txStyles>
    <p:titleStyle>
      <a:lvl1pPr algn="l" rtl="0" eaLnBrk="1" fontAlgn="base" hangingPunct="1">
        <a:spcBef>
          <a:spcPct val="0"/>
        </a:spcBef>
        <a:spcAft>
          <a:spcPct val="0"/>
        </a:spcAft>
        <a:defRPr sz="2400">
          <a:solidFill>
            <a:srgbClr val="333F48"/>
          </a:solidFill>
          <a:latin typeface="+mj-lt"/>
          <a:ea typeface="+mj-ea"/>
          <a:cs typeface="+mj-cs"/>
        </a:defRPr>
      </a:lvl1pPr>
      <a:lvl2pPr algn="l" rtl="0" eaLnBrk="1" fontAlgn="base" hangingPunct="1">
        <a:spcBef>
          <a:spcPct val="0"/>
        </a:spcBef>
        <a:spcAft>
          <a:spcPct val="0"/>
        </a:spcAft>
        <a:defRPr sz="2400">
          <a:solidFill>
            <a:schemeClr val="tx1"/>
          </a:solidFill>
          <a:latin typeface="Arial" charset="0"/>
        </a:defRPr>
      </a:lvl2pPr>
      <a:lvl3pPr algn="l" rtl="0" eaLnBrk="1" fontAlgn="base" hangingPunct="1">
        <a:spcBef>
          <a:spcPct val="0"/>
        </a:spcBef>
        <a:spcAft>
          <a:spcPct val="0"/>
        </a:spcAft>
        <a:defRPr sz="2400">
          <a:solidFill>
            <a:schemeClr val="tx1"/>
          </a:solidFill>
          <a:latin typeface="Arial" charset="0"/>
        </a:defRPr>
      </a:lvl3pPr>
      <a:lvl4pPr algn="l" rtl="0" eaLnBrk="1" fontAlgn="base" hangingPunct="1">
        <a:spcBef>
          <a:spcPct val="0"/>
        </a:spcBef>
        <a:spcAft>
          <a:spcPct val="0"/>
        </a:spcAft>
        <a:defRPr sz="2400">
          <a:solidFill>
            <a:schemeClr val="tx1"/>
          </a:solidFill>
          <a:latin typeface="Arial" charset="0"/>
        </a:defRPr>
      </a:lvl4pPr>
      <a:lvl5pPr algn="l" rtl="0" eaLnBrk="1" fontAlgn="base" hangingPunct="1">
        <a:spcBef>
          <a:spcPct val="0"/>
        </a:spcBef>
        <a:spcAft>
          <a:spcPct val="0"/>
        </a:spcAft>
        <a:defRPr sz="2400">
          <a:solidFill>
            <a:schemeClr val="tx1"/>
          </a:solidFill>
          <a:latin typeface="Arial" charset="0"/>
        </a:defRPr>
      </a:lvl5pPr>
      <a:lvl6pPr marL="457200" algn="l" rtl="0" eaLnBrk="1" fontAlgn="base" hangingPunct="1">
        <a:spcBef>
          <a:spcPct val="0"/>
        </a:spcBef>
        <a:spcAft>
          <a:spcPct val="0"/>
        </a:spcAft>
        <a:defRPr sz="2400">
          <a:solidFill>
            <a:schemeClr val="tx1"/>
          </a:solidFill>
          <a:latin typeface="Arial" charset="0"/>
        </a:defRPr>
      </a:lvl6pPr>
      <a:lvl7pPr marL="914400" algn="l" rtl="0" eaLnBrk="1" fontAlgn="base" hangingPunct="1">
        <a:spcBef>
          <a:spcPct val="0"/>
        </a:spcBef>
        <a:spcAft>
          <a:spcPct val="0"/>
        </a:spcAft>
        <a:defRPr sz="2400">
          <a:solidFill>
            <a:schemeClr val="tx1"/>
          </a:solidFill>
          <a:latin typeface="Arial" charset="0"/>
        </a:defRPr>
      </a:lvl7pPr>
      <a:lvl8pPr marL="1371600" algn="l" rtl="0" eaLnBrk="1" fontAlgn="base" hangingPunct="1">
        <a:spcBef>
          <a:spcPct val="0"/>
        </a:spcBef>
        <a:spcAft>
          <a:spcPct val="0"/>
        </a:spcAft>
        <a:defRPr sz="2400">
          <a:solidFill>
            <a:schemeClr val="tx1"/>
          </a:solidFill>
          <a:latin typeface="Arial" charset="0"/>
        </a:defRPr>
      </a:lvl8pPr>
      <a:lvl9pPr marL="1828800" algn="l" rtl="0" eaLnBrk="1" fontAlgn="base" hangingPunct="1">
        <a:spcBef>
          <a:spcPct val="0"/>
        </a:spcBef>
        <a:spcAft>
          <a:spcPct val="0"/>
        </a:spcAft>
        <a:defRPr sz="2400">
          <a:solidFill>
            <a:schemeClr val="tx1"/>
          </a:solidFill>
          <a:latin typeface="Arial" charset="0"/>
        </a:defRPr>
      </a:lvl9pPr>
    </p:titleStyle>
    <p:bodyStyle>
      <a:lvl1pPr marL="114300" indent="-114300" algn="l" rtl="0" eaLnBrk="1" fontAlgn="base" hangingPunct="1">
        <a:spcBef>
          <a:spcPts val="600"/>
        </a:spcBef>
        <a:spcAft>
          <a:spcPct val="0"/>
        </a:spcAft>
        <a:buSzPct val="40000"/>
        <a:defRPr sz="1600" b="1">
          <a:solidFill>
            <a:srgbClr val="7A9A3D"/>
          </a:solidFill>
          <a:latin typeface="+mn-lt"/>
          <a:ea typeface="+mn-ea"/>
          <a:cs typeface="+mn-cs"/>
        </a:defRPr>
      </a:lvl1pPr>
      <a:lvl2pPr marL="342900" indent="-114300" algn="l" rtl="0" eaLnBrk="1" fontAlgn="base" hangingPunct="1">
        <a:spcBef>
          <a:spcPts val="600"/>
        </a:spcBef>
        <a:spcAft>
          <a:spcPct val="0"/>
        </a:spcAft>
        <a:buClr>
          <a:srgbClr val="7A9B3D"/>
        </a:buClr>
        <a:buChar char="•"/>
        <a:defRPr sz="1400">
          <a:solidFill>
            <a:srgbClr val="000000"/>
          </a:solidFill>
          <a:latin typeface="+mn-lt"/>
        </a:defRPr>
      </a:lvl2pPr>
      <a:lvl3pPr marL="571500" indent="-114300" algn="l" rtl="0" eaLnBrk="1" fontAlgn="base" hangingPunct="1">
        <a:spcBef>
          <a:spcPts val="600"/>
        </a:spcBef>
        <a:spcAft>
          <a:spcPct val="0"/>
        </a:spcAft>
        <a:buClr>
          <a:srgbClr val="7A9A3D"/>
        </a:buClr>
        <a:buFont typeface="Arial" pitchFamily="34" charset="0"/>
        <a:buChar char="–"/>
        <a:defRPr sz="1200">
          <a:solidFill>
            <a:srgbClr val="000000"/>
          </a:solidFill>
          <a:latin typeface="+mn-lt"/>
        </a:defRPr>
      </a:lvl3pPr>
      <a:lvl4pPr marL="800100" indent="-114300" algn="l" rtl="0" eaLnBrk="1" fontAlgn="base" hangingPunct="1">
        <a:spcBef>
          <a:spcPts val="600"/>
        </a:spcBef>
        <a:spcAft>
          <a:spcPct val="0"/>
        </a:spcAft>
        <a:buClr>
          <a:srgbClr val="7A9A3D"/>
        </a:buClr>
        <a:buFont typeface="Arial" pitchFamily="34" charset="0"/>
        <a:buChar char="•"/>
        <a:defRPr sz="1200">
          <a:solidFill>
            <a:srgbClr val="000000"/>
          </a:solidFill>
          <a:latin typeface="+mn-lt"/>
        </a:defRPr>
      </a:lvl4pPr>
      <a:lvl5pPr marL="2057400" indent="-228600" algn="l" rtl="0" eaLnBrk="1" fontAlgn="base" hangingPunct="1">
        <a:lnSpc>
          <a:spcPts val="2400"/>
        </a:lnSpc>
        <a:spcBef>
          <a:spcPct val="0"/>
        </a:spcBef>
        <a:spcAft>
          <a:spcPct val="0"/>
        </a:spcAft>
        <a:defRPr sz="1400">
          <a:solidFill>
            <a:schemeClr val="tx1"/>
          </a:solidFill>
          <a:latin typeface="+mn-lt"/>
        </a:defRPr>
      </a:lvl5pPr>
      <a:lvl6pPr marL="2514600" indent="-228600" algn="l" rtl="0" eaLnBrk="1" fontAlgn="base" hangingPunct="1">
        <a:lnSpc>
          <a:spcPts val="2400"/>
        </a:lnSpc>
        <a:spcBef>
          <a:spcPct val="0"/>
        </a:spcBef>
        <a:spcAft>
          <a:spcPct val="0"/>
        </a:spcAft>
        <a:defRPr sz="1400">
          <a:solidFill>
            <a:schemeClr val="tx1"/>
          </a:solidFill>
          <a:latin typeface="+mn-lt"/>
        </a:defRPr>
      </a:lvl6pPr>
      <a:lvl7pPr marL="2971800" indent="-228600" algn="l" rtl="0" eaLnBrk="1" fontAlgn="base" hangingPunct="1">
        <a:lnSpc>
          <a:spcPts val="2400"/>
        </a:lnSpc>
        <a:spcBef>
          <a:spcPct val="0"/>
        </a:spcBef>
        <a:spcAft>
          <a:spcPct val="0"/>
        </a:spcAft>
        <a:defRPr sz="1400">
          <a:solidFill>
            <a:schemeClr val="tx1"/>
          </a:solidFill>
          <a:latin typeface="+mn-lt"/>
        </a:defRPr>
      </a:lvl7pPr>
      <a:lvl8pPr marL="3429000" indent="-228600" algn="l" rtl="0" eaLnBrk="1" fontAlgn="base" hangingPunct="1">
        <a:lnSpc>
          <a:spcPts val="2400"/>
        </a:lnSpc>
        <a:spcBef>
          <a:spcPct val="0"/>
        </a:spcBef>
        <a:spcAft>
          <a:spcPct val="0"/>
        </a:spcAft>
        <a:defRPr sz="1400">
          <a:solidFill>
            <a:schemeClr val="tx1"/>
          </a:solidFill>
          <a:latin typeface="+mn-lt"/>
        </a:defRPr>
      </a:lvl8pPr>
      <a:lvl9pPr marL="3886200" indent="-228600" algn="l" rtl="0" eaLnBrk="1" fontAlgn="base" hangingPunct="1">
        <a:lnSpc>
          <a:spcPts val="2400"/>
        </a:lnSpc>
        <a:spcBef>
          <a:spcPct val="0"/>
        </a:spcBef>
        <a:spcAft>
          <a:spcPct val="0"/>
        </a:spcAft>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43.xml"/></Relationships>
</file>

<file path=ppt/slides/_rels/slide11.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9.xml"/><Relationship Id="rId1" Type="http://schemas.openxmlformats.org/officeDocument/2006/relationships/slideLayout" Target="../slideLayouts/slideLayout43.xml"/></Relationships>
</file>

<file path=ppt/slides/_rels/slide12.xml.rels><?xml version="1.0" encoding="UTF-8" standalone="yes"?>
<Relationships xmlns="http://schemas.openxmlformats.org/package/2006/relationships"><Relationship Id="rId8" Type="http://schemas.openxmlformats.org/officeDocument/2006/relationships/chart" Target="../charts/chart15.xml"/><Relationship Id="rId3" Type="http://schemas.openxmlformats.org/officeDocument/2006/relationships/chart" Target="../charts/chart10.xml"/><Relationship Id="rId7"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43.xml"/><Relationship Id="rId6" Type="http://schemas.openxmlformats.org/officeDocument/2006/relationships/chart" Target="../charts/chart13.xml"/><Relationship Id="rId5" Type="http://schemas.openxmlformats.org/officeDocument/2006/relationships/chart" Target="../charts/chart12.xml"/><Relationship Id="rId4" Type="http://schemas.openxmlformats.org/officeDocument/2006/relationships/chart" Target="../charts/chart11.xml"/></Relationships>
</file>

<file path=ppt/slides/_rels/slide13.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11.xml"/><Relationship Id="rId1" Type="http://schemas.openxmlformats.org/officeDocument/2006/relationships/slideLayout" Target="../slideLayouts/slideLayout43.xml"/></Relationships>
</file>

<file path=ppt/slides/_rels/slide14.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43.xml"/></Relationships>
</file>

<file path=ppt/slides/_rels/slide15.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4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13.xml"/><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14.xml"/><Relationship Id="rId1" Type="http://schemas.openxmlformats.org/officeDocument/2006/relationships/slideLayout" Target="../slideLayouts/slideLayout4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261.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261.xml"/></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261.xml"/><Relationship Id="rId4" Type="http://schemas.openxmlformats.org/officeDocument/2006/relationships/chart" Target="../charts/chart3.xml"/></Relationships>
</file>

<file path=ppt/slides/_rels/slide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7.xml"/><Relationship Id="rId1" Type="http://schemas.openxmlformats.org/officeDocument/2006/relationships/slideLayout" Target="../slideLayouts/slideLayout284.xml"/></Relationships>
</file>

<file path=ppt/slides/_rels/slide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8.xml"/><Relationship Id="rId1" Type="http://schemas.openxmlformats.org/officeDocument/2006/relationships/slideLayout" Target="../slideLayouts/slideLayout284.xml"/></Relationships>
</file>

<file path=ppt/slides/_rels/slide9.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4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p:txBody>
          <a:bodyPr/>
          <a:lstStyle/>
          <a:p>
            <a:r>
              <a:rPr lang="en-US" dirty="0"/>
              <a:t>July 2022</a:t>
            </a:r>
          </a:p>
        </p:txBody>
      </p:sp>
      <p:sp>
        <p:nvSpPr>
          <p:cNvPr id="3" name="Title 2"/>
          <p:cNvSpPr>
            <a:spLocks noGrp="1"/>
          </p:cNvSpPr>
          <p:nvPr>
            <p:ph type="title"/>
          </p:nvPr>
        </p:nvSpPr>
        <p:spPr>
          <a:xfrm>
            <a:off x="685251" y="1352472"/>
            <a:ext cx="7805762" cy="534987"/>
          </a:xfrm>
        </p:spPr>
        <p:txBody>
          <a:bodyPr/>
          <a:lstStyle/>
          <a:p>
            <a:br>
              <a:rPr lang="en-US" dirty="0"/>
            </a:br>
            <a:r>
              <a:rPr lang="en-US" dirty="0"/>
              <a:t>NCLGIA Summer Conference</a:t>
            </a:r>
            <a:endParaRPr lang="en-US" dirty="0">
              <a:solidFill>
                <a:srgbClr val="333F48"/>
              </a:solidFill>
            </a:endParaRPr>
          </a:p>
        </p:txBody>
      </p:sp>
      <p:sp>
        <p:nvSpPr>
          <p:cNvPr id="2" name="Footer Placeholder 1"/>
          <p:cNvSpPr>
            <a:spLocks noGrp="1"/>
          </p:cNvSpPr>
          <p:nvPr>
            <p:ph type="ftr" sz="quarter" idx="13"/>
          </p:nvPr>
        </p:nvSpPr>
        <p:spPr/>
        <p:txBody>
          <a:bodyPr/>
          <a:lstStyle/>
          <a:p>
            <a:pPr>
              <a:defRPr/>
            </a:pPr>
            <a:r>
              <a:rPr lang="en-US" b="1" dirty="0">
                <a:latin typeface="Arial"/>
                <a:ea typeface="ＭＳ Ｐゴシック" pitchFamily="34" charset="-128"/>
              </a:rPr>
              <a:t> </a:t>
            </a:r>
          </a:p>
          <a:p>
            <a:pPr>
              <a:defRPr/>
            </a:pPr>
            <a:r>
              <a:rPr lang="en-US" dirty="0"/>
              <a:t>Not NCUA or NCUSIF insured. May lose value. No credit union guarantee.</a:t>
            </a:r>
          </a:p>
          <a:p>
            <a:pPr>
              <a:defRPr/>
            </a:pPr>
            <a:r>
              <a:rPr lang="en-US" b="1" dirty="0">
                <a:latin typeface="Arial"/>
                <a:ea typeface="ＭＳ Ｐゴシック" pitchFamily="34" charset="-128"/>
              </a:rPr>
              <a:t>For institutional use only.  </a:t>
            </a:r>
            <a:r>
              <a:rPr lang="en-US" dirty="0">
                <a:latin typeface="Arial"/>
                <a:ea typeface="ＭＳ Ｐゴシック" pitchFamily="34" charset="-128"/>
              </a:rPr>
              <a:t>l  © 2022 FMR LLC. All rights reserved.</a:t>
            </a:r>
          </a:p>
        </p:txBody>
      </p:sp>
      <p:sp>
        <p:nvSpPr>
          <p:cNvPr id="8" name="Text Box 15"/>
          <p:cNvSpPr txBox="1">
            <a:spLocks noChangeArrowheads="1"/>
          </p:cNvSpPr>
          <p:nvPr/>
        </p:nvSpPr>
        <p:spPr bwMode="ltGray">
          <a:xfrm>
            <a:off x="383501" y="6002939"/>
            <a:ext cx="2868716" cy="184652"/>
          </a:xfrm>
          <a:prstGeom prst="rect">
            <a:avLst/>
          </a:prstGeom>
          <a:noFill/>
          <a:ln w="9525">
            <a:solidFill>
              <a:srgbClr val="000000"/>
            </a:solidFill>
            <a:miter lim="800000"/>
            <a:headEnd/>
            <a:tailEnd/>
          </a:ln>
        </p:spPr>
        <p:txBody>
          <a:bodyPr wrap="none" lIns="45711" tIns="45711" rIns="45711" bIns="27427" anchor="ctr">
            <a:spAutoFit/>
          </a:bodyP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fontAlgn="auto">
              <a:lnSpc>
                <a:spcPct val="90000"/>
              </a:lnSpc>
              <a:spcBef>
                <a:spcPts val="0"/>
              </a:spcBef>
              <a:spcAft>
                <a:spcPts val="0"/>
              </a:spcAft>
              <a:defRPr/>
            </a:pPr>
            <a:r>
              <a:rPr lang="en-US" sz="800" b="1" kern="0" dirty="0">
                <a:solidFill>
                  <a:srgbClr val="000000"/>
                </a:solidFill>
                <a:latin typeface="Arial"/>
                <a:cs typeface="+mn-cs"/>
              </a:rPr>
              <a:t>Not FDIC Insured </a:t>
            </a:r>
            <a:r>
              <a:rPr lang="en-US" sz="800" b="1" kern="0" dirty="0">
                <a:solidFill>
                  <a:srgbClr val="000000"/>
                </a:solidFill>
                <a:latin typeface="Arial"/>
                <a:cs typeface="+mn-cs"/>
                <a:sym typeface="Wingdings" pitchFamily="2" charset="2"/>
              </a:rPr>
              <a:t> May Lose Value  No Bank Guarantee</a:t>
            </a:r>
          </a:p>
        </p:txBody>
      </p:sp>
    </p:spTree>
    <p:extLst>
      <p:ext uri="{BB962C8B-B14F-4D97-AF65-F5344CB8AC3E}">
        <p14:creationId xmlns:p14="http://schemas.microsoft.com/office/powerpoint/2010/main" val="13344073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7114" y="228600"/>
            <a:ext cx="8542213" cy="838200"/>
          </a:xfrm>
        </p:spPr>
        <p:txBody>
          <a:bodyPr/>
          <a:lstStyle/>
          <a:p>
            <a:pPr lvl="0"/>
            <a:r>
              <a:rPr lang="en-US" dirty="0"/>
              <a:t>Market Expectations for Fed Rate Hikes in 2022</a:t>
            </a:r>
            <a:br>
              <a:rPr lang="en-US" dirty="0"/>
            </a:br>
            <a:endParaRPr lang="en-US" sz="1600" b="1" dirty="0">
              <a:solidFill>
                <a:srgbClr val="768692"/>
              </a:solidFill>
            </a:endParaRPr>
          </a:p>
        </p:txBody>
      </p:sp>
      <p:sp>
        <p:nvSpPr>
          <p:cNvPr id="4" name="Slide Number Placeholder 3"/>
          <p:cNvSpPr>
            <a:spLocks noGrp="1"/>
          </p:cNvSpPr>
          <p:nvPr>
            <p:ph type="sldNum" sz="quarter" idx="14"/>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E6474CC2-1230-4213-AD1A-4B2FEEABA7A1}" type="slidenum">
              <a:rPr kumimoji="0" lang="en-US" sz="800" b="1" i="0" u="none" strike="noStrike" kern="1200" cap="none" spc="0" normalizeH="0" baseline="0" noProof="0" smtClean="0">
                <a:ln>
                  <a:noFill/>
                </a:ln>
                <a:solidFill>
                  <a:srgbClr val="000000"/>
                </a:solidFill>
                <a:effectLst/>
                <a:uLnTx/>
                <a:uFillTx/>
                <a:latin typeface="Arial"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10</a:t>
            </a:fld>
            <a:endParaRPr kumimoji="0" lang="en-US" sz="800" b="1" i="0" u="none" strike="noStrike" kern="1200" cap="none" spc="0" normalizeH="0" baseline="0" noProof="0" dirty="0">
              <a:ln>
                <a:noFill/>
              </a:ln>
              <a:solidFill>
                <a:srgbClr val="000000"/>
              </a:solidFill>
              <a:effectLst/>
              <a:uLnTx/>
              <a:uFillTx/>
              <a:latin typeface="Arial" charset="0"/>
              <a:ea typeface="ＭＳ Ｐゴシック" charset="-128"/>
              <a:cs typeface="+mn-cs"/>
            </a:endParaRPr>
          </a:p>
        </p:txBody>
      </p:sp>
      <p:sp>
        <p:nvSpPr>
          <p:cNvPr id="10" name="Footer Placeholder 1"/>
          <p:cNvSpPr>
            <a:spLocks noGrp="1"/>
          </p:cNvSpPr>
          <p:nvPr>
            <p:ph type="ftr" sz="quarter" idx="17"/>
          </p:nvPr>
        </p:nvSpPr>
        <p:spPr>
          <a:prstGeom prst="rect">
            <a:avLst/>
          </a:prstGeom>
        </p:spPr>
        <p:txBody>
          <a:bodyPr lIns="91440" tIns="0" rIns="91440" bIns="0" anchor="b" anchorCtr="0"/>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charset="0"/>
                <a:ea typeface="ＭＳ Ｐゴシック" charset="-128"/>
                <a:cs typeface="+mn-cs"/>
              </a:rPr>
              <a:t>For institutional use only.</a:t>
            </a:r>
          </a:p>
        </p:txBody>
      </p:sp>
      <p:sp>
        <p:nvSpPr>
          <p:cNvPr id="11" name="TextBox 10">
            <a:extLst>
              <a:ext uri="{FF2B5EF4-FFF2-40B4-BE49-F238E27FC236}">
                <a16:creationId xmlns:a16="http://schemas.microsoft.com/office/drawing/2014/main" id="{4BDAA1D8-0467-4C22-81F8-650B6096E466}"/>
              </a:ext>
            </a:extLst>
          </p:cNvPr>
          <p:cNvSpPr txBox="1"/>
          <p:nvPr/>
        </p:nvSpPr>
        <p:spPr>
          <a:xfrm>
            <a:off x="323475" y="6401481"/>
            <a:ext cx="8608244" cy="215444"/>
          </a:xfrm>
          <a:prstGeom prst="rect">
            <a:avLst/>
          </a:prstGeom>
          <a:noFill/>
        </p:spPr>
        <p:txBody>
          <a:bodyPr wrap="square" rtlCol="0">
            <a:spAutoFit/>
          </a:bodyPr>
          <a:lstStyle>
            <a:defPPr>
              <a:defRPr lang="en-US"/>
            </a:defPPr>
            <a:lvl1pPr>
              <a:defRPr sz="800">
                <a:latin typeface="Arial" pitchFamily="34" charset="0"/>
                <a:ea typeface="ＭＳ Ｐゴシック"/>
                <a:cs typeface="Arial" panose="020B0604020202020204" pitchFamily="34" charset="0"/>
              </a:defRPr>
            </a:lvl1pPr>
          </a:lstStyle>
          <a:p>
            <a:pPr fontAlgn="auto">
              <a:spcBef>
                <a:spcPts val="0"/>
              </a:spcBef>
              <a:spcAft>
                <a:spcPts val="0"/>
              </a:spcAft>
              <a:defRPr/>
            </a:pPr>
            <a:r>
              <a:rPr lang="en-US" dirty="0"/>
              <a:t>Source: Bloomberg as of 5/31/2022</a:t>
            </a:r>
          </a:p>
        </p:txBody>
      </p:sp>
      <p:graphicFrame>
        <p:nvGraphicFramePr>
          <p:cNvPr id="13" name="Chart 12">
            <a:extLst>
              <a:ext uri="{FF2B5EF4-FFF2-40B4-BE49-F238E27FC236}">
                <a16:creationId xmlns:a16="http://schemas.microsoft.com/office/drawing/2014/main" id="{6B8EAA45-F4C5-4846-A8A1-6BEC07DB2EBB}"/>
              </a:ext>
            </a:extLst>
          </p:cNvPr>
          <p:cNvGraphicFramePr>
            <a:graphicFrameLocks/>
          </p:cNvGraphicFramePr>
          <p:nvPr>
            <p:extLst>
              <p:ext uri="{D42A27DB-BD31-4B8C-83A1-F6EECF244321}">
                <p14:modId xmlns:p14="http://schemas.microsoft.com/office/powerpoint/2010/main" val="2118633905"/>
              </p:ext>
            </p:extLst>
          </p:nvPr>
        </p:nvGraphicFramePr>
        <p:xfrm>
          <a:off x="377614" y="1581496"/>
          <a:ext cx="8080995" cy="3774892"/>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a:extLst>
              <a:ext uri="{FF2B5EF4-FFF2-40B4-BE49-F238E27FC236}">
                <a16:creationId xmlns:a16="http://schemas.microsoft.com/office/drawing/2014/main" id="{FB5B0894-F3C2-4B63-B313-0839EFDC3076}"/>
              </a:ext>
            </a:extLst>
          </p:cNvPr>
          <p:cNvSpPr txBox="1"/>
          <p:nvPr/>
        </p:nvSpPr>
        <p:spPr>
          <a:xfrm rot="16200000">
            <a:off x="-929732" y="3194172"/>
            <a:ext cx="2707979" cy="307777"/>
          </a:xfrm>
          <a:prstGeom prst="rect">
            <a:avLst/>
          </a:prstGeom>
          <a:noFill/>
        </p:spPr>
        <p:txBody>
          <a:bodyPr wrap="square" rtlCol="0">
            <a:noAutofit/>
          </a:bodyPr>
          <a:lstStyle>
            <a:defPPr>
              <a:defRPr lang="en-US"/>
            </a:defPPr>
            <a:lvl1pPr algn="ctr">
              <a:defRPr sz="1400">
                <a:latin typeface="Arial" panose="020B0604020202020204" pitchFamily="34" charset="0"/>
                <a:cs typeface="Arial" panose="020B0604020202020204" pitchFamily="34" charset="0"/>
              </a:defRPr>
            </a:lvl1pPr>
          </a:lstStyle>
          <a:p>
            <a:pPr fontAlgn="auto">
              <a:spcBef>
                <a:spcPts val="0"/>
              </a:spcBef>
              <a:spcAft>
                <a:spcPts val="0"/>
              </a:spcAft>
              <a:defRPr/>
            </a:pPr>
            <a:r>
              <a:rPr lang="en-US" sz="1200" dirty="0">
                <a:solidFill>
                  <a:srgbClr val="000000"/>
                </a:solidFill>
                <a:ea typeface="+mn-ea"/>
              </a:rPr>
              <a:t>Yield</a:t>
            </a:r>
          </a:p>
        </p:txBody>
      </p:sp>
      <p:sp>
        <p:nvSpPr>
          <p:cNvPr id="15" name="TextBox 14">
            <a:extLst>
              <a:ext uri="{FF2B5EF4-FFF2-40B4-BE49-F238E27FC236}">
                <a16:creationId xmlns:a16="http://schemas.microsoft.com/office/drawing/2014/main" id="{52B34068-A708-463D-AAE8-0FC629EAA330}"/>
              </a:ext>
            </a:extLst>
          </p:cNvPr>
          <p:cNvSpPr txBox="1"/>
          <p:nvPr/>
        </p:nvSpPr>
        <p:spPr>
          <a:xfrm rot="5400000">
            <a:off x="7266707" y="3502117"/>
            <a:ext cx="2691580" cy="307777"/>
          </a:xfrm>
          <a:prstGeom prst="rect">
            <a:avLst/>
          </a:prstGeom>
          <a:noFill/>
        </p:spPr>
        <p:txBody>
          <a:bodyPr wrap="square" rtlCol="0">
            <a:noAutofit/>
          </a:bodyPr>
          <a:lstStyle>
            <a:defPPr>
              <a:defRPr lang="en-US"/>
            </a:defPPr>
            <a:lvl1pPr algn="ctr">
              <a:defRPr sz="1400">
                <a:latin typeface="Arial" panose="020B0604020202020204" pitchFamily="34" charset="0"/>
                <a:cs typeface="Arial" panose="020B0604020202020204" pitchFamily="34" charset="0"/>
              </a:defRPr>
            </a:lvl1pPr>
          </a:lstStyle>
          <a:p>
            <a:pPr fontAlgn="auto">
              <a:spcBef>
                <a:spcPts val="0"/>
              </a:spcBef>
              <a:spcAft>
                <a:spcPts val="0"/>
              </a:spcAft>
              <a:defRPr sz="1400" b="0" i="0" u="none" strike="noStrike" kern="1200" baseline="0">
                <a:solidFill>
                  <a:srgbClr val="000000"/>
                </a:solidFill>
                <a:latin typeface="Arial" panose="020B0604020202020204" pitchFamily="34" charset="0"/>
                <a:ea typeface="+mn-ea"/>
                <a:cs typeface="Arial" panose="020B0604020202020204" pitchFamily="34" charset="0"/>
              </a:defRPr>
            </a:pPr>
            <a:r>
              <a:rPr lang="en-US" sz="800" dirty="0">
                <a:solidFill>
                  <a:srgbClr val="000000"/>
                </a:solidFill>
                <a:ea typeface="+mn-ea"/>
              </a:rPr>
              <a:t>Implied Number of Rate Hikes</a:t>
            </a:r>
          </a:p>
        </p:txBody>
      </p:sp>
    </p:spTree>
    <p:extLst>
      <p:ext uri="{BB962C8B-B14F-4D97-AF65-F5344CB8AC3E}">
        <p14:creationId xmlns:p14="http://schemas.microsoft.com/office/powerpoint/2010/main" val="29067094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spAutoFit/>
          </a:bodyPr>
          <a:lstStyle/>
          <a:p>
            <a:r>
              <a:rPr lang="en-US" dirty="0"/>
              <a:t>Fed’s Hawkish Stance Drives Money Market Yields Higher</a:t>
            </a:r>
          </a:p>
        </p:txBody>
      </p:sp>
      <p:sp>
        <p:nvSpPr>
          <p:cNvPr id="12" name="Slide Number Placeholder 1">
            <a:extLst>
              <a:ext uri="{FF2B5EF4-FFF2-40B4-BE49-F238E27FC236}">
                <a16:creationId xmlns:a16="http://schemas.microsoft.com/office/drawing/2014/main" id="{272525E4-E879-4BE5-B533-635970F2BEC1}"/>
              </a:ext>
            </a:extLst>
          </p:cNvPr>
          <p:cNvSpPr>
            <a:spLocks noGrp="1"/>
          </p:cNvSpPr>
          <p:nvPr>
            <p:ph type="sldNum" sz="quarter" idx="14"/>
          </p:nvPr>
        </p:nvSpPr>
        <p:spPr/>
        <p:txBody>
          <a:bodyPr/>
          <a:lstStyle/>
          <a:p>
            <a:pPr>
              <a:defRPr/>
            </a:pPr>
            <a:fld id="{E6474CC2-1230-4213-AD1A-4B2FEEABA7A1}" type="slidenum">
              <a:rPr lang="en-US" smtClean="0">
                <a:latin typeface="Arial" panose="020B0604020202020204" pitchFamily="34" charset="0"/>
                <a:cs typeface="Arial" panose="020B0604020202020204" pitchFamily="34" charset="0"/>
              </a:rPr>
              <a:pPr>
                <a:defRPr/>
              </a:pPr>
              <a:t>11</a:t>
            </a:fld>
            <a:endParaRPr lang="en-US" dirty="0">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CFBD8436-C991-4848-A642-40FE920A5429}"/>
              </a:ext>
            </a:extLst>
          </p:cNvPr>
          <p:cNvSpPr txBox="1"/>
          <p:nvPr/>
        </p:nvSpPr>
        <p:spPr>
          <a:xfrm>
            <a:off x="327880" y="6210095"/>
            <a:ext cx="6821587" cy="338554"/>
          </a:xfrm>
          <a:prstGeom prst="rect">
            <a:avLst/>
          </a:prstGeom>
          <a:noFill/>
        </p:spPr>
        <p:txBody>
          <a:bodyPr wrap="square" rtlCol="0">
            <a:spAutoFit/>
          </a:bodyPr>
          <a:lstStyle/>
          <a:p>
            <a:r>
              <a:rPr lang="en-US" sz="800" dirty="0">
                <a:solidFill>
                  <a:srgbClr val="000000"/>
                </a:solidFill>
                <a:cs typeface="Arial" panose="020B0604020202020204" pitchFamily="34" charset="0"/>
              </a:rPr>
              <a:t>Note: Overnight Treasury Repo is represented by a 5-day moving average.</a:t>
            </a:r>
          </a:p>
          <a:p>
            <a:r>
              <a:rPr lang="en-US" sz="800" dirty="0">
                <a:solidFill>
                  <a:srgbClr val="000000"/>
                </a:solidFill>
                <a:cs typeface="Arial" panose="020B0604020202020204" pitchFamily="34" charset="0"/>
              </a:rPr>
              <a:t>Sources: Fidelity and Bloomberg as of 6/30/2022</a:t>
            </a:r>
          </a:p>
        </p:txBody>
      </p:sp>
      <p:sp>
        <p:nvSpPr>
          <p:cNvPr id="11" name="TextBox 10">
            <a:extLst>
              <a:ext uri="{FF2B5EF4-FFF2-40B4-BE49-F238E27FC236}">
                <a16:creationId xmlns:a16="http://schemas.microsoft.com/office/drawing/2014/main" id="{1710A550-5644-4145-B439-277F61EEC063}"/>
              </a:ext>
            </a:extLst>
          </p:cNvPr>
          <p:cNvSpPr txBox="1"/>
          <p:nvPr/>
        </p:nvSpPr>
        <p:spPr>
          <a:xfrm rot="16200000">
            <a:off x="-300086" y="3147034"/>
            <a:ext cx="2247901" cy="346887"/>
          </a:xfrm>
          <a:prstGeom prst="rect">
            <a:avLst/>
          </a:prstGeom>
          <a:noFill/>
        </p:spPr>
        <p:txBody>
          <a:bodyPr wrap="square" rtlCol="0">
            <a:noAutofit/>
          </a:bodyPr>
          <a:lstStyle/>
          <a:p>
            <a:pPr algn="ctr"/>
            <a:r>
              <a:rPr lang="en-US" sz="800" dirty="0">
                <a:cs typeface="Arial" panose="020B0604020202020204" pitchFamily="34" charset="0"/>
              </a:rPr>
              <a:t>Yield (%)</a:t>
            </a:r>
          </a:p>
        </p:txBody>
      </p:sp>
      <p:sp>
        <p:nvSpPr>
          <p:cNvPr id="14" name="Rectangle 13">
            <a:extLst>
              <a:ext uri="{FF2B5EF4-FFF2-40B4-BE49-F238E27FC236}">
                <a16:creationId xmlns:a16="http://schemas.microsoft.com/office/drawing/2014/main" id="{2E8568F8-64D4-4D36-A20C-BB964AD0D0D1}"/>
              </a:ext>
            </a:extLst>
          </p:cNvPr>
          <p:cNvSpPr>
            <a:spLocks noChangeArrowheads="1"/>
          </p:cNvSpPr>
          <p:nvPr/>
        </p:nvSpPr>
        <p:spPr bwMode="auto">
          <a:xfrm>
            <a:off x="7900289" y="2161442"/>
            <a:ext cx="2669135" cy="395207"/>
          </a:xfrm>
          <a:prstGeom prst="rect">
            <a:avLst/>
          </a:prstGeom>
          <a:noFill/>
          <a:ln w="9525" algn="ctr">
            <a:noFill/>
            <a:miter lim="800000"/>
            <a:headEnd/>
            <a:tailEnd/>
          </a:ln>
        </p:spPr>
        <p:txBody>
          <a:bodyPr wrap="none" lIns="9144" rIns="9144"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dirty="0">
                <a:solidFill>
                  <a:srgbClr val="7A9A3D"/>
                </a:solidFill>
                <a:latin typeface="Arial" panose="020B0604020202020204" pitchFamily="34" charset="0"/>
                <a:cs typeface="Arial" panose="020B0604020202020204" pitchFamily="34" charset="0"/>
              </a:rPr>
              <a:t>6-Month Treasury Bill</a:t>
            </a:r>
          </a:p>
        </p:txBody>
      </p:sp>
      <p:sp>
        <p:nvSpPr>
          <p:cNvPr id="15" name="Text Box 28">
            <a:extLst>
              <a:ext uri="{FF2B5EF4-FFF2-40B4-BE49-F238E27FC236}">
                <a16:creationId xmlns:a16="http://schemas.microsoft.com/office/drawing/2014/main" id="{1ABAFF3A-44C5-41ED-822D-BEE3C717D4EA}"/>
              </a:ext>
            </a:extLst>
          </p:cNvPr>
          <p:cNvSpPr txBox="1">
            <a:spLocks noChangeArrowheads="1"/>
          </p:cNvSpPr>
          <p:nvPr/>
        </p:nvSpPr>
        <p:spPr bwMode="auto">
          <a:xfrm>
            <a:off x="7882183" y="2887414"/>
            <a:ext cx="2085800" cy="230832"/>
          </a:xfrm>
          <a:prstGeom prst="rect">
            <a:avLst/>
          </a:prstGeom>
          <a:noFill/>
          <a:ln w="9525" algn="ctr">
            <a:noFill/>
            <a:miter lim="800000"/>
            <a:headEnd/>
            <a:tailEnd/>
          </a:ln>
        </p:spPr>
        <p:txBody>
          <a:bodyPr wrap="square" lIns="9144" rIns="9144">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dirty="0">
                <a:solidFill>
                  <a:srgbClr val="298FC2"/>
                </a:solidFill>
                <a:latin typeface="Arial" panose="020B0604020202020204" pitchFamily="34" charset="0"/>
                <a:cs typeface="Arial" panose="020B0604020202020204" pitchFamily="34" charset="0"/>
              </a:rPr>
              <a:t>3-Month Treasury Bill</a:t>
            </a:r>
          </a:p>
        </p:txBody>
      </p:sp>
      <p:sp>
        <p:nvSpPr>
          <p:cNvPr id="16" name="Rectangle 15">
            <a:extLst>
              <a:ext uri="{FF2B5EF4-FFF2-40B4-BE49-F238E27FC236}">
                <a16:creationId xmlns:a16="http://schemas.microsoft.com/office/drawing/2014/main" id="{E8F11C7B-8978-4A41-A762-28785D484E98}"/>
              </a:ext>
            </a:extLst>
          </p:cNvPr>
          <p:cNvSpPr>
            <a:spLocks noChangeArrowheads="1"/>
          </p:cNvSpPr>
          <p:nvPr/>
        </p:nvSpPr>
        <p:spPr bwMode="auto">
          <a:xfrm>
            <a:off x="7879234" y="3052352"/>
            <a:ext cx="2637993" cy="268126"/>
          </a:xfrm>
          <a:prstGeom prst="rect">
            <a:avLst/>
          </a:prstGeom>
          <a:noFill/>
          <a:ln w="9525" algn="ctr">
            <a:noFill/>
            <a:miter lim="800000"/>
            <a:headEnd/>
            <a:tailEnd/>
          </a:ln>
        </p:spPr>
        <p:txBody>
          <a:bodyPr wrap="none" lIns="9144" rIns="9144"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dirty="0">
                <a:solidFill>
                  <a:srgbClr val="004F6B"/>
                </a:solidFill>
                <a:latin typeface="Arial" panose="020B0604020202020204" pitchFamily="34" charset="0"/>
                <a:cs typeface="Arial" panose="020B0604020202020204" pitchFamily="34" charset="0"/>
              </a:rPr>
              <a:t>Overnight Treasury</a:t>
            </a:r>
          </a:p>
          <a:p>
            <a:r>
              <a:rPr lang="en-US" sz="900" dirty="0">
                <a:solidFill>
                  <a:srgbClr val="004F6B"/>
                </a:solidFill>
                <a:latin typeface="Arial" panose="020B0604020202020204" pitchFamily="34" charset="0"/>
                <a:cs typeface="Arial" panose="020B0604020202020204" pitchFamily="34" charset="0"/>
              </a:rPr>
              <a:t> Repo</a:t>
            </a:r>
          </a:p>
        </p:txBody>
      </p:sp>
      <p:graphicFrame>
        <p:nvGraphicFramePr>
          <p:cNvPr id="28" name="Chart 27">
            <a:extLst>
              <a:ext uri="{FF2B5EF4-FFF2-40B4-BE49-F238E27FC236}">
                <a16:creationId xmlns:a16="http://schemas.microsoft.com/office/drawing/2014/main" id="{00000000-0008-0000-0000-000003000000}"/>
              </a:ext>
            </a:extLst>
          </p:cNvPr>
          <p:cNvGraphicFramePr>
            <a:graphicFrameLocks/>
          </p:cNvGraphicFramePr>
          <p:nvPr>
            <p:extLst>
              <p:ext uri="{D42A27DB-BD31-4B8C-83A1-F6EECF244321}">
                <p14:modId xmlns:p14="http://schemas.microsoft.com/office/powerpoint/2010/main" val="3932924543"/>
              </p:ext>
            </p:extLst>
          </p:nvPr>
        </p:nvGraphicFramePr>
        <p:xfrm>
          <a:off x="538827" y="1066800"/>
          <a:ext cx="7781308" cy="4333724"/>
        </p:xfrm>
        <a:graphic>
          <a:graphicData uri="http://schemas.openxmlformats.org/drawingml/2006/chart">
            <c:chart xmlns:c="http://schemas.openxmlformats.org/drawingml/2006/chart" xmlns:r="http://schemas.openxmlformats.org/officeDocument/2006/relationships" r:id="rId3"/>
          </a:graphicData>
        </a:graphic>
      </p:graphicFrame>
      <p:sp>
        <p:nvSpPr>
          <p:cNvPr id="13" name="Footer Placeholder 1">
            <a:extLst>
              <a:ext uri="{FF2B5EF4-FFF2-40B4-BE49-F238E27FC236}">
                <a16:creationId xmlns:a16="http://schemas.microsoft.com/office/drawing/2014/main" id="{ABF8B2E4-75AE-495B-B084-356F3DA249DB}"/>
              </a:ext>
            </a:extLst>
          </p:cNvPr>
          <p:cNvSpPr>
            <a:spLocks noGrp="1"/>
          </p:cNvSpPr>
          <p:nvPr>
            <p:ph type="ftr" sz="quarter" idx="17"/>
          </p:nvPr>
        </p:nvSpPr>
        <p:spPr>
          <a:xfrm>
            <a:off x="320040" y="6508597"/>
            <a:ext cx="3931920" cy="173736"/>
          </a:xfrm>
          <a:prstGeom prst="rect">
            <a:avLst/>
          </a:prstGeom>
        </p:spPr>
        <p:txBody>
          <a:bodyPr lIns="91440" tIns="0" rIns="91440" bIns="0" anchor="b" anchorCtr="0"/>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charset="0"/>
                <a:ea typeface="ＭＳ Ｐゴシック" charset="-128"/>
                <a:cs typeface="+mn-cs"/>
              </a:rPr>
              <a:t>For institutional use only.</a:t>
            </a:r>
          </a:p>
        </p:txBody>
      </p:sp>
    </p:spTree>
    <p:extLst>
      <p:ext uri="{BB962C8B-B14F-4D97-AF65-F5344CB8AC3E}">
        <p14:creationId xmlns:p14="http://schemas.microsoft.com/office/powerpoint/2010/main" val="31564595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6C5ECD-7ACB-46EC-8AE7-F7AE5668C89C}"/>
              </a:ext>
            </a:extLst>
          </p:cNvPr>
          <p:cNvSpPr>
            <a:spLocks noGrp="1"/>
          </p:cNvSpPr>
          <p:nvPr>
            <p:ph type="title"/>
          </p:nvPr>
        </p:nvSpPr>
        <p:spPr/>
        <p:txBody>
          <a:bodyPr/>
          <a:lstStyle/>
          <a:p>
            <a:r>
              <a:rPr lang="en-US" dirty="0"/>
              <a:t>Federal Reserve’s Economic Projections</a:t>
            </a:r>
          </a:p>
        </p:txBody>
      </p:sp>
      <p:sp>
        <p:nvSpPr>
          <p:cNvPr id="3" name="Slide Number Placeholder 2">
            <a:extLst>
              <a:ext uri="{FF2B5EF4-FFF2-40B4-BE49-F238E27FC236}">
                <a16:creationId xmlns:a16="http://schemas.microsoft.com/office/drawing/2014/main" id="{CE4AD4E4-FDDE-414A-B731-49B755F05EAB}"/>
              </a:ext>
            </a:extLst>
          </p:cNvPr>
          <p:cNvSpPr>
            <a:spLocks noGrp="1"/>
          </p:cNvSpPr>
          <p:nvPr>
            <p:ph type="sldNum" sz="quarter" idx="14"/>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E6474CC2-1230-4213-AD1A-4B2FEEABA7A1}" type="slidenum">
              <a:rPr kumimoji="0" lang="en-US" sz="800" b="1" i="0" u="none" strike="noStrike" kern="1200" cap="none" spc="0" normalizeH="0" baseline="0" noProof="0" smtClean="0">
                <a:ln>
                  <a:noFill/>
                </a:ln>
                <a:solidFill>
                  <a:srgbClr val="000000"/>
                </a:solidFill>
                <a:effectLst/>
                <a:uLnTx/>
                <a:uFillTx/>
                <a:latin typeface="Arial"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12</a:t>
            </a:fld>
            <a:endParaRPr kumimoji="0" lang="en-US" sz="800" b="1" i="0" u="none" strike="noStrike" kern="1200" cap="none" spc="0" normalizeH="0" baseline="0" noProof="0" dirty="0">
              <a:ln>
                <a:noFill/>
              </a:ln>
              <a:solidFill>
                <a:srgbClr val="000000"/>
              </a:solidFill>
              <a:effectLst/>
              <a:uLnTx/>
              <a:uFillTx/>
              <a:latin typeface="Arial" charset="0"/>
              <a:ea typeface="ＭＳ Ｐゴシック" charset="-128"/>
              <a:cs typeface="+mn-cs"/>
            </a:endParaRPr>
          </a:p>
        </p:txBody>
      </p:sp>
      <p:sp>
        <p:nvSpPr>
          <p:cNvPr id="7" name="Text Box 33">
            <a:extLst>
              <a:ext uri="{FF2B5EF4-FFF2-40B4-BE49-F238E27FC236}">
                <a16:creationId xmlns:a16="http://schemas.microsoft.com/office/drawing/2014/main" id="{E3B61159-C491-435F-8FEF-1039A69FDB74}"/>
              </a:ext>
            </a:extLst>
          </p:cNvPr>
          <p:cNvSpPr txBox="1">
            <a:spLocks noChangeArrowheads="1"/>
          </p:cNvSpPr>
          <p:nvPr/>
        </p:nvSpPr>
        <p:spPr bwMode="auto">
          <a:xfrm>
            <a:off x="314325" y="6175184"/>
            <a:ext cx="7453262" cy="382588"/>
          </a:xfrm>
          <a:prstGeom prst="rect">
            <a:avLst/>
          </a:prstGeom>
          <a:noFill/>
          <a:ln w="9525" algn="ctr">
            <a:noFill/>
            <a:miter lim="800000"/>
            <a:headEnd/>
            <a:tailEnd/>
          </a:ln>
        </p:spPr>
        <p:txBody>
          <a:bodyPr wrap="square" anchor="b"/>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itchFamily="34" charset="0"/>
                <a:ea typeface="ＭＳ Ｐゴシック"/>
              </a:rPr>
              <a:t>Source:  Bloomberg and Federal Reserve.</a:t>
            </a:r>
          </a:p>
        </p:txBody>
      </p:sp>
      <p:graphicFrame>
        <p:nvGraphicFramePr>
          <p:cNvPr id="12" name="Chart 11">
            <a:extLst>
              <a:ext uri="{FF2B5EF4-FFF2-40B4-BE49-F238E27FC236}">
                <a16:creationId xmlns:a16="http://schemas.microsoft.com/office/drawing/2014/main" id="{DA6729FB-2C52-41E1-940E-C071FC616FEF}"/>
              </a:ext>
            </a:extLst>
          </p:cNvPr>
          <p:cNvGraphicFramePr>
            <a:graphicFrameLocks/>
          </p:cNvGraphicFramePr>
          <p:nvPr>
            <p:extLst>
              <p:ext uri="{D42A27DB-BD31-4B8C-83A1-F6EECF244321}">
                <p14:modId xmlns:p14="http://schemas.microsoft.com/office/powerpoint/2010/main" val="2025107521"/>
              </p:ext>
            </p:extLst>
          </p:nvPr>
        </p:nvGraphicFramePr>
        <p:xfrm>
          <a:off x="654504" y="1040095"/>
          <a:ext cx="2196193" cy="1554480"/>
        </p:xfrm>
        <a:graphic>
          <a:graphicData uri="http://schemas.openxmlformats.org/drawingml/2006/chart">
            <c:chart xmlns:c="http://schemas.openxmlformats.org/drawingml/2006/chart" xmlns:r="http://schemas.openxmlformats.org/officeDocument/2006/relationships" r:id="rId3"/>
          </a:graphicData>
        </a:graphic>
      </p:graphicFrame>
      <p:sp>
        <p:nvSpPr>
          <p:cNvPr id="13" name="Rectangle 12">
            <a:extLst>
              <a:ext uri="{FF2B5EF4-FFF2-40B4-BE49-F238E27FC236}">
                <a16:creationId xmlns:a16="http://schemas.microsoft.com/office/drawing/2014/main" id="{0E41DBAB-12FE-4C6C-9D8A-6A95F8E3902C}"/>
              </a:ext>
            </a:extLst>
          </p:cNvPr>
          <p:cNvSpPr/>
          <p:nvPr/>
        </p:nvSpPr>
        <p:spPr>
          <a:xfrm>
            <a:off x="1077690" y="736362"/>
            <a:ext cx="1658711" cy="307777"/>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itchFamily="34" charset="0"/>
                <a:ea typeface="ＭＳ Ｐゴシック"/>
              </a:rPr>
              <a:t>INFLATION</a:t>
            </a:r>
          </a:p>
        </p:txBody>
      </p:sp>
      <p:graphicFrame>
        <p:nvGraphicFramePr>
          <p:cNvPr id="15" name="Chart 14">
            <a:extLst>
              <a:ext uri="{FF2B5EF4-FFF2-40B4-BE49-F238E27FC236}">
                <a16:creationId xmlns:a16="http://schemas.microsoft.com/office/drawing/2014/main" id="{E6A10045-304C-4357-A716-6EE6870883F0}"/>
              </a:ext>
            </a:extLst>
          </p:cNvPr>
          <p:cNvGraphicFramePr>
            <a:graphicFrameLocks/>
          </p:cNvGraphicFramePr>
          <p:nvPr>
            <p:extLst>
              <p:ext uri="{D42A27DB-BD31-4B8C-83A1-F6EECF244321}">
                <p14:modId xmlns:p14="http://schemas.microsoft.com/office/powerpoint/2010/main" val="2884000942"/>
              </p:ext>
            </p:extLst>
          </p:nvPr>
        </p:nvGraphicFramePr>
        <p:xfrm>
          <a:off x="3249386" y="1040095"/>
          <a:ext cx="5461907" cy="1554480"/>
        </p:xfrm>
        <a:graphic>
          <a:graphicData uri="http://schemas.openxmlformats.org/drawingml/2006/chart">
            <c:chart xmlns:c="http://schemas.openxmlformats.org/drawingml/2006/chart" xmlns:r="http://schemas.openxmlformats.org/officeDocument/2006/relationships" r:id="rId4"/>
          </a:graphicData>
        </a:graphic>
      </p:graphicFrame>
      <p:sp>
        <p:nvSpPr>
          <p:cNvPr id="16" name="Rectangle 15">
            <a:extLst>
              <a:ext uri="{FF2B5EF4-FFF2-40B4-BE49-F238E27FC236}">
                <a16:creationId xmlns:a16="http://schemas.microsoft.com/office/drawing/2014/main" id="{83B910EA-FD8E-4B39-882E-3D465830869C}"/>
              </a:ext>
            </a:extLst>
          </p:cNvPr>
          <p:cNvSpPr/>
          <p:nvPr/>
        </p:nvSpPr>
        <p:spPr>
          <a:xfrm>
            <a:off x="3548748" y="729553"/>
            <a:ext cx="5159829" cy="307777"/>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itchFamily="34" charset="0"/>
                <a:ea typeface="ＭＳ Ｐゴシック"/>
              </a:rPr>
              <a:t>FOMC FORECAST</a:t>
            </a:r>
          </a:p>
        </p:txBody>
      </p:sp>
      <p:graphicFrame>
        <p:nvGraphicFramePr>
          <p:cNvPr id="17" name="Chart 16">
            <a:extLst>
              <a:ext uri="{FF2B5EF4-FFF2-40B4-BE49-F238E27FC236}">
                <a16:creationId xmlns:a16="http://schemas.microsoft.com/office/drawing/2014/main" id="{D1C041C3-1907-46EB-BBC2-92DFB31FFA7E}"/>
              </a:ext>
            </a:extLst>
          </p:cNvPr>
          <p:cNvGraphicFramePr>
            <a:graphicFrameLocks/>
          </p:cNvGraphicFramePr>
          <p:nvPr/>
        </p:nvGraphicFramePr>
        <p:xfrm>
          <a:off x="651788" y="2874345"/>
          <a:ext cx="2196193" cy="1554480"/>
        </p:xfrm>
        <a:graphic>
          <a:graphicData uri="http://schemas.openxmlformats.org/drawingml/2006/chart">
            <c:chart xmlns:c="http://schemas.openxmlformats.org/drawingml/2006/chart" xmlns:r="http://schemas.openxmlformats.org/officeDocument/2006/relationships" r:id="rId5"/>
          </a:graphicData>
        </a:graphic>
      </p:graphicFrame>
      <p:sp>
        <p:nvSpPr>
          <p:cNvPr id="18" name="Rectangle 17">
            <a:extLst>
              <a:ext uri="{FF2B5EF4-FFF2-40B4-BE49-F238E27FC236}">
                <a16:creationId xmlns:a16="http://schemas.microsoft.com/office/drawing/2014/main" id="{1B2C1C4D-837A-4070-8BE2-925A232880F0}"/>
              </a:ext>
            </a:extLst>
          </p:cNvPr>
          <p:cNvSpPr/>
          <p:nvPr/>
        </p:nvSpPr>
        <p:spPr>
          <a:xfrm>
            <a:off x="1042312" y="2570612"/>
            <a:ext cx="2356762" cy="307777"/>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itchFamily="34" charset="0"/>
                <a:ea typeface="ＭＳ Ｐゴシック"/>
              </a:rPr>
              <a:t>UNEMPLOYMENT RATE</a:t>
            </a:r>
          </a:p>
        </p:txBody>
      </p:sp>
      <p:graphicFrame>
        <p:nvGraphicFramePr>
          <p:cNvPr id="19" name="Chart 18">
            <a:extLst>
              <a:ext uri="{FF2B5EF4-FFF2-40B4-BE49-F238E27FC236}">
                <a16:creationId xmlns:a16="http://schemas.microsoft.com/office/drawing/2014/main" id="{C0A04915-9220-4349-996A-6E7B46E9E7F2}"/>
              </a:ext>
            </a:extLst>
          </p:cNvPr>
          <p:cNvGraphicFramePr>
            <a:graphicFrameLocks/>
          </p:cNvGraphicFramePr>
          <p:nvPr>
            <p:extLst>
              <p:ext uri="{D42A27DB-BD31-4B8C-83A1-F6EECF244321}">
                <p14:modId xmlns:p14="http://schemas.microsoft.com/office/powerpoint/2010/main" val="1142090325"/>
              </p:ext>
            </p:extLst>
          </p:nvPr>
        </p:nvGraphicFramePr>
        <p:xfrm>
          <a:off x="3246670" y="2874345"/>
          <a:ext cx="5461907" cy="1554480"/>
        </p:xfrm>
        <a:graphic>
          <a:graphicData uri="http://schemas.openxmlformats.org/drawingml/2006/chart">
            <c:chart xmlns:c="http://schemas.openxmlformats.org/drawingml/2006/chart" xmlns:r="http://schemas.openxmlformats.org/officeDocument/2006/relationships" r:id="rId6"/>
          </a:graphicData>
        </a:graphic>
      </p:graphicFrame>
      <p:sp>
        <p:nvSpPr>
          <p:cNvPr id="20" name="Rectangle 19">
            <a:extLst>
              <a:ext uri="{FF2B5EF4-FFF2-40B4-BE49-F238E27FC236}">
                <a16:creationId xmlns:a16="http://schemas.microsoft.com/office/drawing/2014/main" id="{ADE9942B-3C61-4DD5-BD42-9FAFEDF7C0D1}"/>
              </a:ext>
            </a:extLst>
          </p:cNvPr>
          <p:cNvSpPr/>
          <p:nvPr/>
        </p:nvSpPr>
        <p:spPr>
          <a:xfrm>
            <a:off x="3548748" y="2572625"/>
            <a:ext cx="5159829" cy="307777"/>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itchFamily="34" charset="0"/>
                <a:ea typeface="ＭＳ Ｐゴシック"/>
              </a:rPr>
              <a:t>FOMC FORECAST</a:t>
            </a:r>
          </a:p>
        </p:txBody>
      </p:sp>
      <p:graphicFrame>
        <p:nvGraphicFramePr>
          <p:cNvPr id="21" name="Chart 20">
            <a:extLst>
              <a:ext uri="{FF2B5EF4-FFF2-40B4-BE49-F238E27FC236}">
                <a16:creationId xmlns:a16="http://schemas.microsoft.com/office/drawing/2014/main" id="{39E4A60D-4D2C-4C21-8F96-04C9CFDCB360}"/>
              </a:ext>
            </a:extLst>
          </p:cNvPr>
          <p:cNvGraphicFramePr>
            <a:graphicFrameLocks/>
          </p:cNvGraphicFramePr>
          <p:nvPr/>
        </p:nvGraphicFramePr>
        <p:xfrm>
          <a:off x="657234" y="4692246"/>
          <a:ext cx="2196193" cy="1554480"/>
        </p:xfrm>
        <a:graphic>
          <a:graphicData uri="http://schemas.openxmlformats.org/drawingml/2006/chart">
            <c:chart xmlns:c="http://schemas.openxmlformats.org/drawingml/2006/chart" xmlns:r="http://schemas.openxmlformats.org/officeDocument/2006/relationships" r:id="rId7"/>
          </a:graphicData>
        </a:graphic>
      </p:graphicFrame>
      <p:sp>
        <p:nvSpPr>
          <p:cNvPr id="22" name="Rectangle 21">
            <a:extLst>
              <a:ext uri="{FF2B5EF4-FFF2-40B4-BE49-F238E27FC236}">
                <a16:creationId xmlns:a16="http://schemas.microsoft.com/office/drawing/2014/main" id="{E100F7B3-0906-4D51-9866-9CFCA5084B2D}"/>
              </a:ext>
            </a:extLst>
          </p:cNvPr>
          <p:cNvSpPr/>
          <p:nvPr/>
        </p:nvSpPr>
        <p:spPr>
          <a:xfrm>
            <a:off x="1077689" y="4388147"/>
            <a:ext cx="1658711" cy="307777"/>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itchFamily="34" charset="0"/>
                <a:ea typeface="ＭＳ Ｐゴシック"/>
              </a:rPr>
              <a:t>GDP</a:t>
            </a:r>
          </a:p>
        </p:txBody>
      </p:sp>
      <p:graphicFrame>
        <p:nvGraphicFramePr>
          <p:cNvPr id="23" name="Chart 22">
            <a:extLst>
              <a:ext uri="{FF2B5EF4-FFF2-40B4-BE49-F238E27FC236}">
                <a16:creationId xmlns:a16="http://schemas.microsoft.com/office/drawing/2014/main" id="{8B0EBC9B-4C95-440E-B179-2F806F0E820D}"/>
              </a:ext>
            </a:extLst>
          </p:cNvPr>
          <p:cNvGraphicFramePr>
            <a:graphicFrameLocks/>
          </p:cNvGraphicFramePr>
          <p:nvPr>
            <p:extLst>
              <p:ext uri="{D42A27DB-BD31-4B8C-83A1-F6EECF244321}">
                <p14:modId xmlns:p14="http://schemas.microsoft.com/office/powerpoint/2010/main" val="2217530586"/>
              </p:ext>
            </p:extLst>
          </p:nvPr>
        </p:nvGraphicFramePr>
        <p:xfrm>
          <a:off x="3252116" y="4692246"/>
          <a:ext cx="5461907" cy="1554480"/>
        </p:xfrm>
        <a:graphic>
          <a:graphicData uri="http://schemas.openxmlformats.org/drawingml/2006/chart">
            <c:chart xmlns:c="http://schemas.openxmlformats.org/drawingml/2006/chart" xmlns:r="http://schemas.openxmlformats.org/officeDocument/2006/relationships" r:id="rId8"/>
          </a:graphicData>
        </a:graphic>
      </p:graphicFrame>
      <p:sp>
        <p:nvSpPr>
          <p:cNvPr id="24" name="Rectangle 23">
            <a:extLst>
              <a:ext uri="{FF2B5EF4-FFF2-40B4-BE49-F238E27FC236}">
                <a16:creationId xmlns:a16="http://schemas.microsoft.com/office/drawing/2014/main" id="{063A3DA9-13D1-43BF-A574-93297660B2CA}"/>
              </a:ext>
            </a:extLst>
          </p:cNvPr>
          <p:cNvSpPr/>
          <p:nvPr/>
        </p:nvSpPr>
        <p:spPr>
          <a:xfrm>
            <a:off x="3548748" y="4360866"/>
            <a:ext cx="5159829" cy="307777"/>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itchFamily="34" charset="0"/>
                <a:ea typeface="ＭＳ Ｐゴシック"/>
              </a:rPr>
              <a:t>FOMC FORECAST</a:t>
            </a:r>
          </a:p>
        </p:txBody>
      </p:sp>
      <p:sp>
        <p:nvSpPr>
          <p:cNvPr id="26" name="Footer Placeholder 1">
            <a:extLst>
              <a:ext uri="{FF2B5EF4-FFF2-40B4-BE49-F238E27FC236}">
                <a16:creationId xmlns:a16="http://schemas.microsoft.com/office/drawing/2014/main" id="{5DEA39EC-F900-4D2F-B2F4-EB97735BC3C9}"/>
              </a:ext>
            </a:extLst>
          </p:cNvPr>
          <p:cNvSpPr>
            <a:spLocks noGrp="1"/>
          </p:cNvSpPr>
          <p:nvPr>
            <p:ph type="ftr" sz="quarter" idx="17"/>
          </p:nvPr>
        </p:nvSpPr>
        <p:spPr>
          <a:xfrm>
            <a:off x="320040" y="6508597"/>
            <a:ext cx="3931920" cy="173736"/>
          </a:xfrm>
          <a:prstGeom prst="rect">
            <a:avLst/>
          </a:prstGeom>
        </p:spPr>
        <p:txBody>
          <a:bodyPr lIns="91440" tIns="0" rIns="91440" bIns="0" anchor="b" anchorCtr="0"/>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charset="0"/>
                <a:ea typeface="ＭＳ Ｐゴシック" charset="-128"/>
                <a:cs typeface="+mn-cs"/>
              </a:rPr>
              <a:t>For institutional use only.</a:t>
            </a:r>
          </a:p>
        </p:txBody>
      </p:sp>
    </p:spTree>
    <p:extLst>
      <p:ext uri="{BB962C8B-B14F-4D97-AF65-F5344CB8AC3E}">
        <p14:creationId xmlns:p14="http://schemas.microsoft.com/office/powerpoint/2010/main" val="14376806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easury Bills Outstanding</a:t>
            </a:r>
          </a:p>
        </p:txBody>
      </p:sp>
      <p:sp>
        <p:nvSpPr>
          <p:cNvPr id="3" name="Slide Number Placeholder 2"/>
          <p:cNvSpPr>
            <a:spLocks noGrp="1"/>
          </p:cNvSpPr>
          <p:nvPr>
            <p:ph type="sldNum" sz="quarter" idx="14"/>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E6474CC2-1230-4213-AD1A-4B2FEEABA7A1}" type="slidenum">
              <a:rPr kumimoji="0" lang="en-US" sz="800" b="1" i="0" u="none" strike="noStrike" kern="1200" cap="none" spc="0" normalizeH="0" baseline="0" noProof="0" smtClean="0">
                <a:ln>
                  <a:noFill/>
                </a:ln>
                <a:solidFill>
                  <a:srgbClr val="000000"/>
                </a:solidFill>
                <a:effectLst/>
                <a:uLnTx/>
                <a:uFillTx/>
                <a:latin typeface="Arial"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13</a:t>
            </a:fld>
            <a:endParaRPr kumimoji="0" lang="en-US" sz="800" b="1" i="0" u="none" strike="noStrike" kern="1200" cap="none" spc="0" normalizeH="0" baseline="0" noProof="0" dirty="0">
              <a:ln>
                <a:noFill/>
              </a:ln>
              <a:solidFill>
                <a:srgbClr val="000000"/>
              </a:solidFill>
              <a:effectLst/>
              <a:uLnTx/>
              <a:uFillTx/>
              <a:latin typeface="Arial" charset="0"/>
              <a:ea typeface="ＭＳ Ｐゴシック" charset="-128"/>
              <a:cs typeface="+mn-cs"/>
            </a:endParaRPr>
          </a:p>
        </p:txBody>
      </p:sp>
      <p:sp>
        <p:nvSpPr>
          <p:cNvPr id="4" name="Footer Placeholder 3"/>
          <p:cNvSpPr>
            <a:spLocks noGrp="1"/>
          </p:cNvSpPr>
          <p:nvPr>
            <p:ph type="ftr" sz="quarter" idx="17"/>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charset="0"/>
                <a:ea typeface="ＭＳ Ｐゴシック" charset="-128"/>
                <a:cs typeface="+mn-cs"/>
              </a:rPr>
              <a:t>For institutional use only.</a:t>
            </a:r>
          </a:p>
        </p:txBody>
      </p:sp>
      <p:graphicFrame>
        <p:nvGraphicFramePr>
          <p:cNvPr id="7" name="Chart 6"/>
          <p:cNvGraphicFramePr>
            <a:graphicFrameLocks/>
          </p:cNvGraphicFramePr>
          <p:nvPr>
            <p:extLst>
              <p:ext uri="{D42A27DB-BD31-4B8C-83A1-F6EECF244321}">
                <p14:modId xmlns:p14="http://schemas.microsoft.com/office/powerpoint/2010/main" val="2689193027"/>
              </p:ext>
            </p:extLst>
          </p:nvPr>
        </p:nvGraphicFramePr>
        <p:xfrm>
          <a:off x="672084" y="1175004"/>
          <a:ext cx="7799832" cy="4753848"/>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angle 7"/>
          <p:cNvSpPr/>
          <p:nvPr/>
        </p:nvSpPr>
        <p:spPr>
          <a:xfrm>
            <a:off x="320040" y="6336792"/>
            <a:ext cx="6784848" cy="215444"/>
          </a:xfrm>
          <a:prstGeom prst="rect">
            <a:avLst/>
          </a:prstGeom>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itchFamily="34" charset="0"/>
                <a:ea typeface="ＭＳ Ｐゴシック"/>
              </a:rPr>
              <a:t>Source: U.S. Treasury and Bloomberg as of 6/30/2022.</a:t>
            </a:r>
          </a:p>
        </p:txBody>
      </p:sp>
    </p:spTree>
    <p:extLst>
      <p:ext uri="{BB962C8B-B14F-4D97-AF65-F5344CB8AC3E}">
        <p14:creationId xmlns:p14="http://schemas.microsoft.com/office/powerpoint/2010/main" val="41082669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mercial Paper Supply and Yields</a:t>
            </a:r>
          </a:p>
        </p:txBody>
      </p:sp>
      <p:sp>
        <p:nvSpPr>
          <p:cNvPr id="3" name="Slide Number Placeholder 2"/>
          <p:cNvSpPr>
            <a:spLocks noGrp="1"/>
          </p:cNvSpPr>
          <p:nvPr>
            <p:ph type="sldNum" sz="quarter" idx="14"/>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E6474CC2-1230-4213-AD1A-4B2FEEABA7A1}" type="slidenum">
              <a:rPr kumimoji="0" lang="en-US" sz="800" b="1" i="0" u="none" strike="noStrike" kern="1200" cap="none" spc="0" normalizeH="0" baseline="0" noProof="0" smtClean="0">
                <a:ln>
                  <a:noFill/>
                </a:ln>
                <a:solidFill>
                  <a:srgbClr val="000000"/>
                </a:solidFill>
                <a:effectLst/>
                <a:uLnTx/>
                <a:uFillTx/>
                <a:latin typeface="Arial"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14</a:t>
            </a:fld>
            <a:endParaRPr kumimoji="0" lang="en-US" sz="800" b="1" i="0" u="none" strike="noStrike" kern="1200" cap="none" spc="0" normalizeH="0" baseline="0" noProof="0" dirty="0">
              <a:ln>
                <a:noFill/>
              </a:ln>
              <a:solidFill>
                <a:srgbClr val="000000"/>
              </a:solidFill>
              <a:effectLst/>
              <a:uLnTx/>
              <a:uFillTx/>
              <a:latin typeface="Arial" charset="0"/>
              <a:ea typeface="ＭＳ Ｐゴシック" charset="-128"/>
              <a:cs typeface="+mn-cs"/>
            </a:endParaRPr>
          </a:p>
        </p:txBody>
      </p:sp>
      <p:sp>
        <p:nvSpPr>
          <p:cNvPr id="7" name="Footer Placeholder 1"/>
          <p:cNvSpPr>
            <a:spLocks noGrp="1"/>
          </p:cNvSpPr>
          <p:nvPr>
            <p:ph type="ftr" sz="quarter" idx="17"/>
          </p:nvPr>
        </p:nvSpPr>
        <p:spPr>
          <a:prstGeom prst="rect">
            <a:avLst/>
          </a:prstGeom>
        </p:spPr>
        <p:txBody>
          <a:bodyPr lIns="91440" tIns="0" rIns="91440" bIns="0" anchor="b" anchorCtr="0"/>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charset="0"/>
                <a:ea typeface="ＭＳ Ｐゴシック" charset="-128"/>
                <a:cs typeface="+mn-cs"/>
              </a:rPr>
              <a:t>For institutional use only.</a:t>
            </a:r>
          </a:p>
        </p:txBody>
      </p:sp>
      <p:sp>
        <p:nvSpPr>
          <p:cNvPr id="4" name="Rectangle 3"/>
          <p:cNvSpPr/>
          <p:nvPr/>
        </p:nvSpPr>
        <p:spPr>
          <a:xfrm>
            <a:off x="320040" y="6244482"/>
            <a:ext cx="6784848" cy="338554"/>
          </a:xfrm>
          <a:prstGeom prst="rect">
            <a:avLst/>
          </a:prstGeom>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itchFamily="34" charset="0"/>
                <a:ea typeface="ＭＳ Ｐゴシック"/>
              </a:rPr>
              <a:t>Source: Federal Reserve &amp; Bloomberg Finance L.P., as of 6/30/2022.</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pitchFamily="34" charset="0"/>
              <a:ea typeface="ＭＳ Ｐゴシック"/>
            </a:endParaRPr>
          </a:p>
        </p:txBody>
      </p:sp>
      <p:graphicFrame>
        <p:nvGraphicFramePr>
          <p:cNvPr id="9" name="Chart 8"/>
          <p:cNvGraphicFramePr>
            <a:graphicFrameLocks/>
          </p:cNvGraphicFramePr>
          <p:nvPr>
            <p:extLst>
              <p:ext uri="{D42A27DB-BD31-4B8C-83A1-F6EECF244321}">
                <p14:modId xmlns:p14="http://schemas.microsoft.com/office/powerpoint/2010/main" val="2270203536"/>
              </p:ext>
            </p:extLst>
          </p:nvPr>
        </p:nvGraphicFramePr>
        <p:xfrm>
          <a:off x="4572000" y="1548580"/>
          <a:ext cx="4572000" cy="457789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Chart 10"/>
          <p:cNvGraphicFramePr>
            <a:graphicFrameLocks/>
          </p:cNvGraphicFramePr>
          <p:nvPr>
            <p:extLst>
              <p:ext uri="{D42A27DB-BD31-4B8C-83A1-F6EECF244321}">
                <p14:modId xmlns:p14="http://schemas.microsoft.com/office/powerpoint/2010/main" val="393455191"/>
              </p:ext>
            </p:extLst>
          </p:nvPr>
        </p:nvGraphicFramePr>
        <p:xfrm>
          <a:off x="76200" y="1541206"/>
          <a:ext cx="4572000" cy="4576511"/>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angle 7">
            <a:extLst>
              <a:ext uri="{FF2B5EF4-FFF2-40B4-BE49-F238E27FC236}">
                <a16:creationId xmlns:a16="http://schemas.microsoft.com/office/drawing/2014/main" id="{C6C3E5AF-B9FC-4F97-93B0-35545437DEEE}"/>
              </a:ext>
            </a:extLst>
          </p:cNvPr>
          <p:cNvSpPr/>
          <p:nvPr/>
        </p:nvSpPr>
        <p:spPr>
          <a:xfrm>
            <a:off x="320040" y="1308208"/>
            <a:ext cx="4267200" cy="307777"/>
          </a:xfrm>
          <a:prstGeom prst="rect">
            <a:avLst/>
          </a:prstGeom>
        </p:spPr>
        <p:txBody>
          <a:bodyPr wrap="square">
            <a:spAutoFit/>
          </a:bodyPr>
          <a:lstStyle/>
          <a:p>
            <a:pPr marL="0" marR="0" lvl="0" indent="0" algn="l" defTabSz="914400" rtl="0" eaLnBrk="1" fontAlgn="base" latinLnBrk="0" hangingPunct="1">
              <a:lnSpc>
                <a:spcPct val="100000"/>
              </a:lnSpc>
              <a:spcBef>
                <a:spcPct val="20000"/>
              </a:spcBef>
              <a:spcAft>
                <a:spcPct val="0"/>
              </a:spcAft>
              <a:buClrTx/>
              <a:buSzTx/>
              <a:buFontTx/>
              <a:buNone/>
              <a:tabLst/>
              <a:defRPr sz="1200" b="0" i="0" u="none" strike="noStrike" kern="1200" baseline="0">
                <a:solidFill>
                  <a:srgbClr val="677718"/>
                </a:solidFill>
                <a:latin typeface="Arial" pitchFamily="34" charset="0"/>
                <a:ea typeface="+mn-ea"/>
                <a:cs typeface="Arial" pitchFamily="34" charset="0"/>
              </a:defRPr>
            </a:pPr>
            <a:r>
              <a:rPr kumimoji="0" lang="en-US" sz="1400" b="1" i="0" u="none" strike="noStrike" kern="1200" cap="none" spc="0" normalizeH="0" baseline="0" noProof="0" dirty="0">
                <a:ln>
                  <a:noFill/>
                </a:ln>
                <a:solidFill>
                  <a:srgbClr val="000000"/>
                </a:solidFill>
                <a:effectLst/>
                <a:uLnTx/>
                <a:uFillTx/>
                <a:latin typeface="Arial" pitchFamily="34" charset="0"/>
                <a:ea typeface="ＭＳ Ｐゴシック"/>
                <a:cs typeface="Arial" pitchFamily="34" charset="0"/>
              </a:rPr>
              <a:t>COMMERCIAL PAPER OUTSTANDING</a:t>
            </a:r>
          </a:p>
        </p:txBody>
      </p:sp>
      <p:sp>
        <p:nvSpPr>
          <p:cNvPr id="10" name="Rectangle 9">
            <a:extLst>
              <a:ext uri="{FF2B5EF4-FFF2-40B4-BE49-F238E27FC236}">
                <a16:creationId xmlns:a16="http://schemas.microsoft.com/office/drawing/2014/main" id="{A42FE5D4-5A41-4809-8BE9-73B38DF43B43}"/>
              </a:ext>
            </a:extLst>
          </p:cNvPr>
          <p:cNvSpPr/>
          <p:nvPr/>
        </p:nvSpPr>
        <p:spPr>
          <a:xfrm>
            <a:off x="4717752" y="1308208"/>
            <a:ext cx="4144826" cy="307777"/>
          </a:xfrm>
          <a:prstGeom prst="rect">
            <a:avLst/>
          </a:prstGeom>
        </p:spPr>
        <p:txBody>
          <a:bodyPr wrap="square">
            <a:spAutoFit/>
          </a:bodyPr>
          <a:lstStyle/>
          <a:p>
            <a:pPr marL="0" marR="0" lvl="0" indent="0" algn="l" defTabSz="914400" rtl="0" eaLnBrk="1" fontAlgn="base" latinLnBrk="0" hangingPunct="1">
              <a:lnSpc>
                <a:spcPct val="100000"/>
              </a:lnSpc>
              <a:spcBef>
                <a:spcPct val="20000"/>
              </a:spcBef>
              <a:spcAft>
                <a:spcPct val="0"/>
              </a:spcAft>
              <a:buClrTx/>
              <a:buSzTx/>
              <a:buFontTx/>
              <a:buNone/>
              <a:tabLst/>
              <a:defRPr sz="1200" b="0" i="0" u="none" strike="noStrike" kern="1200" baseline="0">
                <a:solidFill>
                  <a:srgbClr val="677718"/>
                </a:solidFill>
                <a:latin typeface="Arial" pitchFamily="34" charset="0"/>
                <a:ea typeface="+mn-ea"/>
                <a:cs typeface="Arial" pitchFamily="34" charset="0"/>
              </a:defRPr>
            </a:pPr>
            <a:r>
              <a:rPr kumimoji="0" lang="en-US" sz="1400" b="1" i="0" u="none" strike="noStrike" kern="1200" cap="none" spc="0" normalizeH="0" baseline="0" noProof="0" dirty="0">
                <a:ln>
                  <a:noFill/>
                </a:ln>
                <a:solidFill>
                  <a:srgbClr val="000000"/>
                </a:solidFill>
                <a:effectLst/>
                <a:uLnTx/>
                <a:uFillTx/>
                <a:latin typeface="Arial" pitchFamily="34" charset="0"/>
                <a:ea typeface="ＭＳ Ｐゴシック"/>
                <a:cs typeface="Arial" pitchFamily="34" charset="0"/>
              </a:rPr>
              <a:t>COMMERCIAL PAPER 90-DAY YIELDS</a:t>
            </a:r>
          </a:p>
        </p:txBody>
      </p:sp>
    </p:spTree>
    <p:extLst>
      <p:ext uri="{BB962C8B-B14F-4D97-AF65-F5344CB8AC3E}">
        <p14:creationId xmlns:p14="http://schemas.microsoft.com/office/powerpoint/2010/main" val="34912785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3-Month US LIBOR OIS Spread</a:t>
            </a:r>
          </a:p>
        </p:txBody>
      </p:sp>
      <p:sp>
        <p:nvSpPr>
          <p:cNvPr id="3" name="Slide Number Placeholder 2"/>
          <p:cNvSpPr>
            <a:spLocks noGrp="1"/>
          </p:cNvSpPr>
          <p:nvPr>
            <p:ph type="sldNum" sz="quarter" idx="14"/>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E6474CC2-1230-4213-AD1A-4B2FEEABA7A1}" type="slidenum">
              <a:rPr kumimoji="0" lang="en-US" sz="800" b="1" i="0" u="none" strike="noStrike" kern="1200" cap="none" spc="0" normalizeH="0" baseline="0" noProof="0" smtClean="0">
                <a:ln>
                  <a:noFill/>
                </a:ln>
                <a:solidFill>
                  <a:srgbClr val="000000"/>
                </a:solidFill>
                <a:effectLst/>
                <a:uLnTx/>
                <a:uFillTx/>
                <a:latin typeface="Arial"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15</a:t>
            </a:fld>
            <a:endParaRPr kumimoji="0" lang="en-US" sz="800" b="1" i="0" u="none" strike="noStrike" kern="1200" cap="none" spc="0" normalizeH="0" baseline="0" noProof="0" dirty="0">
              <a:ln>
                <a:noFill/>
              </a:ln>
              <a:solidFill>
                <a:srgbClr val="000000"/>
              </a:solidFill>
              <a:effectLst/>
              <a:uLnTx/>
              <a:uFillTx/>
              <a:latin typeface="Arial" charset="0"/>
              <a:ea typeface="ＭＳ Ｐゴシック" charset="-128"/>
              <a:cs typeface="+mn-cs"/>
            </a:endParaRPr>
          </a:p>
        </p:txBody>
      </p:sp>
      <p:sp>
        <p:nvSpPr>
          <p:cNvPr id="4" name="Footer Placeholder 3"/>
          <p:cNvSpPr>
            <a:spLocks noGrp="1"/>
          </p:cNvSpPr>
          <p:nvPr>
            <p:ph type="ftr" sz="quarter" idx="17"/>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charset="0"/>
                <a:ea typeface="ＭＳ Ｐゴシック" charset="-128"/>
                <a:cs typeface="+mn-cs"/>
              </a:rPr>
              <a:t>For institutional use only.</a:t>
            </a:r>
          </a:p>
        </p:txBody>
      </p:sp>
      <p:graphicFrame>
        <p:nvGraphicFramePr>
          <p:cNvPr id="7" name="Chart 6"/>
          <p:cNvGraphicFramePr>
            <a:graphicFrameLocks/>
          </p:cNvGraphicFramePr>
          <p:nvPr>
            <p:extLst>
              <p:ext uri="{D42A27DB-BD31-4B8C-83A1-F6EECF244321}">
                <p14:modId xmlns:p14="http://schemas.microsoft.com/office/powerpoint/2010/main" val="1054840852"/>
              </p:ext>
            </p:extLst>
          </p:nvPr>
        </p:nvGraphicFramePr>
        <p:xfrm>
          <a:off x="398207" y="1360162"/>
          <a:ext cx="8117144" cy="4137676"/>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 Box 8"/>
          <p:cNvSpPr txBox="1">
            <a:spLocks noChangeArrowheads="1"/>
          </p:cNvSpPr>
          <p:nvPr/>
        </p:nvSpPr>
        <p:spPr bwMode="auto">
          <a:xfrm>
            <a:off x="320247" y="6286501"/>
            <a:ext cx="6928277" cy="266732"/>
          </a:xfrm>
          <a:prstGeom prst="rect">
            <a:avLst/>
          </a:prstGeom>
          <a:noFill/>
          <a:ln w="9525" algn="ctr">
            <a:noFill/>
            <a:miter lim="800000"/>
            <a:headEnd/>
            <a:tailEnd/>
          </a:ln>
        </p:spPr>
        <p:txBody>
          <a:bodyPr anchor="b"/>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S PGothic"/>
                <a:cs typeface="MS PGothic"/>
              </a:rPr>
              <a:t>Note: Spread represents the difference between 3-Month Libor and the 3-Month USD Overnight Indexed Swap. Overnight Indexed Swap (OIS) is a fixed/float interest rate swap where the floating leg is computed using a published overnight index rate.  The index rate is typically the rate for overnight unsecured lending between banks, for example the Federal funds rate for US dollars, </a:t>
            </a:r>
            <a:r>
              <a:rPr kumimoji="0" lang="en-US" sz="800" b="0" i="0" u="none" strike="noStrike" kern="1200" cap="none" spc="0" normalizeH="0" baseline="0" noProof="0" dirty="0" err="1">
                <a:ln>
                  <a:noFill/>
                </a:ln>
                <a:solidFill>
                  <a:srgbClr val="000000"/>
                </a:solidFill>
                <a:effectLst/>
                <a:uLnTx/>
                <a:uFillTx/>
                <a:latin typeface="Arial"/>
                <a:ea typeface="MS PGothic"/>
                <a:cs typeface="MS PGothic"/>
              </a:rPr>
              <a:t>Eonia</a:t>
            </a:r>
            <a:r>
              <a:rPr kumimoji="0" lang="en-US" sz="800" b="0" i="0" u="none" strike="noStrike" kern="1200" cap="none" spc="0" normalizeH="0" baseline="0" noProof="0" dirty="0">
                <a:ln>
                  <a:noFill/>
                </a:ln>
                <a:solidFill>
                  <a:srgbClr val="000000"/>
                </a:solidFill>
                <a:effectLst/>
                <a:uLnTx/>
                <a:uFillTx/>
                <a:latin typeface="Arial"/>
                <a:ea typeface="MS PGothic"/>
                <a:cs typeface="MS PGothic"/>
              </a:rPr>
              <a:t> for Euros or Sonia for Sterling.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S PGothic"/>
                <a:cs typeface="MS PGothic"/>
              </a:rPr>
              <a:t>Source: Bloomberg as of 6/30/2022.</a:t>
            </a:r>
          </a:p>
        </p:txBody>
      </p:sp>
    </p:spTree>
    <p:extLst>
      <p:ext uri="{BB962C8B-B14F-4D97-AF65-F5344CB8AC3E}">
        <p14:creationId xmlns:p14="http://schemas.microsoft.com/office/powerpoint/2010/main" val="3961380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Government Portfolio Overview</a:t>
            </a:r>
          </a:p>
        </p:txBody>
      </p:sp>
      <p:sp>
        <p:nvSpPr>
          <p:cNvPr id="4" name="Footer Placeholder 3"/>
          <p:cNvSpPr>
            <a:spLocks noGrp="1"/>
          </p:cNvSpPr>
          <p:nvPr>
            <p:ph type="ftr" sz="quarter" idx="13"/>
          </p:nvPr>
        </p:nvSpPr>
        <p:spPr>
          <a:xfrm>
            <a:off x="311640" y="6473514"/>
            <a:ext cx="3931920" cy="182055"/>
          </a:xfrm>
        </p:spPr>
        <p:txBody>
          <a:bodyPr/>
          <a:lstStyle/>
          <a:p>
            <a:pPr>
              <a:defRPr/>
            </a:pPr>
            <a:r>
              <a:rPr lang="en-US" dirty="0"/>
              <a:t>For institutional use only.</a:t>
            </a:r>
          </a:p>
        </p:txBody>
      </p:sp>
      <p:cxnSp>
        <p:nvCxnSpPr>
          <p:cNvPr id="7" name="Straight Connector 6"/>
          <p:cNvCxnSpPr/>
          <p:nvPr/>
        </p:nvCxnSpPr>
        <p:spPr bwMode="auto">
          <a:xfrm>
            <a:off x="791746" y="2642460"/>
            <a:ext cx="8352254" cy="0"/>
          </a:xfrm>
          <a:prstGeom prst="line">
            <a:avLst/>
          </a:prstGeom>
          <a:solidFill>
            <a:srgbClr val="009681"/>
          </a:solidFill>
          <a:ln w="9525" cap="flat" cmpd="sng" algn="ctr">
            <a:solidFill>
              <a:srgbClr val="768692"/>
            </a:solidFill>
            <a:prstDash val="solid"/>
            <a:round/>
            <a:headEnd type="none" w="med" len="med"/>
            <a:tailEnd type="none" w="med" len="med"/>
          </a:ln>
          <a:effectLst/>
        </p:spPr>
      </p:cxnSp>
    </p:spTree>
    <p:extLst>
      <p:ext uri="{BB962C8B-B14F-4D97-AF65-F5344CB8AC3E}">
        <p14:creationId xmlns:p14="http://schemas.microsoft.com/office/powerpoint/2010/main" val="28232892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CCMT Government Portfolio Positioning</a:t>
            </a:r>
          </a:p>
        </p:txBody>
      </p:sp>
      <p:sp>
        <p:nvSpPr>
          <p:cNvPr id="18" name="Slide Number Placeholder 2"/>
          <p:cNvSpPr>
            <a:spLocks noGrp="1"/>
          </p:cNvSpPr>
          <p:nvPr>
            <p:ph type="sldNum" sz="quarter" idx="14"/>
          </p:nvPr>
        </p:nvSpPr>
        <p:spPr>
          <a:prstGeom prst="rect">
            <a:avLst/>
          </a:prstGeom>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C4E50620-8E5B-4EB5-805A-954EEF6A950E}" type="slidenum">
              <a:rPr kumimoji="0" lang="en-US" sz="800" b="1" i="0" u="none" strike="noStrike" kern="1200" cap="none" spc="0" normalizeH="0" baseline="0" noProof="0" smtClean="0">
                <a:ln>
                  <a:noFill/>
                </a:ln>
                <a:solidFill>
                  <a:srgbClr val="000000"/>
                </a:solidFill>
                <a:effectLst/>
                <a:uLnTx/>
                <a:uFillTx/>
                <a:latin typeface="Arial"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17</a:t>
            </a:fld>
            <a:endParaRPr kumimoji="0" lang="en-US" sz="800" b="1" i="0" u="none" strike="noStrike" kern="1200" cap="none" spc="0" normalizeH="0" baseline="0" noProof="0" dirty="0">
              <a:ln>
                <a:noFill/>
              </a:ln>
              <a:solidFill>
                <a:srgbClr val="000000"/>
              </a:solidFill>
              <a:effectLst/>
              <a:uLnTx/>
              <a:uFillTx/>
              <a:latin typeface="Arial" charset="0"/>
              <a:ea typeface="ＭＳ Ｐゴシック" charset="-128"/>
              <a:cs typeface="+mn-cs"/>
            </a:endParaRPr>
          </a:p>
        </p:txBody>
      </p:sp>
      <p:sp>
        <p:nvSpPr>
          <p:cNvPr id="19" name="Footer Placeholder 1"/>
          <p:cNvSpPr>
            <a:spLocks noGrp="1"/>
          </p:cNvSpPr>
          <p:nvPr>
            <p:ph type="ftr" sz="quarter" idx="17"/>
          </p:nvPr>
        </p:nvSpPr>
        <p:spPr>
          <a:prstGeom prst="rect">
            <a:avLst/>
          </a:prstGeom>
        </p:spPr>
        <p:txBody>
          <a:bodyPr lIns="91440" tIns="0" rIns="91440" bIns="0" anchor="b" anchorCtr="0"/>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charset="0"/>
                <a:ea typeface="ＭＳ Ｐゴシック" charset="-128"/>
                <a:cs typeface="+mn-cs"/>
              </a:rPr>
              <a:t>For institutional use only.</a:t>
            </a:r>
          </a:p>
        </p:txBody>
      </p:sp>
      <p:sp>
        <p:nvSpPr>
          <p:cNvPr id="10247" name="Text Box 2"/>
          <p:cNvSpPr txBox="1">
            <a:spLocks noChangeArrowheads="1"/>
          </p:cNvSpPr>
          <p:nvPr/>
        </p:nvSpPr>
        <p:spPr bwMode="auto">
          <a:xfrm>
            <a:off x="320040" y="5783263"/>
            <a:ext cx="6899910" cy="752475"/>
          </a:xfrm>
          <a:prstGeom prst="rect">
            <a:avLst/>
          </a:prstGeom>
          <a:noFill/>
          <a:ln w="9525" algn="ctr">
            <a:noFill/>
            <a:miter lim="800000"/>
            <a:headEnd/>
            <a:tailEnd/>
          </a:ln>
        </p:spPr>
        <p:txBody>
          <a:bodyPr anchor="b"/>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S PGothic" pitchFamily="34" charset="-128"/>
              </a:rPr>
              <a:t>Portfolio diversification is presented to illustrate examples of the securities that each fund has bought and may not be representative of a fund’s current or future investments. Each fund’s investments may change at any time. Percentages may not add up to 100 due to rounding.</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S PGothic" pitchFamily="34" charset="-128"/>
              </a:rPr>
              <a:t>*Net Other Assets may include cash and receivables and payables related to open security or capital stock trades.</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S PGothic" pitchFamily="34" charset="-128"/>
              </a:rPr>
              <a:t>Source:  Fidelity Investments as of 6/30/2022.</a:t>
            </a:r>
          </a:p>
        </p:txBody>
      </p:sp>
      <p:sp>
        <p:nvSpPr>
          <p:cNvPr id="21" name="TextBox 20"/>
          <p:cNvSpPr txBox="1"/>
          <p:nvPr/>
        </p:nvSpPr>
        <p:spPr>
          <a:xfrm>
            <a:off x="332125" y="1220425"/>
            <a:ext cx="3343275"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1400" b="1" dirty="0">
                <a:solidFill>
                  <a:srgbClr val="000000"/>
                </a:solidFill>
              </a:rPr>
              <a:t>JUNE</a:t>
            </a:r>
            <a:r>
              <a:rPr kumimoji="0" lang="en-US" sz="1400" b="1" i="0" u="none" strike="noStrike" kern="1200" cap="none" spc="0" normalizeH="0" baseline="0" noProof="0" dirty="0">
                <a:ln>
                  <a:noFill/>
                </a:ln>
                <a:solidFill>
                  <a:srgbClr val="000000"/>
                </a:solidFill>
                <a:effectLst/>
                <a:uLnTx/>
                <a:uFillTx/>
                <a:latin typeface="Arial" pitchFamily="34" charset="0"/>
                <a:ea typeface="ＭＳ Ｐゴシック"/>
              </a:rPr>
              <a:t> 30, 2022</a:t>
            </a:r>
          </a:p>
        </p:txBody>
      </p:sp>
      <p:graphicFrame>
        <p:nvGraphicFramePr>
          <p:cNvPr id="23" name="Group 137"/>
          <p:cNvGraphicFramePr>
            <a:graphicFrameLocks/>
          </p:cNvGraphicFramePr>
          <p:nvPr>
            <p:extLst>
              <p:ext uri="{D42A27DB-BD31-4B8C-83A1-F6EECF244321}">
                <p14:modId xmlns:p14="http://schemas.microsoft.com/office/powerpoint/2010/main" val="145727968"/>
              </p:ext>
            </p:extLst>
          </p:nvPr>
        </p:nvGraphicFramePr>
        <p:xfrm>
          <a:off x="401447" y="4557068"/>
          <a:ext cx="3379978" cy="716044"/>
        </p:xfrm>
        <a:graphic>
          <a:graphicData uri="http://schemas.openxmlformats.org/drawingml/2006/table">
            <a:tbl>
              <a:tblPr/>
              <a:tblGrid>
                <a:gridCol w="2081530">
                  <a:extLst>
                    <a:ext uri="{9D8B030D-6E8A-4147-A177-3AD203B41FA5}">
                      <a16:colId xmlns:a16="http://schemas.microsoft.com/office/drawing/2014/main" val="20000"/>
                    </a:ext>
                  </a:extLst>
                </a:gridCol>
                <a:gridCol w="1298448">
                  <a:extLst>
                    <a:ext uri="{9D8B030D-6E8A-4147-A177-3AD203B41FA5}">
                      <a16:colId xmlns:a16="http://schemas.microsoft.com/office/drawing/2014/main" val="20001"/>
                    </a:ext>
                  </a:extLst>
                </a:gridCol>
              </a:tblGrid>
              <a:tr h="240556">
                <a:tc>
                  <a:txBody>
                    <a:bodyPr/>
                    <a:lstStyle/>
                    <a:p>
                      <a:pPr marL="0" marR="0" lvl="0" indent="0" algn="l" defTabSz="914400" rtl="0" eaLnBrk="1" fontAlgn="base" latinLnBrk="0" hangingPunct="1">
                        <a:lnSpc>
                          <a:spcPct val="100000"/>
                        </a:lnSpc>
                        <a:spcBef>
                          <a:spcPct val="20000"/>
                        </a:spcBef>
                        <a:spcAft>
                          <a:spcPct val="0"/>
                        </a:spcAft>
                        <a:buClrTx/>
                        <a:buSzPct val="40000"/>
                        <a:buFontTx/>
                        <a:buNone/>
                        <a:tabLst/>
                      </a:pPr>
                      <a:r>
                        <a:rPr kumimoji="0" lang="en-US" sz="800" b="1" i="0" u="none" strike="noStrike" cap="none" normalizeH="0" baseline="0" dirty="0">
                          <a:ln>
                            <a:noFill/>
                          </a:ln>
                          <a:solidFill>
                            <a:schemeClr val="bg1"/>
                          </a:solidFill>
                          <a:effectLst/>
                          <a:latin typeface="Arial" charset="0"/>
                        </a:rPr>
                        <a:t>Portfolio Characteristics</a:t>
                      </a:r>
                    </a:p>
                  </a:txBody>
                  <a:tcPr anchor="ctr" horzOverflow="overflow">
                    <a:lnL cap="flat">
                      <a:noFill/>
                    </a:lnL>
                    <a:lnR cap="flat">
                      <a:noFill/>
                    </a:lnR>
                    <a:lnT cap="flat">
                      <a:noFill/>
                    </a:lnT>
                    <a:lnB>
                      <a:noFill/>
                    </a:lnB>
                    <a:lnTlToBr>
                      <a:noFill/>
                    </a:lnTlToBr>
                    <a:lnBlToTr>
                      <a:noFill/>
                    </a:lnBlToTr>
                    <a:solidFill>
                      <a:srgbClr val="768692"/>
                    </a:solidFill>
                  </a:tcPr>
                </a:tc>
                <a:tc>
                  <a:txBody>
                    <a:bodyPr/>
                    <a:lstStyle/>
                    <a:p>
                      <a:pPr marL="0" marR="0" lvl="0" indent="0" algn="ctr" defTabSz="914400" rtl="0" eaLnBrk="1" fontAlgn="base" latinLnBrk="0" hangingPunct="1">
                        <a:lnSpc>
                          <a:spcPct val="100000"/>
                        </a:lnSpc>
                        <a:spcBef>
                          <a:spcPct val="20000"/>
                        </a:spcBef>
                        <a:spcAft>
                          <a:spcPct val="0"/>
                        </a:spcAft>
                        <a:buClrTx/>
                        <a:buSzPct val="40000"/>
                        <a:buFontTx/>
                        <a:buNone/>
                        <a:tabLst/>
                      </a:pPr>
                      <a:endParaRPr kumimoji="0" lang="en-US" sz="800" b="1" i="0" u="none" strike="noStrike" cap="none" normalizeH="0" baseline="0" dirty="0">
                        <a:ln>
                          <a:noFill/>
                        </a:ln>
                        <a:solidFill>
                          <a:schemeClr val="bg1"/>
                        </a:solidFill>
                        <a:effectLst/>
                        <a:latin typeface="Arial" charset="0"/>
                      </a:endParaRPr>
                    </a:p>
                  </a:txBody>
                  <a:tcPr anchor="ctr" horzOverflow="overflow">
                    <a:lnL cap="flat">
                      <a:noFill/>
                    </a:lnL>
                    <a:lnR cap="flat">
                      <a:noFill/>
                    </a:lnR>
                    <a:lnT cap="flat">
                      <a:noFill/>
                    </a:lnT>
                    <a:lnB>
                      <a:noFill/>
                    </a:lnB>
                    <a:lnTlToBr>
                      <a:noFill/>
                    </a:lnTlToBr>
                    <a:lnBlToTr>
                      <a:noFill/>
                    </a:lnBlToTr>
                    <a:solidFill>
                      <a:srgbClr val="768692"/>
                    </a:solidFill>
                  </a:tcPr>
                </a:tc>
                <a:extLst>
                  <a:ext uri="{0D108BD9-81ED-4DB2-BD59-A6C34878D82A}">
                    <a16:rowId xmlns:a16="http://schemas.microsoft.com/office/drawing/2014/main" val="10000"/>
                  </a:ext>
                </a:extLst>
              </a:tr>
              <a:tr h="237744">
                <a:tc>
                  <a:txBody>
                    <a:bodyPr/>
                    <a:lstStyle/>
                    <a:p>
                      <a:pPr marL="0" marR="0" lvl="0" indent="0" algn="l" defTabSz="914400" rtl="0" eaLnBrk="1" fontAlgn="base" latinLnBrk="0" hangingPunct="1">
                        <a:lnSpc>
                          <a:spcPct val="100000"/>
                        </a:lnSpc>
                        <a:spcBef>
                          <a:spcPct val="20000"/>
                        </a:spcBef>
                        <a:spcAft>
                          <a:spcPct val="0"/>
                        </a:spcAft>
                        <a:buClrTx/>
                        <a:buSzPct val="40000"/>
                        <a:buFontTx/>
                        <a:buNone/>
                        <a:tabLst/>
                      </a:pPr>
                      <a:r>
                        <a:rPr kumimoji="0" lang="en-US" sz="800" b="1" i="0" u="none" strike="noStrike" cap="none" normalizeH="0" baseline="0" dirty="0">
                          <a:ln>
                            <a:noFill/>
                          </a:ln>
                          <a:solidFill>
                            <a:schemeClr val="tx1"/>
                          </a:solidFill>
                          <a:effectLst/>
                          <a:latin typeface="Arial" charset="0"/>
                        </a:rPr>
                        <a:t>Weighted Average Maturity (WAM)</a:t>
                      </a:r>
                    </a:p>
                  </a:txBody>
                  <a:tcPr anchor="ctr" horzOverflow="overflow">
                    <a:lnL cap="flat">
                      <a:noFill/>
                    </a:lnL>
                    <a:lnR>
                      <a:noFill/>
                    </a:lnR>
                    <a:lnT w="9525" cap="flat" cmpd="sng" algn="ctr">
                      <a:noFill/>
                      <a:prstDash val="sysDot"/>
                      <a:round/>
                      <a:headEnd type="none" w="med" len="med"/>
                      <a:tailEnd type="none" w="med" len="med"/>
                    </a:lnT>
                    <a:lnB w="9525" cap="flat" cmpd="sng" algn="ctr">
                      <a:solidFill>
                        <a:srgbClr val="768692"/>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Pct val="40000"/>
                        <a:buFont typeface="Wingdings 3" pitchFamily="18" charset="2"/>
                        <a:buNone/>
                        <a:tabLst/>
                      </a:pPr>
                      <a:r>
                        <a:rPr kumimoji="0" lang="en-US" sz="800" b="0" i="0" u="none" strike="noStrike" kern="1200" cap="none" normalizeH="0" baseline="0" dirty="0">
                          <a:ln>
                            <a:noFill/>
                          </a:ln>
                          <a:solidFill>
                            <a:schemeClr val="tx1"/>
                          </a:solidFill>
                          <a:effectLst/>
                          <a:latin typeface="Arial" charset="0"/>
                          <a:ea typeface="+mn-ea"/>
                          <a:cs typeface="+mn-cs"/>
                        </a:rPr>
                        <a:t>19 Days</a:t>
                      </a:r>
                    </a:p>
                  </a:txBody>
                  <a:tcPr anchor="ctr" horzOverflow="overflow">
                    <a:lnL>
                      <a:noFill/>
                    </a:lnL>
                    <a:lnR>
                      <a:noFill/>
                    </a:lnR>
                    <a:lnT w="9525" cap="flat" cmpd="sng" algn="ctr">
                      <a:noFill/>
                      <a:prstDash val="sysDot"/>
                      <a:round/>
                      <a:headEnd type="none" w="med" len="med"/>
                      <a:tailEnd type="none" w="med" len="med"/>
                    </a:lnT>
                    <a:lnB w="9525" cap="flat" cmpd="sng" algn="ctr">
                      <a:solidFill>
                        <a:srgbClr val="768692"/>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37744">
                <a:tc>
                  <a:txBody>
                    <a:bodyPr/>
                    <a:lstStyle/>
                    <a:p>
                      <a:pPr marL="0" marR="0" lvl="0" indent="0" algn="l" defTabSz="914400" rtl="0" eaLnBrk="1" fontAlgn="base" latinLnBrk="0" hangingPunct="1">
                        <a:lnSpc>
                          <a:spcPct val="100000"/>
                        </a:lnSpc>
                        <a:spcBef>
                          <a:spcPct val="20000"/>
                        </a:spcBef>
                        <a:spcAft>
                          <a:spcPct val="0"/>
                        </a:spcAft>
                        <a:buClrTx/>
                        <a:buSzPct val="40000"/>
                        <a:buFontTx/>
                        <a:buNone/>
                        <a:tabLst/>
                      </a:pPr>
                      <a:r>
                        <a:rPr kumimoji="0" lang="en-US" sz="800" b="1" i="0" u="none" strike="noStrike" cap="none" normalizeH="0" baseline="0" dirty="0">
                          <a:ln>
                            <a:noFill/>
                          </a:ln>
                          <a:solidFill>
                            <a:schemeClr val="tx1"/>
                          </a:solidFill>
                          <a:effectLst/>
                          <a:latin typeface="Arial" charset="0"/>
                        </a:rPr>
                        <a:t>Weighted Average Life (WAL)</a:t>
                      </a:r>
                    </a:p>
                  </a:txBody>
                  <a:tcPr anchor="ctr" horzOverflow="overflow">
                    <a:lnL cap="flat">
                      <a:noFill/>
                    </a:lnL>
                    <a:lnR>
                      <a:noFill/>
                    </a:lnR>
                    <a:lnT w="9525" cap="flat" cmpd="sng" algn="ctr">
                      <a:solidFill>
                        <a:srgbClr val="768692"/>
                      </a:solidFill>
                      <a:prstDash val="sysDot"/>
                      <a:round/>
                      <a:headEnd type="none" w="med" len="med"/>
                      <a:tailEnd type="none" w="med" len="med"/>
                    </a:lnT>
                    <a:lnB w="9525" cap="flat" cmpd="sng" algn="ctr">
                      <a:solidFill>
                        <a:srgbClr val="768692"/>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Pct val="40000"/>
                        <a:buFont typeface="Wingdings 3" pitchFamily="18" charset="2"/>
                        <a:buNone/>
                        <a:tabLst/>
                      </a:pPr>
                      <a:r>
                        <a:rPr kumimoji="0" lang="en-US" sz="800" b="0" i="0" u="none" strike="noStrike" kern="1200" cap="none" normalizeH="0" baseline="0" dirty="0">
                          <a:ln>
                            <a:noFill/>
                          </a:ln>
                          <a:solidFill>
                            <a:schemeClr val="tx1"/>
                          </a:solidFill>
                          <a:effectLst/>
                          <a:latin typeface="Arial" charset="0"/>
                          <a:ea typeface="+mn-ea"/>
                          <a:cs typeface="+mn-cs"/>
                        </a:rPr>
                        <a:t>64 Days</a:t>
                      </a:r>
                    </a:p>
                  </a:txBody>
                  <a:tcPr anchor="ctr" horzOverflow="overflow">
                    <a:lnL>
                      <a:noFill/>
                    </a:lnL>
                    <a:lnR>
                      <a:noFill/>
                    </a:lnR>
                    <a:lnT w="9525" cap="flat" cmpd="sng" algn="ctr">
                      <a:solidFill>
                        <a:srgbClr val="768692"/>
                      </a:solidFill>
                      <a:prstDash val="sysDot"/>
                      <a:round/>
                      <a:headEnd type="none" w="med" len="med"/>
                      <a:tailEnd type="none" w="med" len="med"/>
                    </a:lnT>
                    <a:lnB w="9525" cap="flat" cmpd="sng" algn="ctr">
                      <a:solidFill>
                        <a:srgbClr val="76869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graphicFrame>
        <p:nvGraphicFramePr>
          <p:cNvPr id="15" name="Chart 14"/>
          <p:cNvGraphicFramePr/>
          <p:nvPr>
            <p:extLst>
              <p:ext uri="{D42A27DB-BD31-4B8C-83A1-F6EECF244321}">
                <p14:modId xmlns:p14="http://schemas.microsoft.com/office/powerpoint/2010/main" val="98378411"/>
              </p:ext>
            </p:extLst>
          </p:nvPr>
        </p:nvGraphicFramePr>
        <p:xfrm>
          <a:off x="138001" y="1455940"/>
          <a:ext cx="5043599" cy="312597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Group 137"/>
          <p:cNvGraphicFramePr>
            <a:graphicFrameLocks/>
          </p:cNvGraphicFramePr>
          <p:nvPr>
            <p:extLst>
              <p:ext uri="{D42A27DB-BD31-4B8C-83A1-F6EECF244321}">
                <p14:modId xmlns:p14="http://schemas.microsoft.com/office/powerpoint/2010/main" val="1602028153"/>
              </p:ext>
            </p:extLst>
          </p:nvPr>
        </p:nvGraphicFramePr>
        <p:xfrm>
          <a:off x="5669915" y="1596010"/>
          <a:ext cx="3223260" cy="2843530"/>
        </p:xfrm>
        <a:graphic>
          <a:graphicData uri="http://schemas.openxmlformats.org/drawingml/2006/table">
            <a:tbl>
              <a:tblPr/>
              <a:tblGrid>
                <a:gridCol w="2081530">
                  <a:extLst>
                    <a:ext uri="{9D8B030D-6E8A-4147-A177-3AD203B41FA5}">
                      <a16:colId xmlns:a16="http://schemas.microsoft.com/office/drawing/2014/main" val="20000"/>
                    </a:ext>
                  </a:extLst>
                </a:gridCol>
                <a:gridCol w="1141730">
                  <a:extLst>
                    <a:ext uri="{9D8B030D-6E8A-4147-A177-3AD203B41FA5}">
                      <a16:colId xmlns:a16="http://schemas.microsoft.com/office/drawing/2014/main" val="20001"/>
                    </a:ext>
                  </a:extLst>
                </a:gridCol>
              </a:tblGrid>
              <a:tr h="374650">
                <a:tc gridSpan="2">
                  <a:txBody>
                    <a:bodyPr/>
                    <a:lstStyle/>
                    <a:p>
                      <a:pPr marL="0" marR="0" lvl="0" indent="0" algn="l" defTabSz="914400" rtl="0" eaLnBrk="1" fontAlgn="base" latinLnBrk="0" hangingPunct="1">
                        <a:lnSpc>
                          <a:spcPct val="100000"/>
                        </a:lnSpc>
                        <a:spcBef>
                          <a:spcPct val="20000"/>
                        </a:spcBef>
                        <a:spcAft>
                          <a:spcPct val="0"/>
                        </a:spcAft>
                        <a:buClrTx/>
                        <a:buSzPct val="40000"/>
                        <a:buFontTx/>
                        <a:buNone/>
                        <a:tabLst/>
                      </a:pPr>
                      <a:r>
                        <a:rPr kumimoji="0" lang="en-US" sz="800" b="1" i="0" u="none" strike="noStrike" cap="none" normalizeH="0" baseline="0" dirty="0">
                          <a:ln>
                            <a:noFill/>
                          </a:ln>
                          <a:solidFill>
                            <a:schemeClr val="bg1"/>
                          </a:solidFill>
                          <a:effectLst/>
                          <a:latin typeface="Arial" charset="0"/>
                        </a:rPr>
                        <a:t>1-Year Change</a:t>
                      </a:r>
                    </a:p>
                  </a:txBody>
                  <a:tcPr anchor="ctr" horzOverflow="overflow">
                    <a:lnL cap="flat">
                      <a:noFill/>
                    </a:lnL>
                    <a:lnR cap="flat">
                      <a:noFill/>
                    </a:lnR>
                    <a:lnT cap="flat">
                      <a:noFill/>
                    </a:lnT>
                    <a:lnB>
                      <a:noFill/>
                    </a:lnB>
                    <a:lnTlToBr>
                      <a:noFill/>
                    </a:lnTlToBr>
                    <a:lnBlToTr>
                      <a:noFill/>
                    </a:lnBlToTr>
                    <a:solidFill>
                      <a:srgbClr val="768692"/>
                    </a:solidFill>
                  </a:tcPr>
                </a:tc>
                <a:tc hMerge="1">
                  <a:txBody>
                    <a:bodyPr/>
                    <a:lstStyle/>
                    <a:p>
                      <a:endParaRPr lang="en-US"/>
                    </a:p>
                  </a:txBody>
                  <a:tcPr/>
                </a:tc>
                <a:extLst>
                  <a:ext uri="{0D108BD9-81ED-4DB2-BD59-A6C34878D82A}">
                    <a16:rowId xmlns:a16="http://schemas.microsoft.com/office/drawing/2014/main" val="10000"/>
                  </a:ext>
                </a:extLst>
              </a:tr>
              <a:tr h="274320">
                <a:tc>
                  <a:txBody>
                    <a:bodyPr/>
                    <a:lstStyle/>
                    <a:p>
                      <a:pPr marL="0" marR="0" lvl="0" indent="0" algn="l" defTabSz="914400" rtl="0" eaLnBrk="1" fontAlgn="base" latinLnBrk="0" hangingPunct="1">
                        <a:lnSpc>
                          <a:spcPct val="100000"/>
                        </a:lnSpc>
                        <a:spcBef>
                          <a:spcPct val="20000"/>
                        </a:spcBef>
                        <a:spcAft>
                          <a:spcPct val="0"/>
                        </a:spcAft>
                        <a:buClrTx/>
                        <a:buSzPct val="40000"/>
                        <a:buFontTx/>
                        <a:buNone/>
                        <a:tabLst/>
                      </a:pPr>
                      <a:r>
                        <a:rPr kumimoji="0" lang="en-US" sz="800" b="1" i="0" u="none" strike="noStrike" cap="none" normalizeH="0" baseline="0" dirty="0">
                          <a:ln>
                            <a:noFill/>
                          </a:ln>
                          <a:solidFill>
                            <a:schemeClr val="tx1"/>
                          </a:solidFill>
                          <a:effectLst/>
                          <a:latin typeface="Arial" charset="0"/>
                        </a:rPr>
                        <a:t>Weighted Average Maturity (WAM)</a:t>
                      </a:r>
                    </a:p>
                  </a:txBody>
                  <a:tcPr anchor="ctr" horzOverflow="overflow">
                    <a:lnL cap="flat">
                      <a:noFill/>
                    </a:lnL>
                    <a:lnR>
                      <a:noFill/>
                    </a:lnR>
                    <a:lnT>
                      <a:noFill/>
                    </a:lnT>
                    <a:lnB w="9525" cap="flat" cmpd="sng" algn="ctr">
                      <a:solidFill>
                        <a:srgbClr val="999999"/>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Pct val="40000"/>
                        <a:buFontTx/>
                        <a:buNone/>
                        <a:tabLst/>
                      </a:pPr>
                      <a:r>
                        <a:rPr kumimoji="0" lang="en-US" sz="800" b="0" i="0" u="none" strike="noStrike" cap="none" normalizeH="0" baseline="0" dirty="0">
                          <a:ln>
                            <a:noFill/>
                          </a:ln>
                          <a:solidFill>
                            <a:schemeClr val="tx1"/>
                          </a:solidFill>
                          <a:effectLst/>
                          <a:latin typeface="Arial" charset="0"/>
                        </a:rPr>
                        <a:t>-25 Days</a:t>
                      </a:r>
                    </a:p>
                  </a:txBody>
                  <a:tcPr anchor="ctr" horzOverflow="overflow">
                    <a:lnL>
                      <a:noFill/>
                    </a:lnL>
                    <a:lnR>
                      <a:noFill/>
                    </a:lnR>
                    <a:lnT>
                      <a:noFill/>
                    </a:lnT>
                    <a:lnB w="9525" cap="flat" cmpd="sng" algn="ctr">
                      <a:solidFill>
                        <a:srgbClr val="999999"/>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74320">
                <a:tc>
                  <a:txBody>
                    <a:bodyPr/>
                    <a:lstStyle/>
                    <a:p>
                      <a:pPr marL="0" marR="0" lvl="0" indent="0" algn="l" defTabSz="914400" rtl="0" eaLnBrk="1" fontAlgn="base" latinLnBrk="0" hangingPunct="1">
                        <a:lnSpc>
                          <a:spcPct val="100000"/>
                        </a:lnSpc>
                        <a:spcBef>
                          <a:spcPct val="20000"/>
                        </a:spcBef>
                        <a:spcAft>
                          <a:spcPct val="0"/>
                        </a:spcAft>
                        <a:buClrTx/>
                        <a:buSzPct val="40000"/>
                        <a:buFontTx/>
                        <a:buNone/>
                        <a:tabLst/>
                      </a:pPr>
                      <a:r>
                        <a:rPr kumimoji="0" lang="en-US" sz="800" b="1" i="0" u="none" strike="noStrike" cap="none" normalizeH="0" baseline="0" dirty="0">
                          <a:ln>
                            <a:noFill/>
                          </a:ln>
                          <a:solidFill>
                            <a:schemeClr val="tx1"/>
                          </a:solidFill>
                          <a:effectLst/>
                          <a:latin typeface="Arial" charset="0"/>
                        </a:rPr>
                        <a:t>Weighted Average Life (WAL)</a:t>
                      </a:r>
                    </a:p>
                  </a:txBody>
                  <a:tcPr anchor="ctr" horzOverflow="overflow">
                    <a:lnL cap="flat">
                      <a:noFill/>
                    </a:lnL>
                    <a:lnR>
                      <a:noFill/>
                    </a:lnR>
                    <a:lnT w="9525" cap="flat" cmpd="sng" algn="ctr">
                      <a:solidFill>
                        <a:srgbClr val="999999"/>
                      </a:solidFill>
                      <a:prstDash val="sysDot"/>
                      <a:round/>
                      <a:headEnd type="none" w="med" len="med"/>
                      <a:tailEnd type="none" w="med" len="med"/>
                    </a:lnT>
                    <a:lnB w="9525" cap="flat" cmpd="sng" algn="ctr">
                      <a:solidFill>
                        <a:srgbClr val="999999"/>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Pct val="40000"/>
                        <a:buFontTx/>
                        <a:buNone/>
                        <a:tabLst/>
                      </a:pPr>
                      <a:r>
                        <a:rPr kumimoji="0" lang="en-US" sz="800" b="0" i="0" u="none" strike="noStrike" cap="none" normalizeH="0" baseline="0" dirty="0">
                          <a:ln>
                            <a:noFill/>
                          </a:ln>
                          <a:solidFill>
                            <a:schemeClr val="tx1"/>
                          </a:solidFill>
                          <a:effectLst/>
                          <a:latin typeface="Arial" charset="0"/>
                        </a:rPr>
                        <a:t>-30 Days</a:t>
                      </a:r>
                    </a:p>
                  </a:txBody>
                  <a:tcPr anchor="ctr" horzOverflow="overflow">
                    <a:lnL>
                      <a:noFill/>
                    </a:lnL>
                    <a:lnR>
                      <a:noFill/>
                    </a:lnR>
                    <a:lnT w="9525" cap="flat" cmpd="sng" algn="ctr">
                      <a:solidFill>
                        <a:srgbClr val="999999"/>
                      </a:solidFill>
                      <a:prstDash val="sysDot"/>
                      <a:round/>
                      <a:headEnd type="none" w="med" len="med"/>
                      <a:tailEnd type="none" w="med" len="med"/>
                    </a:lnT>
                    <a:lnB w="9525" cap="flat" cmpd="sng" algn="ctr">
                      <a:solidFill>
                        <a:srgbClr val="999999"/>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74320">
                <a:tc>
                  <a:txBody>
                    <a:bodyPr/>
                    <a:lstStyle/>
                    <a:p>
                      <a:pPr marL="0" marR="0" lvl="0" indent="0" algn="l" defTabSz="914400" rtl="0" eaLnBrk="1" fontAlgn="base" latinLnBrk="0" hangingPunct="1">
                        <a:lnSpc>
                          <a:spcPct val="100000"/>
                        </a:lnSpc>
                        <a:spcBef>
                          <a:spcPct val="20000"/>
                        </a:spcBef>
                        <a:spcAft>
                          <a:spcPct val="0"/>
                        </a:spcAft>
                        <a:buClrTx/>
                        <a:buSzPct val="40000"/>
                        <a:buFontTx/>
                        <a:buNone/>
                        <a:tabLst/>
                      </a:pPr>
                      <a:r>
                        <a:rPr kumimoji="0" lang="en-US" sz="800" b="1" i="0" u="none" strike="noStrike" cap="none" normalizeH="0" baseline="0" dirty="0">
                          <a:ln>
                            <a:noFill/>
                          </a:ln>
                          <a:solidFill>
                            <a:schemeClr val="tx1"/>
                          </a:solidFill>
                          <a:effectLst/>
                          <a:latin typeface="Arial" charset="0"/>
                        </a:rPr>
                        <a:t>Overnight Repo</a:t>
                      </a:r>
                    </a:p>
                  </a:txBody>
                  <a:tcPr anchor="ctr" horzOverflow="overflow">
                    <a:lnL cap="flat">
                      <a:noFill/>
                    </a:lnL>
                    <a:lnR>
                      <a:noFill/>
                    </a:lnR>
                    <a:lnT w="9525" cap="flat" cmpd="sng" algn="ctr">
                      <a:solidFill>
                        <a:srgbClr val="999999"/>
                      </a:solidFill>
                      <a:prstDash val="sysDot"/>
                      <a:round/>
                      <a:headEnd type="none" w="med" len="med"/>
                      <a:tailEnd type="none" w="med" len="med"/>
                    </a:lnT>
                    <a:lnB w="9525" cap="flat" cmpd="sng" algn="ctr">
                      <a:solidFill>
                        <a:srgbClr val="999999"/>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Pct val="40000"/>
                        <a:buFontTx/>
                        <a:buNone/>
                        <a:tabLst/>
                      </a:pPr>
                      <a:r>
                        <a:rPr kumimoji="0" lang="en-US" sz="800" b="0" i="0" u="none" strike="noStrike" cap="none" normalizeH="0" baseline="0" dirty="0">
                          <a:ln>
                            <a:noFill/>
                          </a:ln>
                          <a:solidFill>
                            <a:schemeClr val="tx1"/>
                          </a:solidFill>
                          <a:effectLst/>
                          <a:latin typeface="Arial" charset="0"/>
                        </a:rPr>
                        <a:t>+28%</a:t>
                      </a:r>
                    </a:p>
                  </a:txBody>
                  <a:tcPr anchor="ctr" horzOverflow="overflow">
                    <a:lnL>
                      <a:noFill/>
                    </a:lnL>
                    <a:lnR>
                      <a:noFill/>
                    </a:lnR>
                    <a:lnT w="9525" cap="flat" cmpd="sng" algn="ctr">
                      <a:solidFill>
                        <a:srgbClr val="999999"/>
                      </a:solidFill>
                      <a:prstDash val="sysDot"/>
                      <a:round/>
                      <a:headEnd type="none" w="med" len="med"/>
                      <a:tailEnd type="none" w="med" len="med"/>
                    </a:lnT>
                    <a:lnB w="9525" cap="flat" cmpd="sng" algn="ctr">
                      <a:solidFill>
                        <a:srgbClr val="999999"/>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74320">
                <a:tc>
                  <a:txBody>
                    <a:bodyPr/>
                    <a:lstStyle/>
                    <a:p>
                      <a:pPr marL="0" marR="0" lvl="0" indent="0" algn="l" defTabSz="914400" rtl="0" eaLnBrk="1" fontAlgn="base" latinLnBrk="0" hangingPunct="1">
                        <a:lnSpc>
                          <a:spcPct val="100000"/>
                        </a:lnSpc>
                        <a:spcBef>
                          <a:spcPct val="20000"/>
                        </a:spcBef>
                        <a:spcAft>
                          <a:spcPct val="0"/>
                        </a:spcAft>
                        <a:buClrTx/>
                        <a:buSzPct val="40000"/>
                        <a:buFontTx/>
                        <a:buNone/>
                        <a:tabLst/>
                      </a:pPr>
                      <a:r>
                        <a:rPr kumimoji="0" lang="en-US" sz="800" b="1" i="0" u="none" strike="noStrike" cap="none" normalizeH="0" baseline="0" dirty="0">
                          <a:ln>
                            <a:noFill/>
                          </a:ln>
                          <a:solidFill>
                            <a:schemeClr val="tx1"/>
                          </a:solidFill>
                          <a:effectLst/>
                          <a:latin typeface="Arial" charset="0"/>
                        </a:rPr>
                        <a:t>Term Repo</a:t>
                      </a:r>
                    </a:p>
                  </a:txBody>
                  <a:tcPr anchor="ctr" horzOverflow="overflow">
                    <a:lnL cap="flat">
                      <a:noFill/>
                    </a:lnL>
                    <a:lnR>
                      <a:noFill/>
                    </a:lnR>
                    <a:lnT w="9525" cap="flat" cmpd="sng" algn="ctr">
                      <a:solidFill>
                        <a:srgbClr val="999999"/>
                      </a:solidFill>
                      <a:prstDash val="sysDot"/>
                      <a:round/>
                      <a:headEnd type="none" w="med" len="med"/>
                      <a:tailEnd type="none" w="med" len="med"/>
                    </a:lnT>
                    <a:lnB w="9525" cap="flat" cmpd="sng" algn="ctr">
                      <a:solidFill>
                        <a:srgbClr val="999999"/>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Pct val="40000"/>
                        <a:buFontTx/>
                        <a:buNone/>
                        <a:tabLst/>
                      </a:pPr>
                      <a:r>
                        <a:rPr kumimoji="0" lang="en-US" sz="800" b="0" i="0" u="none" strike="noStrike" cap="none" normalizeH="0" baseline="0" dirty="0">
                          <a:ln>
                            <a:noFill/>
                          </a:ln>
                          <a:solidFill>
                            <a:schemeClr val="tx1"/>
                          </a:solidFill>
                          <a:effectLst/>
                          <a:latin typeface="Arial" charset="0"/>
                        </a:rPr>
                        <a:t>0%</a:t>
                      </a:r>
                    </a:p>
                  </a:txBody>
                  <a:tcPr anchor="ctr" horzOverflow="overflow">
                    <a:lnL>
                      <a:noFill/>
                    </a:lnL>
                    <a:lnR>
                      <a:noFill/>
                    </a:lnR>
                    <a:lnT w="9525" cap="flat" cmpd="sng" algn="ctr">
                      <a:solidFill>
                        <a:srgbClr val="999999"/>
                      </a:solidFill>
                      <a:prstDash val="sysDot"/>
                      <a:round/>
                      <a:headEnd type="none" w="med" len="med"/>
                      <a:tailEnd type="none" w="med" len="med"/>
                    </a:lnT>
                    <a:lnB w="9525" cap="flat" cmpd="sng" algn="ctr">
                      <a:solidFill>
                        <a:srgbClr val="999999"/>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274320">
                <a:tc>
                  <a:txBody>
                    <a:bodyPr/>
                    <a:lstStyle/>
                    <a:p>
                      <a:pPr marL="0" marR="0" lvl="0" indent="0" algn="l" defTabSz="914400" rtl="0" eaLnBrk="1" fontAlgn="base" latinLnBrk="0" hangingPunct="1">
                        <a:lnSpc>
                          <a:spcPct val="100000"/>
                        </a:lnSpc>
                        <a:spcBef>
                          <a:spcPct val="20000"/>
                        </a:spcBef>
                        <a:spcAft>
                          <a:spcPct val="0"/>
                        </a:spcAft>
                        <a:buClrTx/>
                        <a:buSzPct val="40000"/>
                        <a:buFontTx/>
                        <a:buNone/>
                        <a:tabLst/>
                      </a:pPr>
                      <a:r>
                        <a:rPr kumimoji="0" lang="en-US" sz="800" b="1" i="0" u="none" strike="noStrike" cap="none" normalizeH="0" baseline="0" dirty="0">
                          <a:ln>
                            <a:noFill/>
                          </a:ln>
                          <a:solidFill>
                            <a:schemeClr val="tx1"/>
                          </a:solidFill>
                          <a:effectLst/>
                          <a:latin typeface="Arial" charset="0"/>
                        </a:rPr>
                        <a:t>Fixed Rate Agencies</a:t>
                      </a:r>
                    </a:p>
                  </a:txBody>
                  <a:tcPr anchor="ctr" horzOverflow="overflow">
                    <a:lnL cap="flat">
                      <a:noFill/>
                    </a:lnL>
                    <a:lnR>
                      <a:noFill/>
                    </a:lnR>
                    <a:lnT w="9525" cap="flat" cmpd="sng" algn="ctr">
                      <a:solidFill>
                        <a:srgbClr val="999999"/>
                      </a:solidFill>
                      <a:prstDash val="sysDot"/>
                      <a:round/>
                      <a:headEnd type="none" w="med" len="med"/>
                      <a:tailEnd type="none" w="med" len="med"/>
                    </a:lnT>
                    <a:lnB w="9525" cap="flat" cmpd="sng" algn="ctr">
                      <a:solidFill>
                        <a:srgbClr val="999999"/>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Pct val="40000"/>
                        <a:buFontTx/>
                        <a:buNone/>
                        <a:tabLst/>
                      </a:pPr>
                      <a:r>
                        <a:rPr kumimoji="0" lang="en-US" sz="800" b="0" i="0" u="none" strike="noStrike" cap="none" normalizeH="0" baseline="0" dirty="0">
                          <a:ln>
                            <a:noFill/>
                          </a:ln>
                          <a:solidFill>
                            <a:schemeClr val="tx1"/>
                          </a:solidFill>
                          <a:effectLst/>
                          <a:latin typeface="Arial" charset="0"/>
                        </a:rPr>
                        <a:t>0%</a:t>
                      </a:r>
                    </a:p>
                  </a:txBody>
                  <a:tcPr anchor="ctr" horzOverflow="overflow">
                    <a:lnL>
                      <a:noFill/>
                    </a:lnL>
                    <a:lnR>
                      <a:noFill/>
                    </a:lnR>
                    <a:lnT w="9525" cap="flat" cmpd="sng" algn="ctr">
                      <a:solidFill>
                        <a:srgbClr val="999999"/>
                      </a:solidFill>
                      <a:prstDash val="sysDot"/>
                      <a:round/>
                      <a:headEnd type="none" w="med" len="med"/>
                      <a:tailEnd type="none" w="med" len="med"/>
                    </a:lnT>
                    <a:lnB w="9525" cap="flat" cmpd="sng" algn="ctr">
                      <a:solidFill>
                        <a:srgbClr val="999999"/>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274320">
                <a:tc>
                  <a:txBody>
                    <a:bodyPr/>
                    <a:lstStyle/>
                    <a:p>
                      <a:pPr marL="0" marR="0" lvl="0" indent="0" algn="l" defTabSz="914400" rtl="0" eaLnBrk="1" fontAlgn="base" latinLnBrk="0" hangingPunct="1">
                        <a:lnSpc>
                          <a:spcPct val="100000"/>
                        </a:lnSpc>
                        <a:spcBef>
                          <a:spcPct val="20000"/>
                        </a:spcBef>
                        <a:spcAft>
                          <a:spcPct val="0"/>
                        </a:spcAft>
                        <a:buClrTx/>
                        <a:buSzPct val="40000"/>
                        <a:buFontTx/>
                        <a:buNone/>
                        <a:tabLst/>
                      </a:pPr>
                      <a:r>
                        <a:rPr kumimoji="0" lang="en-US" sz="800" b="1" i="0" u="none" strike="noStrike" cap="none" normalizeH="0" baseline="0" dirty="0">
                          <a:ln>
                            <a:noFill/>
                          </a:ln>
                          <a:solidFill>
                            <a:schemeClr val="tx1"/>
                          </a:solidFill>
                          <a:effectLst/>
                          <a:latin typeface="Arial" charset="0"/>
                        </a:rPr>
                        <a:t>Floating Rate Agencies</a:t>
                      </a:r>
                    </a:p>
                  </a:txBody>
                  <a:tcPr anchor="ctr" horzOverflow="overflow">
                    <a:lnL cap="flat">
                      <a:noFill/>
                    </a:lnL>
                    <a:lnR>
                      <a:noFill/>
                    </a:lnR>
                    <a:lnT w="9525" cap="flat" cmpd="sng" algn="ctr">
                      <a:solidFill>
                        <a:srgbClr val="999999"/>
                      </a:solidFill>
                      <a:prstDash val="sysDot"/>
                      <a:round/>
                      <a:headEnd type="none" w="med" len="med"/>
                      <a:tailEnd type="none" w="med" len="med"/>
                    </a:lnT>
                    <a:lnB w="9525" cap="flat" cmpd="sng" algn="ctr">
                      <a:solidFill>
                        <a:srgbClr val="999999"/>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Pct val="40000"/>
                        <a:buFontTx/>
                        <a:buNone/>
                        <a:tabLst/>
                      </a:pPr>
                      <a:r>
                        <a:rPr kumimoji="0" lang="en-US" sz="800" b="0" i="0" u="none" strike="noStrike" cap="none" normalizeH="0" baseline="0" dirty="0">
                          <a:ln>
                            <a:noFill/>
                          </a:ln>
                          <a:solidFill>
                            <a:schemeClr val="tx1"/>
                          </a:solidFill>
                          <a:effectLst/>
                          <a:latin typeface="Arial" charset="0"/>
                        </a:rPr>
                        <a:t>+21%</a:t>
                      </a:r>
                    </a:p>
                  </a:txBody>
                  <a:tcPr anchor="ctr" horzOverflow="overflow">
                    <a:lnL>
                      <a:noFill/>
                    </a:lnL>
                    <a:lnR>
                      <a:noFill/>
                    </a:lnR>
                    <a:lnT w="9525" cap="flat" cmpd="sng" algn="ctr">
                      <a:solidFill>
                        <a:srgbClr val="999999"/>
                      </a:solidFill>
                      <a:prstDash val="sysDot"/>
                      <a:round/>
                      <a:headEnd type="none" w="med" len="med"/>
                      <a:tailEnd type="none" w="med" len="med"/>
                    </a:lnT>
                    <a:lnB w="9525" cap="flat" cmpd="sng" algn="ctr">
                      <a:solidFill>
                        <a:srgbClr val="999999"/>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274320">
                <a:tc>
                  <a:txBody>
                    <a:bodyPr/>
                    <a:lstStyle/>
                    <a:p>
                      <a:pPr marL="0" marR="0" lvl="0" indent="0" algn="l" defTabSz="914400" rtl="0" eaLnBrk="1" fontAlgn="base" latinLnBrk="0" hangingPunct="1">
                        <a:lnSpc>
                          <a:spcPct val="100000"/>
                        </a:lnSpc>
                        <a:spcBef>
                          <a:spcPct val="20000"/>
                        </a:spcBef>
                        <a:spcAft>
                          <a:spcPct val="0"/>
                        </a:spcAft>
                        <a:buClrTx/>
                        <a:buSzPct val="40000"/>
                        <a:buFontTx/>
                        <a:buNone/>
                        <a:tabLst/>
                      </a:pPr>
                      <a:r>
                        <a:rPr kumimoji="0" lang="en-US" sz="800" b="1" i="0" u="none" strike="noStrike" cap="none" normalizeH="0" baseline="0" dirty="0">
                          <a:ln>
                            <a:noFill/>
                          </a:ln>
                          <a:solidFill>
                            <a:schemeClr val="tx1"/>
                          </a:solidFill>
                          <a:effectLst/>
                          <a:latin typeface="Arial" charset="0"/>
                        </a:rPr>
                        <a:t>Fixed Rate Treasuries</a:t>
                      </a:r>
                    </a:p>
                  </a:txBody>
                  <a:tcPr anchor="ctr" horzOverflow="overflow">
                    <a:lnL cap="flat">
                      <a:noFill/>
                    </a:lnL>
                    <a:lnR>
                      <a:noFill/>
                    </a:lnR>
                    <a:lnT w="9525" cap="flat" cmpd="sng" algn="ctr">
                      <a:solidFill>
                        <a:srgbClr val="999999"/>
                      </a:solidFill>
                      <a:prstDash val="sysDot"/>
                      <a:round/>
                      <a:headEnd type="none" w="med" len="med"/>
                      <a:tailEnd type="none" w="med" len="med"/>
                    </a:lnT>
                    <a:lnB w="9525" cap="flat" cmpd="sng" algn="ctr">
                      <a:solidFill>
                        <a:srgbClr val="999999"/>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Pct val="40000"/>
                        <a:buFontTx/>
                        <a:buNone/>
                        <a:tabLst/>
                      </a:pPr>
                      <a:r>
                        <a:rPr kumimoji="0" lang="en-US" sz="800" b="0" i="0" u="none" strike="noStrike" cap="none" normalizeH="0" baseline="0" dirty="0">
                          <a:ln>
                            <a:noFill/>
                          </a:ln>
                          <a:solidFill>
                            <a:schemeClr val="tx1"/>
                          </a:solidFill>
                          <a:effectLst/>
                          <a:latin typeface="Arial" charset="0"/>
                        </a:rPr>
                        <a:t>-56%</a:t>
                      </a:r>
                    </a:p>
                  </a:txBody>
                  <a:tcPr anchor="ctr" horzOverflow="overflow">
                    <a:lnL>
                      <a:noFill/>
                    </a:lnL>
                    <a:lnR>
                      <a:noFill/>
                    </a:lnR>
                    <a:lnT w="9525" cap="flat" cmpd="sng" algn="ctr">
                      <a:solidFill>
                        <a:srgbClr val="999999"/>
                      </a:solidFill>
                      <a:prstDash val="sysDot"/>
                      <a:round/>
                      <a:headEnd type="none" w="med" len="med"/>
                      <a:tailEnd type="none" w="med" len="med"/>
                    </a:lnT>
                    <a:lnB w="9525" cap="flat" cmpd="sng" algn="ctr">
                      <a:solidFill>
                        <a:srgbClr val="999999"/>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2154937896"/>
                  </a:ext>
                </a:extLst>
              </a:tr>
              <a:tr h="274320">
                <a:tc>
                  <a:txBody>
                    <a:bodyPr/>
                    <a:lstStyle/>
                    <a:p>
                      <a:pPr marL="0" marR="0" lvl="0" indent="0" algn="l" defTabSz="914400" rtl="0" eaLnBrk="1" fontAlgn="base" latinLnBrk="0" hangingPunct="1">
                        <a:lnSpc>
                          <a:spcPct val="100000"/>
                        </a:lnSpc>
                        <a:spcBef>
                          <a:spcPct val="20000"/>
                        </a:spcBef>
                        <a:spcAft>
                          <a:spcPct val="0"/>
                        </a:spcAft>
                        <a:buClrTx/>
                        <a:buSzPct val="40000"/>
                        <a:buFontTx/>
                        <a:buNone/>
                        <a:tabLst/>
                      </a:pPr>
                      <a:r>
                        <a:rPr kumimoji="0" lang="en-US" sz="800" b="1" i="0" u="none" strike="noStrike" cap="none" normalizeH="0" baseline="0" dirty="0">
                          <a:ln>
                            <a:noFill/>
                          </a:ln>
                          <a:solidFill>
                            <a:schemeClr val="tx1"/>
                          </a:solidFill>
                          <a:effectLst/>
                          <a:latin typeface="Arial" charset="0"/>
                        </a:rPr>
                        <a:t>Floating Rate Treasuries</a:t>
                      </a:r>
                    </a:p>
                  </a:txBody>
                  <a:tcPr anchor="ctr" horzOverflow="overflow">
                    <a:lnL cap="flat">
                      <a:noFill/>
                    </a:lnL>
                    <a:lnR>
                      <a:noFill/>
                    </a:lnR>
                    <a:lnT w="9525" cap="flat" cmpd="sng" algn="ctr">
                      <a:solidFill>
                        <a:srgbClr val="999999"/>
                      </a:solidFill>
                      <a:prstDash val="sysDot"/>
                      <a:round/>
                      <a:headEnd type="none" w="med" len="med"/>
                      <a:tailEnd type="none" w="med" len="med"/>
                    </a:lnT>
                    <a:lnB w="9525" cap="flat" cmpd="sng" algn="ctr">
                      <a:solidFill>
                        <a:srgbClr val="999999"/>
                      </a:solidFill>
                      <a:prstDash val="sysDot"/>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Pct val="40000"/>
                        <a:buFontTx/>
                        <a:buNone/>
                        <a:tabLst/>
                      </a:pPr>
                      <a:r>
                        <a:rPr kumimoji="0" lang="en-US" sz="800" b="0" i="0" u="none" strike="noStrike" cap="none" normalizeH="0" baseline="0" dirty="0">
                          <a:ln>
                            <a:noFill/>
                          </a:ln>
                          <a:solidFill>
                            <a:schemeClr val="tx1"/>
                          </a:solidFill>
                          <a:effectLst/>
                          <a:latin typeface="Arial" charset="0"/>
                        </a:rPr>
                        <a:t>+2%</a:t>
                      </a:r>
                    </a:p>
                  </a:txBody>
                  <a:tcPr anchor="ctr" horzOverflow="overflow">
                    <a:lnL>
                      <a:noFill/>
                    </a:lnL>
                    <a:lnR>
                      <a:noFill/>
                    </a:lnR>
                    <a:lnT w="9525" cap="flat" cmpd="sng" algn="ctr">
                      <a:solidFill>
                        <a:srgbClr val="999999"/>
                      </a:solidFill>
                      <a:prstDash val="sysDot"/>
                      <a:round/>
                      <a:headEnd type="none" w="med" len="med"/>
                      <a:tailEnd type="none" w="med" len="med"/>
                    </a:lnT>
                    <a:lnB w="9525" cap="flat" cmpd="sng" algn="ctr">
                      <a:solidFill>
                        <a:srgbClr val="999999"/>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274320">
                <a:tc>
                  <a:txBody>
                    <a:bodyPr/>
                    <a:lstStyle/>
                    <a:p>
                      <a:pPr marL="0" marR="0" lvl="0" indent="0" algn="l" defTabSz="914400" rtl="0" eaLnBrk="1" fontAlgn="base" latinLnBrk="0" hangingPunct="1">
                        <a:lnSpc>
                          <a:spcPct val="100000"/>
                        </a:lnSpc>
                        <a:spcBef>
                          <a:spcPct val="20000"/>
                        </a:spcBef>
                        <a:spcAft>
                          <a:spcPct val="0"/>
                        </a:spcAft>
                        <a:buClrTx/>
                        <a:buSzPct val="40000"/>
                        <a:buFontTx/>
                        <a:buNone/>
                        <a:tabLst/>
                      </a:pPr>
                      <a:r>
                        <a:rPr kumimoji="0" lang="en-US" sz="800" b="1" i="0" u="none" strike="noStrike" cap="none" normalizeH="0" baseline="0" dirty="0">
                          <a:ln>
                            <a:noFill/>
                          </a:ln>
                          <a:solidFill>
                            <a:schemeClr val="tx1"/>
                          </a:solidFill>
                          <a:effectLst/>
                          <a:latin typeface="Arial" charset="0"/>
                        </a:rPr>
                        <a:t>Net Other Assets*</a:t>
                      </a:r>
                    </a:p>
                  </a:txBody>
                  <a:tcPr anchor="ctr" horzOverflow="overflow">
                    <a:lnL cap="flat">
                      <a:noFill/>
                    </a:lnL>
                    <a:lnR>
                      <a:noFill/>
                    </a:lnR>
                    <a:lnT w="9525" cap="flat" cmpd="sng" algn="ctr">
                      <a:solidFill>
                        <a:srgbClr val="999999"/>
                      </a:solidFill>
                      <a:prstDash val="sysDot"/>
                      <a:round/>
                      <a:headEnd type="none" w="med" len="med"/>
                      <a:tailEnd type="none" w="med" len="med"/>
                    </a:lnT>
                    <a:lnB w="9525" cap="flat" cmpd="sng" algn="ctr">
                      <a:solidFill>
                        <a:srgbClr val="999999"/>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Pct val="40000"/>
                        <a:buFontTx/>
                        <a:buNone/>
                        <a:tabLst/>
                      </a:pPr>
                      <a:r>
                        <a:rPr kumimoji="0" lang="en-US" sz="800" b="0" i="0" u="none" strike="noStrike" cap="none" normalizeH="0" baseline="0" dirty="0">
                          <a:ln>
                            <a:noFill/>
                          </a:ln>
                          <a:solidFill>
                            <a:schemeClr val="tx1"/>
                          </a:solidFill>
                          <a:effectLst/>
                          <a:latin typeface="Arial" charset="0"/>
                        </a:rPr>
                        <a:t>+5%</a:t>
                      </a:r>
                    </a:p>
                  </a:txBody>
                  <a:tcPr anchor="ctr" horzOverflow="overflow">
                    <a:lnL>
                      <a:noFill/>
                    </a:lnL>
                    <a:lnR>
                      <a:noFill/>
                    </a:lnR>
                    <a:lnT w="9525" cap="flat" cmpd="sng" algn="ctr">
                      <a:solidFill>
                        <a:srgbClr val="999999"/>
                      </a:solidFill>
                      <a:prstDash val="sysDot"/>
                      <a:round/>
                      <a:headEnd type="none" w="med" len="med"/>
                      <a:tailEnd type="none" w="med" len="med"/>
                    </a:lnT>
                    <a:lnB w="9525" cap="flat" cmpd="sng" algn="ctr">
                      <a:solidFill>
                        <a:srgbClr val="999999"/>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12368318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imary Investment Goal to Minimize NAV Volatility</a:t>
            </a:r>
          </a:p>
        </p:txBody>
      </p:sp>
      <p:sp>
        <p:nvSpPr>
          <p:cNvPr id="9" name="Slide Number Placeholder 2"/>
          <p:cNvSpPr>
            <a:spLocks noGrp="1"/>
          </p:cNvSpPr>
          <p:nvPr>
            <p:ph type="sldNum" sz="quarter" idx="14"/>
          </p:nvPr>
        </p:nvSpPr>
        <p:spPr>
          <a:prstGeom prst="rect">
            <a:avLst/>
          </a:prstGeom>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C4E50620-8E5B-4EB5-805A-954EEF6A950E}" type="slidenum">
              <a:rPr kumimoji="0" lang="en-US" sz="800" b="1" i="0" u="none" strike="noStrike" kern="1200" cap="none" spc="0" normalizeH="0" baseline="0" noProof="0" smtClean="0">
                <a:ln>
                  <a:noFill/>
                </a:ln>
                <a:solidFill>
                  <a:srgbClr val="000000"/>
                </a:solidFill>
                <a:effectLst/>
                <a:uLnTx/>
                <a:uFillTx/>
                <a:latin typeface="Arial"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18</a:t>
            </a:fld>
            <a:endParaRPr kumimoji="0" lang="en-US" sz="800" b="1" i="0" u="none" strike="noStrike" kern="1200" cap="none" spc="0" normalizeH="0" baseline="0" noProof="0" dirty="0">
              <a:ln>
                <a:noFill/>
              </a:ln>
              <a:solidFill>
                <a:srgbClr val="000000"/>
              </a:solidFill>
              <a:effectLst/>
              <a:uLnTx/>
              <a:uFillTx/>
              <a:latin typeface="Arial" charset="0"/>
              <a:ea typeface="ＭＳ Ｐゴシック" charset="-128"/>
              <a:cs typeface="+mn-cs"/>
            </a:endParaRPr>
          </a:p>
        </p:txBody>
      </p:sp>
      <p:sp>
        <p:nvSpPr>
          <p:cNvPr id="11" name="Footer Placeholder 1"/>
          <p:cNvSpPr>
            <a:spLocks noGrp="1"/>
          </p:cNvSpPr>
          <p:nvPr>
            <p:ph type="ftr" sz="quarter" idx="17"/>
          </p:nvPr>
        </p:nvSpPr>
        <p:spPr>
          <a:prstGeom prst="rect">
            <a:avLst/>
          </a:prstGeom>
        </p:spPr>
        <p:txBody>
          <a:bodyPr lIns="91440" tIns="0" rIns="91440" bIns="0" anchor="b" anchorCtr="0"/>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charset="0"/>
                <a:ea typeface="ＭＳ Ｐゴシック" charset="-128"/>
                <a:cs typeface="+mn-cs"/>
              </a:rPr>
              <a:t>For institutional use only.</a:t>
            </a:r>
          </a:p>
        </p:txBody>
      </p:sp>
      <p:sp>
        <p:nvSpPr>
          <p:cNvPr id="13" name="TextBox 12"/>
          <p:cNvSpPr txBox="1"/>
          <p:nvPr/>
        </p:nvSpPr>
        <p:spPr>
          <a:xfrm>
            <a:off x="889023" y="886091"/>
            <a:ext cx="7264570"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itchFamily="34" charset="0"/>
                <a:ea typeface="ＭＳ Ｐゴシック"/>
              </a:rPr>
              <a:t>MARKET VALUE NAV</a:t>
            </a:r>
          </a:p>
        </p:txBody>
      </p:sp>
      <p:sp>
        <p:nvSpPr>
          <p:cNvPr id="12" name="Text Box 8"/>
          <p:cNvSpPr txBox="1">
            <a:spLocks noChangeArrowheads="1"/>
          </p:cNvSpPr>
          <p:nvPr/>
        </p:nvSpPr>
        <p:spPr bwMode="auto">
          <a:xfrm>
            <a:off x="320247" y="6286501"/>
            <a:ext cx="6928277" cy="266732"/>
          </a:xfrm>
          <a:prstGeom prst="rect">
            <a:avLst/>
          </a:prstGeom>
          <a:noFill/>
          <a:ln w="9525" algn="ctr">
            <a:noFill/>
            <a:miter lim="800000"/>
            <a:headEnd/>
            <a:tailEnd/>
          </a:ln>
        </p:spPr>
        <p:txBody>
          <a:bodyPr anchor="b"/>
          <a:lstStyle/>
          <a:p>
            <a:pPr algn="l"/>
            <a:r>
              <a:rPr kumimoji="0" lang="en-US" sz="800" b="1" i="0" u="none" strike="noStrike" kern="1200" cap="none" spc="0" normalizeH="0" baseline="0" noProof="0" dirty="0">
                <a:ln>
                  <a:noFill/>
                </a:ln>
                <a:solidFill>
                  <a:srgbClr val="000000"/>
                </a:solidFill>
                <a:effectLst/>
                <a:uLnTx/>
                <a:uFillTx/>
                <a:latin typeface="Arial" pitchFamily="34" charset="0"/>
                <a:ea typeface="ＭＳ Ｐゴシック"/>
              </a:rPr>
              <a:t>Past performance is no guarantee of future results.</a:t>
            </a:r>
            <a:r>
              <a:rPr lang="en-US" sz="800" dirty="0">
                <a:latin typeface="Arial" pitchFamily="34" charset="0"/>
                <a:ea typeface="ＭＳ Ｐゴシック"/>
                <a:cs typeface="Arial" panose="020B0604020202020204" pitchFamily="34" charset="0"/>
              </a:rPr>
              <a:t> </a:t>
            </a:r>
          </a:p>
          <a:p>
            <a:pPr algn="l"/>
            <a:r>
              <a:rPr lang="en-US" sz="800" dirty="0">
                <a:cs typeface="Arial" panose="020B0604020202020204" pitchFamily="34" charset="0"/>
              </a:rPr>
              <a:t>Note</a:t>
            </a:r>
            <a:r>
              <a:rPr lang="en-US" sz="800" dirty="0">
                <a:latin typeface="Arial" pitchFamily="34" charset="0"/>
                <a:ea typeface="ＭＳ Ｐゴシック"/>
                <a:cs typeface="Arial" panose="020B0604020202020204" pitchFamily="34" charset="0"/>
              </a:rPr>
              <a:t>s: Dotted lines indicate Board notification thresholds of 0.9980 minimum and 1.0025 maximum.  Red lines indicate SEC thresholds.</a:t>
            </a:r>
          </a:p>
          <a:p>
            <a:pPr algn="l"/>
            <a:r>
              <a:rPr lang="en-US" sz="800" dirty="0">
                <a:latin typeface="Arial" pitchFamily="34" charset="0"/>
                <a:ea typeface="ＭＳ Ｐゴシック"/>
                <a:cs typeface="Arial" panose="020B0604020202020204" pitchFamily="34" charset="0"/>
              </a:rPr>
              <a:t>Source: Fidelity as of 6/30/22</a:t>
            </a:r>
          </a:p>
        </p:txBody>
      </p:sp>
      <p:graphicFrame>
        <p:nvGraphicFramePr>
          <p:cNvPr id="10" name="Chart 9">
            <a:extLst>
              <a:ext uri="{FF2B5EF4-FFF2-40B4-BE49-F238E27FC236}">
                <a16:creationId xmlns:a16="http://schemas.microsoft.com/office/drawing/2014/main" id="{E068EA28-0EFB-48A8-AD0B-CAA071E6F898}"/>
              </a:ext>
            </a:extLst>
          </p:cNvPr>
          <p:cNvGraphicFramePr>
            <a:graphicFrameLocks/>
          </p:cNvGraphicFramePr>
          <p:nvPr>
            <p:extLst>
              <p:ext uri="{D42A27DB-BD31-4B8C-83A1-F6EECF244321}">
                <p14:modId xmlns:p14="http://schemas.microsoft.com/office/powerpoint/2010/main" val="435266379"/>
              </p:ext>
            </p:extLst>
          </p:nvPr>
        </p:nvGraphicFramePr>
        <p:xfrm>
          <a:off x="389792" y="1306122"/>
          <a:ext cx="8122920" cy="4372304"/>
        </p:xfrm>
        <a:graphic>
          <a:graphicData uri="http://schemas.openxmlformats.org/drawingml/2006/chart">
            <c:chart xmlns:c="http://schemas.openxmlformats.org/drawingml/2006/chart" xmlns:r="http://schemas.openxmlformats.org/officeDocument/2006/relationships" r:id="rId3"/>
          </a:graphicData>
        </a:graphic>
      </p:graphicFrame>
      <p:cxnSp>
        <p:nvCxnSpPr>
          <p:cNvPr id="14" name="Straight Connector 13">
            <a:extLst>
              <a:ext uri="{FF2B5EF4-FFF2-40B4-BE49-F238E27FC236}">
                <a16:creationId xmlns:a16="http://schemas.microsoft.com/office/drawing/2014/main" id="{A6C01977-9E24-4EE1-BB3F-FFD5D5B6A06F}"/>
              </a:ext>
            </a:extLst>
          </p:cNvPr>
          <p:cNvCxnSpPr>
            <a:cxnSpLocks/>
          </p:cNvCxnSpPr>
          <p:nvPr/>
        </p:nvCxnSpPr>
        <p:spPr bwMode="auto">
          <a:xfrm>
            <a:off x="1110934" y="2492309"/>
            <a:ext cx="7187184" cy="10307"/>
          </a:xfrm>
          <a:prstGeom prst="line">
            <a:avLst/>
          </a:prstGeom>
          <a:solidFill>
            <a:srgbClr val="B8D30B"/>
          </a:solidFill>
          <a:ln w="25400" cap="flat" cmpd="sng" algn="ctr">
            <a:solidFill>
              <a:srgbClr val="000000"/>
            </a:solidFill>
            <a:prstDash val="dash"/>
            <a:round/>
            <a:headEnd type="none" w="med" len="med"/>
            <a:tailEnd type="none" w="med" len="med"/>
          </a:ln>
          <a:effectLst/>
        </p:spPr>
      </p:cxnSp>
      <p:cxnSp>
        <p:nvCxnSpPr>
          <p:cNvPr id="15" name="Straight Connector 14">
            <a:extLst>
              <a:ext uri="{FF2B5EF4-FFF2-40B4-BE49-F238E27FC236}">
                <a16:creationId xmlns:a16="http://schemas.microsoft.com/office/drawing/2014/main" id="{78C8952B-8FF1-4678-BFC2-F89B4FB727B9}"/>
              </a:ext>
            </a:extLst>
          </p:cNvPr>
          <p:cNvCxnSpPr>
            <a:cxnSpLocks/>
          </p:cNvCxnSpPr>
          <p:nvPr/>
        </p:nvCxnSpPr>
        <p:spPr bwMode="auto">
          <a:xfrm flipV="1">
            <a:off x="1102199" y="3745384"/>
            <a:ext cx="7187184" cy="1"/>
          </a:xfrm>
          <a:prstGeom prst="line">
            <a:avLst/>
          </a:prstGeom>
          <a:solidFill>
            <a:srgbClr val="B8D30B"/>
          </a:solidFill>
          <a:ln w="25400" cap="flat" cmpd="sng" algn="ctr">
            <a:solidFill>
              <a:srgbClr val="000000"/>
            </a:solidFill>
            <a:prstDash val="dash"/>
            <a:round/>
            <a:headEnd type="none" w="med" len="med"/>
            <a:tailEnd type="none" w="med" len="med"/>
          </a:ln>
          <a:effectLst/>
        </p:spPr>
      </p:cxnSp>
    </p:spTree>
    <p:extLst>
      <p:ext uri="{BB962C8B-B14F-4D97-AF65-F5344CB8AC3E}">
        <p14:creationId xmlns:p14="http://schemas.microsoft.com/office/powerpoint/2010/main" val="34447924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Q&amp;A</a:t>
            </a:r>
          </a:p>
        </p:txBody>
      </p:sp>
      <p:sp>
        <p:nvSpPr>
          <p:cNvPr id="4" name="Footer Placeholder 3"/>
          <p:cNvSpPr>
            <a:spLocks noGrp="1"/>
          </p:cNvSpPr>
          <p:nvPr>
            <p:ph type="ftr" sz="quarter" idx="13"/>
          </p:nvPr>
        </p:nvSpPr>
        <p:spPr/>
        <p:txBody>
          <a:bodyPr/>
          <a:lstStyle/>
          <a:p>
            <a:pPr>
              <a:defRPr/>
            </a:pPr>
            <a:r>
              <a:rPr lang="en-US" dirty="0"/>
              <a:t>For institutional use only.</a:t>
            </a:r>
          </a:p>
        </p:txBody>
      </p:sp>
      <p:cxnSp>
        <p:nvCxnSpPr>
          <p:cNvPr id="7" name="Straight Connector 6"/>
          <p:cNvCxnSpPr/>
          <p:nvPr/>
        </p:nvCxnSpPr>
        <p:spPr bwMode="auto">
          <a:xfrm>
            <a:off x="791746" y="2642460"/>
            <a:ext cx="8352254" cy="0"/>
          </a:xfrm>
          <a:prstGeom prst="line">
            <a:avLst/>
          </a:prstGeom>
          <a:solidFill>
            <a:srgbClr val="009681"/>
          </a:solidFill>
          <a:ln w="9525" cap="flat" cmpd="sng" algn="ctr">
            <a:solidFill>
              <a:srgbClr val="768692"/>
            </a:solidFill>
            <a:prstDash val="solid"/>
            <a:round/>
            <a:headEnd type="none" w="med" len="med"/>
            <a:tailEnd type="none" w="med" len="med"/>
          </a:ln>
          <a:effectLst/>
        </p:spPr>
      </p:cxnSp>
    </p:spTree>
    <p:extLst>
      <p:ext uri="{BB962C8B-B14F-4D97-AF65-F5344CB8AC3E}">
        <p14:creationId xmlns:p14="http://schemas.microsoft.com/office/powerpoint/2010/main" val="618226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Content Placeholder 2"/>
          <p:cNvSpPr>
            <a:spLocks noGrp="1"/>
          </p:cNvSpPr>
          <p:nvPr>
            <p:ph idx="12"/>
          </p:nvPr>
        </p:nvSpPr>
        <p:spPr/>
        <p:txBody>
          <a:bodyPr>
            <a:normAutofit/>
          </a:bodyPr>
          <a:lstStyle/>
          <a:p>
            <a:pPr marL="227013" indent="-227013">
              <a:spcBef>
                <a:spcPts val="600"/>
              </a:spcBef>
              <a:buClr>
                <a:srgbClr val="7A9A3D"/>
              </a:buClr>
              <a:buSzPct val="100000"/>
              <a:buFont typeface="+mj-lt"/>
              <a:buAutoNum type="arabicPeriod"/>
            </a:pPr>
            <a:r>
              <a:rPr lang="en-US" sz="1400" b="0" dirty="0">
                <a:solidFill>
                  <a:srgbClr val="000000"/>
                </a:solidFill>
                <a:latin typeface="Arial" pitchFamily="34" charset="0"/>
              </a:rPr>
              <a:t>Global Macroeconomic Update</a:t>
            </a:r>
          </a:p>
          <a:p>
            <a:pPr marL="227013" indent="-227013">
              <a:spcBef>
                <a:spcPts val="600"/>
              </a:spcBef>
              <a:buClr>
                <a:srgbClr val="7A9A3D"/>
              </a:buClr>
              <a:buSzPct val="100000"/>
              <a:buFont typeface="+mj-lt"/>
              <a:buAutoNum type="arabicPeriod"/>
            </a:pPr>
            <a:r>
              <a:rPr lang="en-US" sz="1400" b="0" dirty="0">
                <a:solidFill>
                  <a:srgbClr val="000000"/>
                </a:solidFill>
                <a:latin typeface="Arial" pitchFamily="34" charset="0"/>
              </a:rPr>
              <a:t>U.S. Economic Review &amp; Federal Reserve Policy Outlook</a:t>
            </a:r>
          </a:p>
          <a:p>
            <a:pPr marL="227013" indent="-227013">
              <a:spcBef>
                <a:spcPts val="600"/>
              </a:spcBef>
              <a:buClr>
                <a:srgbClr val="7A9A3D"/>
              </a:buClr>
              <a:buSzPct val="100000"/>
              <a:buFont typeface="+mj-lt"/>
              <a:buAutoNum type="arabicPeriod"/>
            </a:pPr>
            <a:r>
              <a:rPr lang="en-US" sz="1400" b="0" dirty="0">
                <a:solidFill>
                  <a:srgbClr val="000000"/>
                </a:solidFill>
                <a:latin typeface="Arial" pitchFamily="34" charset="0"/>
              </a:rPr>
              <a:t>Government Portfolio Overview</a:t>
            </a:r>
          </a:p>
          <a:p>
            <a:pPr marL="227013" indent="-227013">
              <a:spcBef>
                <a:spcPts val="600"/>
              </a:spcBef>
              <a:buClr>
                <a:srgbClr val="7A9A3D"/>
              </a:buClr>
              <a:buSzPct val="100000"/>
              <a:buFont typeface="+mj-lt"/>
              <a:buAutoNum type="arabicPeriod"/>
            </a:pPr>
            <a:r>
              <a:rPr lang="en-US" sz="1400" b="0" dirty="0">
                <a:solidFill>
                  <a:srgbClr val="000000"/>
                </a:solidFill>
                <a:latin typeface="Arial" pitchFamily="34" charset="0"/>
              </a:rPr>
              <a:t>Q&amp;A</a:t>
            </a:r>
          </a:p>
        </p:txBody>
      </p:sp>
      <p:sp>
        <p:nvSpPr>
          <p:cNvPr id="7" name="Slide Number Placeholder 2"/>
          <p:cNvSpPr>
            <a:spLocks noGrp="1"/>
          </p:cNvSpPr>
          <p:nvPr>
            <p:ph type="sldNum" sz="quarter" idx="14"/>
          </p:nvPr>
        </p:nvSpPr>
        <p:spPr/>
        <p:txBody>
          <a:bodyPr lIns="0" tIns="0" rIns="0" bIns="0" anchor="b" anchorCtr="0"/>
          <a:lstStyle/>
          <a:p>
            <a:pPr marL="0" marR="0" lvl="0" indent="0" algn="r" defTabSz="914400" rtl="0" eaLnBrk="0" fontAlgn="base" latinLnBrk="0" hangingPunct="0">
              <a:lnSpc>
                <a:spcPct val="100000"/>
              </a:lnSpc>
              <a:spcBef>
                <a:spcPct val="0"/>
              </a:spcBef>
              <a:spcAft>
                <a:spcPct val="0"/>
              </a:spcAft>
              <a:buClrTx/>
              <a:buSzTx/>
              <a:buFontTx/>
              <a:buNone/>
              <a:tabLst/>
              <a:defRPr/>
            </a:pPr>
            <a:fld id="{E6474CC2-1230-4213-AD1A-4B2FEEABA7A1}" type="slidenum">
              <a:rPr kumimoji="0" lang="en-US" sz="800" b="1" i="0" u="none" strike="noStrike" kern="1200" cap="none" spc="0" normalizeH="0" baseline="0" noProof="0">
                <a:ln>
                  <a:noFill/>
                </a:ln>
                <a:solidFill>
                  <a:srgbClr val="000000"/>
                </a:solidFill>
                <a:effectLst/>
                <a:uLnTx/>
                <a:uFillTx/>
                <a:latin typeface="Arial"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2</a:t>
            </a:fld>
            <a:endParaRPr kumimoji="0" lang="en-US" sz="800" b="1" i="0" u="none" strike="noStrike" kern="1200" cap="none" spc="0" normalizeH="0" baseline="0" noProof="0" dirty="0">
              <a:ln>
                <a:noFill/>
              </a:ln>
              <a:solidFill>
                <a:srgbClr val="000000"/>
              </a:solidFill>
              <a:effectLst/>
              <a:uLnTx/>
              <a:uFillTx/>
              <a:latin typeface="Arial" charset="0"/>
              <a:ea typeface="ＭＳ Ｐゴシック" charset="-128"/>
              <a:cs typeface="+mn-cs"/>
            </a:endParaRPr>
          </a:p>
        </p:txBody>
      </p:sp>
      <p:sp>
        <p:nvSpPr>
          <p:cNvPr id="6" name="Footer Placeholder 1"/>
          <p:cNvSpPr>
            <a:spLocks noGrp="1"/>
          </p:cNvSpPr>
          <p:nvPr>
            <p:ph type="ftr" sz="quarter" idx="17"/>
          </p:nvPr>
        </p:nvSpPr>
        <p:spPr>
          <a:prstGeom prst="rect">
            <a:avLst/>
          </a:prstGeom>
        </p:spPr>
        <p:txBody>
          <a:bodyPr lIns="91440" tIns="0" rIns="91440" bIns="0" anchor="b" anchorCtr="0"/>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charset="0"/>
                <a:ea typeface="ＭＳ Ｐゴシック" charset="-128"/>
                <a:cs typeface="+mn-cs"/>
              </a:rPr>
              <a:t>For institutional use only.</a:t>
            </a:r>
          </a:p>
        </p:txBody>
      </p:sp>
      <p:sp>
        <p:nvSpPr>
          <p:cNvPr id="5" name="Rectangle 4"/>
          <p:cNvSpPr/>
          <p:nvPr/>
        </p:nvSpPr>
        <p:spPr>
          <a:xfrm>
            <a:off x="323850" y="6109018"/>
            <a:ext cx="7024402" cy="461665"/>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itchFamily="34" charset="0"/>
                <a:ea typeface="ＭＳ Ｐゴシック"/>
              </a:rPr>
              <a:t>The information provided herein is general in nature, not individualized, and does not constitute a recommendation. Fidelity is not acting as an advisor to you and does not owe a fiduciary duty to you with respect to the material contained in any verbal or written communication. Fidelity is acting for its own interests. You should consult with your advisor prior to making any investment decisions.</a:t>
            </a:r>
          </a:p>
        </p:txBody>
      </p:sp>
    </p:spTree>
    <p:extLst>
      <p:ext uri="{BB962C8B-B14F-4D97-AF65-F5344CB8AC3E}">
        <p14:creationId xmlns:p14="http://schemas.microsoft.com/office/powerpoint/2010/main" val="33663443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8"/>
          <p:cNvSpPr>
            <a:spLocks noGrp="1" noChangeArrowheads="1"/>
          </p:cNvSpPr>
          <p:nvPr>
            <p:ph type="title"/>
          </p:nvPr>
        </p:nvSpPr>
        <p:spPr/>
        <p:txBody>
          <a:bodyPr/>
          <a:lstStyle/>
          <a:p>
            <a:pPr eaLnBrk="1" hangingPunct="1"/>
            <a:r>
              <a:rPr lang="en-US" dirty="0"/>
              <a:t>Important Information</a:t>
            </a:r>
          </a:p>
        </p:txBody>
      </p:sp>
      <p:sp>
        <p:nvSpPr>
          <p:cNvPr id="61443" name="Rectangle 12"/>
          <p:cNvSpPr>
            <a:spLocks noGrp="1" noChangeArrowheads="1"/>
          </p:cNvSpPr>
          <p:nvPr>
            <p:ph idx="1"/>
          </p:nvPr>
        </p:nvSpPr>
        <p:spPr>
          <a:xfrm>
            <a:off x="327880" y="930983"/>
            <a:ext cx="8188710" cy="4808538"/>
          </a:xfrm>
        </p:spPr>
        <p:txBody>
          <a:bodyPr/>
          <a:lstStyle/>
          <a:p>
            <a:pPr>
              <a:spcBef>
                <a:spcPts val="600"/>
              </a:spcBef>
            </a:pPr>
            <a:r>
              <a:rPr sz="900" dirty="0"/>
              <a:t>Not NCUA or NCUSIF insured.  May lose value.  No credit union guarantee.</a:t>
            </a:r>
          </a:p>
          <a:p>
            <a:pPr>
              <a:spcBef>
                <a:spcPts val="600"/>
              </a:spcBef>
            </a:pPr>
            <a:r>
              <a:rPr sz="900" dirty="0"/>
              <a:t>The views expressed in this statement reflect those of the portfolio manager only through the end of the period of the report as stated on the cover and do not necessarily represent the views of Fidelity or any other person in the Fidelity organization. Any such views are subject to change at any time based upon market or other conditions and Fidelity disclaims any responsibility to update such views. These views may not be relied on as investment advice and, because investment decisions for a Fidelity fund are based on numerous factors, may not be relied on as an indication of trading intent on behalf of any Fidelity fund.</a:t>
            </a:r>
          </a:p>
          <a:p>
            <a:pPr>
              <a:spcBef>
                <a:spcPts val="600"/>
              </a:spcBef>
            </a:pPr>
            <a:r>
              <a:rPr sz="900" dirty="0"/>
              <a:t>Past performance is no guarantee of future results. Investment return will fluctuate, therefore you may have a gain or loss when you sell shares. </a:t>
            </a:r>
          </a:p>
          <a:p>
            <a:pPr>
              <a:spcBef>
                <a:spcPts val="600"/>
              </a:spcBef>
            </a:pPr>
            <a:r>
              <a:rPr sz="900" dirty="0"/>
              <a:t>Diversification does not ensure a profit or guarantee against a loss.</a:t>
            </a:r>
          </a:p>
          <a:p>
            <a:r>
              <a:rPr lang="en-US" b="1" dirty="0"/>
              <a:t>You could lose money by investing in the fund. Although the fund seeks to preserve the value of your investment at $1.00 per share, it cannot guarantee it will do so. An investment in the fund is not insured or guaranteed by the Federal Deposit Insurance Corporation or any other government agency. Fidelity Investments and its affiliates, the fund's sponsor, have no legal obligation to provide financial support to the fund, and you should not expect that the sponsor will provide financial support to the fund at any time</a:t>
            </a:r>
            <a:r>
              <a:rPr lang="en-US" dirty="0"/>
              <a:t>. </a:t>
            </a:r>
          </a:p>
          <a:p>
            <a:r>
              <a:rPr lang="en-US" dirty="0"/>
              <a:t>The North Carolina Capital Management Trust Government Portfolio will not impose a fee upon the sale of your shares, nor temporarily suspend your ability to sell shares if the fund's weekly liquid assets fall below 30% of its total assets because of market conditions or other factors. The North Carolina Capital Management Trust is a SEC registered money market mutual fund operating in accordance with Rule 2a-7 of the Investment Company Act of 1940. The North Carolina Capital Management Trust is managed by Fidelity Management &amp; Research Company and distributed by Capital Management of the Carolina's LLC.</a:t>
            </a:r>
          </a:p>
          <a:p>
            <a:r>
              <a:rPr lang="en-US" dirty="0"/>
              <a:t>Foreign securities are subject to interest rate, currency exchange rate, economic, and political risks. Interest rate increases can cause the price of a money market security to decrease.  A decline in the credit quality of an issuer or a provider of credit support or a maturity-shortening structure for a security can cause the price of a money market security to decrease. </a:t>
            </a:r>
          </a:p>
          <a:p>
            <a:r>
              <a:rPr lang="en-US" b="1" dirty="0"/>
              <a:t>Before investing, consider the funds’ and/or accounts’ investment objectives, risks, charges, and expenses. Contact Fidelity or visit institutional.fidelity.com for a prospectus or, if available, a summary prospectus containing this information, if applicable. Read it carefully.</a:t>
            </a:r>
          </a:p>
          <a:p>
            <a:r>
              <a:rPr lang="en-US" dirty="0"/>
              <a:t>The third-party trademarks and service marks are the property of their respective owners. All other trademarks and service marks are the property of FMR LLC or an affiliated company. </a:t>
            </a:r>
          </a:p>
          <a:p>
            <a:r>
              <a:rPr lang="en-US" dirty="0"/>
              <a:t>Fidelity Distributors Company LLC , 500 Salem Street, Smithfield, RI 02917 	</a:t>
            </a:r>
          </a:p>
          <a:p>
            <a:r>
              <a:rPr lang="en-US" dirty="0">
                <a:solidFill>
                  <a:srgbClr val="172934"/>
                </a:solidFill>
                <a:ea typeface="ＭＳ Ｐゴシック" pitchFamily="34" charset="-128"/>
              </a:rPr>
              <a:t>Not FDIC insured. May lose value. No bank guarantee</a:t>
            </a:r>
            <a:endParaRPr lang="en-US" b="1" dirty="0"/>
          </a:p>
          <a:p>
            <a:endParaRPr lang="en-US" b="1" dirty="0"/>
          </a:p>
          <a:p>
            <a:endParaRPr lang="en-US" b="1" dirty="0"/>
          </a:p>
          <a:p>
            <a:endParaRPr lang="en-US" b="1" dirty="0"/>
          </a:p>
          <a:p>
            <a:endParaRPr lang="en-US" dirty="0"/>
          </a:p>
        </p:txBody>
      </p:sp>
      <p:sp>
        <p:nvSpPr>
          <p:cNvPr id="8" name="Slide Number Placeholder 2"/>
          <p:cNvSpPr>
            <a:spLocks noGrp="1"/>
          </p:cNvSpPr>
          <p:nvPr>
            <p:ph type="sldNum" sz="quarter" idx="14"/>
          </p:nvPr>
        </p:nvSpPr>
        <p:spPr>
          <a:prstGeom prst="rect">
            <a:avLst/>
          </a:prstGeom>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C4E50620-8E5B-4EB5-805A-954EEF6A950E}" type="slidenum">
              <a:rPr kumimoji="0" lang="en-US" sz="800" b="1" i="0" u="none" strike="noStrike" kern="1200" cap="none" spc="0" normalizeH="0" baseline="0" noProof="0" smtClean="0">
                <a:ln>
                  <a:noFill/>
                </a:ln>
                <a:solidFill>
                  <a:srgbClr val="000000"/>
                </a:solidFill>
                <a:effectLst/>
                <a:uLnTx/>
                <a:uFillTx/>
                <a:latin typeface="Arial"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20</a:t>
            </a:fld>
            <a:endParaRPr kumimoji="0" lang="en-US" sz="800" b="1" i="0" u="none" strike="noStrike" kern="1200" cap="none" spc="0" normalizeH="0" baseline="0" noProof="0" dirty="0">
              <a:ln>
                <a:noFill/>
              </a:ln>
              <a:solidFill>
                <a:srgbClr val="000000"/>
              </a:solidFill>
              <a:effectLst/>
              <a:uLnTx/>
              <a:uFillTx/>
              <a:latin typeface="Arial" charset="0"/>
              <a:ea typeface="ＭＳ Ｐゴシック" charset="-128"/>
              <a:cs typeface="+mn-cs"/>
            </a:endParaRPr>
          </a:p>
        </p:txBody>
      </p:sp>
      <p:sp>
        <p:nvSpPr>
          <p:cNvPr id="9" name="Footer Placeholder 1"/>
          <p:cNvSpPr>
            <a:spLocks noGrp="1"/>
          </p:cNvSpPr>
          <p:nvPr>
            <p:ph type="ftr" sz="quarter" idx="17"/>
          </p:nvPr>
        </p:nvSpPr>
        <p:spPr>
          <a:prstGeom prst="rect">
            <a:avLst/>
          </a:prstGeom>
        </p:spPr>
        <p:txBody>
          <a:bodyPr lIns="91440" tIns="0" rIns="91440" bIns="0" anchor="b" anchorCtr="0"/>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charset="0"/>
                <a:ea typeface="ＭＳ Ｐゴシック" charset="-128"/>
                <a:cs typeface="+mn-cs"/>
              </a:rPr>
              <a:t>For institutional use only.</a:t>
            </a:r>
          </a:p>
        </p:txBody>
      </p:sp>
      <p:sp>
        <p:nvSpPr>
          <p:cNvPr id="2" name="TextBox 1"/>
          <p:cNvSpPr txBox="1"/>
          <p:nvPr/>
        </p:nvSpPr>
        <p:spPr>
          <a:xfrm>
            <a:off x="323247" y="6339675"/>
            <a:ext cx="927028" cy="230832"/>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itchFamily="34" charset="0"/>
                <a:ea typeface="ＭＳ Ｐゴシック"/>
              </a:rPr>
              <a:t>1037606.1.0</a:t>
            </a:r>
          </a:p>
        </p:txBody>
      </p:sp>
    </p:spTree>
    <p:extLst>
      <p:ext uri="{BB962C8B-B14F-4D97-AF65-F5344CB8AC3E}">
        <p14:creationId xmlns:p14="http://schemas.microsoft.com/office/powerpoint/2010/main" val="2998716275"/>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Global Macroeconomic Update</a:t>
            </a:r>
          </a:p>
        </p:txBody>
      </p:sp>
      <p:sp>
        <p:nvSpPr>
          <p:cNvPr id="4" name="Footer Placeholder 3"/>
          <p:cNvSpPr>
            <a:spLocks noGrp="1"/>
          </p:cNvSpPr>
          <p:nvPr>
            <p:ph type="ftr" sz="quarter" idx="13"/>
          </p:nvPr>
        </p:nvSpPr>
        <p:spPr>
          <a:xfrm>
            <a:off x="311640" y="6473514"/>
            <a:ext cx="3931920" cy="182055"/>
          </a:xfrm>
        </p:spPr>
        <p:txBody>
          <a:bodyPr/>
          <a:lstStyle/>
          <a:p>
            <a:pPr>
              <a:defRPr/>
            </a:pPr>
            <a:r>
              <a:rPr lang="en-US" dirty="0"/>
              <a:t>For institutional use only.</a:t>
            </a:r>
          </a:p>
        </p:txBody>
      </p:sp>
      <p:cxnSp>
        <p:nvCxnSpPr>
          <p:cNvPr id="7" name="Straight Connector 6"/>
          <p:cNvCxnSpPr/>
          <p:nvPr/>
        </p:nvCxnSpPr>
        <p:spPr bwMode="auto">
          <a:xfrm>
            <a:off x="791746" y="2642460"/>
            <a:ext cx="8352254" cy="0"/>
          </a:xfrm>
          <a:prstGeom prst="line">
            <a:avLst/>
          </a:prstGeom>
          <a:solidFill>
            <a:srgbClr val="009681"/>
          </a:solidFill>
          <a:ln w="9525" cap="flat" cmpd="sng" algn="ctr">
            <a:solidFill>
              <a:srgbClr val="768692"/>
            </a:solidFill>
            <a:prstDash val="solid"/>
            <a:round/>
            <a:headEnd type="none" w="med" len="med"/>
            <a:tailEnd type="none" w="med" len="med"/>
          </a:ln>
          <a:effectLst/>
        </p:spPr>
      </p:cxnSp>
    </p:spTree>
    <p:extLst>
      <p:ext uri="{BB962C8B-B14F-4D97-AF65-F5344CB8AC3E}">
        <p14:creationId xmlns:p14="http://schemas.microsoft.com/office/powerpoint/2010/main" val="37018294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67"/>
          <p:cNvSpPr>
            <a:spLocks noChangeArrowheads="1"/>
          </p:cNvSpPr>
          <p:nvPr/>
        </p:nvSpPr>
        <p:spPr bwMode="auto">
          <a:xfrm>
            <a:off x="327575" y="5938370"/>
            <a:ext cx="6690446" cy="584775"/>
          </a:xfrm>
          <a:prstGeom prst="rect">
            <a:avLst/>
          </a:prstGeom>
          <a:noFill/>
          <a:ln w="9525" algn="ctr">
            <a:noFill/>
            <a:miter lim="800000"/>
            <a:headEnd/>
            <a:tailEnd/>
          </a:ln>
        </p:spPr>
        <p:txBody>
          <a:bodyPr wrap="square" anchor="b">
            <a:spAutoFit/>
          </a:bodyPr>
          <a:lstStyle/>
          <a:p>
            <a:pPr marL="0" marR="0" lvl="0" indent="0" algn="l" defTabSz="914400" rtl="0" eaLnBrk="0" fontAlgn="base" latinLnBrk="0" hangingPunct="0">
              <a:lnSpc>
                <a:spcPct val="100000"/>
              </a:lnSpc>
              <a:spcBef>
                <a:spcPts val="20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itchFamily="34" charset="0"/>
                <a:ea typeface="ＭＳ Ｐゴシック"/>
              </a:rPr>
              <a:t>A growth recession is a significant decline in activity relative to a country’s long-term economic potential. Note: The diagram above is a hypothetical illustration of the business cycle, the pattern of cyclical fluctuations in an economy over a few years that can influence asset returns over an intermediate-term horizon. There is not always a chronological, linear progression among the phases of the business cycle, and there have been cycles when the economy has skipped a phase or retraced an earlier one. Source: Fidelity Investments (AART), as of 7/5/22.</a:t>
            </a:r>
          </a:p>
        </p:txBody>
      </p:sp>
      <p:sp>
        <p:nvSpPr>
          <p:cNvPr id="7" name="Text Placeholder 2"/>
          <p:cNvSpPr txBox="1">
            <a:spLocks/>
          </p:cNvSpPr>
          <p:nvPr/>
        </p:nvSpPr>
        <p:spPr>
          <a:xfrm>
            <a:off x="320040" y="1133082"/>
            <a:ext cx="7198753" cy="248801"/>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sz="1800" b="1" i="0" u="none" strike="noStrike" kern="1200" baseline="0">
                <a:solidFill>
                  <a:sysClr val="windowText" lastClr="000000"/>
                </a:solidFill>
                <a:latin typeface="+mn-lt"/>
                <a:ea typeface="+mn-ea"/>
                <a:cs typeface="+mn-cs"/>
              </a:defRPr>
            </a:pPr>
            <a:r>
              <a:rPr kumimoji="0" lang="en-US" sz="1400" b="1" i="0" u="none" strike="noStrike" kern="1200" cap="none" spc="0" normalizeH="0" baseline="0" noProof="0" dirty="0">
                <a:ln>
                  <a:noFill/>
                </a:ln>
                <a:solidFill>
                  <a:srgbClr val="000000"/>
                </a:solidFill>
                <a:effectLst/>
                <a:uLnTx/>
                <a:uFillTx/>
                <a:latin typeface="Arial"/>
                <a:ea typeface="ＭＳ Ｐゴシック"/>
              </a:rPr>
              <a:t>Business Cycle Framework</a:t>
            </a:r>
          </a:p>
        </p:txBody>
      </p:sp>
      <p:sp>
        <p:nvSpPr>
          <p:cNvPr id="4" name="TextBox 3">
            <a:extLst>
              <a:ext uri="{FF2B5EF4-FFF2-40B4-BE49-F238E27FC236}">
                <a16:creationId xmlns:a16="http://schemas.microsoft.com/office/drawing/2014/main" id="{BFDB93F6-0EEC-4CFB-BA97-75D0EC31CEA7}"/>
              </a:ext>
            </a:extLst>
          </p:cNvPr>
          <p:cNvSpPr txBox="1"/>
          <p:nvPr/>
        </p:nvSpPr>
        <p:spPr>
          <a:xfrm>
            <a:off x="802489" y="1535702"/>
            <a:ext cx="884239" cy="215444"/>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5D656D"/>
                </a:solidFill>
                <a:effectLst/>
                <a:uLnTx/>
                <a:uFillTx/>
                <a:latin typeface="Arial" pitchFamily="34" charset="0"/>
                <a:ea typeface="ＭＳ Ｐゴシック"/>
              </a:rPr>
              <a:t>Cycle Phases</a:t>
            </a:r>
          </a:p>
        </p:txBody>
      </p:sp>
      <p:sp>
        <p:nvSpPr>
          <p:cNvPr id="26" name="TextBox 25">
            <a:extLst>
              <a:ext uri="{FF2B5EF4-FFF2-40B4-BE49-F238E27FC236}">
                <a16:creationId xmlns:a16="http://schemas.microsoft.com/office/drawing/2014/main" id="{4261C529-9D43-4A21-A1CA-ABF69AB6AAD8}"/>
              </a:ext>
            </a:extLst>
          </p:cNvPr>
          <p:cNvSpPr txBox="1"/>
          <p:nvPr/>
        </p:nvSpPr>
        <p:spPr>
          <a:xfrm>
            <a:off x="1608944" y="1535702"/>
            <a:ext cx="1288248" cy="1275734"/>
          </a:xfrm>
          <a:prstGeom prst="rect">
            <a:avLst/>
          </a:prstGeom>
          <a:noFill/>
        </p:spPr>
        <p:txBody>
          <a:bodyPr wrap="square" rtlCol="0">
            <a:spAutoFit/>
          </a:bodyPr>
          <a:lstStyle/>
          <a:p>
            <a:pPr marL="0" marR="0" lvl="0" indent="0" algn="l" defTabSz="914400" rtl="0" eaLnBrk="1" fontAlgn="base" latinLnBrk="0" hangingPunct="1">
              <a:lnSpc>
                <a:spcPct val="100000"/>
              </a:lnSpc>
              <a:spcBef>
                <a:spcPts val="500"/>
              </a:spcBef>
              <a:spcAft>
                <a:spcPct val="0"/>
              </a:spcAft>
              <a:buClrTx/>
              <a:buSzTx/>
              <a:buFontTx/>
              <a:buNone/>
              <a:tabLst/>
              <a:defRPr/>
            </a:pPr>
            <a:r>
              <a:rPr kumimoji="0" lang="en-US" sz="900" b="0" i="0" u="none" strike="noStrike" kern="1200" cap="none" spc="-30" normalizeH="0" baseline="0" noProof="0">
                <a:ln>
                  <a:noFill/>
                </a:ln>
                <a:solidFill>
                  <a:srgbClr val="5D656D"/>
                </a:solidFill>
                <a:effectLst/>
                <a:uLnTx/>
                <a:uFillTx/>
                <a:latin typeface="Arial" pitchFamily="34" charset="0"/>
                <a:ea typeface="ＭＳ Ｐゴシック"/>
              </a:rPr>
              <a:t>EARLY</a:t>
            </a:r>
            <a:endParaRPr kumimoji="0" lang="en-US" sz="800" b="0" i="0" u="none" strike="noStrike" kern="1200" cap="none" spc="-30" normalizeH="0" baseline="0" noProof="0">
              <a:ln>
                <a:noFill/>
              </a:ln>
              <a:solidFill>
                <a:srgbClr val="5D656D"/>
              </a:solidFill>
              <a:effectLst/>
              <a:uLnTx/>
              <a:uFillTx/>
              <a:latin typeface="Arial" pitchFamily="34" charset="0"/>
              <a:ea typeface="ＭＳ Ｐゴシック"/>
            </a:endParaRPr>
          </a:p>
          <a:p>
            <a:pPr marL="91440" marR="0" lvl="0" indent="-91440" algn="l" defTabSz="914400" rtl="0" eaLnBrk="1" fontAlgn="base" latinLnBrk="0" hangingPunct="1">
              <a:lnSpc>
                <a:spcPct val="90000"/>
              </a:lnSpc>
              <a:spcBef>
                <a:spcPts val="500"/>
              </a:spcBef>
              <a:spcAft>
                <a:spcPct val="0"/>
              </a:spcAft>
              <a:buClrTx/>
              <a:buSzTx/>
              <a:buFont typeface="Arial" panose="020B0604020202020204" pitchFamily="34" charset="0"/>
              <a:buChar char="•"/>
              <a:tabLst/>
              <a:defRPr/>
            </a:pPr>
            <a:r>
              <a:rPr kumimoji="0" lang="en-US" sz="800" b="0" i="0" u="none" strike="noStrike" kern="1200" cap="none" spc="-30" normalizeH="0" baseline="0" noProof="0">
                <a:ln>
                  <a:noFill/>
                </a:ln>
                <a:solidFill>
                  <a:srgbClr val="5D656D"/>
                </a:solidFill>
                <a:effectLst/>
                <a:uLnTx/>
                <a:uFillTx/>
                <a:latin typeface="Arial" pitchFamily="34" charset="0"/>
                <a:ea typeface="ＭＳ Ｐゴシック"/>
              </a:rPr>
              <a:t>Activity rebounds (GDP, IP, employment)</a:t>
            </a:r>
          </a:p>
          <a:p>
            <a:pPr marL="91440" marR="0" lvl="0" indent="-91440" algn="l" defTabSz="914400" rtl="0" eaLnBrk="1" fontAlgn="base" latinLnBrk="0" hangingPunct="1">
              <a:lnSpc>
                <a:spcPct val="90000"/>
              </a:lnSpc>
              <a:spcBef>
                <a:spcPts val="400"/>
              </a:spcBef>
              <a:spcAft>
                <a:spcPct val="0"/>
              </a:spcAft>
              <a:buClrTx/>
              <a:buSzTx/>
              <a:buFont typeface="Arial" panose="020B0604020202020204" pitchFamily="34" charset="0"/>
              <a:buChar char="•"/>
              <a:tabLst/>
              <a:defRPr/>
            </a:pPr>
            <a:r>
              <a:rPr kumimoji="0" lang="en-US" sz="800" b="0" i="0" u="none" strike="noStrike" kern="1200" cap="none" spc="-30" normalizeH="0" baseline="0" noProof="0">
                <a:ln>
                  <a:noFill/>
                </a:ln>
                <a:solidFill>
                  <a:srgbClr val="5D656D"/>
                </a:solidFill>
                <a:effectLst/>
                <a:uLnTx/>
                <a:uFillTx/>
                <a:latin typeface="Arial" pitchFamily="34" charset="0"/>
                <a:ea typeface="ＭＳ Ｐゴシック"/>
              </a:rPr>
              <a:t>Credit begins to grow</a:t>
            </a:r>
          </a:p>
          <a:p>
            <a:pPr marL="91440" marR="0" lvl="0" indent="-91440" algn="l" defTabSz="914400" rtl="0" eaLnBrk="1" fontAlgn="base" latinLnBrk="0" hangingPunct="1">
              <a:lnSpc>
                <a:spcPct val="90000"/>
              </a:lnSpc>
              <a:spcBef>
                <a:spcPts val="400"/>
              </a:spcBef>
              <a:spcAft>
                <a:spcPct val="0"/>
              </a:spcAft>
              <a:buClrTx/>
              <a:buSzTx/>
              <a:buFont typeface="Arial" panose="020B0604020202020204" pitchFamily="34" charset="0"/>
              <a:buChar char="•"/>
              <a:tabLst/>
              <a:defRPr/>
            </a:pPr>
            <a:r>
              <a:rPr kumimoji="0" lang="en-US" sz="800" b="0" i="0" u="none" strike="noStrike" kern="1200" cap="none" spc="-30" normalizeH="0" baseline="0" noProof="0">
                <a:ln>
                  <a:noFill/>
                </a:ln>
                <a:solidFill>
                  <a:srgbClr val="5D656D"/>
                </a:solidFill>
                <a:effectLst/>
                <a:uLnTx/>
                <a:uFillTx/>
                <a:latin typeface="Arial" pitchFamily="34" charset="0"/>
                <a:ea typeface="ＭＳ Ｐゴシック"/>
              </a:rPr>
              <a:t>Profits grow rapidly</a:t>
            </a:r>
          </a:p>
          <a:p>
            <a:pPr marL="91440" marR="0" lvl="0" indent="-91440" algn="l" defTabSz="914400" rtl="0" eaLnBrk="1" fontAlgn="base" latinLnBrk="0" hangingPunct="1">
              <a:lnSpc>
                <a:spcPct val="90000"/>
              </a:lnSpc>
              <a:spcBef>
                <a:spcPts val="400"/>
              </a:spcBef>
              <a:spcAft>
                <a:spcPct val="0"/>
              </a:spcAft>
              <a:buClrTx/>
              <a:buSzTx/>
              <a:buFont typeface="Arial" panose="020B0604020202020204" pitchFamily="34" charset="0"/>
              <a:buChar char="•"/>
              <a:tabLst/>
              <a:defRPr/>
            </a:pPr>
            <a:r>
              <a:rPr kumimoji="0" lang="en-US" sz="800" b="0" i="0" u="none" strike="noStrike" kern="1200" cap="none" spc="-30" normalizeH="0" baseline="0" noProof="0">
                <a:ln>
                  <a:noFill/>
                </a:ln>
                <a:solidFill>
                  <a:srgbClr val="5D656D"/>
                </a:solidFill>
                <a:effectLst/>
                <a:uLnTx/>
                <a:uFillTx/>
                <a:latin typeface="Arial" pitchFamily="34" charset="0"/>
                <a:ea typeface="ＭＳ Ｐゴシック"/>
              </a:rPr>
              <a:t>Policy still stimulative</a:t>
            </a:r>
          </a:p>
          <a:p>
            <a:pPr marL="91440" marR="0" lvl="0" indent="-91440" algn="l" defTabSz="914400" rtl="0" eaLnBrk="1" fontAlgn="base" latinLnBrk="0" hangingPunct="1">
              <a:lnSpc>
                <a:spcPct val="90000"/>
              </a:lnSpc>
              <a:spcBef>
                <a:spcPts val="400"/>
              </a:spcBef>
              <a:spcAft>
                <a:spcPct val="0"/>
              </a:spcAft>
              <a:buClrTx/>
              <a:buSzTx/>
              <a:buFont typeface="Arial" panose="020B0604020202020204" pitchFamily="34" charset="0"/>
              <a:buChar char="•"/>
              <a:tabLst/>
              <a:defRPr/>
            </a:pPr>
            <a:r>
              <a:rPr kumimoji="0" lang="en-US" sz="800" b="0" i="0" u="none" strike="noStrike" kern="1200" cap="none" spc="-30" normalizeH="0" baseline="0" noProof="0">
                <a:ln>
                  <a:noFill/>
                </a:ln>
                <a:solidFill>
                  <a:srgbClr val="5D656D"/>
                </a:solidFill>
                <a:effectLst/>
                <a:uLnTx/>
                <a:uFillTx/>
                <a:latin typeface="Arial" pitchFamily="34" charset="0"/>
                <a:ea typeface="ＭＳ Ｐゴシック"/>
              </a:rPr>
              <a:t>Inventories low; </a:t>
            </a:r>
            <a:br>
              <a:rPr kumimoji="0" lang="en-US" sz="800" b="0" i="0" u="none" strike="noStrike" kern="1200" cap="none" spc="-30" normalizeH="0" baseline="0" noProof="0">
                <a:ln>
                  <a:noFill/>
                </a:ln>
                <a:solidFill>
                  <a:srgbClr val="5D656D"/>
                </a:solidFill>
                <a:effectLst/>
                <a:uLnTx/>
                <a:uFillTx/>
                <a:latin typeface="Arial" pitchFamily="34" charset="0"/>
                <a:ea typeface="ＭＳ Ｐゴシック"/>
              </a:rPr>
            </a:br>
            <a:r>
              <a:rPr kumimoji="0" lang="en-US" sz="800" b="0" i="0" u="none" strike="noStrike" kern="1200" cap="none" spc="-30" normalizeH="0" baseline="0" noProof="0">
                <a:ln>
                  <a:noFill/>
                </a:ln>
                <a:solidFill>
                  <a:srgbClr val="5D656D"/>
                </a:solidFill>
                <a:effectLst/>
                <a:uLnTx/>
                <a:uFillTx/>
                <a:latin typeface="Arial" pitchFamily="34" charset="0"/>
                <a:ea typeface="ＭＳ Ｐゴシック"/>
              </a:rPr>
              <a:t>sales improve</a:t>
            </a:r>
          </a:p>
        </p:txBody>
      </p:sp>
      <p:sp>
        <p:nvSpPr>
          <p:cNvPr id="27" name="TextBox 26">
            <a:extLst>
              <a:ext uri="{FF2B5EF4-FFF2-40B4-BE49-F238E27FC236}">
                <a16:creationId xmlns:a16="http://schemas.microsoft.com/office/drawing/2014/main" id="{29B0385A-A574-4CD4-9BD2-C0D4B8730DEC}"/>
              </a:ext>
            </a:extLst>
          </p:cNvPr>
          <p:cNvSpPr txBox="1"/>
          <p:nvPr/>
        </p:nvSpPr>
        <p:spPr>
          <a:xfrm>
            <a:off x="3184870" y="1535702"/>
            <a:ext cx="2281210" cy="1054135"/>
          </a:xfrm>
          <a:prstGeom prst="rect">
            <a:avLst/>
          </a:prstGeom>
          <a:noFill/>
        </p:spPr>
        <p:txBody>
          <a:bodyPr wrap="square" rtlCol="0">
            <a:spAutoFit/>
          </a:bodyPr>
          <a:lstStyle/>
          <a:p>
            <a:pPr marL="0" marR="0" lvl="0" indent="0" algn="l" defTabSz="914400" rtl="0" eaLnBrk="1" fontAlgn="base" latinLnBrk="0" hangingPunct="1">
              <a:lnSpc>
                <a:spcPct val="100000"/>
              </a:lnSpc>
              <a:spcBef>
                <a:spcPts val="500"/>
              </a:spcBef>
              <a:spcAft>
                <a:spcPct val="0"/>
              </a:spcAft>
              <a:buClrTx/>
              <a:buSzTx/>
              <a:buFontTx/>
              <a:buNone/>
              <a:tabLst/>
              <a:defRPr/>
            </a:pPr>
            <a:r>
              <a:rPr kumimoji="0" lang="en-US" sz="900" b="0" i="0" u="none" strike="noStrike" kern="1200" cap="none" spc="-30" normalizeH="0" baseline="0" noProof="0" dirty="0">
                <a:ln>
                  <a:noFill/>
                </a:ln>
                <a:solidFill>
                  <a:srgbClr val="5D656D"/>
                </a:solidFill>
                <a:effectLst/>
                <a:uLnTx/>
                <a:uFillTx/>
                <a:latin typeface="Arial" pitchFamily="34" charset="0"/>
                <a:ea typeface="ＭＳ Ｐゴシック"/>
              </a:rPr>
              <a:t>MID</a:t>
            </a:r>
            <a:endParaRPr kumimoji="0" lang="en-US" sz="800" b="0" i="0" u="none" strike="noStrike" kern="1200" cap="none" spc="-30" normalizeH="0" baseline="0" noProof="0" dirty="0">
              <a:ln>
                <a:noFill/>
              </a:ln>
              <a:solidFill>
                <a:srgbClr val="5D656D"/>
              </a:solidFill>
              <a:effectLst/>
              <a:uLnTx/>
              <a:uFillTx/>
              <a:latin typeface="Arial" pitchFamily="34" charset="0"/>
              <a:ea typeface="ＭＳ Ｐゴシック"/>
            </a:endParaRPr>
          </a:p>
          <a:p>
            <a:pPr marL="91440" marR="0" lvl="0" indent="-91440" algn="l" defTabSz="914400" rtl="0" eaLnBrk="1" fontAlgn="base" latinLnBrk="0" hangingPunct="1">
              <a:lnSpc>
                <a:spcPct val="90000"/>
              </a:lnSpc>
              <a:spcBef>
                <a:spcPts val="500"/>
              </a:spcBef>
              <a:spcAft>
                <a:spcPct val="0"/>
              </a:spcAft>
              <a:buClrTx/>
              <a:buSzTx/>
              <a:buFont typeface="Arial" panose="020B0604020202020204" pitchFamily="34" charset="0"/>
              <a:buChar char="•"/>
              <a:tabLst/>
              <a:defRPr/>
            </a:pPr>
            <a:r>
              <a:rPr kumimoji="0" lang="en-US" sz="800" b="0" i="0" u="none" strike="noStrike" kern="1200" cap="none" spc="-30" normalizeH="0" baseline="0" noProof="0" dirty="0">
                <a:ln>
                  <a:noFill/>
                </a:ln>
                <a:solidFill>
                  <a:srgbClr val="5D656D"/>
                </a:solidFill>
                <a:effectLst/>
                <a:uLnTx/>
                <a:uFillTx/>
                <a:latin typeface="Arial" pitchFamily="34" charset="0"/>
                <a:ea typeface="ＭＳ Ｐゴシック"/>
              </a:rPr>
              <a:t>Growth peaking</a:t>
            </a:r>
          </a:p>
          <a:p>
            <a:pPr marL="91440" marR="0" lvl="0" indent="-91440" algn="l" defTabSz="914400" rtl="0" eaLnBrk="1" fontAlgn="base" latinLnBrk="0" hangingPunct="1">
              <a:lnSpc>
                <a:spcPct val="90000"/>
              </a:lnSpc>
              <a:spcBef>
                <a:spcPts val="400"/>
              </a:spcBef>
              <a:spcAft>
                <a:spcPct val="0"/>
              </a:spcAft>
              <a:buClrTx/>
              <a:buSzTx/>
              <a:buFont typeface="Arial" panose="020B0604020202020204" pitchFamily="34" charset="0"/>
              <a:buChar char="•"/>
              <a:tabLst/>
              <a:defRPr/>
            </a:pPr>
            <a:r>
              <a:rPr kumimoji="0" lang="en-US" sz="800" b="0" i="0" u="none" strike="noStrike" kern="1200" cap="none" spc="-30" normalizeH="0" baseline="0" noProof="0" dirty="0">
                <a:ln>
                  <a:noFill/>
                </a:ln>
                <a:solidFill>
                  <a:srgbClr val="5D656D"/>
                </a:solidFill>
                <a:effectLst/>
                <a:uLnTx/>
                <a:uFillTx/>
                <a:latin typeface="Arial" pitchFamily="34" charset="0"/>
                <a:ea typeface="ＭＳ Ｐゴシック"/>
              </a:rPr>
              <a:t>Credit growth strong</a:t>
            </a:r>
          </a:p>
          <a:p>
            <a:pPr marL="91440" marR="0" lvl="0" indent="-91440" algn="l" defTabSz="914400" rtl="0" eaLnBrk="1" fontAlgn="base" latinLnBrk="0" hangingPunct="1">
              <a:lnSpc>
                <a:spcPct val="90000"/>
              </a:lnSpc>
              <a:spcBef>
                <a:spcPts val="400"/>
              </a:spcBef>
              <a:spcAft>
                <a:spcPct val="0"/>
              </a:spcAft>
              <a:buClrTx/>
              <a:buSzTx/>
              <a:buFont typeface="Arial" panose="020B0604020202020204" pitchFamily="34" charset="0"/>
              <a:buChar char="•"/>
              <a:tabLst/>
              <a:defRPr/>
            </a:pPr>
            <a:r>
              <a:rPr kumimoji="0" lang="en-US" sz="800" b="0" i="0" u="none" strike="noStrike" kern="1200" cap="none" spc="-30" normalizeH="0" baseline="0" noProof="0" dirty="0">
                <a:ln>
                  <a:noFill/>
                </a:ln>
                <a:solidFill>
                  <a:srgbClr val="5D656D"/>
                </a:solidFill>
                <a:effectLst/>
                <a:uLnTx/>
                <a:uFillTx/>
                <a:latin typeface="Arial" pitchFamily="34" charset="0"/>
                <a:ea typeface="ＭＳ Ｐゴシック"/>
              </a:rPr>
              <a:t>Profit growth peaks</a:t>
            </a:r>
          </a:p>
          <a:p>
            <a:pPr marL="91440" marR="0" lvl="0" indent="-91440" algn="l" defTabSz="914400" rtl="0" eaLnBrk="1" fontAlgn="base" latinLnBrk="0" hangingPunct="1">
              <a:lnSpc>
                <a:spcPct val="90000"/>
              </a:lnSpc>
              <a:spcBef>
                <a:spcPts val="400"/>
              </a:spcBef>
              <a:spcAft>
                <a:spcPct val="0"/>
              </a:spcAft>
              <a:buClrTx/>
              <a:buSzTx/>
              <a:buFont typeface="Arial" panose="020B0604020202020204" pitchFamily="34" charset="0"/>
              <a:buChar char="•"/>
              <a:tabLst/>
              <a:defRPr/>
            </a:pPr>
            <a:r>
              <a:rPr kumimoji="0" lang="en-US" sz="800" b="0" i="0" u="none" strike="noStrike" kern="1200" cap="none" spc="-30" normalizeH="0" baseline="0" noProof="0" dirty="0">
                <a:ln>
                  <a:noFill/>
                </a:ln>
                <a:solidFill>
                  <a:srgbClr val="5D656D"/>
                </a:solidFill>
                <a:effectLst/>
                <a:uLnTx/>
                <a:uFillTx/>
                <a:latin typeface="Arial" pitchFamily="34" charset="0"/>
                <a:ea typeface="ＭＳ Ｐゴシック"/>
              </a:rPr>
              <a:t>Policy neutral</a:t>
            </a:r>
          </a:p>
          <a:p>
            <a:pPr marL="91440" marR="0" lvl="0" indent="-91440" algn="l" defTabSz="914400" rtl="0" eaLnBrk="1" fontAlgn="base" latinLnBrk="0" hangingPunct="1">
              <a:lnSpc>
                <a:spcPct val="90000"/>
              </a:lnSpc>
              <a:spcBef>
                <a:spcPts val="400"/>
              </a:spcBef>
              <a:spcAft>
                <a:spcPct val="0"/>
              </a:spcAft>
              <a:buClrTx/>
              <a:buSzTx/>
              <a:buFont typeface="Arial" panose="020B0604020202020204" pitchFamily="34" charset="0"/>
              <a:buChar char="•"/>
              <a:tabLst/>
              <a:defRPr/>
            </a:pPr>
            <a:r>
              <a:rPr kumimoji="0" lang="en-US" sz="800" b="0" i="0" u="none" strike="noStrike" kern="1200" cap="none" spc="-30" normalizeH="0" baseline="0" noProof="0" dirty="0">
                <a:ln>
                  <a:noFill/>
                </a:ln>
                <a:solidFill>
                  <a:srgbClr val="5D656D"/>
                </a:solidFill>
                <a:effectLst/>
                <a:uLnTx/>
                <a:uFillTx/>
                <a:latin typeface="Arial" pitchFamily="34" charset="0"/>
                <a:ea typeface="ＭＳ Ｐゴシック"/>
              </a:rPr>
              <a:t>Inventories, sales grow; equilibrium reached </a:t>
            </a:r>
          </a:p>
        </p:txBody>
      </p:sp>
      <p:sp>
        <p:nvSpPr>
          <p:cNvPr id="28" name="TextBox 27">
            <a:extLst>
              <a:ext uri="{FF2B5EF4-FFF2-40B4-BE49-F238E27FC236}">
                <a16:creationId xmlns:a16="http://schemas.microsoft.com/office/drawing/2014/main" id="{6BADC50A-E074-4E03-81C8-8A12FF7FA37C}"/>
              </a:ext>
            </a:extLst>
          </p:cNvPr>
          <p:cNvSpPr txBox="1"/>
          <p:nvPr/>
        </p:nvSpPr>
        <p:spPr>
          <a:xfrm>
            <a:off x="5730383" y="1535702"/>
            <a:ext cx="1493463" cy="1164934"/>
          </a:xfrm>
          <a:prstGeom prst="rect">
            <a:avLst/>
          </a:prstGeom>
          <a:noFill/>
        </p:spPr>
        <p:txBody>
          <a:bodyPr wrap="square" rtlCol="0">
            <a:spAutoFit/>
          </a:bodyPr>
          <a:lstStyle/>
          <a:p>
            <a:pPr marL="0" marR="0" lvl="0" indent="0" algn="l" defTabSz="914400" rtl="0" eaLnBrk="1" fontAlgn="base" latinLnBrk="0" hangingPunct="1">
              <a:lnSpc>
                <a:spcPct val="100000"/>
              </a:lnSpc>
              <a:spcBef>
                <a:spcPts val="500"/>
              </a:spcBef>
              <a:spcAft>
                <a:spcPct val="0"/>
              </a:spcAft>
              <a:buClrTx/>
              <a:buSzTx/>
              <a:buFontTx/>
              <a:buNone/>
              <a:tabLst/>
              <a:defRPr/>
            </a:pPr>
            <a:r>
              <a:rPr kumimoji="0" lang="en-US" sz="900" b="0" i="0" u="none" strike="noStrike" kern="1200" cap="none" spc="-30" normalizeH="0" baseline="0" noProof="0">
                <a:ln>
                  <a:noFill/>
                </a:ln>
                <a:solidFill>
                  <a:srgbClr val="5D656D"/>
                </a:solidFill>
                <a:effectLst/>
                <a:uLnTx/>
                <a:uFillTx/>
                <a:latin typeface="Arial" pitchFamily="34" charset="0"/>
                <a:ea typeface="ＭＳ Ｐゴシック"/>
              </a:rPr>
              <a:t>LATE</a:t>
            </a:r>
            <a:endParaRPr kumimoji="0" lang="en-US" sz="800" b="0" i="0" u="none" strike="noStrike" kern="1200" cap="none" spc="-30" normalizeH="0" baseline="0" noProof="0">
              <a:ln>
                <a:noFill/>
              </a:ln>
              <a:solidFill>
                <a:srgbClr val="5D656D"/>
              </a:solidFill>
              <a:effectLst/>
              <a:uLnTx/>
              <a:uFillTx/>
              <a:latin typeface="Arial" pitchFamily="34" charset="0"/>
              <a:ea typeface="ＭＳ Ｐゴシック"/>
            </a:endParaRPr>
          </a:p>
          <a:p>
            <a:pPr marL="91440" marR="0" lvl="0" indent="-91440" algn="l" defTabSz="914400" rtl="0" eaLnBrk="1" fontAlgn="base" latinLnBrk="0" hangingPunct="1">
              <a:lnSpc>
                <a:spcPct val="90000"/>
              </a:lnSpc>
              <a:spcBef>
                <a:spcPts val="500"/>
              </a:spcBef>
              <a:spcAft>
                <a:spcPct val="0"/>
              </a:spcAft>
              <a:buClrTx/>
              <a:buSzTx/>
              <a:buFont typeface="Arial" panose="020B0604020202020204" pitchFamily="34" charset="0"/>
              <a:buChar char="•"/>
              <a:tabLst/>
              <a:defRPr/>
            </a:pPr>
            <a:r>
              <a:rPr kumimoji="0" lang="en-US" sz="800" b="0" i="0" u="none" strike="noStrike" kern="1200" cap="none" spc="-30" normalizeH="0" baseline="0" noProof="0">
                <a:ln>
                  <a:noFill/>
                </a:ln>
                <a:solidFill>
                  <a:srgbClr val="5D656D"/>
                </a:solidFill>
                <a:effectLst/>
                <a:uLnTx/>
                <a:uFillTx/>
                <a:latin typeface="Arial" pitchFamily="34" charset="0"/>
                <a:ea typeface="ＭＳ Ｐゴシック"/>
              </a:rPr>
              <a:t>Growth moderating</a:t>
            </a:r>
          </a:p>
          <a:p>
            <a:pPr marL="91440" marR="0" lvl="0" indent="-91440" algn="l" defTabSz="914400" rtl="0" eaLnBrk="1" fontAlgn="base" latinLnBrk="0" hangingPunct="1">
              <a:lnSpc>
                <a:spcPct val="90000"/>
              </a:lnSpc>
              <a:spcBef>
                <a:spcPts val="400"/>
              </a:spcBef>
              <a:spcAft>
                <a:spcPct val="0"/>
              </a:spcAft>
              <a:buClrTx/>
              <a:buSzTx/>
              <a:buFont typeface="Arial" panose="020B0604020202020204" pitchFamily="34" charset="0"/>
              <a:buChar char="•"/>
              <a:tabLst/>
              <a:defRPr/>
            </a:pPr>
            <a:r>
              <a:rPr kumimoji="0" lang="en-US" sz="800" b="0" i="0" u="none" strike="noStrike" kern="1200" cap="none" spc="-30" normalizeH="0" baseline="0" noProof="0">
                <a:ln>
                  <a:noFill/>
                </a:ln>
                <a:solidFill>
                  <a:srgbClr val="5D656D"/>
                </a:solidFill>
                <a:effectLst/>
                <a:uLnTx/>
                <a:uFillTx/>
                <a:latin typeface="Arial" pitchFamily="34" charset="0"/>
                <a:ea typeface="ＭＳ Ｐゴシック"/>
              </a:rPr>
              <a:t>Credit tightens</a:t>
            </a:r>
          </a:p>
          <a:p>
            <a:pPr marL="91440" marR="0" lvl="0" indent="-91440" algn="l" defTabSz="914400" rtl="0" eaLnBrk="1" fontAlgn="base" latinLnBrk="0" hangingPunct="1">
              <a:lnSpc>
                <a:spcPct val="90000"/>
              </a:lnSpc>
              <a:spcBef>
                <a:spcPts val="400"/>
              </a:spcBef>
              <a:spcAft>
                <a:spcPct val="0"/>
              </a:spcAft>
              <a:buClrTx/>
              <a:buSzTx/>
              <a:buFont typeface="Arial" panose="020B0604020202020204" pitchFamily="34" charset="0"/>
              <a:buChar char="•"/>
              <a:tabLst/>
              <a:defRPr/>
            </a:pPr>
            <a:r>
              <a:rPr kumimoji="0" lang="en-US" sz="800" b="0" i="0" u="none" strike="noStrike" kern="1200" cap="none" spc="-30" normalizeH="0" baseline="0" noProof="0">
                <a:ln>
                  <a:noFill/>
                </a:ln>
                <a:solidFill>
                  <a:srgbClr val="5D656D"/>
                </a:solidFill>
                <a:effectLst/>
                <a:uLnTx/>
                <a:uFillTx/>
                <a:latin typeface="Arial" pitchFamily="34" charset="0"/>
                <a:ea typeface="ＭＳ Ｐゴシック"/>
              </a:rPr>
              <a:t>Earnings under pressure</a:t>
            </a:r>
          </a:p>
          <a:p>
            <a:pPr marL="91440" marR="0" lvl="0" indent="-91440" algn="l" defTabSz="914400" rtl="0" eaLnBrk="1" fontAlgn="base" latinLnBrk="0" hangingPunct="1">
              <a:lnSpc>
                <a:spcPct val="90000"/>
              </a:lnSpc>
              <a:spcBef>
                <a:spcPts val="400"/>
              </a:spcBef>
              <a:spcAft>
                <a:spcPct val="0"/>
              </a:spcAft>
              <a:buClrTx/>
              <a:buSzTx/>
              <a:buFont typeface="Arial" panose="020B0604020202020204" pitchFamily="34" charset="0"/>
              <a:buChar char="•"/>
              <a:tabLst/>
              <a:defRPr/>
            </a:pPr>
            <a:r>
              <a:rPr kumimoji="0" lang="en-US" sz="800" b="0" i="0" u="none" strike="noStrike" kern="1200" cap="none" spc="-30" normalizeH="0" baseline="0" noProof="0">
                <a:ln>
                  <a:noFill/>
                </a:ln>
                <a:solidFill>
                  <a:srgbClr val="5D656D"/>
                </a:solidFill>
                <a:effectLst/>
                <a:uLnTx/>
                <a:uFillTx/>
                <a:latin typeface="Arial" pitchFamily="34" charset="0"/>
                <a:ea typeface="ＭＳ Ｐゴシック"/>
              </a:rPr>
              <a:t>Policy contractionary</a:t>
            </a:r>
          </a:p>
          <a:p>
            <a:pPr marL="91440" marR="0" lvl="0" indent="-91440" algn="l" defTabSz="914400" rtl="0" eaLnBrk="1" fontAlgn="base" latinLnBrk="0" hangingPunct="1">
              <a:lnSpc>
                <a:spcPct val="90000"/>
              </a:lnSpc>
              <a:spcBef>
                <a:spcPts val="400"/>
              </a:spcBef>
              <a:spcAft>
                <a:spcPct val="0"/>
              </a:spcAft>
              <a:buClrTx/>
              <a:buSzTx/>
              <a:buFont typeface="Arial" panose="020B0604020202020204" pitchFamily="34" charset="0"/>
              <a:buChar char="•"/>
              <a:tabLst/>
              <a:defRPr/>
            </a:pPr>
            <a:r>
              <a:rPr kumimoji="0" lang="en-US" sz="800" b="0" i="0" u="none" strike="noStrike" kern="1200" cap="none" spc="-30" normalizeH="0" baseline="0" noProof="0">
                <a:ln>
                  <a:noFill/>
                </a:ln>
                <a:solidFill>
                  <a:srgbClr val="5D656D"/>
                </a:solidFill>
                <a:effectLst/>
                <a:uLnTx/>
                <a:uFillTx/>
                <a:latin typeface="Arial" pitchFamily="34" charset="0"/>
                <a:ea typeface="ＭＳ Ｐゴシック"/>
              </a:rPr>
              <a:t>Inventories grow, sales growth falls</a:t>
            </a:r>
          </a:p>
        </p:txBody>
      </p:sp>
      <p:sp>
        <p:nvSpPr>
          <p:cNvPr id="29" name="TextBox 28">
            <a:extLst>
              <a:ext uri="{FF2B5EF4-FFF2-40B4-BE49-F238E27FC236}">
                <a16:creationId xmlns:a16="http://schemas.microsoft.com/office/drawing/2014/main" id="{312B8461-8D53-4580-ADD2-A344B7E26899}"/>
              </a:ext>
            </a:extLst>
          </p:cNvPr>
          <p:cNvSpPr txBox="1"/>
          <p:nvPr/>
        </p:nvSpPr>
        <p:spPr>
          <a:xfrm>
            <a:off x="7162048" y="1535702"/>
            <a:ext cx="1493463" cy="1164934"/>
          </a:xfrm>
          <a:prstGeom prst="rect">
            <a:avLst/>
          </a:prstGeom>
          <a:noFill/>
        </p:spPr>
        <p:txBody>
          <a:bodyPr wrap="square" rtlCol="0">
            <a:spAutoFit/>
          </a:bodyPr>
          <a:lstStyle/>
          <a:p>
            <a:pPr marL="0" marR="0" lvl="0" indent="0" algn="l" defTabSz="914400" rtl="0" eaLnBrk="1" fontAlgn="base" latinLnBrk="0" hangingPunct="1">
              <a:lnSpc>
                <a:spcPct val="100000"/>
              </a:lnSpc>
              <a:spcBef>
                <a:spcPts val="500"/>
              </a:spcBef>
              <a:spcAft>
                <a:spcPct val="0"/>
              </a:spcAft>
              <a:buClrTx/>
              <a:buSzTx/>
              <a:buFontTx/>
              <a:buNone/>
              <a:tabLst/>
              <a:defRPr/>
            </a:pPr>
            <a:r>
              <a:rPr kumimoji="0" lang="en-US" sz="900" b="0" i="0" u="none" strike="noStrike" kern="1200" cap="none" spc="-30" normalizeH="0" baseline="0" noProof="0">
                <a:ln>
                  <a:noFill/>
                </a:ln>
                <a:solidFill>
                  <a:srgbClr val="5D656D"/>
                </a:solidFill>
                <a:effectLst/>
                <a:uLnTx/>
                <a:uFillTx/>
                <a:latin typeface="Arial" pitchFamily="34" charset="0"/>
                <a:ea typeface="ＭＳ Ｐゴシック"/>
              </a:rPr>
              <a:t>RECESSION</a:t>
            </a:r>
            <a:endParaRPr kumimoji="0" lang="en-US" sz="800" b="0" i="0" u="none" strike="noStrike" kern="1200" cap="none" spc="-30" normalizeH="0" baseline="0" noProof="0">
              <a:ln>
                <a:noFill/>
              </a:ln>
              <a:solidFill>
                <a:srgbClr val="5D656D"/>
              </a:solidFill>
              <a:effectLst/>
              <a:uLnTx/>
              <a:uFillTx/>
              <a:latin typeface="Arial" pitchFamily="34" charset="0"/>
              <a:ea typeface="ＭＳ Ｐゴシック"/>
            </a:endParaRPr>
          </a:p>
          <a:p>
            <a:pPr marL="91440" marR="0" lvl="0" indent="-91440" algn="l" defTabSz="914400" rtl="0" eaLnBrk="1" fontAlgn="base" latinLnBrk="0" hangingPunct="1">
              <a:lnSpc>
                <a:spcPct val="90000"/>
              </a:lnSpc>
              <a:spcBef>
                <a:spcPts val="500"/>
              </a:spcBef>
              <a:spcAft>
                <a:spcPct val="0"/>
              </a:spcAft>
              <a:buClrTx/>
              <a:buSzTx/>
              <a:buFont typeface="Arial" panose="020B0604020202020204" pitchFamily="34" charset="0"/>
              <a:buChar char="•"/>
              <a:tabLst/>
              <a:defRPr/>
            </a:pPr>
            <a:r>
              <a:rPr kumimoji="0" lang="en-US" sz="800" b="0" i="0" u="none" strike="noStrike" kern="1200" cap="none" spc="-30" normalizeH="0" baseline="0" noProof="0">
                <a:ln>
                  <a:noFill/>
                </a:ln>
                <a:solidFill>
                  <a:srgbClr val="5D656D"/>
                </a:solidFill>
                <a:effectLst/>
                <a:uLnTx/>
                <a:uFillTx/>
                <a:latin typeface="Arial" pitchFamily="34" charset="0"/>
                <a:ea typeface="ＭＳ Ｐゴシック"/>
              </a:rPr>
              <a:t>Falling activity</a:t>
            </a:r>
          </a:p>
          <a:p>
            <a:pPr marL="91440" marR="0" lvl="0" indent="-91440" algn="l" defTabSz="914400" rtl="0" eaLnBrk="1" fontAlgn="base" latinLnBrk="0" hangingPunct="1">
              <a:lnSpc>
                <a:spcPct val="90000"/>
              </a:lnSpc>
              <a:spcBef>
                <a:spcPts val="400"/>
              </a:spcBef>
              <a:spcAft>
                <a:spcPct val="0"/>
              </a:spcAft>
              <a:buClrTx/>
              <a:buSzTx/>
              <a:buFont typeface="Arial" panose="020B0604020202020204" pitchFamily="34" charset="0"/>
              <a:buChar char="•"/>
              <a:tabLst/>
              <a:defRPr/>
            </a:pPr>
            <a:r>
              <a:rPr kumimoji="0" lang="en-US" sz="800" b="0" i="0" u="none" strike="noStrike" kern="1200" cap="none" spc="-30" normalizeH="0" baseline="0" noProof="0">
                <a:ln>
                  <a:noFill/>
                </a:ln>
                <a:solidFill>
                  <a:srgbClr val="5D656D"/>
                </a:solidFill>
                <a:effectLst/>
                <a:uLnTx/>
                <a:uFillTx/>
                <a:latin typeface="Arial" pitchFamily="34" charset="0"/>
                <a:ea typeface="ＭＳ Ｐゴシック"/>
              </a:rPr>
              <a:t>Credit dries up</a:t>
            </a:r>
          </a:p>
          <a:p>
            <a:pPr marL="91440" marR="0" lvl="0" indent="-91440" algn="l" defTabSz="914400" rtl="0" eaLnBrk="1" fontAlgn="base" latinLnBrk="0" hangingPunct="1">
              <a:lnSpc>
                <a:spcPct val="90000"/>
              </a:lnSpc>
              <a:spcBef>
                <a:spcPts val="400"/>
              </a:spcBef>
              <a:spcAft>
                <a:spcPct val="0"/>
              </a:spcAft>
              <a:buClrTx/>
              <a:buSzTx/>
              <a:buFont typeface="Arial" panose="020B0604020202020204" pitchFamily="34" charset="0"/>
              <a:buChar char="•"/>
              <a:tabLst/>
              <a:defRPr/>
            </a:pPr>
            <a:r>
              <a:rPr kumimoji="0" lang="en-US" sz="800" b="0" i="0" u="none" strike="noStrike" kern="1200" cap="none" spc="-30" normalizeH="0" baseline="0" noProof="0">
                <a:ln>
                  <a:noFill/>
                </a:ln>
                <a:solidFill>
                  <a:srgbClr val="5D656D"/>
                </a:solidFill>
                <a:effectLst/>
                <a:uLnTx/>
                <a:uFillTx/>
                <a:latin typeface="Arial" pitchFamily="34" charset="0"/>
                <a:ea typeface="ＭＳ Ｐゴシック"/>
              </a:rPr>
              <a:t>Profits decline</a:t>
            </a:r>
          </a:p>
          <a:p>
            <a:pPr marL="91440" marR="0" lvl="0" indent="-91440" algn="l" defTabSz="914400" rtl="0" eaLnBrk="1" fontAlgn="base" latinLnBrk="0" hangingPunct="1">
              <a:lnSpc>
                <a:spcPct val="90000"/>
              </a:lnSpc>
              <a:spcBef>
                <a:spcPts val="400"/>
              </a:spcBef>
              <a:spcAft>
                <a:spcPct val="0"/>
              </a:spcAft>
              <a:buClrTx/>
              <a:buSzTx/>
              <a:buFont typeface="Arial" panose="020B0604020202020204" pitchFamily="34" charset="0"/>
              <a:buChar char="•"/>
              <a:tabLst/>
              <a:defRPr/>
            </a:pPr>
            <a:r>
              <a:rPr kumimoji="0" lang="en-US" sz="800" b="0" i="0" u="none" strike="noStrike" kern="1200" cap="none" spc="-30" normalizeH="0" baseline="0" noProof="0">
                <a:ln>
                  <a:noFill/>
                </a:ln>
                <a:solidFill>
                  <a:srgbClr val="5D656D"/>
                </a:solidFill>
                <a:effectLst/>
                <a:uLnTx/>
                <a:uFillTx/>
                <a:latin typeface="Arial" pitchFamily="34" charset="0"/>
                <a:ea typeface="ＭＳ Ｐゴシック"/>
              </a:rPr>
              <a:t>Policy eases</a:t>
            </a:r>
          </a:p>
          <a:p>
            <a:pPr marL="91440" marR="0" lvl="0" indent="-91440" algn="l" defTabSz="914400" rtl="0" eaLnBrk="1" fontAlgn="base" latinLnBrk="0" hangingPunct="1">
              <a:lnSpc>
                <a:spcPct val="90000"/>
              </a:lnSpc>
              <a:spcBef>
                <a:spcPts val="400"/>
              </a:spcBef>
              <a:spcAft>
                <a:spcPct val="0"/>
              </a:spcAft>
              <a:buClrTx/>
              <a:buSzTx/>
              <a:buFont typeface="Arial" panose="020B0604020202020204" pitchFamily="34" charset="0"/>
              <a:buChar char="•"/>
              <a:tabLst/>
              <a:defRPr/>
            </a:pPr>
            <a:r>
              <a:rPr kumimoji="0" lang="en-US" sz="800" b="0" i="0" u="none" strike="noStrike" kern="1200" cap="none" spc="-30" normalizeH="0" baseline="0" noProof="0">
                <a:ln>
                  <a:noFill/>
                </a:ln>
                <a:solidFill>
                  <a:srgbClr val="5D656D"/>
                </a:solidFill>
                <a:effectLst/>
                <a:uLnTx/>
                <a:uFillTx/>
                <a:latin typeface="Arial" pitchFamily="34" charset="0"/>
                <a:ea typeface="ＭＳ Ｐゴシック"/>
              </a:rPr>
              <a:t>Inventories, </a:t>
            </a:r>
            <a:br>
              <a:rPr kumimoji="0" lang="en-US" sz="800" b="0" i="0" u="none" strike="noStrike" kern="1200" cap="none" spc="-30" normalizeH="0" baseline="0" noProof="0">
                <a:ln>
                  <a:noFill/>
                </a:ln>
                <a:solidFill>
                  <a:srgbClr val="5D656D"/>
                </a:solidFill>
                <a:effectLst/>
                <a:uLnTx/>
                <a:uFillTx/>
                <a:latin typeface="Arial" pitchFamily="34" charset="0"/>
                <a:ea typeface="ＭＳ Ｐゴシック"/>
              </a:rPr>
            </a:br>
            <a:r>
              <a:rPr kumimoji="0" lang="en-US" sz="800" b="0" i="0" u="none" strike="noStrike" kern="1200" cap="none" spc="-30" normalizeH="0" baseline="0" noProof="0">
                <a:ln>
                  <a:noFill/>
                </a:ln>
                <a:solidFill>
                  <a:srgbClr val="5D656D"/>
                </a:solidFill>
                <a:effectLst/>
                <a:uLnTx/>
                <a:uFillTx/>
                <a:latin typeface="Arial" pitchFamily="34" charset="0"/>
                <a:ea typeface="ＭＳ Ｐゴシック"/>
              </a:rPr>
              <a:t>sales fall</a:t>
            </a:r>
          </a:p>
        </p:txBody>
      </p:sp>
      <p:grpSp>
        <p:nvGrpSpPr>
          <p:cNvPr id="2" name="Group 1">
            <a:extLst>
              <a:ext uri="{FF2B5EF4-FFF2-40B4-BE49-F238E27FC236}">
                <a16:creationId xmlns:a16="http://schemas.microsoft.com/office/drawing/2014/main" id="{4E861FC5-EBD8-9D47-BC94-3C83BF6B66FF}"/>
              </a:ext>
            </a:extLst>
          </p:cNvPr>
          <p:cNvGrpSpPr/>
          <p:nvPr/>
        </p:nvGrpSpPr>
        <p:grpSpPr>
          <a:xfrm>
            <a:off x="2888570" y="2036269"/>
            <a:ext cx="4273836" cy="1652475"/>
            <a:chOff x="2888570" y="2097954"/>
            <a:chExt cx="4273836" cy="1427757"/>
          </a:xfrm>
        </p:grpSpPr>
        <p:cxnSp>
          <p:nvCxnSpPr>
            <p:cNvPr id="3" name="Straight Connector 2">
              <a:extLst>
                <a:ext uri="{FF2B5EF4-FFF2-40B4-BE49-F238E27FC236}">
                  <a16:creationId xmlns:a16="http://schemas.microsoft.com/office/drawing/2014/main" id="{B04E6EF2-0140-4814-BA0C-920742FF2192}"/>
                </a:ext>
              </a:extLst>
            </p:cNvPr>
            <p:cNvCxnSpPr/>
            <p:nvPr/>
          </p:nvCxnSpPr>
          <p:spPr bwMode="auto">
            <a:xfrm flipV="1">
              <a:off x="2888570" y="2097954"/>
              <a:ext cx="0" cy="1427757"/>
            </a:xfrm>
            <a:prstGeom prst="line">
              <a:avLst/>
            </a:prstGeom>
            <a:solidFill>
              <a:schemeClr val="hlink"/>
            </a:solidFill>
            <a:ln w="9525" cap="flat" cmpd="sng" algn="ctr">
              <a:solidFill>
                <a:srgbClr val="E8E9EC"/>
              </a:solidFill>
              <a:prstDash val="solid"/>
              <a:round/>
              <a:headEnd type="none" w="med" len="med"/>
              <a:tailEnd type="none" w="med" len="med"/>
            </a:ln>
            <a:effectLst/>
          </p:spPr>
        </p:cxnSp>
        <p:cxnSp>
          <p:nvCxnSpPr>
            <p:cNvPr id="23" name="Straight Connector 22">
              <a:extLst>
                <a:ext uri="{FF2B5EF4-FFF2-40B4-BE49-F238E27FC236}">
                  <a16:creationId xmlns:a16="http://schemas.microsoft.com/office/drawing/2014/main" id="{1003C359-B1A6-41FC-9B65-A9458FDE77BD}"/>
                </a:ext>
              </a:extLst>
            </p:cNvPr>
            <p:cNvCxnSpPr/>
            <p:nvPr/>
          </p:nvCxnSpPr>
          <p:spPr bwMode="auto">
            <a:xfrm flipV="1">
              <a:off x="5725733" y="2097954"/>
              <a:ext cx="0" cy="1427757"/>
            </a:xfrm>
            <a:prstGeom prst="line">
              <a:avLst/>
            </a:prstGeom>
            <a:solidFill>
              <a:schemeClr val="hlink"/>
            </a:solidFill>
            <a:ln w="9525" cap="flat" cmpd="sng" algn="ctr">
              <a:solidFill>
                <a:srgbClr val="E8E9EC"/>
              </a:solidFill>
              <a:prstDash val="solid"/>
              <a:round/>
              <a:headEnd type="none" w="med" len="med"/>
              <a:tailEnd type="none" w="med" len="med"/>
            </a:ln>
            <a:effectLst/>
          </p:spPr>
        </p:cxnSp>
        <p:cxnSp>
          <p:nvCxnSpPr>
            <p:cNvPr id="31" name="Straight Connector 30">
              <a:extLst>
                <a:ext uri="{FF2B5EF4-FFF2-40B4-BE49-F238E27FC236}">
                  <a16:creationId xmlns:a16="http://schemas.microsoft.com/office/drawing/2014/main" id="{9DA56FCA-1282-4387-8EE0-93A79A13F1A1}"/>
                </a:ext>
              </a:extLst>
            </p:cNvPr>
            <p:cNvCxnSpPr/>
            <p:nvPr/>
          </p:nvCxnSpPr>
          <p:spPr bwMode="auto">
            <a:xfrm flipV="1">
              <a:off x="7162406" y="2097954"/>
              <a:ext cx="0" cy="1427757"/>
            </a:xfrm>
            <a:prstGeom prst="line">
              <a:avLst/>
            </a:prstGeom>
            <a:solidFill>
              <a:schemeClr val="hlink"/>
            </a:solidFill>
            <a:ln w="9525" cap="flat" cmpd="sng" algn="ctr">
              <a:solidFill>
                <a:srgbClr val="E8E9EC"/>
              </a:solidFill>
              <a:prstDash val="solid"/>
              <a:round/>
              <a:headEnd type="none" w="med" len="med"/>
              <a:tailEnd type="none" w="med" len="med"/>
            </a:ln>
            <a:effectLst/>
          </p:spPr>
        </p:cxnSp>
      </p:grpSp>
      <p:pic>
        <p:nvPicPr>
          <p:cNvPr id="9" name="Picture 8">
            <a:extLst>
              <a:ext uri="{FF2B5EF4-FFF2-40B4-BE49-F238E27FC236}">
                <a16:creationId xmlns:a16="http://schemas.microsoft.com/office/drawing/2014/main" id="{E293503B-A314-4A48-AB61-68BE10FBDCF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41321" y="2845730"/>
            <a:ext cx="6163637" cy="2438125"/>
          </a:xfrm>
          <a:prstGeom prst="rect">
            <a:avLst/>
          </a:prstGeom>
        </p:spPr>
      </p:pic>
      <p:sp>
        <p:nvSpPr>
          <p:cNvPr id="19" name="Oval 18">
            <a:extLst>
              <a:ext uri="{FF2B5EF4-FFF2-40B4-BE49-F238E27FC236}">
                <a16:creationId xmlns:a16="http://schemas.microsoft.com/office/drawing/2014/main" id="{CFF021A5-36DA-4460-BC9F-62E2EE4A161F}"/>
              </a:ext>
            </a:extLst>
          </p:cNvPr>
          <p:cNvSpPr/>
          <p:nvPr/>
        </p:nvSpPr>
        <p:spPr>
          <a:xfrm>
            <a:off x="7596463" y="4527088"/>
            <a:ext cx="493776" cy="493776"/>
          </a:xfrm>
          <a:prstGeom prst="ellipse">
            <a:avLst/>
          </a:prstGeom>
          <a:solidFill>
            <a:srgbClr val="EE3224">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20" name="TextBox 19">
            <a:extLst>
              <a:ext uri="{FF2B5EF4-FFF2-40B4-BE49-F238E27FC236}">
                <a16:creationId xmlns:a16="http://schemas.microsoft.com/office/drawing/2014/main" id="{4DF0FB15-5BBC-4986-B95D-C1BEC296D263}"/>
              </a:ext>
            </a:extLst>
          </p:cNvPr>
          <p:cNvSpPr txBox="1"/>
          <p:nvPr/>
        </p:nvSpPr>
        <p:spPr>
          <a:xfrm>
            <a:off x="7482686" y="4235275"/>
            <a:ext cx="649117" cy="223138"/>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50" b="1" i="0" u="none" strike="noStrike" kern="1200" cap="none" spc="0" normalizeH="0" baseline="0" noProof="0">
                <a:ln>
                  <a:noFill/>
                </a:ln>
                <a:solidFill>
                  <a:srgbClr val="EE3224"/>
                </a:solidFill>
                <a:effectLst/>
                <a:uLnTx/>
                <a:uFillTx/>
                <a:latin typeface="Arial" pitchFamily="34" charset="0"/>
                <a:ea typeface="ＭＳ Ｐゴシック"/>
              </a:rPr>
              <a:t>China</a:t>
            </a:r>
          </a:p>
        </p:txBody>
      </p:sp>
      <p:sp>
        <p:nvSpPr>
          <p:cNvPr id="24" name="TextBox 23">
            <a:extLst>
              <a:ext uri="{FF2B5EF4-FFF2-40B4-BE49-F238E27FC236}">
                <a16:creationId xmlns:a16="http://schemas.microsoft.com/office/drawing/2014/main" id="{D9CAB51F-D89B-45CA-A618-04F90E4B336B}"/>
              </a:ext>
            </a:extLst>
          </p:cNvPr>
          <p:cNvSpPr txBox="1"/>
          <p:nvPr/>
        </p:nvSpPr>
        <p:spPr>
          <a:xfrm>
            <a:off x="702944" y="4300257"/>
            <a:ext cx="1221106" cy="502702"/>
          </a:xfrm>
          <a:prstGeom prst="rect">
            <a:avLst/>
          </a:prstGeom>
          <a:noFill/>
        </p:spPr>
        <p:txBody>
          <a:bodyPr wrap="square" rtlCol="0">
            <a:spAutoFit/>
          </a:bodyPr>
          <a:lstStyle/>
          <a:p>
            <a:pPr marL="0" marR="0" lvl="0" indent="0" algn="r" defTabSz="914400" rtl="0" eaLnBrk="1" fontAlgn="base" latinLnBrk="0" hangingPunct="1">
              <a:lnSpc>
                <a:spcPct val="100000"/>
              </a:lnSpc>
              <a:spcBef>
                <a:spcPts val="100"/>
              </a:spcBef>
              <a:spcAft>
                <a:spcPct val="0"/>
              </a:spcAft>
              <a:buClrTx/>
              <a:buSzTx/>
              <a:buFontTx/>
              <a:buNone/>
              <a:tabLst/>
              <a:defRPr/>
            </a:pPr>
            <a:r>
              <a:rPr kumimoji="0" lang="en-US" sz="900" b="0" i="0" u="none" strike="noStrike" kern="1200" cap="none" spc="0" normalizeH="0" baseline="0" noProof="0">
                <a:ln>
                  <a:noFill/>
                </a:ln>
                <a:solidFill>
                  <a:srgbClr val="5D656D"/>
                </a:solidFill>
                <a:effectLst/>
                <a:uLnTx/>
                <a:uFillTx/>
                <a:latin typeface="Arial" pitchFamily="34" charset="0"/>
                <a:ea typeface="ＭＳ Ｐゴシック"/>
              </a:rPr>
              <a:t>+</a:t>
            </a:r>
          </a:p>
          <a:p>
            <a:pPr marL="0" marR="0" lvl="0" indent="0" algn="r" defTabSz="914400" rtl="0" eaLnBrk="1" fontAlgn="base" latinLnBrk="0" hangingPunct="1">
              <a:lnSpc>
                <a:spcPct val="100000"/>
              </a:lnSpc>
              <a:spcBef>
                <a:spcPts val="100"/>
              </a:spcBef>
              <a:spcAft>
                <a:spcPct val="0"/>
              </a:spcAft>
              <a:buClrTx/>
              <a:buSzTx/>
              <a:buFontTx/>
              <a:buNone/>
              <a:tabLst/>
              <a:defRPr/>
            </a:pPr>
            <a:r>
              <a:rPr kumimoji="0" lang="en-US" sz="800" b="0" i="0" u="none" strike="noStrike" kern="1200" cap="none" spc="0" normalizeH="0" baseline="0" noProof="0">
                <a:ln>
                  <a:noFill/>
                </a:ln>
                <a:solidFill>
                  <a:srgbClr val="5D656D"/>
                </a:solidFill>
                <a:effectLst/>
                <a:uLnTx/>
                <a:uFillTx/>
                <a:latin typeface="Arial" pitchFamily="34" charset="0"/>
                <a:ea typeface="ＭＳ Ｐゴシック"/>
              </a:rPr>
              <a:t>Economic Growth</a:t>
            </a:r>
          </a:p>
          <a:p>
            <a:pPr marL="0" marR="0" lvl="0" indent="0" algn="r" defTabSz="914400" rtl="0" eaLnBrk="1" fontAlgn="base" latinLnBrk="0" hangingPunct="1">
              <a:lnSpc>
                <a:spcPct val="100000"/>
              </a:lnSpc>
              <a:spcBef>
                <a:spcPts val="100"/>
              </a:spcBef>
              <a:spcAft>
                <a:spcPct val="0"/>
              </a:spcAft>
              <a:buClrTx/>
              <a:buSzTx/>
              <a:buFontTx/>
              <a:buNone/>
              <a:tabLst/>
              <a:defRPr/>
            </a:pPr>
            <a:r>
              <a:rPr kumimoji="0" lang="en-US" sz="800" b="0" i="0" u="none" strike="noStrike" kern="1200" cap="none" spc="0" normalizeH="0" baseline="0" noProof="0">
                <a:ln>
                  <a:noFill/>
                </a:ln>
                <a:solidFill>
                  <a:srgbClr val="5D656D"/>
                </a:solidFill>
                <a:effectLst/>
                <a:uLnTx/>
                <a:uFillTx/>
                <a:latin typeface="Arial" pitchFamily="34" charset="0"/>
                <a:ea typeface="ＭＳ Ｐゴシック"/>
              </a:rPr>
              <a:t>–</a:t>
            </a:r>
            <a:endParaRPr kumimoji="0" lang="en-US" sz="700" b="0" i="0" u="none" strike="noStrike" kern="1200" cap="none" spc="0" normalizeH="0" baseline="0" noProof="0">
              <a:ln>
                <a:noFill/>
              </a:ln>
              <a:solidFill>
                <a:srgbClr val="5D656D"/>
              </a:solidFill>
              <a:effectLst/>
              <a:uLnTx/>
              <a:uFillTx/>
              <a:latin typeface="Arial" pitchFamily="34" charset="0"/>
              <a:ea typeface="ＭＳ Ｐゴシック"/>
            </a:endParaRPr>
          </a:p>
        </p:txBody>
      </p:sp>
      <p:sp>
        <p:nvSpPr>
          <p:cNvPr id="25" name="TextBox 24">
            <a:extLst>
              <a:ext uri="{FF2B5EF4-FFF2-40B4-BE49-F238E27FC236}">
                <a16:creationId xmlns:a16="http://schemas.microsoft.com/office/drawing/2014/main" id="{922E416E-0A51-46B9-887A-587379EF24A9}"/>
              </a:ext>
            </a:extLst>
          </p:cNvPr>
          <p:cNvSpPr txBox="1"/>
          <p:nvPr/>
        </p:nvSpPr>
        <p:spPr>
          <a:xfrm>
            <a:off x="323850" y="4877861"/>
            <a:ext cx="1600200" cy="623248"/>
          </a:xfrm>
          <a:prstGeom prst="rect">
            <a:avLst/>
          </a:prstGeom>
          <a:noFill/>
        </p:spPr>
        <p:txBody>
          <a:bodyPr wrap="square" rtlCol="0">
            <a:spAutoFit/>
          </a:bodyPr>
          <a:lstStyle/>
          <a:p>
            <a:pPr marL="0" marR="0" lvl="0" indent="0" algn="r" defTabSz="914400" rtl="0" eaLnBrk="1" fontAlgn="base" latinLnBrk="0" hangingPunct="1">
              <a:lnSpc>
                <a:spcPct val="100000"/>
              </a:lnSpc>
              <a:spcBef>
                <a:spcPts val="100"/>
              </a:spcBef>
              <a:spcAft>
                <a:spcPct val="0"/>
              </a:spcAft>
              <a:buClrTx/>
              <a:buSzTx/>
              <a:buFontTx/>
              <a:buNone/>
              <a:tabLst/>
              <a:defRPr/>
            </a:pPr>
            <a:r>
              <a:rPr kumimoji="0" lang="en-US" sz="800" b="0" i="0" u="none" strike="noStrike" kern="1200" cap="none" spc="0" normalizeH="0" baseline="0" noProof="0">
                <a:ln>
                  <a:noFill/>
                </a:ln>
                <a:solidFill>
                  <a:srgbClr val="5D656D"/>
                </a:solidFill>
                <a:effectLst/>
                <a:uLnTx/>
                <a:uFillTx/>
                <a:latin typeface="Arial" pitchFamily="34" charset="0"/>
                <a:ea typeface="ＭＳ Ｐゴシック"/>
              </a:rPr>
              <a:t>Relative Performance of</a:t>
            </a:r>
          </a:p>
          <a:p>
            <a:pPr marL="0" marR="0" lvl="0" indent="0" algn="r" defTabSz="914400" rtl="0" eaLnBrk="1" fontAlgn="base" latinLnBrk="0" hangingPunct="1">
              <a:lnSpc>
                <a:spcPct val="100000"/>
              </a:lnSpc>
              <a:spcBef>
                <a:spcPts val="100"/>
              </a:spcBef>
              <a:spcAft>
                <a:spcPct val="0"/>
              </a:spcAft>
              <a:buClrTx/>
              <a:buSzTx/>
              <a:buFontTx/>
              <a:buNone/>
              <a:tabLst/>
              <a:defRPr/>
            </a:pPr>
            <a:r>
              <a:rPr kumimoji="0" lang="en-US" sz="800" b="0" i="0" u="none" strike="noStrike" kern="1200" cap="none" spc="0" normalizeH="0" baseline="0" noProof="0">
                <a:ln>
                  <a:noFill/>
                </a:ln>
                <a:solidFill>
                  <a:srgbClr val="5D656D"/>
                </a:solidFill>
                <a:effectLst/>
                <a:uLnTx/>
                <a:uFillTx/>
                <a:latin typeface="Arial" pitchFamily="34" charset="0"/>
                <a:ea typeface="ＭＳ Ｐゴシック"/>
              </a:rPr>
              <a:t>Economically Sensitive Assets</a:t>
            </a:r>
          </a:p>
          <a:p>
            <a:pPr marL="0" marR="0" lvl="0" indent="0" algn="r" defTabSz="914400" rtl="0" eaLnBrk="1" fontAlgn="base" latinLnBrk="0" hangingPunct="1">
              <a:lnSpc>
                <a:spcPct val="100000"/>
              </a:lnSpc>
              <a:spcBef>
                <a:spcPts val="100"/>
              </a:spcBef>
              <a:spcAft>
                <a:spcPct val="0"/>
              </a:spcAft>
              <a:buClrTx/>
              <a:buSzTx/>
              <a:buFontTx/>
              <a:buNone/>
              <a:tabLst/>
              <a:defRPr/>
            </a:pPr>
            <a:r>
              <a:rPr kumimoji="0" lang="en-US" sz="800" b="0" i="0" u="none" strike="noStrike" kern="1200" cap="none" spc="0" normalizeH="0" baseline="0" noProof="0">
                <a:ln>
                  <a:noFill/>
                </a:ln>
                <a:solidFill>
                  <a:srgbClr val="5D656D"/>
                </a:solidFill>
                <a:effectLst/>
                <a:uLnTx/>
                <a:uFillTx/>
                <a:latin typeface="Arial" pitchFamily="34" charset="0"/>
                <a:ea typeface="ＭＳ Ｐゴシック"/>
              </a:rPr>
              <a:t>Green = Strong</a:t>
            </a:r>
          </a:p>
          <a:p>
            <a:pPr marL="0" marR="0" lvl="0" indent="0" algn="r" defTabSz="914400" rtl="0" eaLnBrk="1" fontAlgn="base" latinLnBrk="0" hangingPunct="1">
              <a:lnSpc>
                <a:spcPct val="100000"/>
              </a:lnSpc>
              <a:spcBef>
                <a:spcPts val="100"/>
              </a:spcBef>
              <a:spcAft>
                <a:spcPct val="0"/>
              </a:spcAft>
              <a:buClrTx/>
              <a:buSzTx/>
              <a:buFontTx/>
              <a:buNone/>
              <a:tabLst/>
              <a:defRPr/>
            </a:pPr>
            <a:endParaRPr kumimoji="0" lang="en-US" sz="800" b="0" i="0" u="none" strike="noStrike" kern="1200" cap="none" spc="0" normalizeH="0" baseline="0" noProof="0">
              <a:ln>
                <a:noFill/>
              </a:ln>
              <a:solidFill>
                <a:srgbClr val="5D656D"/>
              </a:solidFill>
              <a:effectLst/>
              <a:uLnTx/>
              <a:uFillTx/>
              <a:latin typeface="Arial" pitchFamily="34" charset="0"/>
              <a:ea typeface="ＭＳ Ｐゴシック"/>
            </a:endParaRPr>
          </a:p>
        </p:txBody>
      </p:sp>
      <p:sp>
        <p:nvSpPr>
          <p:cNvPr id="33" name="Oval 32">
            <a:extLst>
              <a:ext uri="{FF2B5EF4-FFF2-40B4-BE49-F238E27FC236}">
                <a16:creationId xmlns:a16="http://schemas.microsoft.com/office/drawing/2014/main" id="{BB87A29B-22CD-4CC3-8CFB-17D6BCD56CF6}"/>
              </a:ext>
            </a:extLst>
          </p:cNvPr>
          <p:cNvSpPr/>
          <p:nvPr/>
        </p:nvSpPr>
        <p:spPr>
          <a:xfrm>
            <a:off x="4933804" y="3237605"/>
            <a:ext cx="496087" cy="496087"/>
          </a:xfrm>
          <a:prstGeom prst="ellipse">
            <a:avLst/>
          </a:prstGeom>
          <a:solidFill>
            <a:srgbClr val="004F6B">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7A9A3D"/>
              </a:solidFill>
              <a:effectLst/>
              <a:uLnTx/>
              <a:uFillTx/>
              <a:latin typeface="Arial"/>
              <a:ea typeface="+mn-ea"/>
              <a:cs typeface="+mn-cs"/>
            </a:endParaRPr>
          </a:p>
        </p:txBody>
      </p:sp>
      <p:sp>
        <p:nvSpPr>
          <p:cNvPr id="34" name="TextBox 33">
            <a:extLst>
              <a:ext uri="{FF2B5EF4-FFF2-40B4-BE49-F238E27FC236}">
                <a16:creationId xmlns:a16="http://schemas.microsoft.com/office/drawing/2014/main" id="{49A0512C-0AB7-4E38-AA4E-F0B04478B8E8}"/>
              </a:ext>
            </a:extLst>
          </p:cNvPr>
          <p:cNvSpPr txBox="1"/>
          <p:nvPr/>
        </p:nvSpPr>
        <p:spPr>
          <a:xfrm>
            <a:off x="5394883" y="3123126"/>
            <a:ext cx="1343644" cy="22313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50" b="1" i="0" u="none" strike="noStrike" kern="1200" cap="none" spc="0" normalizeH="0" baseline="0" noProof="0">
                <a:ln>
                  <a:noFill/>
                </a:ln>
                <a:solidFill>
                  <a:srgbClr val="768692"/>
                </a:solidFill>
                <a:effectLst/>
                <a:uLnTx/>
                <a:uFillTx/>
                <a:latin typeface="Arial" pitchFamily="34" charset="0"/>
                <a:ea typeface="ＭＳ Ｐゴシック"/>
              </a:rPr>
              <a:t>Brazil, Mexico</a:t>
            </a:r>
          </a:p>
        </p:txBody>
      </p:sp>
      <p:sp>
        <p:nvSpPr>
          <p:cNvPr id="35" name="TextBox 34">
            <a:extLst>
              <a:ext uri="{FF2B5EF4-FFF2-40B4-BE49-F238E27FC236}">
                <a16:creationId xmlns:a16="http://schemas.microsoft.com/office/drawing/2014/main" id="{2FDC8BB8-E111-4F1E-A9C9-0EB1C98258B1}"/>
              </a:ext>
            </a:extLst>
          </p:cNvPr>
          <p:cNvSpPr txBox="1"/>
          <p:nvPr/>
        </p:nvSpPr>
        <p:spPr>
          <a:xfrm>
            <a:off x="4661624" y="2883662"/>
            <a:ext cx="1343639" cy="353943"/>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50" b="1" i="0" u="none" strike="noStrike" kern="1200" cap="none" spc="0" normalizeH="0" baseline="0" noProof="0">
                <a:ln>
                  <a:noFill/>
                </a:ln>
                <a:solidFill>
                  <a:srgbClr val="004F6B"/>
                </a:solidFill>
                <a:effectLst/>
                <a:uLnTx/>
                <a:uFillTx/>
                <a:latin typeface="Arial" pitchFamily="34" charset="0"/>
                <a:ea typeface="ＭＳ Ｐゴシック"/>
              </a:rPr>
              <a:t>Australia, Japan, Korea, India</a:t>
            </a:r>
          </a:p>
        </p:txBody>
      </p:sp>
      <p:sp>
        <p:nvSpPr>
          <p:cNvPr id="37" name="Slide Number Placeholder 4">
            <a:extLst>
              <a:ext uri="{FF2B5EF4-FFF2-40B4-BE49-F238E27FC236}">
                <a16:creationId xmlns:a16="http://schemas.microsoft.com/office/drawing/2014/main" id="{27410768-45E1-4701-83EF-04C7F8BD933E}"/>
              </a:ext>
            </a:extLst>
          </p:cNvPr>
          <p:cNvSpPr txBox="1">
            <a:spLocks/>
          </p:cNvSpPr>
          <p:nvPr/>
        </p:nvSpPr>
        <p:spPr>
          <a:xfrm>
            <a:off x="-29119" y="6408909"/>
            <a:ext cx="382906" cy="365125"/>
          </a:xfrm>
          <a:prstGeom prst="rect">
            <a:avLst/>
          </a:prstGeom>
          <a:noFill/>
          <a:ln w="9525">
            <a:noFill/>
            <a:miter lim="800000"/>
            <a:headEnd/>
            <a:tailEnd/>
          </a:ln>
          <a:effectLst/>
        </p:spPr>
        <p:txBody>
          <a:bodyPr vert="horz" wrap="square" lIns="91440" tIns="45720" rIns="91440" bIns="45720" numCol="1" rtlCol="0" anchor="ctr" anchorCtr="0" compatLnSpc="1">
            <a:prstTxWarp prst="textNoShape">
              <a:avLst/>
            </a:prstTxWarp>
          </a:bodyPr>
          <a:lstStyle>
            <a:defPPr>
              <a:defRPr lang="en-US"/>
            </a:defPPr>
            <a:lvl1pPr algn="r" eaLnBrk="0" hangingPunct="0">
              <a:defRPr sz="800" b="1">
                <a:solidFill>
                  <a:srgbClr val="000000"/>
                </a:solidFill>
                <a:latin typeface="Arial" charset="0"/>
                <a:ea typeface="ＭＳ Ｐゴシック" charset="-128"/>
                <a:cs typeface="+mn-cs"/>
              </a:defRPr>
            </a:lvl1pPr>
            <a:lvl2pPr marL="457200" algn="l" rtl="0" fontAlgn="base">
              <a:spcBef>
                <a:spcPct val="0"/>
              </a:spcBef>
              <a:spcAft>
                <a:spcPct val="0"/>
              </a:spcAft>
              <a:defRPr sz="1200" kern="1200">
                <a:solidFill>
                  <a:schemeClr val="tx1"/>
                </a:solidFill>
                <a:latin typeface="Arial" pitchFamily="34" charset="0"/>
                <a:ea typeface="ＭＳ Ｐゴシック"/>
                <a:cs typeface="ＭＳ Ｐゴシック"/>
              </a:defRPr>
            </a:lvl2pPr>
            <a:lvl3pPr marL="914400" algn="l" rtl="0" fontAlgn="base">
              <a:spcBef>
                <a:spcPct val="0"/>
              </a:spcBef>
              <a:spcAft>
                <a:spcPct val="0"/>
              </a:spcAft>
              <a:defRPr sz="1200" kern="1200">
                <a:solidFill>
                  <a:schemeClr val="tx1"/>
                </a:solidFill>
                <a:latin typeface="Arial" pitchFamily="34" charset="0"/>
                <a:ea typeface="ＭＳ Ｐゴシック"/>
                <a:cs typeface="ＭＳ Ｐゴシック"/>
              </a:defRPr>
            </a:lvl3pPr>
            <a:lvl4pPr marL="1371600" algn="l" rtl="0" fontAlgn="base">
              <a:spcBef>
                <a:spcPct val="0"/>
              </a:spcBef>
              <a:spcAft>
                <a:spcPct val="0"/>
              </a:spcAft>
              <a:defRPr sz="1200" kern="1200">
                <a:solidFill>
                  <a:schemeClr val="tx1"/>
                </a:solidFill>
                <a:latin typeface="Arial" pitchFamily="34" charset="0"/>
                <a:ea typeface="ＭＳ Ｐゴシック"/>
                <a:cs typeface="ＭＳ Ｐゴシック"/>
              </a:defRPr>
            </a:lvl4pPr>
            <a:lvl5pPr marL="1828800" algn="l" rtl="0" fontAlgn="base">
              <a:spcBef>
                <a:spcPct val="0"/>
              </a:spcBef>
              <a:spcAft>
                <a:spcPct val="0"/>
              </a:spcAft>
              <a:defRPr sz="1200" kern="1200">
                <a:solidFill>
                  <a:schemeClr val="tx1"/>
                </a:solidFill>
                <a:latin typeface="Arial" pitchFamily="34" charset="0"/>
                <a:ea typeface="ＭＳ Ｐゴシック"/>
                <a:cs typeface="ＭＳ Ｐゴシック"/>
              </a:defRPr>
            </a:lvl5pPr>
            <a:lvl6pPr marL="2286000" algn="l" defTabSz="914400" rtl="0" eaLnBrk="1" latinLnBrk="0" hangingPunct="1">
              <a:defRPr sz="1200" kern="1200">
                <a:solidFill>
                  <a:schemeClr val="tx1"/>
                </a:solidFill>
                <a:latin typeface="Arial" pitchFamily="34" charset="0"/>
                <a:ea typeface="ＭＳ Ｐゴシック"/>
                <a:cs typeface="ＭＳ Ｐゴシック"/>
              </a:defRPr>
            </a:lvl6pPr>
            <a:lvl7pPr marL="2743200" algn="l" defTabSz="914400" rtl="0" eaLnBrk="1" latinLnBrk="0" hangingPunct="1">
              <a:defRPr sz="1200" kern="1200">
                <a:solidFill>
                  <a:schemeClr val="tx1"/>
                </a:solidFill>
                <a:latin typeface="Arial" pitchFamily="34" charset="0"/>
                <a:ea typeface="ＭＳ Ｐゴシック"/>
                <a:cs typeface="ＭＳ Ｐゴシック"/>
              </a:defRPr>
            </a:lvl7pPr>
            <a:lvl8pPr marL="3200400" algn="l" defTabSz="914400" rtl="0" eaLnBrk="1" latinLnBrk="0" hangingPunct="1">
              <a:defRPr sz="1200" kern="1200">
                <a:solidFill>
                  <a:schemeClr val="tx1"/>
                </a:solidFill>
                <a:latin typeface="Arial" pitchFamily="34" charset="0"/>
                <a:ea typeface="ＭＳ Ｐゴシック"/>
                <a:cs typeface="ＭＳ Ｐゴシック"/>
              </a:defRPr>
            </a:lvl8pPr>
            <a:lvl9pPr marL="3657600" algn="l" defTabSz="914400" rtl="0" eaLnBrk="1" latinLnBrk="0" hangingPunct="1">
              <a:defRPr sz="1200" kern="1200">
                <a:solidFill>
                  <a:schemeClr val="tx1"/>
                </a:solidFill>
                <a:latin typeface="Arial" pitchFamily="34" charset="0"/>
                <a:ea typeface="ＭＳ Ｐゴシック"/>
                <a:cs typeface="ＭＳ Ｐゴシック"/>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55772473-24D5-4368-927A-9F91835352F1}" type="slidenum">
              <a:rPr kumimoji="0" lang="en-US" sz="800" b="1" i="0" u="none" strike="noStrike" kern="1200" cap="none" spc="0" normalizeH="0" baseline="0" noProof="0">
                <a:ln>
                  <a:noFill/>
                </a:ln>
                <a:solidFill>
                  <a:srgbClr val="000000"/>
                </a:solidFill>
                <a:effectLst/>
                <a:uLnTx/>
                <a:uFillTx/>
                <a:latin typeface="Arial"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4</a:t>
            </a:fld>
            <a:endParaRPr kumimoji="0" lang="en-US" sz="800" b="1" i="0" u="none" strike="noStrike" kern="1200" cap="none" spc="0" normalizeH="0" baseline="0" noProof="0">
              <a:ln>
                <a:noFill/>
              </a:ln>
              <a:solidFill>
                <a:srgbClr val="000000"/>
              </a:solidFill>
              <a:effectLst/>
              <a:uLnTx/>
              <a:uFillTx/>
              <a:latin typeface="Arial" charset="0"/>
              <a:ea typeface="ＭＳ Ｐゴシック" charset="-128"/>
              <a:cs typeface="+mn-cs"/>
            </a:endParaRPr>
          </a:p>
        </p:txBody>
      </p:sp>
      <p:sp>
        <p:nvSpPr>
          <p:cNvPr id="40" name="Oval 39">
            <a:extLst>
              <a:ext uri="{FF2B5EF4-FFF2-40B4-BE49-F238E27FC236}">
                <a16:creationId xmlns:a16="http://schemas.microsoft.com/office/drawing/2014/main" id="{DE915DE3-6450-4D4A-B7DC-0D46EB66AFB8}"/>
              </a:ext>
            </a:extLst>
          </p:cNvPr>
          <p:cNvSpPr/>
          <p:nvPr/>
        </p:nvSpPr>
        <p:spPr>
          <a:xfrm>
            <a:off x="5281828" y="3377884"/>
            <a:ext cx="496087" cy="496087"/>
          </a:xfrm>
          <a:prstGeom prst="ellipse">
            <a:avLst/>
          </a:prstGeom>
          <a:solidFill>
            <a:srgbClr val="76869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30" name="Oval 29">
            <a:extLst>
              <a:ext uri="{FF2B5EF4-FFF2-40B4-BE49-F238E27FC236}">
                <a16:creationId xmlns:a16="http://schemas.microsoft.com/office/drawing/2014/main" id="{D5477205-DF8E-4255-A8A9-E000E9A27329}"/>
              </a:ext>
            </a:extLst>
          </p:cNvPr>
          <p:cNvSpPr/>
          <p:nvPr/>
        </p:nvSpPr>
        <p:spPr>
          <a:xfrm>
            <a:off x="6229070" y="3873479"/>
            <a:ext cx="496087" cy="496087"/>
          </a:xfrm>
          <a:prstGeom prst="ellipse">
            <a:avLst/>
          </a:prstGeom>
          <a:solidFill>
            <a:srgbClr val="7A9A3D">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38" name="TextBox 37">
            <a:extLst>
              <a:ext uri="{FF2B5EF4-FFF2-40B4-BE49-F238E27FC236}">
                <a16:creationId xmlns:a16="http://schemas.microsoft.com/office/drawing/2014/main" id="{B92B1861-38DA-4135-B7E8-C8670D2A5C04}"/>
              </a:ext>
            </a:extLst>
          </p:cNvPr>
          <p:cNvSpPr txBox="1"/>
          <p:nvPr/>
        </p:nvSpPr>
        <p:spPr>
          <a:xfrm>
            <a:off x="6111518" y="3632719"/>
            <a:ext cx="939915" cy="223138"/>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50" b="1" i="0" u="none" strike="noStrike" kern="1200" cap="none" spc="0" normalizeH="0" baseline="0" noProof="0" dirty="0">
                <a:ln>
                  <a:noFill/>
                </a:ln>
                <a:solidFill>
                  <a:srgbClr val="7A9A3D"/>
                </a:solidFill>
                <a:effectLst/>
                <a:uLnTx/>
                <a:uFillTx/>
                <a:latin typeface="Arial" pitchFamily="34" charset="0"/>
                <a:ea typeface="ＭＳ Ｐゴシック"/>
              </a:rPr>
              <a:t>U.S., Canada</a:t>
            </a:r>
          </a:p>
        </p:txBody>
      </p:sp>
      <p:sp>
        <p:nvSpPr>
          <p:cNvPr id="42" name="TextBox 41">
            <a:extLst>
              <a:ext uri="{FF2B5EF4-FFF2-40B4-BE49-F238E27FC236}">
                <a16:creationId xmlns:a16="http://schemas.microsoft.com/office/drawing/2014/main" id="{D0DAF0A5-50EF-4E69-B58E-9103CF282C87}"/>
              </a:ext>
            </a:extLst>
          </p:cNvPr>
          <p:cNvSpPr txBox="1"/>
          <p:nvPr/>
        </p:nvSpPr>
        <p:spPr>
          <a:xfrm>
            <a:off x="6825765" y="3965900"/>
            <a:ext cx="939915" cy="223138"/>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50" b="1" i="0" u="none" strike="noStrike" kern="1200" cap="none" spc="0" normalizeH="0" baseline="0" noProof="0">
                <a:ln>
                  <a:noFill/>
                </a:ln>
                <a:solidFill>
                  <a:srgbClr val="F8991D"/>
                </a:solidFill>
                <a:effectLst/>
                <a:uLnTx/>
                <a:uFillTx/>
                <a:latin typeface="Arial" pitchFamily="34" charset="0"/>
                <a:ea typeface="ＭＳ Ｐゴシック"/>
              </a:rPr>
              <a:t>UK, Eurozone</a:t>
            </a:r>
          </a:p>
        </p:txBody>
      </p:sp>
      <p:sp>
        <p:nvSpPr>
          <p:cNvPr id="43" name="Oval 42">
            <a:extLst>
              <a:ext uri="{FF2B5EF4-FFF2-40B4-BE49-F238E27FC236}">
                <a16:creationId xmlns:a16="http://schemas.microsoft.com/office/drawing/2014/main" id="{377D5788-DA44-465F-AF4F-9FE1A92E5C48}"/>
              </a:ext>
            </a:extLst>
          </p:cNvPr>
          <p:cNvSpPr/>
          <p:nvPr/>
        </p:nvSpPr>
        <p:spPr>
          <a:xfrm>
            <a:off x="6792894" y="4194792"/>
            <a:ext cx="496087" cy="496087"/>
          </a:xfrm>
          <a:prstGeom prst="ellipse">
            <a:avLst/>
          </a:prstGeom>
          <a:solidFill>
            <a:srgbClr val="F8991D">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rial"/>
              <a:ea typeface="+mn-ea"/>
              <a:cs typeface="+mn-cs"/>
            </a:endParaRPr>
          </a:p>
        </p:txBody>
      </p:sp>
      <p:sp>
        <p:nvSpPr>
          <p:cNvPr id="32" name="Title 2">
            <a:extLst>
              <a:ext uri="{FF2B5EF4-FFF2-40B4-BE49-F238E27FC236}">
                <a16:creationId xmlns:a16="http://schemas.microsoft.com/office/drawing/2014/main" id="{60F6DBCA-3CE6-452E-B6F3-117B6229CD8F}"/>
              </a:ext>
            </a:extLst>
          </p:cNvPr>
          <p:cNvSpPr>
            <a:spLocks noGrp="1"/>
          </p:cNvSpPr>
          <p:nvPr>
            <p:ph type="title"/>
          </p:nvPr>
        </p:nvSpPr>
        <p:spPr/>
        <p:txBody>
          <a:bodyPr>
            <a:noAutofit/>
          </a:bodyPr>
          <a:lstStyle/>
          <a:p>
            <a:r>
              <a:rPr lang="en-US" dirty="0"/>
              <a:t>Global Business Cycle Continues to Mature</a:t>
            </a:r>
            <a:br>
              <a:rPr lang="en-US" dirty="0"/>
            </a:br>
            <a:endParaRPr lang="en-US" b="1" dirty="0">
              <a:solidFill>
                <a:srgbClr val="768692"/>
              </a:solidFill>
            </a:endParaRPr>
          </a:p>
        </p:txBody>
      </p:sp>
      <p:sp>
        <p:nvSpPr>
          <p:cNvPr id="36" name="Footer Placeholder 1">
            <a:extLst>
              <a:ext uri="{FF2B5EF4-FFF2-40B4-BE49-F238E27FC236}">
                <a16:creationId xmlns:a16="http://schemas.microsoft.com/office/drawing/2014/main" id="{B50FB28B-752F-4288-B9AB-C317480752EB}"/>
              </a:ext>
            </a:extLst>
          </p:cNvPr>
          <p:cNvSpPr>
            <a:spLocks noGrp="1"/>
          </p:cNvSpPr>
          <p:nvPr>
            <p:ph type="ftr" sz="quarter" idx="17"/>
          </p:nvPr>
        </p:nvSpPr>
        <p:spPr>
          <a:xfrm>
            <a:off x="320040" y="6463332"/>
            <a:ext cx="3931920" cy="173736"/>
          </a:xfrm>
          <a:prstGeom prst="rect">
            <a:avLst/>
          </a:prstGeom>
        </p:spPr>
        <p:txBody>
          <a:bodyPr lIns="91440" tIns="0" rIns="91440" bIns="0" anchor="b" anchorCtr="0"/>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charset="0"/>
                <a:ea typeface="ＭＳ Ｐゴシック" charset="-128"/>
                <a:cs typeface="+mn-cs"/>
              </a:rPr>
              <a:t>For institutional use only.</a:t>
            </a:r>
          </a:p>
        </p:txBody>
      </p:sp>
    </p:spTree>
    <p:extLst>
      <p:ext uri="{BB962C8B-B14F-4D97-AF65-F5344CB8AC3E}">
        <p14:creationId xmlns:p14="http://schemas.microsoft.com/office/powerpoint/2010/main" val="306415312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hart 16">
            <a:extLst>
              <a:ext uri="{FF2B5EF4-FFF2-40B4-BE49-F238E27FC236}">
                <a16:creationId xmlns:a16="http://schemas.microsoft.com/office/drawing/2014/main" id="{B51FA735-9EEA-4B03-A902-2D5360332343}"/>
              </a:ext>
            </a:extLst>
          </p:cNvPr>
          <p:cNvGraphicFramePr>
            <a:graphicFrameLocks/>
          </p:cNvGraphicFramePr>
          <p:nvPr>
            <p:extLst>
              <p:ext uri="{D42A27DB-BD31-4B8C-83A1-F6EECF244321}">
                <p14:modId xmlns:p14="http://schemas.microsoft.com/office/powerpoint/2010/main" val="153481474"/>
              </p:ext>
            </p:extLst>
          </p:nvPr>
        </p:nvGraphicFramePr>
        <p:xfrm>
          <a:off x="131248" y="1136680"/>
          <a:ext cx="8780453" cy="4786284"/>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 Placeholder 2">
            <a:extLst>
              <a:ext uri="{FF2B5EF4-FFF2-40B4-BE49-F238E27FC236}">
                <a16:creationId xmlns:a16="http://schemas.microsoft.com/office/drawing/2014/main" id="{BC71D6E9-302B-482B-94BE-91DB4F06A9B6}"/>
              </a:ext>
            </a:extLst>
          </p:cNvPr>
          <p:cNvSpPr txBox="1">
            <a:spLocks/>
          </p:cNvSpPr>
          <p:nvPr/>
        </p:nvSpPr>
        <p:spPr>
          <a:xfrm>
            <a:off x="251153" y="1547099"/>
            <a:ext cx="4248455" cy="248801"/>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sz="1800" b="1" i="0" u="none" strike="noStrike" kern="1200" baseline="0">
                <a:solidFill>
                  <a:sysClr val="windowText" lastClr="000000"/>
                </a:solidFill>
                <a:latin typeface="+mn-lt"/>
                <a:ea typeface="+mn-ea"/>
                <a:cs typeface="+mn-cs"/>
              </a:defRPr>
            </a:pPr>
            <a:endParaRPr kumimoji="0" lang="en-US" sz="1400" b="1" i="0" u="none" strike="noStrike" kern="1200" cap="none" spc="0" normalizeH="0" baseline="0" noProof="0">
              <a:ln>
                <a:noFill/>
              </a:ln>
              <a:solidFill>
                <a:srgbClr val="000000"/>
              </a:solidFill>
              <a:effectLst/>
              <a:uLnTx/>
              <a:uFillTx/>
              <a:latin typeface="Arial"/>
              <a:ea typeface="ＭＳ Ｐゴシック"/>
            </a:endParaRPr>
          </a:p>
        </p:txBody>
      </p:sp>
      <p:sp>
        <p:nvSpPr>
          <p:cNvPr id="15" name="Text Placeholder 2">
            <a:extLst>
              <a:ext uri="{FF2B5EF4-FFF2-40B4-BE49-F238E27FC236}">
                <a16:creationId xmlns:a16="http://schemas.microsoft.com/office/drawing/2014/main" id="{724266FF-F709-43E3-83E1-425D64DA06A8}"/>
              </a:ext>
            </a:extLst>
          </p:cNvPr>
          <p:cNvSpPr txBox="1">
            <a:spLocks/>
          </p:cNvSpPr>
          <p:nvPr/>
        </p:nvSpPr>
        <p:spPr>
          <a:xfrm>
            <a:off x="598731" y="1179158"/>
            <a:ext cx="5024351" cy="248801"/>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sz="1800" b="1" i="0" u="none" strike="noStrike" kern="1200" baseline="0">
                <a:solidFill>
                  <a:sysClr val="windowText" lastClr="000000"/>
                </a:solidFill>
                <a:latin typeface="+mn-lt"/>
                <a:ea typeface="+mn-ea"/>
                <a:cs typeface="+mn-cs"/>
              </a:defRPr>
            </a:pPr>
            <a:endParaRPr kumimoji="0" lang="en-US" sz="1400" b="1" i="0" u="none" strike="noStrike" kern="1200" cap="none" spc="0" normalizeH="0" baseline="0" noProof="0">
              <a:ln>
                <a:noFill/>
              </a:ln>
              <a:solidFill>
                <a:srgbClr val="000000"/>
              </a:solidFill>
              <a:effectLst/>
              <a:uLnTx/>
              <a:uFillTx/>
              <a:latin typeface="Arial"/>
              <a:ea typeface="ＭＳ Ｐゴシック"/>
            </a:endParaRPr>
          </a:p>
        </p:txBody>
      </p:sp>
      <p:graphicFrame>
        <p:nvGraphicFramePr>
          <p:cNvPr id="16" name="Table 15">
            <a:extLst>
              <a:ext uri="{FF2B5EF4-FFF2-40B4-BE49-F238E27FC236}">
                <a16:creationId xmlns:a16="http://schemas.microsoft.com/office/drawing/2014/main" id="{27174297-147E-4ECD-A4AA-AA7318CE391F}"/>
              </a:ext>
            </a:extLst>
          </p:cNvPr>
          <p:cNvGraphicFramePr>
            <a:graphicFrameLocks noGrp="1"/>
          </p:cNvGraphicFramePr>
          <p:nvPr>
            <p:extLst>
              <p:ext uri="{D42A27DB-BD31-4B8C-83A1-F6EECF244321}">
                <p14:modId xmlns:p14="http://schemas.microsoft.com/office/powerpoint/2010/main" val="1234947475"/>
              </p:ext>
            </p:extLst>
          </p:nvPr>
        </p:nvGraphicFramePr>
        <p:xfrm>
          <a:off x="5043498" y="1330011"/>
          <a:ext cx="2468880" cy="1650874"/>
        </p:xfrm>
        <a:graphic>
          <a:graphicData uri="http://schemas.openxmlformats.org/drawingml/2006/table">
            <a:tbl>
              <a:tblPr firstRow="1" bandRow="1">
                <a:tableStyleId>{5C22544A-7EE6-4342-B048-85BDC9FD1C3A}</a:tableStyleId>
              </a:tblPr>
              <a:tblGrid>
                <a:gridCol w="2468880">
                  <a:extLst>
                    <a:ext uri="{9D8B030D-6E8A-4147-A177-3AD203B41FA5}">
                      <a16:colId xmlns:a16="http://schemas.microsoft.com/office/drawing/2014/main" val="20000"/>
                    </a:ext>
                  </a:extLst>
                </a:gridCol>
              </a:tblGrid>
              <a:tr h="27927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1" spc="-10" baseline="0">
                          <a:latin typeface="Arial" panose="020B0604020202020204" pitchFamily="34" charset="0"/>
                          <a:cs typeface="Arial" panose="020B0604020202020204" pitchFamily="34" charset="0"/>
                        </a:rPr>
                        <a:t>Prices and Wage Survey Highlights</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768692"/>
                    </a:solidFill>
                  </a:tcPr>
                </a:tc>
                <a:extLst>
                  <a:ext uri="{0D108BD9-81ED-4DB2-BD59-A6C34878D82A}">
                    <a16:rowId xmlns:a16="http://schemas.microsoft.com/office/drawing/2014/main" val="10000"/>
                  </a:ext>
                </a:extLst>
              </a:tr>
              <a:tr h="457200">
                <a:tc>
                  <a:txBody>
                    <a:bodyPr/>
                    <a:lstStyle/>
                    <a:p>
                      <a:pPr algn="ctr"/>
                      <a:r>
                        <a:rPr lang="en-US" sz="1000" b="1" spc="-10" baseline="0">
                          <a:solidFill>
                            <a:schemeClr val="tx1"/>
                          </a:solidFill>
                          <a:latin typeface="Arial" panose="020B0604020202020204" pitchFamily="34" charset="0"/>
                          <a:cs typeface="Arial" panose="020B0604020202020204" pitchFamily="34" charset="0"/>
                        </a:rPr>
                        <a:t>Fidelity Analyst Survey: </a:t>
                      </a:r>
                      <a:r>
                        <a:rPr lang="en-US" sz="1000" b="0" spc="-10" baseline="0">
                          <a:solidFill>
                            <a:schemeClr val="tx1"/>
                          </a:solidFill>
                          <a:latin typeface="Arial" panose="020B0604020202020204" pitchFamily="34" charset="0"/>
                          <a:cs typeface="Arial" panose="020B0604020202020204" pitchFamily="34" charset="0"/>
                        </a:rPr>
                        <a:t>More than 80%</a:t>
                      </a:r>
                      <a:br>
                        <a:rPr lang="en-US" sz="1000" b="0" spc="-10" baseline="0">
                          <a:solidFill>
                            <a:schemeClr val="tx1"/>
                          </a:solidFill>
                          <a:latin typeface="Arial" panose="020B0604020202020204" pitchFamily="34" charset="0"/>
                          <a:cs typeface="Arial" panose="020B0604020202020204" pitchFamily="34" charset="0"/>
                        </a:rPr>
                      </a:br>
                      <a:r>
                        <a:rPr lang="en-US" sz="1000" b="0" spc="-10" baseline="0">
                          <a:solidFill>
                            <a:schemeClr val="tx1"/>
                          </a:solidFill>
                          <a:latin typeface="Arial" panose="020B0604020202020204" pitchFamily="34" charset="0"/>
                          <a:cs typeface="Arial" panose="020B0604020202020204" pitchFamily="34" charset="0"/>
                        </a:rPr>
                        <a:t>of analysts expect higher wages and price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4572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spc="-10" baseline="0" dirty="0">
                          <a:solidFill>
                            <a:schemeClr val="tx1"/>
                          </a:solidFill>
                          <a:latin typeface="Arial" panose="020B0604020202020204" pitchFamily="34" charset="0"/>
                          <a:cs typeface="Arial" panose="020B0604020202020204" pitchFamily="34" charset="0"/>
                        </a:rPr>
                        <a:t>Nominal wage growth at </a:t>
                      </a:r>
                      <a:br>
                        <a:rPr lang="en-US" sz="1000" b="0" spc="-10" baseline="0" dirty="0">
                          <a:solidFill>
                            <a:schemeClr val="tx1"/>
                          </a:solidFill>
                          <a:latin typeface="Arial" panose="020B0604020202020204" pitchFamily="34" charset="0"/>
                          <a:cs typeface="Arial" panose="020B0604020202020204" pitchFamily="34" charset="0"/>
                        </a:rPr>
                      </a:br>
                      <a:r>
                        <a:rPr lang="en-US" sz="1000" b="0" spc="-10" baseline="0" dirty="0">
                          <a:solidFill>
                            <a:schemeClr val="tx1"/>
                          </a:solidFill>
                          <a:latin typeface="Arial" panose="020B0604020202020204" pitchFamily="34" charset="0"/>
                          <a:cs typeface="Arial" panose="020B0604020202020204" pitchFamily="34" charset="0"/>
                        </a:rPr>
                        <a:t>multi-decade high 6.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4572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spc="-10" baseline="0" dirty="0">
                          <a:solidFill>
                            <a:schemeClr val="tx1"/>
                          </a:solidFill>
                          <a:latin typeface="Arial" panose="020B0604020202020204" pitchFamily="34" charset="0"/>
                          <a:cs typeface="Arial" panose="020B0604020202020204" pitchFamily="34" charset="0"/>
                        </a:rPr>
                        <a:t>Negative real wage growth -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11" name="TextBox 15">
            <a:extLst>
              <a:ext uri="{FF2B5EF4-FFF2-40B4-BE49-F238E27FC236}">
                <a16:creationId xmlns:a16="http://schemas.microsoft.com/office/drawing/2014/main" id="{537BB9F0-DF29-4776-B14C-A5F87079E406}"/>
              </a:ext>
            </a:extLst>
          </p:cNvPr>
          <p:cNvSpPr txBox="1"/>
          <p:nvPr/>
        </p:nvSpPr>
        <p:spPr>
          <a:xfrm>
            <a:off x="313372" y="1796696"/>
            <a:ext cx="1171225"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298FC2"/>
                </a:solidFill>
                <a:effectLst/>
                <a:uLnTx/>
                <a:uFillTx/>
                <a:latin typeface="Arial"/>
                <a:ea typeface="+mn-ea"/>
                <a:cs typeface="+mn-cs"/>
              </a:rPr>
              <a:t>Net Percentage</a:t>
            </a:r>
          </a:p>
        </p:txBody>
      </p:sp>
      <p:sp>
        <p:nvSpPr>
          <p:cNvPr id="12" name="TextBox 15">
            <a:extLst>
              <a:ext uri="{FF2B5EF4-FFF2-40B4-BE49-F238E27FC236}">
                <a16:creationId xmlns:a16="http://schemas.microsoft.com/office/drawing/2014/main" id="{3439805F-18F3-4203-94E8-2EE44D234950}"/>
              </a:ext>
            </a:extLst>
          </p:cNvPr>
          <p:cNvSpPr txBox="1"/>
          <p:nvPr/>
        </p:nvSpPr>
        <p:spPr>
          <a:xfrm>
            <a:off x="7694867" y="1860067"/>
            <a:ext cx="1171225"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7A9A3D"/>
                </a:solidFill>
                <a:effectLst/>
                <a:uLnTx/>
                <a:uFillTx/>
                <a:latin typeface="Arial"/>
                <a:ea typeface="+mn-ea"/>
                <a:cs typeface="+mn-cs"/>
              </a:rPr>
              <a:t>Index</a:t>
            </a:r>
          </a:p>
        </p:txBody>
      </p:sp>
      <p:sp>
        <p:nvSpPr>
          <p:cNvPr id="18" name="Text Placeholder 2">
            <a:extLst>
              <a:ext uri="{FF2B5EF4-FFF2-40B4-BE49-F238E27FC236}">
                <a16:creationId xmlns:a16="http://schemas.microsoft.com/office/drawing/2014/main" id="{7468FBD5-DE37-415D-BC2C-C19187A0DFD4}"/>
              </a:ext>
            </a:extLst>
          </p:cNvPr>
          <p:cNvSpPr txBox="1">
            <a:spLocks/>
          </p:cNvSpPr>
          <p:nvPr/>
        </p:nvSpPr>
        <p:spPr>
          <a:xfrm>
            <a:off x="315668" y="1280578"/>
            <a:ext cx="6961432" cy="248801"/>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sz="1800" b="1" i="0" u="none" strike="noStrike" kern="1200" baseline="0">
                <a:solidFill>
                  <a:sysClr val="windowText" lastClr="000000"/>
                </a:solidFill>
                <a:latin typeface="+mn-lt"/>
                <a:ea typeface="+mn-ea"/>
                <a:cs typeface="+mn-cs"/>
              </a:defRPr>
            </a:pPr>
            <a:r>
              <a:rPr kumimoji="0" lang="en-US" sz="1400" b="1" i="0" u="none" strike="noStrike" kern="1200" cap="none" spc="0" normalizeH="0" baseline="0" noProof="0" dirty="0">
                <a:ln>
                  <a:noFill/>
                </a:ln>
                <a:solidFill>
                  <a:srgbClr val="000000"/>
                </a:solidFill>
                <a:effectLst/>
                <a:uLnTx/>
                <a:uFillTx/>
                <a:latin typeface="Arial"/>
                <a:ea typeface="ＭＳ Ｐゴシック"/>
              </a:rPr>
              <a:t>Consumer Sentiment on Jobs and Real Incomes</a:t>
            </a:r>
          </a:p>
        </p:txBody>
      </p:sp>
      <p:sp>
        <p:nvSpPr>
          <p:cNvPr id="19" name="TextBox 18">
            <a:extLst>
              <a:ext uri="{FF2B5EF4-FFF2-40B4-BE49-F238E27FC236}">
                <a16:creationId xmlns:a16="http://schemas.microsoft.com/office/drawing/2014/main" id="{F16AABF4-69B2-487A-A9A0-1EE39DA5615E}"/>
              </a:ext>
            </a:extLst>
          </p:cNvPr>
          <p:cNvSpPr txBox="1"/>
          <p:nvPr/>
        </p:nvSpPr>
        <p:spPr>
          <a:xfrm>
            <a:off x="327834" y="5756589"/>
            <a:ext cx="8327279" cy="584775"/>
          </a:xfrm>
          <a:prstGeom prst="rect">
            <a:avLst/>
          </a:prstGeom>
          <a:noFill/>
        </p:spPr>
        <p:txBody>
          <a:bodyPr wrap="square" rtlCol="0" anchor="b" anchorCtr="0">
            <a:spAutoFit/>
          </a:bodyPr>
          <a:lstStyle/>
          <a:p>
            <a:pPr marL="0" marR="0" lvl="0" indent="0" algn="l" defTabSz="914400" rtl="0" eaLnBrk="0" fontAlgn="base" latinLnBrk="0" hangingPunct="0">
              <a:lnSpc>
                <a:spcPct val="100000"/>
              </a:lnSpc>
              <a:spcBef>
                <a:spcPts val="300"/>
              </a:spcBef>
              <a:spcAft>
                <a:spcPct val="0"/>
              </a:spcAft>
              <a:buClrTx/>
              <a:buSzTx/>
              <a:buFontTx/>
              <a:buNone/>
              <a:tabLst/>
              <a:defRPr/>
            </a:pPr>
            <a:r>
              <a:rPr kumimoji="0" lang="en-US" sz="800" b="1" i="0" u="none" strike="noStrike" kern="1200" cap="none" spc="-20" normalizeH="0" baseline="0" noProof="0" dirty="0">
                <a:ln>
                  <a:noFill/>
                </a:ln>
                <a:solidFill>
                  <a:srgbClr val="000000"/>
                </a:solidFill>
                <a:effectLst/>
                <a:uLnTx/>
                <a:uFillTx/>
                <a:latin typeface="Arial" charset="0"/>
                <a:ea typeface="ＭＳ Ｐゴシック" charset="-128"/>
                <a:cs typeface="+mn-cs"/>
              </a:rPr>
              <a:t>CHART</a:t>
            </a:r>
            <a:r>
              <a:rPr kumimoji="0" lang="en-US" sz="800" b="0" i="0" u="none" strike="noStrike" kern="1200" cap="none" spc="-20" normalizeH="0" baseline="0" noProof="0" dirty="0">
                <a:ln>
                  <a:noFill/>
                </a:ln>
                <a:solidFill>
                  <a:srgbClr val="000000"/>
                </a:solidFill>
                <a:effectLst/>
                <a:uLnTx/>
                <a:uFillTx/>
                <a:latin typeface="Arial" charset="0"/>
                <a:ea typeface="ＭＳ Ｐゴシック" charset="-128"/>
                <a:cs typeface="+mn-cs"/>
              </a:rPr>
              <a:t>: Labor Market Differential: Percentage of consumers who think jobs are plentiful minus the percentage who believe that jobs are currently hard to get. Real Income expectations for next year. Source: The Conference Board, University of Michigan, Haver Analytics, Fidelity Investments (AART), as of 6/30/22. </a:t>
            </a:r>
            <a:r>
              <a:rPr kumimoji="0" lang="en-US" sz="800" b="1" i="0" u="none" strike="noStrike" kern="1200" cap="none" spc="-20" normalizeH="0" baseline="0" noProof="0" dirty="0">
                <a:ln>
                  <a:noFill/>
                </a:ln>
                <a:solidFill>
                  <a:srgbClr val="000000"/>
                </a:solidFill>
                <a:effectLst/>
                <a:uLnTx/>
                <a:uFillTx/>
                <a:latin typeface="Arial" charset="0"/>
                <a:ea typeface="ＭＳ Ｐゴシック" charset="-128"/>
                <a:cs typeface="+mn-cs"/>
              </a:rPr>
              <a:t>TABLE</a:t>
            </a:r>
            <a:r>
              <a:rPr kumimoji="0" lang="en-US" sz="800" b="0" i="0" u="none" strike="noStrike" kern="1200" cap="none" spc="-20" normalizeH="0" baseline="0" noProof="0" dirty="0">
                <a:ln>
                  <a:noFill/>
                </a:ln>
                <a:solidFill>
                  <a:srgbClr val="000000"/>
                </a:solidFill>
                <a:effectLst/>
                <a:uLnTx/>
                <a:uFillTx/>
                <a:latin typeface="Arial" charset="0"/>
                <a:ea typeface="ＭＳ Ｐゴシック" charset="-128"/>
                <a:cs typeface="+mn-cs"/>
              </a:rPr>
              <a:t>: Fidelity Analyst Survey: Quarterly survey of equity and fixed income analysts who cover different sectors and regions. Nominal wage growth: Atlanta Fed overall year-over-year weighted 3-month moving average. Real Wage: Wage tracker growth minus CPI-U year-over-year change. Source: Federal Reserve Bank of Atlanta, Bureau of Labor Statistics, Haver Analytics, Fidelity Investments (AART), as of 6/30/22.</a:t>
            </a:r>
          </a:p>
        </p:txBody>
      </p:sp>
      <p:sp>
        <p:nvSpPr>
          <p:cNvPr id="20" name="Slide Number Placeholder 4">
            <a:extLst>
              <a:ext uri="{FF2B5EF4-FFF2-40B4-BE49-F238E27FC236}">
                <a16:creationId xmlns:a16="http://schemas.microsoft.com/office/drawing/2014/main" id="{FFD9CB06-3F91-405B-9871-09095972B019}"/>
              </a:ext>
            </a:extLst>
          </p:cNvPr>
          <p:cNvSpPr txBox="1">
            <a:spLocks/>
          </p:cNvSpPr>
          <p:nvPr/>
        </p:nvSpPr>
        <p:spPr bwMode="auto">
          <a:xfrm>
            <a:off x="-29119" y="6408909"/>
            <a:ext cx="382906" cy="365125"/>
          </a:xfrm>
          <a:prstGeom prst="rect">
            <a:avLst/>
          </a:prstGeom>
          <a:noFill/>
          <a:ln w="9525">
            <a:noFill/>
            <a:miter lim="800000"/>
            <a:headEnd/>
            <a:tailEnd/>
          </a:ln>
          <a:effectLst/>
        </p:spPr>
        <p:txBody>
          <a:bodyPr vert="horz" wrap="square" lIns="91440" tIns="45720" rIns="91440" bIns="45720" numCol="1" rtlCol="0" anchor="ctr" anchorCtr="0" compatLnSpc="1">
            <a:prstTxWarp prst="textNoShape">
              <a:avLst/>
            </a:prstTxWarp>
          </a:bodyPr>
          <a:lstStyle>
            <a:defPPr>
              <a:defRPr lang="en-US"/>
            </a:defPPr>
            <a:lvl1pPr algn="l" rtl="0" eaLnBrk="0" fontAlgn="base" hangingPunct="0">
              <a:spcBef>
                <a:spcPct val="0"/>
              </a:spcBef>
              <a:spcAft>
                <a:spcPct val="0"/>
              </a:spcAft>
              <a:defRPr sz="800" b="1" kern="1200">
                <a:solidFill>
                  <a:srgbClr val="000000"/>
                </a:solidFill>
                <a:latin typeface="Arial" charset="0"/>
                <a:ea typeface="ＭＳ Ｐゴシック" charset="-128"/>
                <a:cs typeface="+mn-cs"/>
              </a:defRPr>
            </a:lvl1pPr>
            <a:lvl2pPr marL="457200" algn="l" rtl="0" fontAlgn="base">
              <a:spcBef>
                <a:spcPct val="0"/>
              </a:spcBef>
              <a:spcAft>
                <a:spcPct val="0"/>
              </a:spcAft>
              <a:defRPr sz="1200" kern="1200">
                <a:solidFill>
                  <a:schemeClr val="tx1"/>
                </a:solidFill>
                <a:latin typeface="Arial" pitchFamily="34" charset="0"/>
                <a:ea typeface="ＭＳ Ｐゴシック"/>
                <a:cs typeface="ＭＳ Ｐゴシック"/>
              </a:defRPr>
            </a:lvl2pPr>
            <a:lvl3pPr marL="914400" algn="l" rtl="0" fontAlgn="base">
              <a:spcBef>
                <a:spcPct val="0"/>
              </a:spcBef>
              <a:spcAft>
                <a:spcPct val="0"/>
              </a:spcAft>
              <a:defRPr sz="1200" kern="1200">
                <a:solidFill>
                  <a:schemeClr val="tx1"/>
                </a:solidFill>
                <a:latin typeface="Arial" pitchFamily="34" charset="0"/>
                <a:ea typeface="ＭＳ Ｐゴシック"/>
                <a:cs typeface="ＭＳ Ｐゴシック"/>
              </a:defRPr>
            </a:lvl3pPr>
            <a:lvl4pPr marL="1371600" algn="l" rtl="0" fontAlgn="base">
              <a:spcBef>
                <a:spcPct val="0"/>
              </a:spcBef>
              <a:spcAft>
                <a:spcPct val="0"/>
              </a:spcAft>
              <a:defRPr sz="1200" kern="1200">
                <a:solidFill>
                  <a:schemeClr val="tx1"/>
                </a:solidFill>
                <a:latin typeface="Arial" pitchFamily="34" charset="0"/>
                <a:ea typeface="ＭＳ Ｐゴシック"/>
                <a:cs typeface="ＭＳ Ｐゴシック"/>
              </a:defRPr>
            </a:lvl4pPr>
            <a:lvl5pPr marL="1828800" algn="l" rtl="0" fontAlgn="base">
              <a:spcBef>
                <a:spcPct val="0"/>
              </a:spcBef>
              <a:spcAft>
                <a:spcPct val="0"/>
              </a:spcAft>
              <a:defRPr sz="1200" kern="1200">
                <a:solidFill>
                  <a:schemeClr val="tx1"/>
                </a:solidFill>
                <a:latin typeface="Arial" pitchFamily="34" charset="0"/>
                <a:ea typeface="ＭＳ Ｐゴシック"/>
                <a:cs typeface="ＭＳ Ｐゴシック"/>
              </a:defRPr>
            </a:lvl5pPr>
            <a:lvl6pPr marL="2286000" algn="l" defTabSz="914400" rtl="0" eaLnBrk="1" latinLnBrk="0" hangingPunct="1">
              <a:defRPr sz="1200" kern="1200">
                <a:solidFill>
                  <a:schemeClr val="tx1"/>
                </a:solidFill>
                <a:latin typeface="Arial" pitchFamily="34" charset="0"/>
                <a:ea typeface="ＭＳ Ｐゴシック"/>
                <a:cs typeface="ＭＳ Ｐゴシック"/>
              </a:defRPr>
            </a:lvl6pPr>
            <a:lvl7pPr marL="2743200" algn="l" defTabSz="914400" rtl="0" eaLnBrk="1" latinLnBrk="0" hangingPunct="1">
              <a:defRPr sz="1200" kern="1200">
                <a:solidFill>
                  <a:schemeClr val="tx1"/>
                </a:solidFill>
                <a:latin typeface="Arial" pitchFamily="34" charset="0"/>
                <a:ea typeface="ＭＳ Ｐゴシック"/>
                <a:cs typeface="ＭＳ Ｐゴシック"/>
              </a:defRPr>
            </a:lvl7pPr>
            <a:lvl8pPr marL="3200400" algn="l" defTabSz="914400" rtl="0" eaLnBrk="1" latinLnBrk="0" hangingPunct="1">
              <a:defRPr sz="1200" kern="1200">
                <a:solidFill>
                  <a:schemeClr val="tx1"/>
                </a:solidFill>
                <a:latin typeface="Arial" pitchFamily="34" charset="0"/>
                <a:ea typeface="ＭＳ Ｐゴシック"/>
                <a:cs typeface="ＭＳ Ｐゴシック"/>
              </a:defRPr>
            </a:lvl8pPr>
            <a:lvl9pPr marL="3657600" algn="l" defTabSz="914400" rtl="0" eaLnBrk="1" latinLnBrk="0" hangingPunct="1">
              <a:defRPr sz="1200" kern="1200">
                <a:solidFill>
                  <a:schemeClr val="tx1"/>
                </a:solidFill>
                <a:latin typeface="Arial" pitchFamily="34" charset="0"/>
                <a:ea typeface="ＭＳ Ｐゴシック"/>
                <a:cs typeface="ＭＳ Ｐゴシック"/>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55772473-24D5-4368-927A-9F91835352F1}" type="slidenum">
              <a:rPr kumimoji="0" lang="en-US" sz="800" b="1" i="0" u="none" strike="noStrike" kern="1200" cap="none" spc="0" normalizeH="0" baseline="0" noProof="0" smtClean="0">
                <a:ln>
                  <a:noFill/>
                </a:ln>
                <a:solidFill>
                  <a:srgbClr val="000000"/>
                </a:solidFill>
                <a:effectLst/>
                <a:uLnTx/>
                <a:uFillTx/>
                <a:latin typeface="Arial"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5</a:t>
            </a:fld>
            <a:endParaRPr kumimoji="0" lang="en-US" sz="800" b="1" i="0" u="none" strike="noStrike" kern="1200" cap="none" spc="0" normalizeH="0" baseline="0" noProof="0">
              <a:ln>
                <a:noFill/>
              </a:ln>
              <a:solidFill>
                <a:srgbClr val="000000"/>
              </a:solidFill>
              <a:effectLst/>
              <a:uLnTx/>
              <a:uFillTx/>
              <a:latin typeface="Arial" charset="0"/>
              <a:ea typeface="ＭＳ Ｐゴシック" charset="-128"/>
              <a:cs typeface="+mn-cs"/>
            </a:endParaRPr>
          </a:p>
        </p:txBody>
      </p:sp>
      <p:sp>
        <p:nvSpPr>
          <p:cNvPr id="21" name="Title 3">
            <a:extLst>
              <a:ext uri="{FF2B5EF4-FFF2-40B4-BE49-F238E27FC236}">
                <a16:creationId xmlns:a16="http://schemas.microsoft.com/office/drawing/2014/main" id="{8CD1187E-F50B-4A82-87BF-CCAECE638C0A}"/>
              </a:ext>
            </a:extLst>
          </p:cNvPr>
          <p:cNvSpPr>
            <a:spLocks noGrp="1"/>
          </p:cNvSpPr>
          <p:nvPr>
            <p:ph type="title"/>
          </p:nvPr>
        </p:nvSpPr>
        <p:spPr/>
        <p:txBody>
          <a:bodyPr>
            <a:normAutofit/>
          </a:bodyPr>
          <a:lstStyle/>
          <a:p>
            <a:r>
              <a:rPr lang="en-US" sz="2700" dirty="0"/>
              <a:t>Tight Labor Markets, but Consumers Are Concerned</a:t>
            </a:r>
            <a:br>
              <a:rPr lang="en-US" dirty="0"/>
            </a:br>
            <a:endParaRPr lang="en-US" sz="1100" b="1" dirty="0">
              <a:solidFill>
                <a:srgbClr val="768692"/>
              </a:solidFill>
            </a:endParaRPr>
          </a:p>
        </p:txBody>
      </p:sp>
      <p:sp>
        <p:nvSpPr>
          <p:cNvPr id="13" name="Footer Placeholder 1">
            <a:extLst>
              <a:ext uri="{FF2B5EF4-FFF2-40B4-BE49-F238E27FC236}">
                <a16:creationId xmlns:a16="http://schemas.microsoft.com/office/drawing/2014/main" id="{F6A205D2-B3BB-49F9-B2C9-8A5D3FFB2EDA}"/>
              </a:ext>
            </a:extLst>
          </p:cNvPr>
          <p:cNvSpPr txBox="1">
            <a:spLocks/>
          </p:cNvSpPr>
          <p:nvPr/>
        </p:nvSpPr>
        <p:spPr bwMode="auto">
          <a:xfrm>
            <a:off x="320040" y="6508597"/>
            <a:ext cx="3931920" cy="173736"/>
          </a:xfrm>
          <a:prstGeom prst="rect">
            <a:avLst/>
          </a:prstGeom>
          <a:noFill/>
          <a:ln w="9525">
            <a:noFill/>
            <a:miter lim="800000"/>
            <a:headEnd/>
            <a:tailEnd/>
          </a:ln>
          <a:effectLst/>
        </p:spPr>
        <p:txBody>
          <a:bodyPr vert="horz" wrap="square" lIns="91440" tIns="0" rIns="91440" bIns="0" numCol="1" anchor="b" anchorCtr="0" compatLnSpc="1">
            <a:prstTxWarp prst="textNoShape">
              <a:avLst/>
            </a:prstTxWarp>
          </a:bodyPr>
          <a:lstStyle>
            <a:defPPr>
              <a:defRPr lang="en-US"/>
            </a:defPPr>
            <a:lvl1pPr algn="l" rtl="0" eaLnBrk="0" fontAlgn="base" hangingPunct="0">
              <a:spcBef>
                <a:spcPct val="0"/>
              </a:spcBef>
              <a:spcAft>
                <a:spcPct val="0"/>
              </a:spcAft>
              <a:defRPr sz="800" b="0" kern="1200" smtClean="0">
                <a:solidFill>
                  <a:srgbClr val="000000"/>
                </a:solidFill>
                <a:latin typeface="Arial" charset="0"/>
                <a:ea typeface="ＭＳ Ｐゴシック" charset="-128"/>
                <a:cs typeface="+mn-cs"/>
              </a:defRPr>
            </a:lvl1pPr>
            <a:lvl2pPr marL="457200" algn="l" rtl="0" fontAlgn="base">
              <a:spcBef>
                <a:spcPct val="0"/>
              </a:spcBef>
              <a:spcAft>
                <a:spcPct val="0"/>
              </a:spcAft>
              <a:defRPr sz="1200" kern="1200">
                <a:solidFill>
                  <a:schemeClr val="tx1"/>
                </a:solidFill>
                <a:latin typeface="Arial" pitchFamily="34" charset="0"/>
                <a:ea typeface="ＭＳ Ｐゴシック"/>
                <a:cs typeface="ＭＳ Ｐゴシック"/>
              </a:defRPr>
            </a:lvl2pPr>
            <a:lvl3pPr marL="914400" algn="l" rtl="0" fontAlgn="base">
              <a:spcBef>
                <a:spcPct val="0"/>
              </a:spcBef>
              <a:spcAft>
                <a:spcPct val="0"/>
              </a:spcAft>
              <a:defRPr sz="1200" kern="1200">
                <a:solidFill>
                  <a:schemeClr val="tx1"/>
                </a:solidFill>
                <a:latin typeface="Arial" pitchFamily="34" charset="0"/>
                <a:ea typeface="ＭＳ Ｐゴシック"/>
                <a:cs typeface="ＭＳ Ｐゴシック"/>
              </a:defRPr>
            </a:lvl3pPr>
            <a:lvl4pPr marL="1371600" algn="l" rtl="0" fontAlgn="base">
              <a:spcBef>
                <a:spcPct val="0"/>
              </a:spcBef>
              <a:spcAft>
                <a:spcPct val="0"/>
              </a:spcAft>
              <a:defRPr sz="1200" kern="1200">
                <a:solidFill>
                  <a:schemeClr val="tx1"/>
                </a:solidFill>
                <a:latin typeface="Arial" pitchFamily="34" charset="0"/>
                <a:ea typeface="ＭＳ Ｐゴシック"/>
                <a:cs typeface="ＭＳ Ｐゴシック"/>
              </a:defRPr>
            </a:lvl4pPr>
            <a:lvl5pPr marL="1828800" algn="l" rtl="0" fontAlgn="base">
              <a:spcBef>
                <a:spcPct val="0"/>
              </a:spcBef>
              <a:spcAft>
                <a:spcPct val="0"/>
              </a:spcAft>
              <a:defRPr sz="1200" kern="1200">
                <a:solidFill>
                  <a:schemeClr val="tx1"/>
                </a:solidFill>
                <a:latin typeface="Arial" pitchFamily="34" charset="0"/>
                <a:ea typeface="ＭＳ Ｐゴシック"/>
                <a:cs typeface="ＭＳ Ｐゴシック"/>
              </a:defRPr>
            </a:lvl5pPr>
            <a:lvl6pPr marL="2286000" algn="l" defTabSz="914400" rtl="0" eaLnBrk="1" latinLnBrk="0" hangingPunct="1">
              <a:defRPr sz="1200" kern="1200">
                <a:solidFill>
                  <a:schemeClr val="tx1"/>
                </a:solidFill>
                <a:latin typeface="Arial" pitchFamily="34" charset="0"/>
                <a:ea typeface="ＭＳ Ｐゴシック"/>
                <a:cs typeface="ＭＳ Ｐゴシック"/>
              </a:defRPr>
            </a:lvl6pPr>
            <a:lvl7pPr marL="2743200" algn="l" defTabSz="914400" rtl="0" eaLnBrk="1" latinLnBrk="0" hangingPunct="1">
              <a:defRPr sz="1200" kern="1200">
                <a:solidFill>
                  <a:schemeClr val="tx1"/>
                </a:solidFill>
                <a:latin typeface="Arial" pitchFamily="34" charset="0"/>
                <a:ea typeface="ＭＳ Ｐゴシック"/>
                <a:cs typeface="ＭＳ Ｐゴシック"/>
              </a:defRPr>
            </a:lvl7pPr>
            <a:lvl8pPr marL="3200400" algn="l" defTabSz="914400" rtl="0" eaLnBrk="1" latinLnBrk="0" hangingPunct="1">
              <a:defRPr sz="1200" kern="1200">
                <a:solidFill>
                  <a:schemeClr val="tx1"/>
                </a:solidFill>
                <a:latin typeface="Arial" pitchFamily="34" charset="0"/>
                <a:ea typeface="ＭＳ Ｐゴシック"/>
                <a:cs typeface="ＭＳ Ｐゴシック"/>
              </a:defRPr>
            </a:lvl8pPr>
            <a:lvl9pPr marL="3657600" algn="l" defTabSz="914400" rtl="0" eaLnBrk="1" latinLnBrk="0" hangingPunct="1">
              <a:defRPr sz="1200" kern="1200">
                <a:solidFill>
                  <a:schemeClr val="tx1"/>
                </a:solidFill>
                <a:latin typeface="Arial" pitchFamily="34" charset="0"/>
                <a:ea typeface="ＭＳ Ｐゴシック"/>
                <a:cs typeface="ＭＳ Ｐゴシック"/>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charset="0"/>
                <a:ea typeface="ＭＳ Ｐゴシック" charset="-128"/>
                <a:cs typeface="+mn-cs"/>
              </a:rPr>
              <a:t>For institutional use only.</a:t>
            </a:r>
          </a:p>
        </p:txBody>
      </p:sp>
    </p:spTree>
    <p:extLst>
      <p:ext uri="{BB962C8B-B14F-4D97-AF65-F5344CB8AC3E}">
        <p14:creationId xmlns:p14="http://schemas.microsoft.com/office/powerpoint/2010/main" val="8906242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85D6DF90-299D-4ED6-93BC-1E43E53778F7}"/>
              </a:ext>
            </a:extLst>
          </p:cNvPr>
          <p:cNvSpPr>
            <a:spLocks noGrp="1"/>
          </p:cNvSpPr>
          <p:nvPr>
            <p:ph type="title"/>
          </p:nvPr>
        </p:nvSpPr>
        <p:spPr/>
        <p:txBody>
          <a:bodyPr>
            <a:normAutofit/>
          </a:bodyPr>
          <a:lstStyle/>
          <a:p>
            <a:r>
              <a:rPr lang="en-US" sz="2700" dirty="0"/>
              <a:t>Inflation Drivers Peaking but Stubbornly Persistent</a:t>
            </a:r>
            <a:br>
              <a:rPr lang="en-US" sz="2700" dirty="0"/>
            </a:br>
            <a:endParaRPr lang="en-US" sz="1300" b="1" dirty="0">
              <a:solidFill>
                <a:srgbClr val="768692"/>
              </a:solidFill>
            </a:endParaRPr>
          </a:p>
        </p:txBody>
      </p:sp>
      <p:sp>
        <p:nvSpPr>
          <p:cNvPr id="17" name="Slide Number Placeholder 4">
            <a:extLst>
              <a:ext uri="{FF2B5EF4-FFF2-40B4-BE49-F238E27FC236}">
                <a16:creationId xmlns:a16="http://schemas.microsoft.com/office/drawing/2014/main" id="{F35B96B2-88C2-4C1F-8CD4-8BA0C664215E}"/>
              </a:ext>
            </a:extLst>
          </p:cNvPr>
          <p:cNvSpPr>
            <a:spLocks noGrp="1"/>
          </p:cNvSpPr>
          <p:nvPr>
            <p:ph type="sldNum" sz="quarter" idx="14"/>
          </p:nvPr>
        </p:nvSpPr>
        <p:spPr>
          <a:prstGeom prst="rect">
            <a:avLst/>
          </a:prstGeom>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55772473-24D5-4368-927A-9F91835352F1}" type="slidenum">
              <a:rPr kumimoji="0" lang="en-US" sz="800" b="1" i="0" u="none" strike="noStrike" kern="1200" cap="none" spc="0" normalizeH="0" baseline="0" noProof="0" smtClean="0">
                <a:ln>
                  <a:noFill/>
                </a:ln>
                <a:solidFill>
                  <a:srgbClr val="000000"/>
                </a:solidFill>
                <a:effectLst/>
                <a:uLnTx/>
                <a:uFillTx/>
                <a:latin typeface="Arial"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6</a:t>
            </a:fld>
            <a:endParaRPr kumimoji="0" lang="en-US" sz="800" b="1" i="0" u="none" strike="noStrike" kern="1200" cap="none" spc="0" normalizeH="0" baseline="0" noProof="0">
              <a:ln>
                <a:noFill/>
              </a:ln>
              <a:solidFill>
                <a:srgbClr val="000000"/>
              </a:solidFill>
              <a:effectLst/>
              <a:uLnTx/>
              <a:uFillTx/>
              <a:latin typeface="Arial" charset="0"/>
              <a:ea typeface="ＭＳ Ｐゴシック" charset="-128"/>
              <a:cs typeface="+mn-cs"/>
            </a:endParaRPr>
          </a:p>
        </p:txBody>
      </p:sp>
      <p:sp>
        <p:nvSpPr>
          <p:cNvPr id="16" name="TextBox 15">
            <a:extLst>
              <a:ext uri="{FF2B5EF4-FFF2-40B4-BE49-F238E27FC236}">
                <a16:creationId xmlns:a16="http://schemas.microsoft.com/office/drawing/2014/main" id="{FE5F2CF3-415D-4CA1-8D7E-78135FCEE4E0}"/>
              </a:ext>
            </a:extLst>
          </p:cNvPr>
          <p:cNvSpPr txBox="1"/>
          <p:nvPr/>
        </p:nvSpPr>
        <p:spPr>
          <a:xfrm>
            <a:off x="327834" y="5796127"/>
            <a:ext cx="8300317" cy="671979"/>
          </a:xfrm>
          <a:prstGeom prst="rect">
            <a:avLst/>
          </a:prstGeom>
          <a:noFill/>
        </p:spPr>
        <p:txBody>
          <a:bodyPr wrap="square" rtlCol="0" anchor="b" anchorCtr="0">
            <a:spAutoFit/>
          </a:bodyPr>
          <a:lstStyle/>
          <a:p>
            <a:pPr marL="0" marR="0" lvl="0" indent="0" algn="l" defTabSz="914400" rtl="0" eaLnBrk="1" fontAlgn="base" latinLnBrk="0" hangingPunct="1">
              <a:lnSpc>
                <a:spcPct val="90000"/>
              </a:lnSpc>
              <a:spcBef>
                <a:spcPts val="200"/>
              </a:spcBef>
              <a:spcAft>
                <a:spcPct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charset="0"/>
                <a:ea typeface="ＭＳ Ｐゴシック" charset="-128"/>
                <a:cs typeface="+mn-cs"/>
              </a:rPr>
              <a:t>LEFT</a:t>
            </a:r>
            <a:r>
              <a:rPr kumimoji="0" lang="en-US" sz="800" b="0" i="0" u="none" strike="noStrike" kern="1200" cap="none" spc="0" normalizeH="0" baseline="0" noProof="0" dirty="0">
                <a:ln>
                  <a:noFill/>
                </a:ln>
                <a:solidFill>
                  <a:srgbClr val="000000"/>
                </a:solidFill>
                <a:effectLst/>
                <a:uLnTx/>
                <a:uFillTx/>
                <a:latin typeface="Arial" charset="0"/>
                <a:ea typeface="ＭＳ Ｐゴシック" charset="-128"/>
                <a:cs typeface="+mn-cs"/>
              </a:rPr>
              <a:t>: The Supply Chain Misery Index is a proprietary estimate of supply chain  conditions and uses a combination of the Institute for Supply Management Supplier Deliveries, Backlog of Orders, and Prices Paid indices. Z-score describes the series value by calculating the distance away from the mean in terms of deviations using the series volatility. Source: Bureau of Labor Statistics, Haver Analytics, Fidelity Investments (AART), as of 5/31/22. (Table: Percent of inflation coming from non-persistent categories, such as transportation and recreation.) </a:t>
            </a:r>
            <a:endParaRPr kumimoji="0" lang="en-US" sz="800" b="0" i="0" u="none" strike="noStrike" kern="1200" cap="none" spc="0" normalizeH="0" baseline="0" noProof="0" dirty="0">
              <a:ln>
                <a:noFill/>
              </a:ln>
              <a:solidFill>
                <a:srgbClr val="000000"/>
              </a:solidFill>
              <a:effectLst/>
              <a:uLnTx/>
              <a:uFillTx/>
              <a:latin typeface="Arial" charset="0"/>
              <a:ea typeface="ＭＳ Ｐゴシック" charset="-128"/>
              <a:cs typeface="Arial" panose="020B0604020202020204" pitchFamily="34" charset="0"/>
            </a:endParaRPr>
          </a:p>
          <a:p>
            <a:pPr marL="0" marR="0" lvl="0" indent="0" algn="l" defTabSz="914400" rtl="0" eaLnBrk="1" fontAlgn="base" latinLnBrk="0" hangingPunct="1">
              <a:lnSpc>
                <a:spcPct val="90000"/>
              </a:lnSpc>
              <a:spcBef>
                <a:spcPts val="200"/>
              </a:spcBef>
              <a:spcAft>
                <a:spcPct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charset="0"/>
                <a:ea typeface="ＭＳ Ｐゴシック" charset="-128"/>
                <a:cs typeface="+mn-cs"/>
              </a:rPr>
              <a:t>RIGHT</a:t>
            </a:r>
            <a:r>
              <a:rPr kumimoji="0" lang="en-US" sz="800" b="0" i="0" u="none" strike="noStrike" kern="1200" cap="none" spc="0" normalizeH="0" baseline="0" noProof="0" dirty="0">
                <a:ln>
                  <a:noFill/>
                </a:ln>
                <a:solidFill>
                  <a:srgbClr val="000000"/>
                </a:solidFill>
                <a:effectLst/>
                <a:uLnTx/>
                <a:uFillTx/>
                <a:latin typeface="Arial" charset="0"/>
                <a:ea typeface="ＭＳ Ｐゴシック" charset="-128"/>
                <a:cs typeface="+mn-cs"/>
              </a:rPr>
              <a:t>:</a:t>
            </a:r>
            <a:r>
              <a:rPr kumimoji="0" lang="en-US" sz="800" b="0" i="0" u="none" strike="noStrike" kern="1200" cap="none" spc="0" normalizeH="0" baseline="0" noProof="0" dirty="0">
                <a:ln>
                  <a:noFill/>
                </a:ln>
                <a:solidFill>
                  <a:srgbClr val="000000"/>
                </a:solidFill>
                <a:effectLst/>
                <a:uLnTx/>
                <a:uFillTx/>
                <a:latin typeface="Arial" charset="0"/>
                <a:ea typeface="ＭＳ Ｐゴシック" charset="-128"/>
                <a:cs typeface="Arial" panose="020B0604020202020204" pitchFamily="34" charset="0"/>
              </a:rPr>
              <a:t> Source: Zillow, Bureau of Labor Statistics, Haver Analytics, Fidelity Investments (AART), as of 5/31/22.</a:t>
            </a:r>
          </a:p>
        </p:txBody>
      </p:sp>
      <p:graphicFrame>
        <p:nvGraphicFramePr>
          <p:cNvPr id="20" name="Chart 19">
            <a:extLst>
              <a:ext uri="{FF2B5EF4-FFF2-40B4-BE49-F238E27FC236}">
                <a16:creationId xmlns:a16="http://schemas.microsoft.com/office/drawing/2014/main" id="{ECC06F0B-AD01-45AB-8D9F-2D8EF2E12EA9}"/>
              </a:ext>
            </a:extLst>
          </p:cNvPr>
          <p:cNvGraphicFramePr>
            <a:graphicFrameLocks/>
          </p:cNvGraphicFramePr>
          <p:nvPr>
            <p:extLst>
              <p:ext uri="{D42A27DB-BD31-4B8C-83A1-F6EECF244321}">
                <p14:modId xmlns:p14="http://schemas.microsoft.com/office/powerpoint/2010/main" val="2102455323"/>
              </p:ext>
            </p:extLst>
          </p:nvPr>
        </p:nvGraphicFramePr>
        <p:xfrm>
          <a:off x="331992" y="1134714"/>
          <a:ext cx="4178808" cy="450249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4" name="Chart 23">
            <a:extLst>
              <a:ext uri="{FF2B5EF4-FFF2-40B4-BE49-F238E27FC236}">
                <a16:creationId xmlns:a16="http://schemas.microsoft.com/office/drawing/2014/main" id="{BD0B4780-13E9-4A74-9249-62B593B080AE}"/>
              </a:ext>
            </a:extLst>
          </p:cNvPr>
          <p:cNvGraphicFramePr>
            <a:graphicFrameLocks/>
          </p:cNvGraphicFramePr>
          <p:nvPr>
            <p:extLst>
              <p:ext uri="{D42A27DB-BD31-4B8C-83A1-F6EECF244321}">
                <p14:modId xmlns:p14="http://schemas.microsoft.com/office/powerpoint/2010/main" val="2332517366"/>
              </p:ext>
            </p:extLst>
          </p:nvPr>
        </p:nvGraphicFramePr>
        <p:xfrm>
          <a:off x="4707290" y="1041462"/>
          <a:ext cx="4178808" cy="469345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6" name="Table 25">
            <a:extLst>
              <a:ext uri="{FF2B5EF4-FFF2-40B4-BE49-F238E27FC236}">
                <a16:creationId xmlns:a16="http://schemas.microsoft.com/office/drawing/2014/main" id="{62D78C67-CA9F-4609-988B-2146126BD15D}"/>
              </a:ext>
            </a:extLst>
          </p:cNvPr>
          <p:cNvGraphicFramePr>
            <a:graphicFrameLocks noGrp="1"/>
          </p:cNvGraphicFramePr>
          <p:nvPr>
            <p:extLst>
              <p:ext uri="{D42A27DB-BD31-4B8C-83A1-F6EECF244321}">
                <p14:modId xmlns:p14="http://schemas.microsoft.com/office/powerpoint/2010/main" val="3483866717"/>
              </p:ext>
            </p:extLst>
          </p:nvPr>
        </p:nvGraphicFramePr>
        <p:xfrm>
          <a:off x="667477" y="2126582"/>
          <a:ext cx="2907069" cy="603504"/>
        </p:xfrm>
        <a:graphic>
          <a:graphicData uri="http://schemas.openxmlformats.org/drawingml/2006/table">
            <a:tbl>
              <a:tblPr firstRow="1" bandRow="1">
                <a:tableStyleId>{5C22544A-7EE6-4342-B048-85BDC9FD1C3A}</a:tableStyleId>
              </a:tblPr>
              <a:tblGrid>
                <a:gridCol w="984157">
                  <a:extLst>
                    <a:ext uri="{9D8B030D-6E8A-4147-A177-3AD203B41FA5}">
                      <a16:colId xmlns:a16="http://schemas.microsoft.com/office/drawing/2014/main" val="20000"/>
                    </a:ext>
                  </a:extLst>
                </a:gridCol>
                <a:gridCol w="961456">
                  <a:extLst>
                    <a:ext uri="{9D8B030D-6E8A-4147-A177-3AD203B41FA5}">
                      <a16:colId xmlns:a16="http://schemas.microsoft.com/office/drawing/2014/main" val="3130916963"/>
                    </a:ext>
                  </a:extLst>
                </a:gridCol>
                <a:gridCol w="961456">
                  <a:extLst>
                    <a:ext uri="{9D8B030D-6E8A-4147-A177-3AD203B41FA5}">
                      <a16:colId xmlns:a16="http://schemas.microsoft.com/office/drawing/2014/main" val="568948345"/>
                    </a:ext>
                  </a:extLst>
                </a:gridCol>
              </a:tblGrid>
              <a:tr h="201168">
                <a:tc grid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1" kern="1200">
                          <a:solidFill>
                            <a:schemeClr val="lt1"/>
                          </a:solidFill>
                          <a:latin typeface="+mn-lt"/>
                          <a:ea typeface="+mn-ea"/>
                          <a:cs typeface="+mn-cs"/>
                        </a:rPr>
                        <a:t>Non-Persistent Inflation Share </a:t>
                      </a:r>
                    </a:p>
                  </a:txBody>
                  <a:tcPr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768692"/>
                    </a:solidFill>
                  </a:tcPr>
                </a:tc>
                <a:tc hMerge="1">
                  <a:txBody>
                    <a:bodyPr/>
                    <a:lstStyle/>
                    <a:p>
                      <a:endParaRPr lang="en-US"/>
                    </a:p>
                  </a:txBody>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b="1" kern="1200">
                        <a:solidFill>
                          <a:schemeClr val="lt1"/>
                        </a:solidFill>
                        <a:latin typeface="+mn-lt"/>
                        <a:ea typeface="+mn-ea"/>
                        <a:cs typeface="+mn-cs"/>
                      </a:endParaRPr>
                    </a:p>
                  </a:txBody>
                  <a:tcPr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768692"/>
                    </a:solidFill>
                  </a:tcPr>
                </a:tc>
                <a:extLst>
                  <a:ext uri="{0D108BD9-81ED-4DB2-BD59-A6C34878D82A}">
                    <a16:rowId xmlns:a16="http://schemas.microsoft.com/office/drawing/2014/main" val="10000"/>
                  </a:ext>
                </a:extLst>
              </a:tr>
              <a:tr h="201168">
                <a:tc>
                  <a:txBody>
                    <a:bodyPr/>
                    <a:lstStyle/>
                    <a:p>
                      <a:pPr algn="ctr" fontAlgn="b"/>
                      <a:r>
                        <a:rPr lang="en-US" sz="1000" b="1" i="0" u="none" strike="noStrike">
                          <a:solidFill>
                            <a:schemeClr val="bg1"/>
                          </a:solidFill>
                          <a:effectLst/>
                          <a:latin typeface="+mn-lt"/>
                        </a:rPr>
                        <a:t>May 2021</a:t>
                      </a:r>
                    </a:p>
                  </a:txBody>
                  <a:tcPr marR="9525" marT="0" marB="0" anchor="ctr">
                    <a:lnL w="12700" cmpd="sng">
                      <a:noFill/>
                    </a:lnL>
                    <a:lnR w="12700" cmpd="sng">
                      <a:noFill/>
                    </a:lnR>
                    <a:lnT w="9525" cap="flat" cmpd="sng" algn="ctr">
                      <a:no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solidFill>
                      <a:srgbClr val="ADB6BE"/>
                    </a:solidFill>
                  </a:tcPr>
                </a:tc>
                <a:tc>
                  <a:txBody>
                    <a:bodyPr/>
                    <a:lstStyle/>
                    <a:p>
                      <a:pPr algn="ctr" fontAlgn="b"/>
                      <a:r>
                        <a:rPr lang="en-US" sz="1000" b="1" i="0" u="none" strike="noStrike" kern="1200">
                          <a:solidFill>
                            <a:schemeClr val="bg1"/>
                          </a:solidFill>
                          <a:effectLst/>
                          <a:latin typeface="+mn-lt"/>
                          <a:ea typeface="+mn-ea"/>
                          <a:cs typeface="+mn-cs"/>
                        </a:rPr>
                        <a:t>Jan 2022</a:t>
                      </a:r>
                    </a:p>
                  </a:txBody>
                  <a:tcPr marR="9525" marT="0" marB="0" anchor="ctr">
                    <a:lnL w="12700" cmpd="sng">
                      <a:noFill/>
                    </a:lnL>
                    <a:lnR w="12700" cmpd="sng">
                      <a:noFill/>
                    </a:lnR>
                    <a:lnT w="9525" cap="flat" cmpd="sng" algn="ctr">
                      <a:no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solidFill>
                      <a:srgbClr val="ADB6BE"/>
                    </a:solidFill>
                  </a:tcPr>
                </a:tc>
                <a:tc>
                  <a:txBody>
                    <a:bodyPr/>
                    <a:lstStyle/>
                    <a:p>
                      <a:pPr algn="ctr" fontAlgn="b"/>
                      <a:r>
                        <a:rPr lang="en-US" sz="1000" b="1" i="0" u="none" strike="noStrike">
                          <a:solidFill>
                            <a:schemeClr val="bg1"/>
                          </a:solidFill>
                          <a:effectLst/>
                          <a:latin typeface="+mn-lt"/>
                        </a:rPr>
                        <a:t>May 2022</a:t>
                      </a:r>
                    </a:p>
                  </a:txBody>
                  <a:tcPr marR="9525" marT="0" marB="0" anchor="ctr">
                    <a:lnL w="12700" cmpd="sng">
                      <a:noFill/>
                    </a:lnL>
                    <a:lnR w="12700" cmpd="sng">
                      <a:noFill/>
                    </a:lnR>
                    <a:lnT w="9525" cap="flat" cmpd="sng" algn="ctr">
                      <a:no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solidFill>
                      <a:srgbClr val="ADB6BE"/>
                    </a:solidFill>
                  </a:tcPr>
                </a:tc>
                <a:extLst>
                  <a:ext uri="{0D108BD9-81ED-4DB2-BD59-A6C34878D82A}">
                    <a16:rowId xmlns:a16="http://schemas.microsoft.com/office/drawing/2014/main" val="10002"/>
                  </a:ext>
                </a:extLst>
              </a:tr>
              <a:tr h="201168">
                <a:tc>
                  <a:txBody>
                    <a:bodyPr/>
                    <a:lstStyle/>
                    <a:p>
                      <a:pPr algn="ctr" fontAlgn="b"/>
                      <a:r>
                        <a:rPr lang="en-US" sz="1000" b="0" i="0" u="none" strike="noStrike">
                          <a:solidFill>
                            <a:srgbClr val="000000"/>
                          </a:solidFill>
                          <a:effectLst/>
                          <a:latin typeface="+mj-lt"/>
                        </a:rPr>
                        <a:t>64%</a:t>
                      </a:r>
                    </a:p>
                  </a:txBody>
                  <a:tcPr marR="9525" marT="0" marB="0" anchor="ctr">
                    <a:lnL w="12700" cmpd="sng">
                      <a:noFill/>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0" i="0" u="none" strike="noStrike">
                          <a:solidFill>
                            <a:srgbClr val="000000"/>
                          </a:solidFill>
                          <a:effectLst/>
                          <a:latin typeface="+mj-lt"/>
                        </a:rPr>
                        <a:t>33%</a:t>
                      </a:r>
                    </a:p>
                  </a:txBody>
                  <a:tcPr marR="9525" marT="0" marB="0" anchor="ctr">
                    <a:lnL w="12700" cmpd="sng">
                      <a:noFill/>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0" i="0" u="none" strike="noStrike">
                          <a:solidFill>
                            <a:srgbClr val="000000"/>
                          </a:solidFill>
                          <a:effectLst/>
                          <a:latin typeface="+mj-lt"/>
                        </a:rPr>
                        <a:t>50%</a:t>
                      </a:r>
                    </a:p>
                  </a:txBody>
                  <a:tcPr marR="9525" marT="0" marB="0" anchor="ctr">
                    <a:lnL w="12700" cmpd="sng">
                      <a:noFill/>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28" name="TextBox 15">
            <a:extLst>
              <a:ext uri="{FF2B5EF4-FFF2-40B4-BE49-F238E27FC236}">
                <a16:creationId xmlns:a16="http://schemas.microsoft.com/office/drawing/2014/main" id="{3AEE680F-EABA-4751-ABC0-24D952320CD8}"/>
              </a:ext>
            </a:extLst>
          </p:cNvPr>
          <p:cNvSpPr txBox="1"/>
          <p:nvPr/>
        </p:nvSpPr>
        <p:spPr>
          <a:xfrm>
            <a:off x="4707290" y="1736414"/>
            <a:ext cx="1854279"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Year-over-Year</a:t>
            </a:r>
          </a:p>
        </p:txBody>
      </p:sp>
      <p:sp>
        <p:nvSpPr>
          <p:cNvPr id="11" name="TextBox 15">
            <a:extLst>
              <a:ext uri="{FF2B5EF4-FFF2-40B4-BE49-F238E27FC236}">
                <a16:creationId xmlns:a16="http://schemas.microsoft.com/office/drawing/2014/main" id="{EF09C428-91CD-4832-8971-B070FE75A860}"/>
              </a:ext>
            </a:extLst>
          </p:cNvPr>
          <p:cNvSpPr txBox="1"/>
          <p:nvPr/>
        </p:nvSpPr>
        <p:spPr>
          <a:xfrm>
            <a:off x="335903" y="1745461"/>
            <a:ext cx="1854279"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Z-Score</a:t>
            </a:r>
          </a:p>
        </p:txBody>
      </p:sp>
      <p:sp>
        <p:nvSpPr>
          <p:cNvPr id="13" name="TextBox 15">
            <a:extLst>
              <a:ext uri="{FF2B5EF4-FFF2-40B4-BE49-F238E27FC236}">
                <a16:creationId xmlns:a16="http://schemas.microsoft.com/office/drawing/2014/main" id="{3325DD2D-99C8-421C-9BD7-76BD68F9AB10}"/>
              </a:ext>
            </a:extLst>
          </p:cNvPr>
          <p:cNvSpPr txBox="1"/>
          <p:nvPr/>
        </p:nvSpPr>
        <p:spPr>
          <a:xfrm>
            <a:off x="2138235" y="2829108"/>
            <a:ext cx="1686271"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Worsening Conditions</a:t>
            </a:r>
          </a:p>
        </p:txBody>
      </p:sp>
      <p:sp>
        <p:nvSpPr>
          <p:cNvPr id="14" name="TextBox 15">
            <a:extLst>
              <a:ext uri="{FF2B5EF4-FFF2-40B4-BE49-F238E27FC236}">
                <a16:creationId xmlns:a16="http://schemas.microsoft.com/office/drawing/2014/main" id="{999778E8-A4B4-457A-BB8B-0E3A2F10F6A9}"/>
              </a:ext>
            </a:extLst>
          </p:cNvPr>
          <p:cNvSpPr txBox="1"/>
          <p:nvPr/>
        </p:nvSpPr>
        <p:spPr>
          <a:xfrm>
            <a:off x="2138235" y="4812038"/>
            <a:ext cx="1686271"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Improving Conditions</a:t>
            </a:r>
          </a:p>
        </p:txBody>
      </p:sp>
      <p:sp>
        <p:nvSpPr>
          <p:cNvPr id="35" name="Text Placeholder 2">
            <a:extLst>
              <a:ext uri="{FF2B5EF4-FFF2-40B4-BE49-F238E27FC236}">
                <a16:creationId xmlns:a16="http://schemas.microsoft.com/office/drawing/2014/main" id="{10A4EDA8-B35F-4621-A189-C993825C1FD5}"/>
              </a:ext>
            </a:extLst>
          </p:cNvPr>
          <p:cNvSpPr txBox="1">
            <a:spLocks/>
          </p:cNvSpPr>
          <p:nvPr/>
        </p:nvSpPr>
        <p:spPr>
          <a:xfrm>
            <a:off x="315668" y="1226255"/>
            <a:ext cx="4248455" cy="248801"/>
          </a:xfrm>
          <a:prstGeom prst="rect">
            <a:avLst/>
          </a:prstGeom>
          <a:noFill/>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sz="1800" b="1" i="0" u="none" strike="noStrike" kern="1200" baseline="0">
                <a:solidFill>
                  <a:sysClr val="windowText" lastClr="000000"/>
                </a:solidFill>
                <a:latin typeface="+mn-lt"/>
                <a:ea typeface="+mn-ea"/>
                <a:cs typeface="+mn-cs"/>
              </a:defRPr>
            </a:pPr>
            <a:r>
              <a:rPr kumimoji="0" lang="en-US" sz="1400" b="1" i="0" u="none" strike="noStrike" kern="1200" cap="none" spc="0" normalizeH="0" baseline="0" noProof="0" dirty="0">
                <a:ln>
                  <a:noFill/>
                </a:ln>
                <a:solidFill>
                  <a:srgbClr val="000000"/>
                </a:solidFill>
                <a:effectLst/>
                <a:uLnTx/>
                <a:uFillTx/>
                <a:latin typeface="Arial"/>
                <a:ea typeface="ＭＳ Ｐゴシック"/>
              </a:rPr>
              <a:t>Supply Chain Impact on Inflation </a:t>
            </a:r>
          </a:p>
        </p:txBody>
      </p:sp>
      <p:sp>
        <p:nvSpPr>
          <p:cNvPr id="37" name="Text Placeholder 2">
            <a:extLst>
              <a:ext uri="{FF2B5EF4-FFF2-40B4-BE49-F238E27FC236}">
                <a16:creationId xmlns:a16="http://schemas.microsoft.com/office/drawing/2014/main" id="{D19EFC56-0CE8-4A2A-8965-4D08F0855130}"/>
              </a:ext>
            </a:extLst>
          </p:cNvPr>
          <p:cNvSpPr txBox="1">
            <a:spLocks/>
          </p:cNvSpPr>
          <p:nvPr/>
        </p:nvSpPr>
        <p:spPr>
          <a:xfrm>
            <a:off x="4714875" y="1217207"/>
            <a:ext cx="3913276" cy="248801"/>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sz="1800" b="1" i="0" u="none" strike="noStrike" kern="1200" baseline="0">
                <a:solidFill>
                  <a:sysClr val="windowText" lastClr="000000"/>
                </a:solidFill>
                <a:latin typeface="+mn-lt"/>
                <a:ea typeface="+mn-ea"/>
                <a:cs typeface="+mn-cs"/>
              </a:defRPr>
            </a:pPr>
            <a:r>
              <a:rPr kumimoji="0" lang="en-US" sz="1400" b="1" i="0" u="none" strike="noStrike" kern="1200" cap="none" spc="0" normalizeH="0" baseline="0" noProof="0" dirty="0">
                <a:ln>
                  <a:noFill/>
                </a:ln>
                <a:solidFill>
                  <a:srgbClr val="000000"/>
                </a:solidFill>
                <a:effectLst/>
                <a:uLnTx/>
                <a:uFillTx/>
                <a:latin typeface="Arial"/>
                <a:ea typeface="ＭＳ Ｐゴシック"/>
              </a:rPr>
              <a:t>Home and Food Price Growth</a:t>
            </a:r>
          </a:p>
        </p:txBody>
      </p:sp>
      <p:sp>
        <p:nvSpPr>
          <p:cNvPr id="15" name="Footer Placeholder 1">
            <a:extLst>
              <a:ext uri="{FF2B5EF4-FFF2-40B4-BE49-F238E27FC236}">
                <a16:creationId xmlns:a16="http://schemas.microsoft.com/office/drawing/2014/main" id="{EB739F1D-FE36-4269-ADAE-9DF1E9529FAF}"/>
              </a:ext>
            </a:extLst>
          </p:cNvPr>
          <p:cNvSpPr txBox="1">
            <a:spLocks/>
          </p:cNvSpPr>
          <p:nvPr/>
        </p:nvSpPr>
        <p:spPr bwMode="auto">
          <a:xfrm>
            <a:off x="320040" y="6508597"/>
            <a:ext cx="3931920" cy="173736"/>
          </a:xfrm>
          <a:prstGeom prst="rect">
            <a:avLst/>
          </a:prstGeom>
          <a:noFill/>
          <a:ln w="9525">
            <a:noFill/>
            <a:miter lim="800000"/>
            <a:headEnd/>
            <a:tailEnd/>
          </a:ln>
          <a:effectLst/>
        </p:spPr>
        <p:txBody>
          <a:bodyPr vert="horz" wrap="square" lIns="91440" tIns="0" rIns="91440" bIns="0" numCol="1" anchor="b" anchorCtr="0" compatLnSpc="1">
            <a:prstTxWarp prst="textNoShape">
              <a:avLst/>
            </a:prstTxWarp>
          </a:bodyPr>
          <a:lstStyle>
            <a:defPPr>
              <a:defRPr lang="en-US"/>
            </a:defPPr>
            <a:lvl1pPr algn="l" rtl="0" eaLnBrk="0" fontAlgn="base" hangingPunct="0">
              <a:spcBef>
                <a:spcPct val="0"/>
              </a:spcBef>
              <a:spcAft>
                <a:spcPct val="0"/>
              </a:spcAft>
              <a:defRPr sz="800" b="0" kern="1200" smtClean="0">
                <a:solidFill>
                  <a:srgbClr val="000000"/>
                </a:solidFill>
                <a:latin typeface="Arial" charset="0"/>
                <a:ea typeface="ＭＳ Ｐゴシック" charset="-128"/>
                <a:cs typeface="+mn-cs"/>
              </a:defRPr>
            </a:lvl1pPr>
            <a:lvl2pPr marL="457200" algn="l" rtl="0" fontAlgn="base">
              <a:spcBef>
                <a:spcPct val="0"/>
              </a:spcBef>
              <a:spcAft>
                <a:spcPct val="0"/>
              </a:spcAft>
              <a:defRPr sz="1200" kern="1200">
                <a:solidFill>
                  <a:schemeClr val="tx1"/>
                </a:solidFill>
                <a:latin typeface="Arial" pitchFamily="34" charset="0"/>
                <a:ea typeface="ＭＳ Ｐゴシック"/>
                <a:cs typeface="ＭＳ Ｐゴシック"/>
              </a:defRPr>
            </a:lvl2pPr>
            <a:lvl3pPr marL="914400" algn="l" rtl="0" fontAlgn="base">
              <a:spcBef>
                <a:spcPct val="0"/>
              </a:spcBef>
              <a:spcAft>
                <a:spcPct val="0"/>
              </a:spcAft>
              <a:defRPr sz="1200" kern="1200">
                <a:solidFill>
                  <a:schemeClr val="tx1"/>
                </a:solidFill>
                <a:latin typeface="Arial" pitchFamily="34" charset="0"/>
                <a:ea typeface="ＭＳ Ｐゴシック"/>
                <a:cs typeface="ＭＳ Ｐゴシック"/>
              </a:defRPr>
            </a:lvl3pPr>
            <a:lvl4pPr marL="1371600" algn="l" rtl="0" fontAlgn="base">
              <a:spcBef>
                <a:spcPct val="0"/>
              </a:spcBef>
              <a:spcAft>
                <a:spcPct val="0"/>
              </a:spcAft>
              <a:defRPr sz="1200" kern="1200">
                <a:solidFill>
                  <a:schemeClr val="tx1"/>
                </a:solidFill>
                <a:latin typeface="Arial" pitchFamily="34" charset="0"/>
                <a:ea typeface="ＭＳ Ｐゴシック"/>
                <a:cs typeface="ＭＳ Ｐゴシック"/>
              </a:defRPr>
            </a:lvl4pPr>
            <a:lvl5pPr marL="1828800" algn="l" rtl="0" fontAlgn="base">
              <a:spcBef>
                <a:spcPct val="0"/>
              </a:spcBef>
              <a:spcAft>
                <a:spcPct val="0"/>
              </a:spcAft>
              <a:defRPr sz="1200" kern="1200">
                <a:solidFill>
                  <a:schemeClr val="tx1"/>
                </a:solidFill>
                <a:latin typeface="Arial" pitchFamily="34" charset="0"/>
                <a:ea typeface="ＭＳ Ｐゴシック"/>
                <a:cs typeface="ＭＳ Ｐゴシック"/>
              </a:defRPr>
            </a:lvl5pPr>
            <a:lvl6pPr marL="2286000" algn="l" defTabSz="914400" rtl="0" eaLnBrk="1" latinLnBrk="0" hangingPunct="1">
              <a:defRPr sz="1200" kern="1200">
                <a:solidFill>
                  <a:schemeClr val="tx1"/>
                </a:solidFill>
                <a:latin typeface="Arial" pitchFamily="34" charset="0"/>
                <a:ea typeface="ＭＳ Ｐゴシック"/>
                <a:cs typeface="ＭＳ Ｐゴシック"/>
              </a:defRPr>
            </a:lvl6pPr>
            <a:lvl7pPr marL="2743200" algn="l" defTabSz="914400" rtl="0" eaLnBrk="1" latinLnBrk="0" hangingPunct="1">
              <a:defRPr sz="1200" kern="1200">
                <a:solidFill>
                  <a:schemeClr val="tx1"/>
                </a:solidFill>
                <a:latin typeface="Arial" pitchFamily="34" charset="0"/>
                <a:ea typeface="ＭＳ Ｐゴシック"/>
                <a:cs typeface="ＭＳ Ｐゴシック"/>
              </a:defRPr>
            </a:lvl7pPr>
            <a:lvl8pPr marL="3200400" algn="l" defTabSz="914400" rtl="0" eaLnBrk="1" latinLnBrk="0" hangingPunct="1">
              <a:defRPr sz="1200" kern="1200">
                <a:solidFill>
                  <a:schemeClr val="tx1"/>
                </a:solidFill>
                <a:latin typeface="Arial" pitchFamily="34" charset="0"/>
                <a:ea typeface="ＭＳ Ｐゴシック"/>
                <a:cs typeface="ＭＳ Ｐゴシック"/>
              </a:defRPr>
            </a:lvl8pPr>
            <a:lvl9pPr marL="3657600" algn="l" defTabSz="914400" rtl="0" eaLnBrk="1" latinLnBrk="0" hangingPunct="1">
              <a:defRPr sz="1200" kern="1200">
                <a:solidFill>
                  <a:schemeClr val="tx1"/>
                </a:solidFill>
                <a:latin typeface="Arial" pitchFamily="34" charset="0"/>
                <a:ea typeface="ＭＳ Ｐゴシック"/>
                <a:cs typeface="ＭＳ Ｐゴシック"/>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charset="0"/>
                <a:ea typeface="ＭＳ Ｐゴシック" charset="-128"/>
                <a:cs typeface="+mn-cs"/>
              </a:rPr>
              <a:t>For institutional use only.</a:t>
            </a:r>
          </a:p>
        </p:txBody>
      </p:sp>
    </p:spTree>
    <p:extLst>
      <p:ext uri="{BB962C8B-B14F-4D97-AF65-F5344CB8AC3E}">
        <p14:creationId xmlns:p14="http://schemas.microsoft.com/office/powerpoint/2010/main" val="343334852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 12">
            <a:extLst>
              <a:ext uri="{FF2B5EF4-FFF2-40B4-BE49-F238E27FC236}">
                <a16:creationId xmlns:a16="http://schemas.microsoft.com/office/drawing/2014/main" id="{613F6020-DDC1-4313-8FEC-4C3ECC97894A}"/>
              </a:ext>
            </a:extLst>
          </p:cNvPr>
          <p:cNvGraphicFramePr>
            <a:graphicFrameLocks/>
          </p:cNvGraphicFramePr>
          <p:nvPr>
            <p:extLst>
              <p:ext uri="{D42A27DB-BD31-4B8C-83A1-F6EECF244321}">
                <p14:modId xmlns:p14="http://schemas.microsoft.com/office/powerpoint/2010/main" val="2418807818"/>
              </p:ext>
            </p:extLst>
          </p:nvPr>
        </p:nvGraphicFramePr>
        <p:xfrm>
          <a:off x="4538374" y="1089115"/>
          <a:ext cx="4472149" cy="4638550"/>
        </p:xfrm>
        <a:graphic>
          <a:graphicData uri="http://schemas.openxmlformats.org/drawingml/2006/chart">
            <c:chart xmlns:c="http://schemas.openxmlformats.org/drawingml/2006/chart" xmlns:r="http://schemas.openxmlformats.org/officeDocument/2006/relationships" r:id="rId3"/>
          </a:graphicData>
        </a:graphic>
      </p:graphicFrame>
      <p:sp>
        <p:nvSpPr>
          <p:cNvPr id="12" name="Rectangle 11">
            <a:extLst>
              <a:ext uri="{FF2B5EF4-FFF2-40B4-BE49-F238E27FC236}">
                <a16:creationId xmlns:a16="http://schemas.microsoft.com/office/drawing/2014/main" id="{33D8EF87-DD77-4348-BB74-C55C2FB88167}"/>
              </a:ext>
            </a:extLst>
          </p:cNvPr>
          <p:cNvSpPr/>
          <p:nvPr/>
        </p:nvSpPr>
        <p:spPr>
          <a:xfrm>
            <a:off x="4703444" y="1712912"/>
            <a:ext cx="857912" cy="246221"/>
          </a:xfrm>
          <a:prstGeom prst="rect">
            <a:avLst/>
          </a:prstGeom>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Z-Score</a:t>
            </a:r>
          </a:p>
        </p:txBody>
      </p:sp>
      <p:sp>
        <p:nvSpPr>
          <p:cNvPr id="14" name="TextBox 9">
            <a:extLst>
              <a:ext uri="{FF2B5EF4-FFF2-40B4-BE49-F238E27FC236}">
                <a16:creationId xmlns:a16="http://schemas.microsoft.com/office/drawing/2014/main" id="{657D3BC5-D950-4AAD-8867-7801EA0DF34F}"/>
              </a:ext>
            </a:extLst>
          </p:cNvPr>
          <p:cNvSpPr txBox="1"/>
          <p:nvPr/>
        </p:nvSpPr>
        <p:spPr>
          <a:xfrm>
            <a:off x="6344930" y="2465922"/>
            <a:ext cx="810196" cy="4001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Tighter</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7A9A3D"/>
              </a:solidFill>
              <a:effectLst/>
              <a:uLnTx/>
              <a:uFillTx/>
              <a:latin typeface="Arial"/>
              <a:ea typeface="+mn-ea"/>
              <a:cs typeface="+mn-cs"/>
            </a:endParaRPr>
          </a:p>
        </p:txBody>
      </p:sp>
      <p:sp>
        <p:nvSpPr>
          <p:cNvPr id="15" name="TextBox 9">
            <a:extLst>
              <a:ext uri="{FF2B5EF4-FFF2-40B4-BE49-F238E27FC236}">
                <a16:creationId xmlns:a16="http://schemas.microsoft.com/office/drawing/2014/main" id="{A08A7F07-EC57-4E00-AC55-F1A10AF07DEC}"/>
              </a:ext>
            </a:extLst>
          </p:cNvPr>
          <p:cNvSpPr txBox="1"/>
          <p:nvPr/>
        </p:nvSpPr>
        <p:spPr>
          <a:xfrm>
            <a:off x="6344930" y="4898224"/>
            <a:ext cx="810196" cy="4001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Easier</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7A9A3D"/>
              </a:solidFill>
              <a:effectLst/>
              <a:uLnTx/>
              <a:uFillTx/>
              <a:latin typeface="Arial"/>
              <a:ea typeface="+mn-ea"/>
              <a:cs typeface="+mn-cs"/>
            </a:endParaRPr>
          </a:p>
        </p:txBody>
      </p:sp>
      <p:sp>
        <p:nvSpPr>
          <p:cNvPr id="16" name="Text Placeholder 2">
            <a:extLst>
              <a:ext uri="{FF2B5EF4-FFF2-40B4-BE49-F238E27FC236}">
                <a16:creationId xmlns:a16="http://schemas.microsoft.com/office/drawing/2014/main" id="{CDC154F1-820B-4A59-8F24-854A70CF24FE}"/>
              </a:ext>
            </a:extLst>
          </p:cNvPr>
          <p:cNvSpPr txBox="1">
            <a:spLocks/>
          </p:cNvSpPr>
          <p:nvPr/>
        </p:nvSpPr>
        <p:spPr>
          <a:xfrm>
            <a:off x="331213" y="1192600"/>
            <a:ext cx="4347210" cy="248801"/>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sz="1800" b="1" i="0" u="none" strike="noStrike" kern="1200" baseline="0">
                <a:solidFill>
                  <a:sysClr val="windowText" lastClr="000000"/>
                </a:solidFill>
                <a:latin typeface="+mn-lt"/>
                <a:ea typeface="+mn-ea"/>
                <a:cs typeface="+mn-cs"/>
              </a:defRPr>
            </a:pPr>
            <a:r>
              <a:rPr kumimoji="0" lang="en-US" sz="1400" b="1" i="0" u="none" strike="noStrike" kern="1200" cap="none" spc="0" normalizeH="0" baseline="0" noProof="0" dirty="0">
                <a:ln>
                  <a:noFill/>
                </a:ln>
                <a:solidFill>
                  <a:srgbClr val="000000"/>
                </a:solidFill>
                <a:effectLst/>
                <a:uLnTx/>
                <a:uFillTx/>
                <a:latin typeface="Arial"/>
                <a:ea typeface="ＭＳ Ｐゴシック"/>
                <a:cs typeface="Arial" panose="020B0604020202020204" pitchFamily="34" charset="0"/>
              </a:rPr>
              <a:t>CRIC Policy Framework</a:t>
            </a:r>
          </a:p>
        </p:txBody>
      </p:sp>
      <p:sp>
        <p:nvSpPr>
          <p:cNvPr id="17" name="Text Placeholder 2">
            <a:extLst>
              <a:ext uri="{FF2B5EF4-FFF2-40B4-BE49-F238E27FC236}">
                <a16:creationId xmlns:a16="http://schemas.microsoft.com/office/drawing/2014/main" id="{EF99F6B2-BBD1-4821-A013-D821AF428BBE}"/>
              </a:ext>
            </a:extLst>
          </p:cNvPr>
          <p:cNvSpPr txBox="1">
            <a:spLocks/>
          </p:cNvSpPr>
          <p:nvPr/>
        </p:nvSpPr>
        <p:spPr>
          <a:xfrm>
            <a:off x="4707290" y="1183651"/>
            <a:ext cx="4347210" cy="248801"/>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sz="1800" b="1" i="0" u="none" strike="noStrike" kern="1200" baseline="0">
                <a:solidFill>
                  <a:sysClr val="windowText" lastClr="000000"/>
                </a:solidFill>
                <a:latin typeface="+mn-lt"/>
                <a:ea typeface="+mn-ea"/>
                <a:cs typeface="+mn-cs"/>
              </a:defRPr>
            </a:pPr>
            <a:r>
              <a:rPr kumimoji="0" lang="en-US" sz="1400" b="1" i="0" u="none" strike="noStrike" kern="1200" cap="none" spc="0" normalizeH="0" baseline="0" noProof="0">
                <a:ln>
                  <a:noFill/>
                </a:ln>
                <a:solidFill>
                  <a:sysClr val="windowText" lastClr="000000"/>
                </a:solidFill>
                <a:effectLst/>
                <a:uLnTx/>
                <a:uFillTx/>
                <a:latin typeface="Arial"/>
                <a:ea typeface="ＭＳ Ｐゴシック"/>
              </a:rPr>
              <a:t>Financial Conditions</a:t>
            </a:r>
          </a:p>
        </p:txBody>
      </p:sp>
      <p:sp>
        <p:nvSpPr>
          <p:cNvPr id="53" name="Title 3">
            <a:extLst>
              <a:ext uri="{FF2B5EF4-FFF2-40B4-BE49-F238E27FC236}">
                <a16:creationId xmlns:a16="http://schemas.microsoft.com/office/drawing/2014/main" id="{CFACD6CF-701C-4076-8CAE-3E0AF022EB66}"/>
              </a:ext>
            </a:extLst>
          </p:cNvPr>
          <p:cNvSpPr>
            <a:spLocks noGrp="1"/>
          </p:cNvSpPr>
          <p:nvPr>
            <p:ph type="title"/>
          </p:nvPr>
        </p:nvSpPr>
        <p:spPr/>
        <p:txBody>
          <a:bodyPr>
            <a:normAutofit/>
          </a:bodyPr>
          <a:lstStyle/>
          <a:p>
            <a:r>
              <a:rPr lang="en-US" sz="2700" dirty="0"/>
              <a:t>The Fed Continued to Hike; More to Come</a:t>
            </a:r>
            <a:br>
              <a:rPr lang="en-US" dirty="0"/>
            </a:br>
            <a:endParaRPr lang="en-US" sz="1300" dirty="0"/>
          </a:p>
        </p:txBody>
      </p:sp>
      <p:sp>
        <p:nvSpPr>
          <p:cNvPr id="33" name="Slide Number Placeholder 4">
            <a:extLst>
              <a:ext uri="{FF2B5EF4-FFF2-40B4-BE49-F238E27FC236}">
                <a16:creationId xmlns:a16="http://schemas.microsoft.com/office/drawing/2014/main" id="{A5874FAE-1021-4354-B9D1-77B4525C1E64}"/>
              </a:ext>
            </a:extLst>
          </p:cNvPr>
          <p:cNvSpPr>
            <a:spLocks noGrp="1"/>
          </p:cNvSpPr>
          <p:nvPr>
            <p:ph type="sldNum" sz="quarter" idx="14"/>
          </p:nvPr>
        </p:nvSpPr>
        <p:spPr>
          <a:prstGeom prst="rect">
            <a:avLst/>
          </a:prstGeom>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55772473-24D5-4368-927A-9F91835352F1}" type="slidenum">
              <a:rPr kumimoji="0" lang="en-US" sz="800" b="1" i="0" u="none" strike="noStrike" kern="1200" cap="none" spc="0" normalizeH="0" baseline="0" noProof="0" smtClean="0">
                <a:ln>
                  <a:noFill/>
                </a:ln>
                <a:solidFill>
                  <a:srgbClr val="000000"/>
                </a:solidFill>
                <a:effectLst/>
                <a:uLnTx/>
                <a:uFillTx/>
                <a:latin typeface="Arial"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7</a:t>
            </a:fld>
            <a:endParaRPr kumimoji="0" lang="en-US" sz="800" b="1" i="0" u="none" strike="noStrike" kern="1200" cap="none" spc="0" normalizeH="0" baseline="0" noProof="0">
              <a:ln>
                <a:noFill/>
              </a:ln>
              <a:solidFill>
                <a:srgbClr val="000000"/>
              </a:solidFill>
              <a:effectLst/>
              <a:uLnTx/>
              <a:uFillTx/>
              <a:latin typeface="Arial" charset="0"/>
              <a:ea typeface="ＭＳ Ｐゴシック" charset="-128"/>
              <a:cs typeface="+mn-cs"/>
            </a:endParaRPr>
          </a:p>
        </p:txBody>
      </p:sp>
      <p:sp>
        <p:nvSpPr>
          <p:cNvPr id="24" name="TextBox 23">
            <a:extLst>
              <a:ext uri="{FF2B5EF4-FFF2-40B4-BE49-F238E27FC236}">
                <a16:creationId xmlns:a16="http://schemas.microsoft.com/office/drawing/2014/main" id="{B6F4D851-8D1E-4E2E-9B6F-995EB144E11F}"/>
              </a:ext>
            </a:extLst>
          </p:cNvPr>
          <p:cNvSpPr txBox="1"/>
          <p:nvPr/>
        </p:nvSpPr>
        <p:spPr>
          <a:xfrm>
            <a:off x="327834" y="6093340"/>
            <a:ext cx="8177991" cy="338554"/>
          </a:xfrm>
          <a:prstGeom prst="rect">
            <a:avLst/>
          </a:prstGeom>
          <a:noFill/>
        </p:spPr>
        <p:txBody>
          <a:bodyPr wrap="square" rtlCol="0" anchor="b" anchorCtr="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charset="0"/>
                <a:ea typeface="ＭＳ Ｐゴシック" charset="-128"/>
                <a:cs typeface="+mn-cs"/>
              </a:rPr>
              <a:t>RIGHT: </a:t>
            </a:r>
            <a:r>
              <a:rPr kumimoji="0" lang="en-US" sz="800" b="0" i="0" u="none" strike="noStrike" kern="1200" cap="none" spc="0" normalizeH="0" baseline="0" noProof="0" dirty="0">
                <a:ln>
                  <a:noFill/>
                </a:ln>
                <a:solidFill>
                  <a:srgbClr val="000000"/>
                </a:solidFill>
                <a:effectLst/>
                <a:uLnTx/>
                <a:uFillTx/>
                <a:latin typeface="Arial" charset="0"/>
                <a:ea typeface="ＭＳ Ｐゴシック" charset="-128"/>
                <a:cs typeface="+mn-cs"/>
              </a:rPr>
              <a:t>AART</a:t>
            </a:r>
            <a:r>
              <a:rPr kumimoji="0" lang="en-US" sz="800" b="1" i="0" u="none" strike="noStrike" kern="1200" cap="none" spc="0" normalizeH="0" baseline="0" noProof="0" dirty="0">
                <a:ln>
                  <a:noFill/>
                </a:ln>
                <a:solidFill>
                  <a:srgbClr val="000000"/>
                </a:solidFill>
                <a:effectLst/>
                <a:uLnTx/>
                <a:uFillTx/>
                <a:latin typeface="Arial" charset="0"/>
                <a:ea typeface="ＭＳ Ｐゴシック" charset="-128"/>
                <a:cs typeface="+mn-cs"/>
              </a:rPr>
              <a:t> </a:t>
            </a:r>
            <a:r>
              <a:rPr kumimoji="0" lang="en-US" sz="800" b="0" i="0" u="none" strike="noStrike" kern="1200" cap="none" spc="0" normalizeH="0" baseline="0" noProof="0" dirty="0">
                <a:ln>
                  <a:noFill/>
                </a:ln>
                <a:solidFill>
                  <a:srgbClr val="000000"/>
                </a:solidFill>
                <a:effectLst/>
                <a:uLnTx/>
                <a:uFillTx/>
                <a:latin typeface="Arial" charset="0"/>
                <a:ea typeface="ＭＳ Ｐゴシック" charset="-128"/>
                <a:cs typeface="+mn-cs"/>
              </a:rPr>
              <a:t>Proprietary index: looks at a number of different financial conditions indicators through a Fed lens.</a:t>
            </a:r>
            <a:r>
              <a:rPr kumimoji="0" lang="en-US" sz="800" b="1" i="0" u="none" strike="noStrike" kern="1200" cap="none" spc="0" normalizeH="0" baseline="0" noProof="0" dirty="0">
                <a:ln>
                  <a:noFill/>
                </a:ln>
                <a:solidFill>
                  <a:srgbClr val="000000"/>
                </a:solidFill>
                <a:effectLst/>
                <a:uLnTx/>
                <a:uFillTx/>
                <a:latin typeface="Arial" charset="0"/>
                <a:ea typeface="ＭＳ Ｐゴシック" charset="-128"/>
                <a:cs typeface="+mn-cs"/>
              </a:rPr>
              <a:t> </a:t>
            </a:r>
            <a:r>
              <a:rPr kumimoji="0" lang="en-US" sz="800" b="0" i="0" u="none" strike="noStrike" kern="1200" cap="none" spc="0" normalizeH="0" baseline="0" noProof="0" dirty="0">
                <a:ln>
                  <a:noFill/>
                </a:ln>
                <a:solidFill>
                  <a:srgbClr val="000000"/>
                </a:solidFill>
                <a:effectLst/>
                <a:uLnTx/>
                <a:uFillTx/>
                <a:latin typeface="Arial" charset="0"/>
                <a:ea typeface="ＭＳ Ｐゴシック" charset="-128"/>
                <a:cs typeface="+mn-cs"/>
              </a:rPr>
              <a:t>Z-score describes the series value by calculating the distance away from the mean in terms of deviations using the series volatility. Sources Bloomberg Financial L.P., Fidelity Investments (AART), as of 6/30/22.</a:t>
            </a:r>
          </a:p>
        </p:txBody>
      </p:sp>
      <p:grpSp>
        <p:nvGrpSpPr>
          <p:cNvPr id="32" name="Group 31">
            <a:extLst>
              <a:ext uri="{FF2B5EF4-FFF2-40B4-BE49-F238E27FC236}">
                <a16:creationId xmlns:a16="http://schemas.microsoft.com/office/drawing/2014/main" id="{0B413154-18E4-4204-8974-7C7C09DFEBE5}"/>
              </a:ext>
            </a:extLst>
          </p:cNvPr>
          <p:cNvGrpSpPr/>
          <p:nvPr/>
        </p:nvGrpSpPr>
        <p:grpSpPr>
          <a:xfrm>
            <a:off x="242955" y="1675293"/>
            <a:ext cx="3987957" cy="3959311"/>
            <a:chOff x="265658" y="1898499"/>
            <a:chExt cx="4232424" cy="4202022"/>
          </a:xfrm>
        </p:grpSpPr>
        <p:grpSp>
          <p:nvGrpSpPr>
            <p:cNvPr id="54" name="Group 53">
              <a:extLst>
                <a:ext uri="{FF2B5EF4-FFF2-40B4-BE49-F238E27FC236}">
                  <a16:creationId xmlns:a16="http://schemas.microsoft.com/office/drawing/2014/main" id="{F327CA77-0919-4F35-BFCE-AD94CEEEFC02}"/>
                </a:ext>
              </a:extLst>
            </p:cNvPr>
            <p:cNvGrpSpPr/>
            <p:nvPr/>
          </p:nvGrpSpPr>
          <p:grpSpPr>
            <a:xfrm>
              <a:off x="265658" y="1898499"/>
              <a:ext cx="4232424" cy="4202022"/>
              <a:chOff x="284512" y="2090200"/>
              <a:chExt cx="3821937" cy="3794484"/>
            </a:xfrm>
          </p:grpSpPr>
          <p:grpSp>
            <p:nvGrpSpPr>
              <p:cNvPr id="59" name="Group 58">
                <a:extLst>
                  <a:ext uri="{FF2B5EF4-FFF2-40B4-BE49-F238E27FC236}">
                    <a16:creationId xmlns:a16="http://schemas.microsoft.com/office/drawing/2014/main" id="{132923E6-C32C-48A7-8E60-2A8F6F5A903E}"/>
                  </a:ext>
                </a:extLst>
              </p:cNvPr>
              <p:cNvGrpSpPr/>
              <p:nvPr/>
            </p:nvGrpSpPr>
            <p:grpSpPr>
              <a:xfrm>
                <a:off x="284512" y="2090200"/>
                <a:ext cx="3821937" cy="3794484"/>
                <a:chOff x="284512" y="2090200"/>
                <a:chExt cx="3821937" cy="3794484"/>
              </a:xfrm>
            </p:grpSpPr>
            <p:grpSp>
              <p:nvGrpSpPr>
                <p:cNvPr id="61" name="Group 4">
                  <a:extLst>
                    <a:ext uri="{FF2B5EF4-FFF2-40B4-BE49-F238E27FC236}">
                      <a16:creationId xmlns:a16="http://schemas.microsoft.com/office/drawing/2014/main" id="{9FA03C6C-C12B-4B6B-A9B8-3579F03E5AE4}"/>
                    </a:ext>
                  </a:extLst>
                </p:cNvPr>
                <p:cNvGrpSpPr>
                  <a:grpSpLocks noChangeAspect="1"/>
                </p:cNvGrpSpPr>
                <p:nvPr/>
              </p:nvGrpSpPr>
              <p:grpSpPr bwMode="auto">
                <a:xfrm>
                  <a:off x="446296" y="2176206"/>
                  <a:ext cx="3506788" cy="3509730"/>
                  <a:chOff x="1975" y="-366"/>
                  <a:chExt cx="2384" cy="2386"/>
                </a:xfrm>
              </p:grpSpPr>
              <p:sp>
                <p:nvSpPr>
                  <p:cNvPr id="75" name="Freeform 5">
                    <a:extLst>
                      <a:ext uri="{FF2B5EF4-FFF2-40B4-BE49-F238E27FC236}">
                        <a16:creationId xmlns:a16="http://schemas.microsoft.com/office/drawing/2014/main" id="{9DE954C5-1E13-4992-995B-03219C657BC7}"/>
                      </a:ext>
                    </a:extLst>
                  </p:cNvPr>
                  <p:cNvSpPr>
                    <a:spLocks/>
                  </p:cNvSpPr>
                  <p:nvPr/>
                </p:nvSpPr>
                <p:spPr bwMode="auto">
                  <a:xfrm>
                    <a:off x="3167" y="-366"/>
                    <a:ext cx="1192" cy="1193"/>
                  </a:xfrm>
                  <a:custGeom>
                    <a:avLst/>
                    <a:gdLst>
                      <a:gd name="T0" fmla="*/ 0 w 9933"/>
                      <a:gd name="T1" fmla="*/ 0 h 9933"/>
                      <a:gd name="T2" fmla="*/ 9933 w 9933"/>
                      <a:gd name="T3" fmla="*/ 9933 h 9933"/>
                      <a:gd name="T4" fmla="*/ 0 w 9933"/>
                      <a:gd name="T5" fmla="*/ 9933 h 9933"/>
                      <a:gd name="T6" fmla="*/ 0 w 9933"/>
                      <a:gd name="T7" fmla="*/ 0 h 9933"/>
                    </a:gdLst>
                    <a:ahLst/>
                    <a:cxnLst>
                      <a:cxn ang="0">
                        <a:pos x="T0" y="T1"/>
                      </a:cxn>
                      <a:cxn ang="0">
                        <a:pos x="T2" y="T3"/>
                      </a:cxn>
                      <a:cxn ang="0">
                        <a:pos x="T4" y="T5"/>
                      </a:cxn>
                      <a:cxn ang="0">
                        <a:pos x="T6" y="T7"/>
                      </a:cxn>
                    </a:cxnLst>
                    <a:rect l="0" t="0" r="r" b="b"/>
                    <a:pathLst>
                      <a:path w="9933" h="9933">
                        <a:moveTo>
                          <a:pt x="0" y="0"/>
                        </a:moveTo>
                        <a:cubicBezTo>
                          <a:pt x="5486" y="0"/>
                          <a:pt x="9933" y="4447"/>
                          <a:pt x="9933" y="9933"/>
                        </a:cubicBezTo>
                        <a:lnTo>
                          <a:pt x="0" y="9933"/>
                        </a:lnTo>
                        <a:lnTo>
                          <a:pt x="0" y="0"/>
                        </a:lnTo>
                        <a:close/>
                      </a:path>
                    </a:pathLst>
                  </a:custGeom>
                  <a:solidFill>
                    <a:srgbClr val="DCE8C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itchFamily="34" charset="0"/>
                      <a:ea typeface="ＭＳ Ｐゴシック"/>
                    </a:endParaRPr>
                  </a:p>
                </p:txBody>
              </p:sp>
              <p:sp>
                <p:nvSpPr>
                  <p:cNvPr id="76" name="Freeform 6">
                    <a:extLst>
                      <a:ext uri="{FF2B5EF4-FFF2-40B4-BE49-F238E27FC236}">
                        <a16:creationId xmlns:a16="http://schemas.microsoft.com/office/drawing/2014/main" id="{22692FA5-D50A-49F7-87AE-1EE7563281CE}"/>
                      </a:ext>
                    </a:extLst>
                  </p:cNvPr>
                  <p:cNvSpPr>
                    <a:spLocks/>
                  </p:cNvSpPr>
                  <p:nvPr/>
                </p:nvSpPr>
                <p:spPr bwMode="auto">
                  <a:xfrm>
                    <a:off x="3167" y="827"/>
                    <a:ext cx="1192" cy="1193"/>
                  </a:xfrm>
                  <a:custGeom>
                    <a:avLst/>
                    <a:gdLst>
                      <a:gd name="T0" fmla="*/ 9933 w 9933"/>
                      <a:gd name="T1" fmla="*/ 0 h 9934"/>
                      <a:gd name="T2" fmla="*/ 0 w 9933"/>
                      <a:gd name="T3" fmla="*/ 9934 h 9934"/>
                      <a:gd name="T4" fmla="*/ 0 w 9933"/>
                      <a:gd name="T5" fmla="*/ 0 h 9934"/>
                      <a:gd name="T6" fmla="*/ 9933 w 9933"/>
                      <a:gd name="T7" fmla="*/ 0 h 9934"/>
                    </a:gdLst>
                    <a:ahLst/>
                    <a:cxnLst>
                      <a:cxn ang="0">
                        <a:pos x="T0" y="T1"/>
                      </a:cxn>
                      <a:cxn ang="0">
                        <a:pos x="T2" y="T3"/>
                      </a:cxn>
                      <a:cxn ang="0">
                        <a:pos x="T4" y="T5"/>
                      </a:cxn>
                      <a:cxn ang="0">
                        <a:pos x="T6" y="T7"/>
                      </a:cxn>
                    </a:cxnLst>
                    <a:rect l="0" t="0" r="r" b="b"/>
                    <a:pathLst>
                      <a:path w="9933" h="9934">
                        <a:moveTo>
                          <a:pt x="9933" y="0"/>
                        </a:moveTo>
                        <a:cubicBezTo>
                          <a:pt x="9933" y="5486"/>
                          <a:pt x="5486" y="9934"/>
                          <a:pt x="0" y="9934"/>
                        </a:cubicBezTo>
                        <a:lnTo>
                          <a:pt x="0" y="0"/>
                        </a:lnTo>
                        <a:lnTo>
                          <a:pt x="9933" y="0"/>
                        </a:lnTo>
                        <a:close/>
                      </a:path>
                    </a:pathLst>
                  </a:custGeom>
                  <a:solidFill>
                    <a:srgbClr val="C5E6F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itchFamily="34" charset="0"/>
                      <a:ea typeface="ＭＳ Ｐゴシック"/>
                    </a:endParaRPr>
                  </a:p>
                </p:txBody>
              </p:sp>
              <p:sp>
                <p:nvSpPr>
                  <p:cNvPr id="77" name="Freeform 7">
                    <a:extLst>
                      <a:ext uri="{FF2B5EF4-FFF2-40B4-BE49-F238E27FC236}">
                        <a16:creationId xmlns:a16="http://schemas.microsoft.com/office/drawing/2014/main" id="{9390D2BA-ED00-4F61-A886-0E1A7DD77D0E}"/>
                      </a:ext>
                    </a:extLst>
                  </p:cNvPr>
                  <p:cNvSpPr>
                    <a:spLocks/>
                  </p:cNvSpPr>
                  <p:nvPr/>
                </p:nvSpPr>
                <p:spPr bwMode="auto">
                  <a:xfrm>
                    <a:off x="1975" y="827"/>
                    <a:ext cx="1192" cy="1193"/>
                  </a:xfrm>
                  <a:custGeom>
                    <a:avLst/>
                    <a:gdLst>
                      <a:gd name="T0" fmla="*/ 9934 w 9934"/>
                      <a:gd name="T1" fmla="*/ 9934 h 9934"/>
                      <a:gd name="T2" fmla="*/ 0 w 9934"/>
                      <a:gd name="T3" fmla="*/ 0 h 9934"/>
                      <a:gd name="T4" fmla="*/ 9934 w 9934"/>
                      <a:gd name="T5" fmla="*/ 0 h 9934"/>
                      <a:gd name="T6" fmla="*/ 9934 w 9934"/>
                      <a:gd name="T7" fmla="*/ 9934 h 9934"/>
                    </a:gdLst>
                    <a:ahLst/>
                    <a:cxnLst>
                      <a:cxn ang="0">
                        <a:pos x="T0" y="T1"/>
                      </a:cxn>
                      <a:cxn ang="0">
                        <a:pos x="T2" y="T3"/>
                      </a:cxn>
                      <a:cxn ang="0">
                        <a:pos x="T4" y="T5"/>
                      </a:cxn>
                      <a:cxn ang="0">
                        <a:pos x="T6" y="T7"/>
                      </a:cxn>
                    </a:cxnLst>
                    <a:rect l="0" t="0" r="r" b="b"/>
                    <a:pathLst>
                      <a:path w="9934" h="9934">
                        <a:moveTo>
                          <a:pt x="9934" y="9934"/>
                        </a:moveTo>
                        <a:cubicBezTo>
                          <a:pt x="4448" y="9934"/>
                          <a:pt x="0" y="5486"/>
                          <a:pt x="0" y="0"/>
                        </a:cubicBezTo>
                        <a:lnTo>
                          <a:pt x="9934" y="0"/>
                        </a:lnTo>
                        <a:lnTo>
                          <a:pt x="9934" y="9934"/>
                        </a:lnTo>
                        <a:close/>
                      </a:path>
                    </a:pathLst>
                  </a:custGeom>
                  <a:solidFill>
                    <a:srgbClr val="C0D3D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itchFamily="34" charset="0"/>
                      <a:ea typeface="ＭＳ Ｐゴシック"/>
                    </a:endParaRPr>
                  </a:p>
                </p:txBody>
              </p:sp>
              <p:sp>
                <p:nvSpPr>
                  <p:cNvPr id="78" name="Freeform 8">
                    <a:extLst>
                      <a:ext uri="{FF2B5EF4-FFF2-40B4-BE49-F238E27FC236}">
                        <a16:creationId xmlns:a16="http://schemas.microsoft.com/office/drawing/2014/main" id="{C9758E6A-7EBD-47B6-99C9-12BA6544971E}"/>
                      </a:ext>
                    </a:extLst>
                  </p:cNvPr>
                  <p:cNvSpPr>
                    <a:spLocks/>
                  </p:cNvSpPr>
                  <p:nvPr/>
                </p:nvSpPr>
                <p:spPr bwMode="auto">
                  <a:xfrm>
                    <a:off x="1975" y="-366"/>
                    <a:ext cx="1192" cy="1193"/>
                  </a:xfrm>
                  <a:custGeom>
                    <a:avLst/>
                    <a:gdLst>
                      <a:gd name="T0" fmla="*/ 0 w 19867"/>
                      <a:gd name="T1" fmla="*/ 19866 h 19866"/>
                      <a:gd name="T2" fmla="*/ 19867 w 19867"/>
                      <a:gd name="T3" fmla="*/ 0 h 19866"/>
                      <a:gd name="T4" fmla="*/ 19867 w 19867"/>
                      <a:gd name="T5" fmla="*/ 19866 h 19866"/>
                      <a:gd name="T6" fmla="*/ 0 w 19867"/>
                      <a:gd name="T7" fmla="*/ 19866 h 19866"/>
                    </a:gdLst>
                    <a:ahLst/>
                    <a:cxnLst>
                      <a:cxn ang="0">
                        <a:pos x="T0" y="T1"/>
                      </a:cxn>
                      <a:cxn ang="0">
                        <a:pos x="T2" y="T3"/>
                      </a:cxn>
                      <a:cxn ang="0">
                        <a:pos x="T4" y="T5"/>
                      </a:cxn>
                      <a:cxn ang="0">
                        <a:pos x="T6" y="T7"/>
                      </a:cxn>
                    </a:cxnLst>
                    <a:rect l="0" t="0" r="r" b="b"/>
                    <a:pathLst>
                      <a:path w="19867" h="19866">
                        <a:moveTo>
                          <a:pt x="0" y="19866"/>
                        </a:moveTo>
                        <a:cubicBezTo>
                          <a:pt x="0" y="8894"/>
                          <a:pt x="8895" y="0"/>
                          <a:pt x="19867" y="0"/>
                        </a:cubicBezTo>
                        <a:lnTo>
                          <a:pt x="19867" y="19866"/>
                        </a:lnTo>
                        <a:lnTo>
                          <a:pt x="0" y="19866"/>
                        </a:lnTo>
                        <a:close/>
                      </a:path>
                    </a:pathLst>
                  </a:custGeom>
                  <a:solidFill>
                    <a:srgbClr val="DDE3E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itchFamily="34" charset="0"/>
                      <a:ea typeface="ＭＳ Ｐゴシック"/>
                    </a:endParaRPr>
                  </a:p>
                </p:txBody>
              </p:sp>
            </p:grpSp>
            <p:grpSp>
              <p:nvGrpSpPr>
                <p:cNvPr id="62" name="Group 4">
                  <a:extLst>
                    <a:ext uri="{FF2B5EF4-FFF2-40B4-BE49-F238E27FC236}">
                      <a16:creationId xmlns:a16="http://schemas.microsoft.com/office/drawing/2014/main" id="{C5A024BB-FF20-4FAA-9E77-0E6E9A21EF2E}"/>
                    </a:ext>
                  </a:extLst>
                </p:cNvPr>
                <p:cNvGrpSpPr>
                  <a:grpSpLocks noChangeAspect="1"/>
                </p:cNvGrpSpPr>
                <p:nvPr/>
              </p:nvGrpSpPr>
              <p:grpSpPr bwMode="auto">
                <a:xfrm>
                  <a:off x="783475" y="2513669"/>
                  <a:ext cx="2832430" cy="2834805"/>
                  <a:chOff x="1975" y="-366"/>
                  <a:chExt cx="2384" cy="2386"/>
                </a:xfrm>
              </p:grpSpPr>
              <p:sp>
                <p:nvSpPr>
                  <p:cNvPr id="71" name="Freeform 5">
                    <a:extLst>
                      <a:ext uri="{FF2B5EF4-FFF2-40B4-BE49-F238E27FC236}">
                        <a16:creationId xmlns:a16="http://schemas.microsoft.com/office/drawing/2014/main" id="{35B96DE5-013F-4B04-836A-714EB2B01EF1}"/>
                      </a:ext>
                    </a:extLst>
                  </p:cNvPr>
                  <p:cNvSpPr>
                    <a:spLocks/>
                  </p:cNvSpPr>
                  <p:nvPr/>
                </p:nvSpPr>
                <p:spPr bwMode="auto">
                  <a:xfrm>
                    <a:off x="3167" y="-366"/>
                    <a:ext cx="1192" cy="1193"/>
                  </a:xfrm>
                  <a:custGeom>
                    <a:avLst/>
                    <a:gdLst>
                      <a:gd name="T0" fmla="*/ 0 w 9933"/>
                      <a:gd name="T1" fmla="*/ 0 h 9933"/>
                      <a:gd name="T2" fmla="*/ 9933 w 9933"/>
                      <a:gd name="T3" fmla="*/ 9933 h 9933"/>
                      <a:gd name="T4" fmla="*/ 0 w 9933"/>
                      <a:gd name="T5" fmla="*/ 9933 h 9933"/>
                      <a:gd name="T6" fmla="*/ 0 w 9933"/>
                      <a:gd name="T7" fmla="*/ 0 h 9933"/>
                    </a:gdLst>
                    <a:ahLst/>
                    <a:cxnLst>
                      <a:cxn ang="0">
                        <a:pos x="T0" y="T1"/>
                      </a:cxn>
                      <a:cxn ang="0">
                        <a:pos x="T2" y="T3"/>
                      </a:cxn>
                      <a:cxn ang="0">
                        <a:pos x="T4" y="T5"/>
                      </a:cxn>
                      <a:cxn ang="0">
                        <a:pos x="T6" y="T7"/>
                      </a:cxn>
                    </a:cxnLst>
                    <a:rect l="0" t="0" r="r" b="b"/>
                    <a:pathLst>
                      <a:path w="9933" h="9933">
                        <a:moveTo>
                          <a:pt x="0" y="0"/>
                        </a:moveTo>
                        <a:cubicBezTo>
                          <a:pt x="5486" y="0"/>
                          <a:pt x="9933" y="4447"/>
                          <a:pt x="9933" y="9933"/>
                        </a:cubicBezTo>
                        <a:lnTo>
                          <a:pt x="0" y="9933"/>
                        </a:lnTo>
                        <a:lnTo>
                          <a:pt x="0" y="0"/>
                        </a:lnTo>
                        <a:close/>
                      </a:path>
                    </a:pathLst>
                  </a:custGeom>
                  <a:solidFill>
                    <a:srgbClr val="7A9A3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itchFamily="34" charset="0"/>
                      <a:ea typeface="ＭＳ Ｐゴシック"/>
                    </a:endParaRPr>
                  </a:p>
                </p:txBody>
              </p:sp>
              <p:sp>
                <p:nvSpPr>
                  <p:cNvPr id="72" name="Freeform 6">
                    <a:extLst>
                      <a:ext uri="{FF2B5EF4-FFF2-40B4-BE49-F238E27FC236}">
                        <a16:creationId xmlns:a16="http://schemas.microsoft.com/office/drawing/2014/main" id="{6FB2CEF6-FE88-43E1-A48A-BDD276AE57C1}"/>
                      </a:ext>
                    </a:extLst>
                  </p:cNvPr>
                  <p:cNvSpPr>
                    <a:spLocks/>
                  </p:cNvSpPr>
                  <p:nvPr/>
                </p:nvSpPr>
                <p:spPr bwMode="auto">
                  <a:xfrm>
                    <a:off x="3167" y="827"/>
                    <a:ext cx="1192" cy="1193"/>
                  </a:xfrm>
                  <a:custGeom>
                    <a:avLst/>
                    <a:gdLst>
                      <a:gd name="T0" fmla="*/ 9933 w 9933"/>
                      <a:gd name="T1" fmla="*/ 0 h 9934"/>
                      <a:gd name="T2" fmla="*/ 0 w 9933"/>
                      <a:gd name="T3" fmla="*/ 9934 h 9934"/>
                      <a:gd name="T4" fmla="*/ 0 w 9933"/>
                      <a:gd name="T5" fmla="*/ 0 h 9934"/>
                      <a:gd name="T6" fmla="*/ 9933 w 9933"/>
                      <a:gd name="T7" fmla="*/ 0 h 9934"/>
                    </a:gdLst>
                    <a:ahLst/>
                    <a:cxnLst>
                      <a:cxn ang="0">
                        <a:pos x="T0" y="T1"/>
                      </a:cxn>
                      <a:cxn ang="0">
                        <a:pos x="T2" y="T3"/>
                      </a:cxn>
                      <a:cxn ang="0">
                        <a:pos x="T4" y="T5"/>
                      </a:cxn>
                      <a:cxn ang="0">
                        <a:pos x="T6" y="T7"/>
                      </a:cxn>
                    </a:cxnLst>
                    <a:rect l="0" t="0" r="r" b="b"/>
                    <a:pathLst>
                      <a:path w="9933" h="9934">
                        <a:moveTo>
                          <a:pt x="9933" y="0"/>
                        </a:moveTo>
                        <a:cubicBezTo>
                          <a:pt x="9933" y="5486"/>
                          <a:pt x="5486" y="9934"/>
                          <a:pt x="0" y="9934"/>
                        </a:cubicBezTo>
                        <a:lnTo>
                          <a:pt x="0" y="0"/>
                        </a:lnTo>
                        <a:lnTo>
                          <a:pt x="9933" y="0"/>
                        </a:lnTo>
                        <a:close/>
                      </a:path>
                    </a:pathLst>
                  </a:custGeom>
                  <a:solidFill>
                    <a:srgbClr val="298FC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itchFamily="34" charset="0"/>
                      <a:ea typeface="ＭＳ Ｐゴシック"/>
                    </a:endParaRPr>
                  </a:p>
                </p:txBody>
              </p:sp>
              <p:sp>
                <p:nvSpPr>
                  <p:cNvPr id="73" name="Freeform 7">
                    <a:extLst>
                      <a:ext uri="{FF2B5EF4-FFF2-40B4-BE49-F238E27FC236}">
                        <a16:creationId xmlns:a16="http://schemas.microsoft.com/office/drawing/2014/main" id="{2DC322EF-2C0A-4ABA-92FE-D6CA821A8705}"/>
                      </a:ext>
                    </a:extLst>
                  </p:cNvPr>
                  <p:cNvSpPr>
                    <a:spLocks/>
                  </p:cNvSpPr>
                  <p:nvPr/>
                </p:nvSpPr>
                <p:spPr bwMode="auto">
                  <a:xfrm>
                    <a:off x="1975" y="827"/>
                    <a:ext cx="1192" cy="1193"/>
                  </a:xfrm>
                  <a:custGeom>
                    <a:avLst/>
                    <a:gdLst>
                      <a:gd name="T0" fmla="*/ 9934 w 9934"/>
                      <a:gd name="T1" fmla="*/ 9934 h 9934"/>
                      <a:gd name="T2" fmla="*/ 0 w 9934"/>
                      <a:gd name="T3" fmla="*/ 0 h 9934"/>
                      <a:gd name="T4" fmla="*/ 9934 w 9934"/>
                      <a:gd name="T5" fmla="*/ 0 h 9934"/>
                      <a:gd name="T6" fmla="*/ 9934 w 9934"/>
                      <a:gd name="T7" fmla="*/ 9934 h 9934"/>
                    </a:gdLst>
                    <a:ahLst/>
                    <a:cxnLst>
                      <a:cxn ang="0">
                        <a:pos x="T0" y="T1"/>
                      </a:cxn>
                      <a:cxn ang="0">
                        <a:pos x="T2" y="T3"/>
                      </a:cxn>
                      <a:cxn ang="0">
                        <a:pos x="T4" y="T5"/>
                      </a:cxn>
                      <a:cxn ang="0">
                        <a:pos x="T6" y="T7"/>
                      </a:cxn>
                    </a:cxnLst>
                    <a:rect l="0" t="0" r="r" b="b"/>
                    <a:pathLst>
                      <a:path w="9934" h="9934">
                        <a:moveTo>
                          <a:pt x="9934" y="9934"/>
                        </a:moveTo>
                        <a:cubicBezTo>
                          <a:pt x="4448" y="9934"/>
                          <a:pt x="0" y="5486"/>
                          <a:pt x="0" y="0"/>
                        </a:cubicBezTo>
                        <a:lnTo>
                          <a:pt x="9934" y="0"/>
                        </a:lnTo>
                        <a:lnTo>
                          <a:pt x="9934" y="9934"/>
                        </a:lnTo>
                        <a:close/>
                      </a:path>
                    </a:pathLst>
                  </a:custGeom>
                  <a:solidFill>
                    <a:srgbClr val="004F6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itchFamily="34" charset="0"/>
                      <a:ea typeface="ＭＳ Ｐゴシック"/>
                    </a:endParaRPr>
                  </a:p>
                </p:txBody>
              </p:sp>
              <p:sp>
                <p:nvSpPr>
                  <p:cNvPr id="74" name="Freeform 8">
                    <a:extLst>
                      <a:ext uri="{FF2B5EF4-FFF2-40B4-BE49-F238E27FC236}">
                        <a16:creationId xmlns:a16="http://schemas.microsoft.com/office/drawing/2014/main" id="{EF172E19-1A41-4E1C-AD9F-C29A272E53A9}"/>
                      </a:ext>
                    </a:extLst>
                  </p:cNvPr>
                  <p:cNvSpPr>
                    <a:spLocks/>
                  </p:cNvSpPr>
                  <p:nvPr/>
                </p:nvSpPr>
                <p:spPr bwMode="auto">
                  <a:xfrm>
                    <a:off x="1975" y="-366"/>
                    <a:ext cx="1192" cy="1193"/>
                  </a:xfrm>
                  <a:custGeom>
                    <a:avLst/>
                    <a:gdLst>
                      <a:gd name="T0" fmla="*/ 0 w 19867"/>
                      <a:gd name="T1" fmla="*/ 19866 h 19866"/>
                      <a:gd name="T2" fmla="*/ 19867 w 19867"/>
                      <a:gd name="T3" fmla="*/ 0 h 19866"/>
                      <a:gd name="T4" fmla="*/ 19867 w 19867"/>
                      <a:gd name="T5" fmla="*/ 19866 h 19866"/>
                      <a:gd name="T6" fmla="*/ 0 w 19867"/>
                      <a:gd name="T7" fmla="*/ 19866 h 19866"/>
                    </a:gdLst>
                    <a:ahLst/>
                    <a:cxnLst>
                      <a:cxn ang="0">
                        <a:pos x="T0" y="T1"/>
                      </a:cxn>
                      <a:cxn ang="0">
                        <a:pos x="T2" y="T3"/>
                      </a:cxn>
                      <a:cxn ang="0">
                        <a:pos x="T4" y="T5"/>
                      </a:cxn>
                      <a:cxn ang="0">
                        <a:pos x="T6" y="T7"/>
                      </a:cxn>
                    </a:cxnLst>
                    <a:rect l="0" t="0" r="r" b="b"/>
                    <a:pathLst>
                      <a:path w="19867" h="19866">
                        <a:moveTo>
                          <a:pt x="0" y="19866"/>
                        </a:moveTo>
                        <a:cubicBezTo>
                          <a:pt x="0" y="8894"/>
                          <a:pt x="8895" y="0"/>
                          <a:pt x="19867" y="0"/>
                        </a:cubicBezTo>
                        <a:lnTo>
                          <a:pt x="19867" y="19866"/>
                        </a:lnTo>
                        <a:lnTo>
                          <a:pt x="0" y="19866"/>
                        </a:lnTo>
                        <a:close/>
                      </a:path>
                    </a:pathLst>
                  </a:custGeom>
                  <a:solidFill>
                    <a:srgbClr val="76869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itchFamily="34" charset="0"/>
                      <a:ea typeface="ＭＳ Ｐゴシック"/>
                    </a:endParaRPr>
                  </a:p>
                </p:txBody>
              </p:sp>
            </p:grpSp>
            <p:sp>
              <p:nvSpPr>
                <p:cNvPr id="63" name="Oval 62">
                  <a:extLst>
                    <a:ext uri="{FF2B5EF4-FFF2-40B4-BE49-F238E27FC236}">
                      <a16:creationId xmlns:a16="http://schemas.microsoft.com/office/drawing/2014/main" id="{66CF01CD-49A9-4620-A978-9623475E6774}"/>
                    </a:ext>
                  </a:extLst>
                </p:cNvPr>
                <p:cNvSpPr/>
                <p:nvPr/>
              </p:nvSpPr>
              <p:spPr bwMode="auto">
                <a:xfrm>
                  <a:off x="1388100" y="3119481"/>
                  <a:ext cx="1623181" cy="1623181"/>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ＭＳ Ｐゴシック" charset="-128"/>
                  </a:endParaRPr>
                </a:p>
              </p:txBody>
            </p:sp>
            <p:sp>
              <p:nvSpPr>
                <p:cNvPr id="64" name="TextBox 63">
                  <a:extLst>
                    <a:ext uri="{FF2B5EF4-FFF2-40B4-BE49-F238E27FC236}">
                      <a16:creationId xmlns:a16="http://schemas.microsoft.com/office/drawing/2014/main" id="{04F088C1-6B9C-4E64-8006-29719B91D1FB}"/>
                    </a:ext>
                  </a:extLst>
                </p:cNvPr>
                <p:cNvSpPr txBox="1"/>
                <p:nvPr/>
              </p:nvSpPr>
              <p:spPr>
                <a:xfrm rot="5400000">
                  <a:off x="864293" y="2860683"/>
                  <a:ext cx="2501409" cy="2501409"/>
                </a:xfrm>
                <a:prstGeom prst="rect">
                  <a:avLst/>
                </a:prstGeom>
                <a:noFill/>
              </p:spPr>
              <p:txBody>
                <a:bodyPr wrap="square" rtlCol="0">
                  <a:prstTxWarp prst="textArchUp">
                    <a:avLst>
                      <a:gd name="adj" fmla="val 12251362"/>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itchFamily="34" charset="0"/>
                      <a:ea typeface="ＭＳ Ｐゴシック"/>
                    </a:rPr>
                    <a:t>RESPONSE</a:t>
                  </a:r>
                </a:p>
              </p:txBody>
            </p:sp>
            <p:sp>
              <p:nvSpPr>
                <p:cNvPr id="65" name="TextBox 64">
                  <a:extLst>
                    <a:ext uri="{FF2B5EF4-FFF2-40B4-BE49-F238E27FC236}">
                      <a16:creationId xmlns:a16="http://schemas.microsoft.com/office/drawing/2014/main" id="{80C589BB-35CE-4C7B-AF6B-B8EF46CDA2B9}"/>
                    </a:ext>
                  </a:extLst>
                </p:cNvPr>
                <p:cNvSpPr txBox="1"/>
                <p:nvPr/>
              </p:nvSpPr>
              <p:spPr>
                <a:xfrm rot="2940000">
                  <a:off x="1090391" y="2661513"/>
                  <a:ext cx="2501409" cy="2501409"/>
                </a:xfrm>
                <a:prstGeom prst="rect">
                  <a:avLst/>
                </a:prstGeom>
                <a:noFill/>
              </p:spPr>
              <p:txBody>
                <a:bodyPr wrap="square" rtlCol="0">
                  <a:prstTxWarp prst="textArchDown">
                    <a:avLst>
                      <a:gd name="adj" fmla="val 3663365"/>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itchFamily="34" charset="0"/>
                      <a:ea typeface="ＭＳ Ｐゴシック"/>
                    </a:rPr>
                    <a:t>COMPLACENCY</a:t>
                  </a:r>
                </a:p>
              </p:txBody>
            </p:sp>
            <p:sp>
              <p:nvSpPr>
                <p:cNvPr id="66" name="TextBox 65">
                  <a:extLst>
                    <a:ext uri="{FF2B5EF4-FFF2-40B4-BE49-F238E27FC236}">
                      <a16:creationId xmlns:a16="http://schemas.microsoft.com/office/drawing/2014/main" id="{73D0311A-234B-4AB6-B626-DF706ECE53B7}"/>
                    </a:ext>
                  </a:extLst>
                </p:cNvPr>
                <p:cNvSpPr txBox="1"/>
                <p:nvPr/>
              </p:nvSpPr>
              <p:spPr>
                <a:xfrm rot="14176198">
                  <a:off x="845289" y="2567244"/>
                  <a:ext cx="2501409" cy="2501409"/>
                </a:xfrm>
                <a:prstGeom prst="rect">
                  <a:avLst/>
                </a:prstGeom>
                <a:noFill/>
              </p:spPr>
              <p:txBody>
                <a:bodyPr wrap="square" rtlCol="0">
                  <a:prstTxWarp prst="textArchDown">
                    <a:avLst>
                      <a:gd name="adj" fmla="val 20789361"/>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itchFamily="34" charset="0"/>
                      <a:ea typeface="ＭＳ Ｐゴシック"/>
                    </a:rPr>
                    <a:t>IMPROVEMENT</a:t>
                  </a:r>
                </a:p>
              </p:txBody>
            </p:sp>
            <p:sp>
              <p:nvSpPr>
                <p:cNvPr id="67" name="TextBox 66">
                  <a:extLst>
                    <a:ext uri="{FF2B5EF4-FFF2-40B4-BE49-F238E27FC236}">
                      <a16:creationId xmlns:a16="http://schemas.microsoft.com/office/drawing/2014/main" id="{77FA9501-5875-4E88-9071-1D2A3607BFE1}"/>
                    </a:ext>
                  </a:extLst>
                </p:cNvPr>
                <p:cNvSpPr txBox="1"/>
                <p:nvPr/>
              </p:nvSpPr>
              <p:spPr>
                <a:xfrm>
                  <a:off x="566591" y="2373388"/>
                  <a:ext cx="3511296" cy="3511296"/>
                </a:xfrm>
                <a:prstGeom prst="rect">
                  <a:avLst/>
                </a:prstGeom>
                <a:noFill/>
              </p:spPr>
              <p:txBody>
                <a:bodyPr wrap="square" rtlCol="0">
                  <a:prstTxWarp prst="textArchUp">
                    <a:avLst>
                      <a:gd name="adj" fmla="val 12251362"/>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itchFamily="34" charset="0"/>
                      <a:ea typeface="ＭＳ Ｐゴシック"/>
                    </a:rPr>
                    <a:t>Tight/Inflection Point</a:t>
                  </a:r>
                </a:p>
              </p:txBody>
            </p:sp>
            <p:sp>
              <p:nvSpPr>
                <p:cNvPr id="68" name="TextBox 67">
                  <a:extLst>
                    <a:ext uri="{FF2B5EF4-FFF2-40B4-BE49-F238E27FC236}">
                      <a16:creationId xmlns:a16="http://schemas.microsoft.com/office/drawing/2014/main" id="{027D4F88-FCCA-4AEA-99D8-1BDAC27EE50A}"/>
                    </a:ext>
                  </a:extLst>
                </p:cNvPr>
                <p:cNvSpPr txBox="1"/>
                <p:nvPr/>
              </p:nvSpPr>
              <p:spPr>
                <a:xfrm rot="300000">
                  <a:off x="284512" y="2303474"/>
                  <a:ext cx="3511296" cy="3511296"/>
                </a:xfrm>
                <a:prstGeom prst="rect">
                  <a:avLst/>
                </a:prstGeom>
                <a:noFill/>
              </p:spPr>
              <p:txBody>
                <a:bodyPr wrap="square" rtlCol="0">
                  <a:prstTxWarp prst="textArchUp">
                    <a:avLst>
                      <a:gd name="adj" fmla="val 17226603"/>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itchFamily="34" charset="0"/>
                      <a:ea typeface="ＭＳ Ｐゴシック"/>
                    </a:rPr>
                    <a:t>Surge/Whatever It Takes</a:t>
                  </a:r>
                </a:p>
              </p:txBody>
            </p:sp>
            <p:sp>
              <p:nvSpPr>
                <p:cNvPr id="69" name="TextBox 68">
                  <a:extLst>
                    <a:ext uri="{FF2B5EF4-FFF2-40B4-BE49-F238E27FC236}">
                      <a16:creationId xmlns:a16="http://schemas.microsoft.com/office/drawing/2014/main" id="{A71B39D3-821D-447D-B0C0-CE5EFE45BDE3}"/>
                    </a:ext>
                  </a:extLst>
                </p:cNvPr>
                <p:cNvSpPr txBox="1"/>
                <p:nvPr/>
              </p:nvSpPr>
              <p:spPr>
                <a:xfrm>
                  <a:off x="595153" y="2090200"/>
                  <a:ext cx="3511296" cy="3511296"/>
                </a:xfrm>
                <a:prstGeom prst="rect">
                  <a:avLst/>
                </a:prstGeom>
                <a:noFill/>
              </p:spPr>
              <p:txBody>
                <a:bodyPr wrap="square" rtlCol="0">
                  <a:prstTxWarp prst="textArchDown">
                    <a:avLst>
                      <a:gd name="adj" fmla="val 350937"/>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itchFamily="34" charset="0"/>
                      <a:ea typeface="ＭＳ Ｐゴシック"/>
                    </a:rPr>
                    <a:t>Pause/Normalization is Possible</a:t>
                  </a:r>
                </a:p>
              </p:txBody>
            </p:sp>
            <p:sp>
              <p:nvSpPr>
                <p:cNvPr id="70" name="TextBox 69">
                  <a:extLst>
                    <a:ext uri="{FF2B5EF4-FFF2-40B4-BE49-F238E27FC236}">
                      <a16:creationId xmlns:a16="http://schemas.microsoft.com/office/drawing/2014/main" id="{92C36400-7E3D-463D-BDEC-FCC8FFB0B699}"/>
                    </a:ext>
                  </a:extLst>
                </p:cNvPr>
                <p:cNvSpPr txBox="1"/>
                <p:nvPr/>
              </p:nvSpPr>
              <p:spPr>
                <a:xfrm rot="741598">
                  <a:off x="1035717" y="2840003"/>
                  <a:ext cx="2501409" cy="2501409"/>
                </a:xfrm>
                <a:prstGeom prst="rect">
                  <a:avLst/>
                </a:prstGeom>
                <a:noFill/>
              </p:spPr>
              <p:txBody>
                <a:bodyPr wrap="square" rtlCol="0">
                  <a:prstTxWarp prst="textArchUp">
                    <a:avLst>
                      <a:gd name="adj" fmla="val 12251362"/>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itchFamily="34" charset="0"/>
                      <a:ea typeface="ＭＳ Ｐゴシック"/>
                    </a:rPr>
                    <a:t>CRISIS</a:t>
                  </a:r>
                </a:p>
              </p:txBody>
            </p:sp>
          </p:grpSp>
          <p:sp>
            <p:nvSpPr>
              <p:cNvPr id="60" name="TextBox 59">
                <a:extLst>
                  <a:ext uri="{FF2B5EF4-FFF2-40B4-BE49-F238E27FC236}">
                    <a16:creationId xmlns:a16="http://schemas.microsoft.com/office/drawing/2014/main" id="{939A335A-CFA1-4E1D-8516-954DC774EAD0}"/>
                  </a:ext>
                </a:extLst>
              </p:cNvPr>
              <p:cNvSpPr txBox="1"/>
              <p:nvPr/>
            </p:nvSpPr>
            <p:spPr>
              <a:xfrm rot="21240000">
                <a:off x="328483" y="2092193"/>
                <a:ext cx="3511296" cy="3511296"/>
              </a:xfrm>
              <a:prstGeom prst="rect">
                <a:avLst/>
              </a:prstGeom>
              <a:noFill/>
            </p:spPr>
            <p:txBody>
              <a:bodyPr wrap="square" rtlCol="0">
                <a:prstTxWarp prst="textArchDown">
                  <a:avLst>
                    <a:gd name="adj" fmla="val 5693316"/>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err="1">
                    <a:ln>
                      <a:noFill/>
                    </a:ln>
                    <a:solidFill>
                      <a:srgbClr val="000000"/>
                    </a:solidFill>
                    <a:effectLst/>
                    <a:uLnTx/>
                    <a:uFillTx/>
                    <a:latin typeface="Arial" pitchFamily="34" charset="0"/>
                    <a:ea typeface="ＭＳ Ｐゴシック"/>
                  </a:rPr>
                  <a:t>Accomodative</a:t>
                </a:r>
                <a:r>
                  <a:rPr kumimoji="0" lang="en-US" sz="1200" b="0" i="0" u="none" strike="noStrike" kern="1200" cap="none" spc="0" normalizeH="0" baseline="0" noProof="0" dirty="0">
                    <a:ln>
                      <a:noFill/>
                    </a:ln>
                    <a:solidFill>
                      <a:srgbClr val="000000"/>
                    </a:solidFill>
                    <a:effectLst/>
                    <a:uLnTx/>
                    <a:uFillTx/>
                    <a:latin typeface="Arial" pitchFamily="34" charset="0"/>
                    <a:ea typeface="ＭＳ Ｐゴシック"/>
                  </a:rPr>
                  <a:t>/Easier for Longer</a:t>
                </a:r>
              </a:p>
            </p:txBody>
          </p:sp>
        </p:grpSp>
        <p:sp>
          <p:nvSpPr>
            <p:cNvPr id="55" name="Isosceles Triangle 54">
              <a:extLst>
                <a:ext uri="{FF2B5EF4-FFF2-40B4-BE49-F238E27FC236}">
                  <a16:creationId xmlns:a16="http://schemas.microsoft.com/office/drawing/2014/main" id="{A6B7D192-DD40-4123-B312-5CADAB9FF5BA}"/>
                </a:ext>
              </a:extLst>
            </p:cNvPr>
            <p:cNvSpPr/>
            <p:nvPr/>
          </p:nvSpPr>
          <p:spPr bwMode="auto">
            <a:xfrm rot="5400000">
              <a:off x="2142530" y="2609879"/>
              <a:ext cx="670879" cy="182880"/>
            </a:xfrm>
            <a:prstGeom prst="triangle">
              <a:avLst/>
            </a:prstGeom>
            <a:solidFill>
              <a:srgbClr val="76869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ＭＳ Ｐゴシック" charset="-128"/>
              </a:endParaRPr>
            </a:p>
          </p:txBody>
        </p:sp>
        <p:sp>
          <p:nvSpPr>
            <p:cNvPr id="56" name="Isosceles Triangle 55">
              <a:extLst>
                <a:ext uri="{FF2B5EF4-FFF2-40B4-BE49-F238E27FC236}">
                  <a16:creationId xmlns:a16="http://schemas.microsoft.com/office/drawing/2014/main" id="{CED77F15-2832-4D81-B228-920C721582D7}"/>
                </a:ext>
              </a:extLst>
            </p:cNvPr>
            <p:cNvSpPr/>
            <p:nvPr/>
          </p:nvSpPr>
          <p:spPr bwMode="auto">
            <a:xfrm rot="16200000" flipH="1">
              <a:off x="1965035" y="5079539"/>
              <a:ext cx="670879" cy="182880"/>
            </a:xfrm>
            <a:prstGeom prst="triangle">
              <a:avLst/>
            </a:prstGeom>
            <a:solidFill>
              <a:srgbClr val="298FC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ＭＳ Ｐゴシック" charset="-128"/>
              </a:endParaRPr>
            </a:p>
          </p:txBody>
        </p:sp>
        <p:sp>
          <p:nvSpPr>
            <p:cNvPr id="57" name="Isosceles Triangle 56">
              <a:extLst>
                <a:ext uri="{FF2B5EF4-FFF2-40B4-BE49-F238E27FC236}">
                  <a16:creationId xmlns:a16="http://schemas.microsoft.com/office/drawing/2014/main" id="{6FB24724-F79B-4BD0-8E2C-4C3F93EB8C49}"/>
                </a:ext>
              </a:extLst>
            </p:cNvPr>
            <p:cNvSpPr/>
            <p:nvPr/>
          </p:nvSpPr>
          <p:spPr bwMode="auto">
            <a:xfrm>
              <a:off x="825878" y="3761881"/>
              <a:ext cx="670879" cy="182880"/>
            </a:xfrm>
            <a:prstGeom prst="triangle">
              <a:avLst/>
            </a:prstGeom>
            <a:solidFill>
              <a:srgbClr val="004F6B"/>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ＭＳ Ｐゴシック" charset="-128"/>
              </a:endParaRPr>
            </a:p>
          </p:txBody>
        </p:sp>
        <p:sp>
          <p:nvSpPr>
            <p:cNvPr id="58" name="Isosceles Triangle 57">
              <a:extLst>
                <a:ext uri="{FF2B5EF4-FFF2-40B4-BE49-F238E27FC236}">
                  <a16:creationId xmlns:a16="http://schemas.microsoft.com/office/drawing/2014/main" id="{8B012B2E-44E2-4A68-AD25-CD59538E9C62}"/>
                </a:ext>
              </a:extLst>
            </p:cNvPr>
            <p:cNvSpPr/>
            <p:nvPr/>
          </p:nvSpPr>
          <p:spPr bwMode="auto">
            <a:xfrm rot="10800000">
              <a:off x="3291659" y="3934459"/>
              <a:ext cx="670879" cy="182880"/>
            </a:xfrm>
            <a:prstGeom prst="triangle">
              <a:avLst/>
            </a:prstGeom>
            <a:solidFill>
              <a:srgbClr val="7A9A3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ＭＳ Ｐゴシック" charset="-128"/>
              </a:endParaRPr>
            </a:p>
          </p:txBody>
        </p:sp>
      </p:grpSp>
      <p:sp>
        <p:nvSpPr>
          <p:cNvPr id="37" name="Footer Placeholder 1">
            <a:extLst>
              <a:ext uri="{FF2B5EF4-FFF2-40B4-BE49-F238E27FC236}">
                <a16:creationId xmlns:a16="http://schemas.microsoft.com/office/drawing/2014/main" id="{5A3E59FF-A0D9-4B07-AE4E-ACD52562819B}"/>
              </a:ext>
            </a:extLst>
          </p:cNvPr>
          <p:cNvSpPr txBox="1">
            <a:spLocks/>
          </p:cNvSpPr>
          <p:nvPr/>
        </p:nvSpPr>
        <p:spPr bwMode="auto">
          <a:xfrm>
            <a:off x="320040" y="6508597"/>
            <a:ext cx="3931920" cy="173736"/>
          </a:xfrm>
          <a:prstGeom prst="rect">
            <a:avLst/>
          </a:prstGeom>
          <a:noFill/>
          <a:ln w="9525">
            <a:noFill/>
            <a:miter lim="800000"/>
            <a:headEnd/>
            <a:tailEnd/>
          </a:ln>
          <a:effectLst/>
        </p:spPr>
        <p:txBody>
          <a:bodyPr vert="horz" wrap="square" lIns="91440" tIns="0" rIns="91440" bIns="0" numCol="1" anchor="b" anchorCtr="0" compatLnSpc="1">
            <a:prstTxWarp prst="textNoShape">
              <a:avLst/>
            </a:prstTxWarp>
          </a:bodyPr>
          <a:lstStyle>
            <a:defPPr>
              <a:defRPr lang="en-US"/>
            </a:defPPr>
            <a:lvl1pPr algn="l" rtl="0" eaLnBrk="0" fontAlgn="base" hangingPunct="0">
              <a:spcBef>
                <a:spcPct val="0"/>
              </a:spcBef>
              <a:spcAft>
                <a:spcPct val="0"/>
              </a:spcAft>
              <a:defRPr sz="800" b="0" kern="1200" smtClean="0">
                <a:solidFill>
                  <a:srgbClr val="000000"/>
                </a:solidFill>
                <a:latin typeface="Arial" charset="0"/>
                <a:ea typeface="ＭＳ Ｐゴシック" charset="-128"/>
                <a:cs typeface="+mn-cs"/>
              </a:defRPr>
            </a:lvl1pPr>
            <a:lvl2pPr marL="457200" algn="l" rtl="0" fontAlgn="base">
              <a:spcBef>
                <a:spcPct val="0"/>
              </a:spcBef>
              <a:spcAft>
                <a:spcPct val="0"/>
              </a:spcAft>
              <a:defRPr sz="1200" kern="1200">
                <a:solidFill>
                  <a:schemeClr val="tx1"/>
                </a:solidFill>
                <a:latin typeface="Arial" pitchFamily="34" charset="0"/>
                <a:ea typeface="ＭＳ Ｐゴシック"/>
                <a:cs typeface="ＭＳ Ｐゴシック"/>
              </a:defRPr>
            </a:lvl2pPr>
            <a:lvl3pPr marL="914400" algn="l" rtl="0" fontAlgn="base">
              <a:spcBef>
                <a:spcPct val="0"/>
              </a:spcBef>
              <a:spcAft>
                <a:spcPct val="0"/>
              </a:spcAft>
              <a:defRPr sz="1200" kern="1200">
                <a:solidFill>
                  <a:schemeClr val="tx1"/>
                </a:solidFill>
                <a:latin typeface="Arial" pitchFamily="34" charset="0"/>
                <a:ea typeface="ＭＳ Ｐゴシック"/>
                <a:cs typeface="ＭＳ Ｐゴシック"/>
              </a:defRPr>
            </a:lvl3pPr>
            <a:lvl4pPr marL="1371600" algn="l" rtl="0" fontAlgn="base">
              <a:spcBef>
                <a:spcPct val="0"/>
              </a:spcBef>
              <a:spcAft>
                <a:spcPct val="0"/>
              </a:spcAft>
              <a:defRPr sz="1200" kern="1200">
                <a:solidFill>
                  <a:schemeClr val="tx1"/>
                </a:solidFill>
                <a:latin typeface="Arial" pitchFamily="34" charset="0"/>
                <a:ea typeface="ＭＳ Ｐゴシック"/>
                <a:cs typeface="ＭＳ Ｐゴシック"/>
              </a:defRPr>
            </a:lvl4pPr>
            <a:lvl5pPr marL="1828800" algn="l" rtl="0" fontAlgn="base">
              <a:spcBef>
                <a:spcPct val="0"/>
              </a:spcBef>
              <a:spcAft>
                <a:spcPct val="0"/>
              </a:spcAft>
              <a:defRPr sz="1200" kern="1200">
                <a:solidFill>
                  <a:schemeClr val="tx1"/>
                </a:solidFill>
                <a:latin typeface="Arial" pitchFamily="34" charset="0"/>
                <a:ea typeface="ＭＳ Ｐゴシック"/>
                <a:cs typeface="ＭＳ Ｐゴシック"/>
              </a:defRPr>
            </a:lvl5pPr>
            <a:lvl6pPr marL="2286000" algn="l" defTabSz="914400" rtl="0" eaLnBrk="1" latinLnBrk="0" hangingPunct="1">
              <a:defRPr sz="1200" kern="1200">
                <a:solidFill>
                  <a:schemeClr val="tx1"/>
                </a:solidFill>
                <a:latin typeface="Arial" pitchFamily="34" charset="0"/>
                <a:ea typeface="ＭＳ Ｐゴシック"/>
                <a:cs typeface="ＭＳ Ｐゴシック"/>
              </a:defRPr>
            </a:lvl6pPr>
            <a:lvl7pPr marL="2743200" algn="l" defTabSz="914400" rtl="0" eaLnBrk="1" latinLnBrk="0" hangingPunct="1">
              <a:defRPr sz="1200" kern="1200">
                <a:solidFill>
                  <a:schemeClr val="tx1"/>
                </a:solidFill>
                <a:latin typeface="Arial" pitchFamily="34" charset="0"/>
                <a:ea typeface="ＭＳ Ｐゴシック"/>
                <a:cs typeface="ＭＳ Ｐゴシック"/>
              </a:defRPr>
            </a:lvl7pPr>
            <a:lvl8pPr marL="3200400" algn="l" defTabSz="914400" rtl="0" eaLnBrk="1" latinLnBrk="0" hangingPunct="1">
              <a:defRPr sz="1200" kern="1200">
                <a:solidFill>
                  <a:schemeClr val="tx1"/>
                </a:solidFill>
                <a:latin typeface="Arial" pitchFamily="34" charset="0"/>
                <a:ea typeface="ＭＳ Ｐゴシック"/>
                <a:cs typeface="ＭＳ Ｐゴシック"/>
              </a:defRPr>
            </a:lvl8pPr>
            <a:lvl9pPr marL="3657600" algn="l" defTabSz="914400" rtl="0" eaLnBrk="1" latinLnBrk="0" hangingPunct="1">
              <a:defRPr sz="1200" kern="1200">
                <a:solidFill>
                  <a:schemeClr val="tx1"/>
                </a:solidFill>
                <a:latin typeface="Arial" pitchFamily="34" charset="0"/>
                <a:ea typeface="ＭＳ Ｐゴシック"/>
                <a:cs typeface="ＭＳ Ｐゴシック"/>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charset="0"/>
                <a:ea typeface="ＭＳ Ｐゴシック" charset="-128"/>
                <a:cs typeface="+mn-cs"/>
              </a:rPr>
              <a:t>For institutional use only.</a:t>
            </a:r>
          </a:p>
        </p:txBody>
      </p:sp>
    </p:spTree>
    <p:extLst>
      <p:ext uri="{BB962C8B-B14F-4D97-AF65-F5344CB8AC3E}">
        <p14:creationId xmlns:p14="http://schemas.microsoft.com/office/powerpoint/2010/main" val="420802061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A756A0A-312E-4F70-A82C-807A52405417}"/>
              </a:ext>
            </a:extLst>
          </p:cNvPr>
          <p:cNvSpPr/>
          <p:nvPr/>
        </p:nvSpPr>
        <p:spPr bwMode="auto">
          <a:xfrm>
            <a:off x="8396319" y="2530766"/>
            <a:ext cx="440596" cy="3455779"/>
          </a:xfrm>
          <a:prstGeom prst="rect">
            <a:avLst/>
          </a:prstGeom>
          <a:solidFill>
            <a:srgbClr val="EAEAEA">
              <a:alpha val="74902"/>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ＭＳ Ｐゴシック" charset="-128"/>
            </a:endParaRPr>
          </a:p>
        </p:txBody>
      </p:sp>
      <p:graphicFrame>
        <p:nvGraphicFramePr>
          <p:cNvPr id="9" name="Chart 8">
            <a:extLst>
              <a:ext uri="{FF2B5EF4-FFF2-40B4-BE49-F238E27FC236}">
                <a16:creationId xmlns:a16="http://schemas.microsoft.com/office/drawing/2014/main" id="{00000000-0008-0000-0000-000004000000}"/>
              </a:ext>
            </a:extLst>
          </p:cNvPr>
          <p:cNvGraphicFramePr>
            <a:graphicFrameLocks/>
          </p:cNvGraphicFramePr>
          <p:nvPr>
            <p:extLst>
              <p:ext uri="{D42A27DB-BD31-4B8C-83A1-F6EECF244321}">
                <p14:modId xmlns:p14="http://schemas.microsoft.com/office/powerpoint/2010/main" val="1856569266"/>
              </p:ext>
            </p:extLst>
          </p:nvPr>
        </p:nvGraphicFramePr>
        <p:xfrm>
          <a:off x="240644" y="913292"/>
          <a:ext cx="8618219" cy="4892877"/>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angle 7"/>
          <p:cNvSpPr/>
          <p:nvPr/>
        </p:nvSpPr>
        <p:spPr>
          <a:xfrm>
            <a:off x="325755" y="1749560"/>
            <a:ext cx="3505200" cy="246221"/>
          </a:xfrm>
          <a:prstGeom prst="rect">
            <a:avLst/>
          </a:prstGeom>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Billions (12-Month Change)</a:t>
            </a:r>
          </a:p>
        </p:txBody>
      </p:sp>
      <p:sp>
        <p:nvSpPr>
          <p:cNvPr id="18" name="Title 1">
            <a:extLst>
              <a:ext uri="{FF2B5EF4-FFF2-40B4-BE49-F238E27FC236}">
                <a16:creationId xmlns:a16="http://schemas.microsoft.com/office/drawing/2014/main" id="{9ADAE702-4C80-4379-8B4E-9DB2306D345E}"/>
              </a:ext>
            </a:extLst>
          </p:cNvPr>
          <p:cNvSpPr>
            <a:spLocks noGrp="1"/>
          </p:cNvSpPr>
          <p:nvPr>
            <p:ph type="title"/>
          </p:nvPr>
        </p:nvSpPr>
        <p:spPr/>
        <p:txBody>
          <a:bodyPr>
            <a:noAutofit/>
          </a:bodyPr>
          <a:lstStyle/>
          <a:p>
            <a:r>
              <a:rPr lang="en-US" dirty="0"/>
              <a:t>Central Bank Tightening Implies a Liquidity Headwind</a:t>
            </a:r>
            <a:br>
              <a:rPr lang="en-US" dirty="0"/>
            </a:br>
            <a:br>
              <a:rPr lang="en-US" sz="1200" b="1" dirty="0">
                <a:solidFill>
                  <a:srgbClr val="768692"/>
                </a:solidFill>
              </a:rPr>
            </a:br>
            <a:endParaRPr lang="en-US" sz="1200" b="1" dirty="0">
              <a:solidFill>
                <a:srgbClr val="768692"/>
              </a:solidFill>
            </a:endParaRPr>
          </a:p>
        </p:txBody>
      </p:sp>
      <p:sp>
        <p:nvSpPr>
          <p:cNvPr id="15" name="Slide Number Placeholder 4">
            <a:extLst>
              <a:ext uri="{FF2B5EF4-FFF2-40B4-BE49-F238E27FC236}">
                <a16:creationId xmlns:a16="http://schemas.microsoft.com/office/drawing/2014/main" id="{8E1B8DE7-2F5D-4AE1-A8AC-CCFAFECC9268}"/>
              </a:ext>
            </a:extLst>
          </p:cNvPr>
          <p:cNvSpPr>
            <a:spLocks noGrp="1"/>
          </p:cNvSpPr>
          <p:nvPr>
            <p:ph type="sldNum" sz="quarter" idx="14"/>
          </p:nvPr>
        </p:nvSpPr>
        <p:spPr>
          <a:prstGeom prst="rect">
            <a:avLst/>
          </a:prstGeom>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55772473-24D5-4368-927A-9F91835352F1}" type="slidenum">
              <a:rPr kumimoji="0" lang="en-US" sz="800" b="1" i="0" u="none" strike="noStrike" kern="1200" cap="none" spc="0" normalizeH="0" baseline="0" noProof="0" smtClean="0">
                <a:ln>
                  <a:noFill/>
                </a:ln>
                <a:solidFill>
                  <a:srgbClr val="000000"/>
                </a:solidFill>
                <a:effectLst/>
                <a:uLnTx/>
                <a:uFillTx/>
                <a:latin typeface="Arial"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8</a:t>
            </a:fld>
            <a:endParaRPr kumimoji="0" lang="en-US" sz="800" b="1" i="0" u="none" strike="noStrike" kern="1200" cap="none" spc="0" normalizeH="0" baseline="0" noProof="0">
              <a:ln>
                <a:noFill/>
              </a:ln>
              <a:solidFill>
                <a:srgbClr val="000000"/>
              </a:solidFill>
              <a:effectLst/>
              <a:uLnTx/>
              <a:uFillTx/>
              <a:latin typeface="Arial" charset="0"/>
              <a:ea typeface="ＭＳ Ｐゴシック" charset="-128"/>
              <a:cs typeface="+mn-cs"/>
            </a:endParaRPr>
          </a:p>
        </p:txBody>
      </p:sp>
      <p:graphicFrame>
        <p:nvGraphicFramePr>
          <p:cNvPr id="12" name="Table 11">
            <a:extLst>
              <a:ext uri="{FF2B5EF4-FFF2-40B4-BE49-F238E27FC236}">
                <a16:creationId xmlns:a16="http://schemas.microsoft.com/office/drawing/2014/main" id="{D1AD6EE5-A9E4-4FC3-9D71-75EFCBF57976}"/>
              </a:ext>
            </a:extLst>
          </p:cNvPr>
          <p:cNvGraphicFramePr>
            <a:graphicFrameLocks noGrp="1"/>
          </p:cNvGraphicFramePr>
          <p:nvPr>
            <p:extLst>
              <p:ext uri="{D42A27DB-BD31-4B8C-83A1-F6EECF244321}">
                <p14:modId xmlns:p14="http://schemas.microsoft.com/office/powerpoint/2010/main" val="2900851188"/>
              </p:ext>
            </p:extLst>
          </p:nvPr>
        </p:nvGraphicFramePr>
        <p:xfrm>
          <a:off x="4661098" y="1169310"/>
          <a:ext cx="3367621" cy="630936"/>
        </p:xfrm>
        <a:graphic>
          <a:graphicData uri="http://schemas.openxmlformats.org/drawingml/2006/table">
            <a:tbl>
              <a:tblPr firstRow="1" bandRow="1">
                <a:tableStyleId>{5C22544A-7EE6-4342-B048-85BDC9FD1C3A}</a:tableStyleId>
              </a:tblPr>
              <a:tblGrid>
                <a:gridCol w="2529458">
                  <a:extLst>
                    <a:ext uri="{9D8B030D-6E8A-4147-A177-3AD203B41FA5}">
                      <a16:colId xmlns:a16="http://schemas.microsoft.com/office/drawing/2014/main" val="20000"/>
                    </a:ext>
                  </a:extLst>
                </a:gridCol>
                <a:gridCol w="838163">
                  <a:extLst>
                    <a:ext uri="{9D8B030D-6E8A-4147-A177-3AD203B41FA5}">
                      <a16:colId xmlns:a16="http://schemas.microsoft.com/office/drawing/2014/main" val="20001"/>
                    </a:ext>
                  </a:extLst>
                </a:gridCol>
              </a:tblGrid>
              <a:tr h="210312">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a:latin typeface="Arial" panose="020B0604020202020204" pitchFamily="34" charset="0"/>
                          <a:cs typeface="Arial" panose="020B0604020202020204" pitchFamily="34" charset="0"/>
                        </a:rPr>
                        <a:t># of Global Central Banks Raised Rates since 2020</a:t>
                      </a:r>
                      <a:endParaRPr lang="en-US" sz="1000" b="0">
                        <a:latin typeface="Arial" panose="020B0604020202020204" pitchFamily="34" charset="0"/>
                        <a:cs typeface="Arial" panose="020B0604020202020204" pitchFamily="34" charset="0"/>
                      </a:endParaRPr>
                    </a:p>
                  </a:txBody>
                  <a:tcPr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768692"/>
                    </a:solidFill>
                  </a:tcPr>
                </a:tc>
                <a:tc hMerge="1">
                  <a:txBody>
                    <a:bodyPr/>
                    <a:lstStyle/>
                    <a:p>
                      <a:endParaRPr lang="en-US"/>
                    </a:p>
                  </a:txBody>
                  <a:tcPr/>
                </a:tc>
                <a:extLst>
                  <a:ext uri="{0D108BD9-81ED-4DB2-BD59-A6C34878D82A}">
                    <a16:rowId xmlns:a16="http://schemas.microsoft.com/office/drawing/2014/main" val="10000"/>
                  </a:ext>
                </a:extLst>
              </a:tr>
              <a:tr h="2103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kern="1200">
                          <a:solidFill>
                            <a:schemeClr val="tx1"/>
                          </a:solidFill>
                          <a:latin typeface="Arial" panose="020B0604020202020204" pitchFamily="34" charset="0"/>
                          <a:ea typeface="+mn-ea"/>
                          <a:cs typeface="Arial" panose="020B0604020202020204" pitchFamily="34" charset="0"/>
                        </a:rPr>
                        <a:t>Developed Markets</a:t>
                      </a:r>
                    </a:p>
                  </a:txBody>
                  <a:tcPr marT="0" marB="0" anchor="ctr">
                    <a:lnL w="1270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kern="1200">
                          <a:solidFill>
                            <a:schemeClr val="tx1"/>
                          </a:solidFill>
                          <a:latin typeface="Arial" panose="020B0604020202020204" pitchFamily="34" charset="0"/>
                          <a:ea typeface="+mn-ea"/>
                          <a:cs typeface="Arial" panose="020B0604020202020204" pitchFamily="34" charset="0"/>
                        </a:rPr>
                        <a:t>7</a:t>
                      </a:r>
                    </a:p>
                  </a:txBody>
                  <a:tcPr marT="0" marB="0" anchor="ctr">
                    <a:lnL w="9525" cap="flat" cmpd="sng" algn="ctr">
                      <a:noFill/>
                      <a:prstDash val="sysDot"/>
                      <a:round/>
                      <a:headEnd type="none" w="med" len="med"/>
                      <a:tailEnd type="none" w="med" len="med"/>
                    </a:lnL>
                    <a:lnR w="12700" cmpd="sng">
                      <a:noFill/>
                    </a:lnR>
                    <a:lnT w="9525" cap="flat" cmpd="sng" algn="ctr">
                      <a:noFill/>
                      <a:prstDash val="sysDot"/>
                      <a:round/>
                      <a:headEnd type="none" w="med" len="med"/>
                      <a:tailEnd type="none" w="med" len="med"/>
                    </a:lnT>
                    <a:lnB w="9525"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103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a:solidFill>
                            <a:schemeClr val="tx1"/>
                          </a:solidFill>
                          <a:latin typeface="Arial" panose="020B0604020202020204" pitchFamily="34" charset="0"/>
                          <a:cs typeface="Arial" panose="020B0604020202020204" pitchFamily="34" charset="0"/>
                        </a:rPr>
                        <a:t>Emerging Markets</a:t>
                      </a:r>
                    </a:p>
                  </a:txBody>
                  <a:tcPr marT="0" marB="0" anchor="ctr">
                    <a:lnL w="12700"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dirty="0">
                          <a:solidFill>
                            <a:schemeClr val="tx1"/>
                          </a:solidFill>
                          <a:latin typeface="Arial" panose="020B0604020202020204" pitchFamily="34" charset="0"/>
                          <a:cs typeface="Arial" panose="020B0604020202020204" pitchFamily="34" charset="0"/>
                        </a:rPr>
                        <a:t>17</a:t>
                      </a:r>
                    </a:p>
                  </a:txBody>
                  <a:tcPr marT="0" marB="0" anchor="ctr">
                    <a:lnL w="9525" cap="flat" cmpd="sng" algn="ctr">
                      <a:noFill/>
                      <a:prstDash val="sysDot"/>
                      <a:round/>
                      <a:headEnd type="none" w="med" len="med"/>
                      <a:tailEnd type="none" w="med" len="med"/>
                    </a:lnL>
                    <a:lnR w="12700" cmpd="sng">
                      <a:noFill/>
                    </a:lnR>
                    <a:lnT w="9525" cap="flat" cmpd="sng" algn="ctr">
                      <a:solidFill>
                        <a:schemeClr val="bg1">
                          <a:lumMod val="50000"/>
                        </a:schemeClr>
                      </a:solidFill>
                      <a:prstDash val="sysDot"/>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13" name="Text Placeholder 2">
            <a:extLst>
              <a:ext uri="{FF2B5EF4-FFF2-40B4-BE49-F238E27FC236}">
                <a16:creationId xmlns:a16="http://schemas.microsoft.com/office/drawing/2014/main" id="{2E8CCB62-E781-418E-A310-EEE976664EAD}"/>
              </a:ext>
            </a:extLst>
          </p:cNvPr>
          <p:cNvSpPr txBox="1">
            <a:spLocks/>
          </p:cNvSpPr>
          <p:nvPr/>
        </p:nvSpPr>
        <p:spPr>
          <a:xfrm>
            <a:off x="314582" y="1146588"/>
            <a:ext cx="4695393" cy="410244"/>
          </a:xfrm>
          <a:prstGeom prst="rect">
            <a:avLst/>
          </a:prstGeom>
        </p:spPr>
        <p:txBody>
          <a:bodyPr/>
          <a:lstStyle/>
          <a:p>
            <a:pPr marL="342900" marR="0" lvl="0" indent="-342900" algn="l" defTabSz="914400" rtl="0" eaLnBrk="1" fontAlgn="base" latinLnBrk="0" hangingPunct="1">
              <a:lnSpc>
                <a:spcPct val="100000"/>
              </a:lnSpc>
              <a:spcBef>
                <a:spcPct val="20000"/>
              </a:spcBef>
              <a:spcAft>
                <a:spcPct val="0"/>
              </a:spcAft>
              <a:buClrTx/>
              <a:buSzTx/>
              <a:buFont typeface="Arial" charset="0"/>
              <a:buNone/>
              <a:tabLst/>
              <a:defRPr/>
            </a:pPr>
            <a:r>
              <a:rPr kumimoji="0" lang="en-US" sz="1400" b="1" i="0" u="none" strike="noStrike" kern="1200" cap="none" spc="0" normalizeH="0" baseline="0" noProof="0" dirty="0">
                <a:ln>
                  <a:noFill/>
                </a:ln>
                <a:solidFill>
                  <a:srgbClr val="000000"/>
                </a:solidFill>
                <a:effectLst/>
                <a:uLnTx/>
                <a:uFillTx/>
                <a:latin typeface="Arial"/>
                <a:ea typeface="ＭＳ Ｐゴシック"/>
                <a:cs typeface="+mn-cs"/>
              </a:rPr>
              <a:t>Central Bank Balance Sheets</a:t>
            </a:r>
          </a:p>
        </p:txBody>
      </p:sp>
      <p:sp>
        <p:nvSpPr>
          <p:cNvPr id="14" name="TextBox 13">
            <a:extLst>
              <a:ext uri="{FF2B5EF4-FFF2-40B4-BE49-F238E27FC236}">
                <a16:creationId xmlns:a16="http://schemas.microsoft.com/office/drawing/2014/main" id="{023ECBAD-EC47-461D-94ED-5C9B3CAE270E}"/>
              </a:ext>
            </a:extLst>
          </p:cNvPr>
          <p:cNvSpPr txBox="1"/>
          <p:nvPr/>
        </p:nvSpPr>
        <p:spPr>
          <a:xfrm>
            <a:off x="327834" y="5832644"/>
            <a:ext cx="7865552" cy="707886"/>
          </a:xfrm>
          <a:prstGeom prst="rect">
            <a:avLst/>
          </a:prstGeom>
          <a:noFill/>
        </p:spPr>
        <p:txBody>
          <a:bodyPr wrap="square" rtlCol="0" anchor="b" anchorCtr="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itchFamily="34" charset="0"/>
                <a:ea typeface="ＭＳ Ｐゴシック"/>
              </a:rPr>
              <a:t>Gray bar represents projected balances. QE: Quantitative easing. Dashed line and shaded area represent estimates based on the U.S. Federal Reserve’s Quantitative Tightening guidance during 2022, the European Central Bank maintaining asset holdings in 2022 and redeeming Targeted Long-Term Refinancing Operations throughout 2022 based on the 25</a:t>
            </a:r>
            <a:r>
              <a:rPr kumimoji="0" lang="en-US" sz="800" b="0" i="0" u="none" strike="noStrike" kern="1200" cap="none" spc="0" normalizeH="0" baseline="30000" noProof="0" dirty="0">
                <a:ln>
                  <a:noFill/>
                </a:ln>
                <a:solidFill>
                  <a:srgbClr val="000000"/>
                </a:solidFill>
                <a:effectLst/>
                <a:uLnTx/>
                <a:uFillTx/>
                <a:latin typeface="Arial" pitchFamily="34" charset="0"/>
                <a:ea typeface="ＭＳ Ｐゴシック"/>
              </a:rPr>
              <a:t>th</a:t>
            </a:r>
            <a:r>
              <a:rPr kumimoji="0" lang="en-US" sz="800" b="0" i="0" u="none" strike="noStrike" kern="1200" cap="none" spc="0" normalizeH="0" baseline="0" noProof="0" dirty="0">
                <a:ln>
                  <a:noFill/>
                </a:ln>
                <a:solidFill>
                  <a:srgbClr val="000000"/>
                </a:solidFill>
                <a:effectLst/>
                <a:uLnTx/>
                <a:uFillTx/>
                <a:latin typeface="Arial" pitchFamily="34" charset="0"/>
                <a:ea typeface="ＭＳ Ｐゴシック"/>
              </a:rPr>
              <a:t> percentile of the June 2022 ECB Survey of Monetary Analysts, and the Bank of Japan purchasing assets at an average of prior 6 months. Source: Federal Reserve, Bank of Japan, European Central Bank, Haver Analytics, Fidelity Investments (AART), as of 5/31/22. TABLE: Emerging-market countries include Brazil, Peru, Poland, South Africa, and others, as of 6/30/22.</a:t>
            </a:r>
          </a:p>
        </p:txBody>
      </p:sp>
      <p:sp>
        <p:nvSpPr>
          <p:cNvPr id="10" name="Footer Placeholder 1">
            <a:extLst>
              <a:ext uri="{FF2B5EF4-FFF2-40B4-BE49-F238E27FC236}">
                <a16:creationId xmlns:a16="http://schemas.microsoft.com/office/drawing/2014/main" id="{A579EAC8-2284-4503-942A-6BD2E13DBF1B}"/>
              </a:ext>
            </a:extLst>
          </p:cNvPr>
          <p:cNvSpPr txBox="1">
            <a:spLocks/>
          </p:cNvSpPr>
          <p:nvPr/>
        </p:nvSpPr>
        <p:spPr bwMode="auto">
          <a:xfrm>
            <a:off x="320040" y="6490491"/>
            <a:ext cx="3931920" cy="173736"/>
          </a:xfrm>
          <a:prstGeom prst="rect">
            <a:avLst/>
          </a:prstGeom>
          <a:noFill/>
          <a:ln w="9525">
            <a:noFill/>
            <a:miter lim="800000"/>
            <a:headEnd/>
            <a:tailEnd/>
          </a:ln>
          <a:effectLst/>
        </p:spPr>
        <p:txBody>
          <a:bodyPr vert="horz" wrap="square" lIns="91440" tIns="0" rIns="91440" bIns="0" numCol="1" anchor="b" anchorCtr="0" compatLnSpc="1">
            <a:prstTxWarp prst="textNoShape">
              <a:avLst/>
            </a:prstTxWarp>
          </a:bodyPr>
          <a:lstStyle>
            <a:defPPr>
              <a:defRPr lang="en-US"/>
            </a:defPPr>
            <a:lvl1pPr algn="l" rtl="0" eaLnBrk="0" fontAlgn="base" hangingPunct="0">
              <a:spcBef>
                <a:spcPct val="0"/>
              </a:spcBef>
              <a:spcAft>
                <a:spcPct val="0"/>
              </a:spcAft>
              <a:defRPr sz="800" b="0" kern="1200" smtClean="0">
                <a:solidFill>
                  <a:srgbClr val="000000"/>
                </a:solidFill>
                <a:latin typeface="Arial" charset="0"/>
                <a:ea typeface="ＭＳ Ｐゴシック" charset="-128"/>
                <a:cs typeface="+mn-cs"/>
              </a:defRPr>
            </a:lvl1pPr>
            <a:lvl2pPr marL="457200" algn="l" rtl="0" fontAlgn="base">
              <a:spcBef>
                <a:spcPct val="0"/>
              </a:spcBef>
              <a:spcAft>
                <a:spcPct val="0"/>
              </a:spcAft>
              <a:defRPr sz="1200" kern="1200">
                <a:solidFill>
                  <a:schemeClr val="tx1"/>
                </a:solidFill>
                <a:latin typeface="Arial" pitchFamily="34" charset="0"/>
                <a:ea typeface="ＭＳ Ｐゴシック"/>
                <a:cs typeface="ＭＳ Ｐゴシック"/>
              </a:defRPr>
            </a:lvl2pPr>
            <a:lvl3pPr marL="914400" algn="l" rtl="0" fontAlgn="base">
              <a:spcBef>
                <a:spcPct val="0"/>
              </a:spcBef>
              <a:spcAft>
                <a:spcPct val="0"/>
              </a:spcAft>
              <a:defRPr sz="1200" kern="1200">
                <a:solidFill>
                  <a:schemeClr val="tx1"/>
                </a:solidFill>
                <a:latin typeface="Arial" pitchFamily="34" charset="0"/>
                <a:ea typeface="ＭＳ Ｐゴシック"/>
                <a:cs typeface="ＭＳ Ｐゴシック"/>
              </a:defRPr>
            </a:lvl3pPr>
            <a:lvl4pPr marL="1371600" algn="l" rtl="0" fontAlgn="base">
              <a:spcBef>
                <a:spcPct val="0"/>
              </a:spcBef>
              <a:spcAft>
                <a:spcPct val="0"/>
              </a:spcAft>
              <a:defRPr sz="1200" kern="1200">
                <a:solidFill>
                  <a:schemeClr val="tx1"/>
                </a:solidFill>
                <a:latin typeface="Arial" pitchFamily="34" charset="0"/>
                <a:ea typeface="ＭＳ Ｐゴシック"/>
                <a:cs typeface="ＭＳ Ｐゴシック"/>
              </a:defRPr>
            </a:lvl4pPr>
            <a:lvl5pPr marL="1828800" algn="l" rtl="0" fontAlgn="base">
              <a:spcBef>
                <a:spcPct val="0"/>
              </a:spcBef>
              <a:spcAft>
                <a:spcPct val="0"/>
              </a:spcAft>
              <a:defRPr sz="1200" kern="1200">
                <a:solidFill>
                  <a:schemeClr val="tx1"/>
                </a:solidFill>
                <a:latin typeface="Arial" pitchFamily="34" charset="0"/>
                <a:ea typeface="ＭＳ Ｐゴシック"/>
                <a:cs typeface="ＭＳ Ｐゴシック"/>
              </a:defRPr>
            </a:lvl5pPr>
            <a:lvl6pPr marL="2286000" algn="l" defTabSz="914400" rtl="0" eaLnBrk="1" latinLnBrk="0" hangingPunct="1">
              <a:defRPr sz="1200" kern="1200">
                <a:solidFill>
                  <a:schemeClr val="tx1"/>
                </a:solidFill>
                <a:latin typeface="Arial" pitchFamily="34" charset="0"/>
                <a:ea typeface="ＭＳ Ｐゴシック"/>
                <a:cs typeface="ＭＳ Ｐゴシック"/>
              </a:defRPr>
            </a:lvl6pPr>
            <a:lvl7pPr marL="2743200" algn="l" defTabSz="914400" rtl="0" eaLnBrk="1" latinLnBrk="0" hangingPunct="1">
              <a:defRPr sz="1200" kern="1200">
                <a:solidFill>
                  <a:schemeClr val="tx1"/>
                </a:solidFill>
                <a:latin typeface="Arial" pitchFamily="34" charset="0"/>
                <a:ea typeface="ＭＳ Ｐゴシック"/>
                <a:cs typeface="ＭＳ Ｐゴシック"/>
              </a:defRPr>
            </a:lvl7pPr>
            <a:lvl8pPr marL="3200400" algn="l" defTabSz="914400" rtl="0" eaLnBrk="1" latinLnBrk="0" hangingPunct="1">
              <a:defRPr sz="1200" kern="1200">
                <a:solidFill>
                  <a:schemeClr val="tx1"/>
                </a:solidFill>
                <a:latin typeface="Arial" pitchFamily="34" charset="0"/>
                <a:ea typeface="ＭＳ Ｐゴシック"/>
                <a:cs typeface="ＭＳ Ｐゴシック"/>
              </a:defRPr>
            </a:lvl8pPr>
            <a:lvl9pPr marL="3657600" algn="l" defTabSz="914400" rtl="0" eaLnBrk="1" latinLnBrk="0" hangingPunct="1">
              <a:defRPr sz="1200" kern="1200">
                <a:solidFill>
                  <a:schemeClr val="tx1"/>
                </a:solidFill>
                <a:latin typeface="Arial" pitchFamily="34" charset="0"/>
                <a:ea typeface="ＭＳ Ｐゴシック"/>
                <a:cs typeface="ＭＳ Ｐゴシック"/>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charset="0"/>
                <a:ea typeface="ＭＳ Ｐゴシック" charset="-128"/>
                <a:cs typeface="+mn-cs"/>
              </a:rPr>
              <a:t>For institutional use only.</a:t>
            </a:r>
          </a:p>
        </p:txBody>
      </p:sp>
    </p:spTree>
    <p:extLst>
      <p:ext uri="{BB962C8B-B14F-4D97-AF65-F5344CB8AC3E}">
        <p14:creationId xmlns:p14="http://schemas.microsoft.com/office/powerpoint/2010/main" val="380874383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7114" y="228600"/>
            <a:ext cx="8542213" cy="838200"/>
          </a:xfrm>
        </p:spPr>
        <p:txBody>
          <a:bodyPr/>
          <a:lstStyle/>
          <a:p>
            <a:pPr lvl="0"/>
            <a:r>
              <a:rPr lang="en-US" dirty="0"/>
              <a:t>Economic Data Shows the Need for Further Fed Action</a:t>
            </a:r>
            <a:br>
              <a:rPr lang="en-US" dirty="0"/>
            </a:br>
            <a:endParaRPr lang="en-US" sz="1600" b="1" dirty="0">
              <a:solidFill>
                <a:srgbClr val="768692"/>
              </a:solidFill>
            </a:endParaRPr>
          </a:p>
        </p:txBody>
      </p:sp>
      <p:sp>
        <p:nvSpPr>
          <p:cNvPr id="4" name="Slide Number Placeholder 3"/>
          <p:cNvSpPr>
            <a:spLocks noGrp="1"/>
          </p:cNvSpPr>
          <p:nvPr>
            <p:ph type="sldNum" sz="quarter" idx="14"/>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E6474CC2-1230-4213-AD1A-4B2FEEABA7A1}" type="slidenum">
              <a:rPr kumimoji="0" lang="en-US" sz="800" b="1" i="0" u="none" strike="noStrike" kern="1200" cap="none" spc="0" normalizeH="0" baseline="0" noProof="0" smtClean="0">
                <a:ln>
                  <a:noFill/>
                </a:ln>
                <a:solidFill>
                  <a:srgbClr val="000000"/>
                </a:solidFill>
                <a:effectLst/>
                <a:uLnTx/>
                <a:uFillTx/>
                <a:latin typeface="Arial"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9</a:t>
            </a:fld>
            <a:endParaRPr kumimoji="0" lang="en-US" sz="800" b="1" i="0" u="none" strike="noStrike" kern="1200" cap="none" spc="0" normalizeH="0" baseline="0" noProof="0" dirty="0">
              <a:ln>
                <a:noFill/>
              </a:ln>
              <a:solidFill>
                <a:srgbClr val="000000"/>
              </a:solidFill>
              <a:effectLst/>
              <a:uLnTx/>
              <a:uFillTx/>
              <a:latin typeface="Arial" charset="0"/>
              <a:ea typeface="ＭＳ Ｐゴシック" charset="-128"/>
              <a:cs typeface="+mn-cs"/>
            </a:endParaRPr>
          </a:p>
        </p:txBody>
      </p:sp>
      <p:sp>
        <p:nvSpPr>
          <p:cNvPr id="10" name="Footer Placeholder 1"/>
          <p:cNvSpPr>
            <a:spLocks noGrp="1"/>
          </p:cNvSpPr>
          <p:nvPr>
            <p:ph type="ftr" sz="quarter" idx="17"/>
          </p:nvPr>
        </p:nvSpPr>
        <p:spPr>
          <a:prstGeom prst="rect">
            <a:avLst/>
          </a:prstGeom>
        </p:spPr>
        <p:txBody>
          <a:bodyPr lIns="91440" tIns="0" rIns="91440" bIns="0" anchor="b" anchorCtr="0"/>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charset="0"/>
                <a:ea typeface="ＭＳ Ｐゴシック" charset="-128"/>
                <a:cs typeface="+mn-cs"/>
              </a:rPr>
              <a:t>For institutional use only.</a:t>
            </a:r>
          </a:p>
        </p:txBody>
      </p:sp>
      <p:sp>
        <p:nvSpPr>
          <p:cNvPr id="9" name="Rectangle 8"/>
          <p:cNvSpPr/>
          <p:nvPr/>
        </p:nvSpPr>
        <p:spPr>
          <a:xfrm>
            <a:off x="320040" y="6028990"/>
            <a:ext cx="6784848" cy="584775"/>
          </a:xfrm>
          <a:prstGeom prst="rect">
            <a:avLst/>
          </a:prstGeom>
        </p:spPr>
        <p:txBody>
          <a:bodyPr>
            <a:spAutoFit/>
          </a:bodyPr>
          <a:lstStyle/>
          <a:p>
            <a:pPr fontAlgn="auto">
              <a:spcBef>
                <a:spcPts val="0"/>
              </a:spcBef>
              <a:spcAft>
                <a:spcPts val="0"/>
              </a:spcAft>
              <a:defRPr/>
            </a:pPr>
            <a:r>
              <a:rPr lang="en-US" sz="800" dirty="0">
                <a:solidFill>
                  <a:srgbClr val="000000"/>
                </a:solidFill>
                <a:ea typeface="+mn-ea"/>
                <a:cs typeface="Arial" panose="020B0604020202020204" pitchFamily="34" charset="0"/>
              </a:rPr>
              <a:t>Notes: PCE = Personal Consumption Expenditures.  Dotted blue line represents Fed Open Market (FOMC) forecast as of </a:t>
            </a:r>
            <a:r>
              <a:rPr lang="en-US" sz="800" dirty="0">
                <a:cs typeface="Arial" panose="020B0604020202020204" pitchFamily="34" charset="0"/>
              </a:rPr>
              <a:t>6</a:t>
            </a:r>
            <a:r>
              <a:rPr lang="en-US" sz="800" dirty="0">
                <a:ea typeface="+mn-ea"/>
                <a:cs typeface="Arial" panose="020B0604020202020204" pitchFamily="34" charset="0"/>
              </a:rPr>
              <a:t>/15/2022.</a:t>
            </a:r>
          </a:p>
          <a:p>
            <a:pPr fontAlgn="auto">
              <a:spcBef>
                <a:spcPts val="0"/>
              </a:spcBef>
              <a:spcAft>
                <a:spcPts val="0"/>
              </a:spcAft>
              <a:defRPr/>
            </a:pPr>
            <a:r>
              <a:rPr lang="en-US" sz="800" dirty="0">
                <a:solidFill>
                  <a:srgbClr val="000000"/>
                </a:solidFill>
                <a:ea typeface="+mn-ea"/>
                <a:cs typeface="Arial" panose="020B0604020202020204" pitchFamily="34" charset="0"/>
              </a:rPr>
              <a:t>Sources: Left: Bureau of Labor Statistics, U.S. Congressional Budget Office, and Federal Reserve Bank of St. Louis as of </a:t>
            </a:r>
            <a:r>
              <a:rPr lang="en-US" sz="800" dirty="0">
                <a:solidFill>
                  <a:srgbClr val="000000"/>
                </a:solidFill>
                <a:cs typeface="Arial" panose="020B0604020202020204" pitchFamily="34" charset="0"/>
              </a:rPr>
              <a:t>5/</a:t>
            </a:r>
            <a:r>
              <a:rPr lang="en-US" sz="800" dirty="0">
                <a:solidFill>
                  <a:srgbClr val="000000"/>
                </a:solidFill>
                <a:ea typeface="+mn-ea"/>
                <a:cs typeface="Arial" panose="020B0604020202020204" pitchFamily="34" charset="0"/>
              </a:rPr>
              <a:t>31/2022; Right: Bureau of </a:t>
            </a:r>
          </a:p>
          <a:p>
            <a:pPr fontAlgn="auto">
              <a:spcBef>
                <a:spcPts val="0"/>
              </a:spcBef>
              <a:spcAft>
                <a:spcPts val="0"/>
              </a:spcAft>
              <a:defRPr/>
            </a:pPr>
            <a:r>
              <a:rPr lang="en-US" sz="800" dirty="0">
                <a:solidFill>
                  <a:srgbClr val="000000"/>
                </a:solidFill>
                <a:ea typeface="+mn-ea"/>
                <a:cs typeface="Arial" panose="020B0604020202020204" pitchFamily="34" charset="0"/>
              </a:rPr>
              <a:t>Economic Analysis as of </a:t>
            </a:r>
            <a:r>
              <a:rPr lang="en-US" sz="800" dirty="0">
                <a:ea typeface="+mn-ea"/>
                <a:cs typeface="Arial" panose="020B0604020202020204" pitchFamily="34" charset="0"/>
              </a:rPr>
              <a:t>5/31/2022</a:t>
            </a:r>
          </a:p>
        </p:txBody>
      </p:sp>
      <p:graphicFrame>
        <p:nvGraphicFramePr>
          <p:cNvPr id="11" name="Chart 10">
            <a:extLst>
              <a:ext uri="{FF2B5EF4-FFF2-40B4-BE49-F238E27FC236}">
                <a16:creationId xmlns:a16="http://schemas.microsoft.com/office/drawing/2014/main" id="{2E7A61A9-C2FA-4615-80B4-9017337D547D}"/>
              </a:ext>
            </a:extLst>
          </p:cNvPr>
          <p:cNvGraphicFramePr>
            <a:graphicFrameLocks/>
          </p:cNvGraphicFramePr>
          <p:nvPr>
            <p:extLst>
              <p:ext uri="{D42A27DB-BD31-4B8C-83A1-F6EECF244321}">
                <p14:modId xmlns:p14="http://schemas.microsoft.com/office/powerpoint/2010/main" val="133543846"/>
              </p:ext>
            </p:extLst>
          </p:nvPr>
        </p:nvGraphicFramePr>
        <p:xfrm>
          <a:off x="423801" y="1367073"/>
          <a:ext cx="3997478" cy="3583718"/>
        </p:xfrm>
        <a:graphic>
          <a:graphicData uri="http://schemas.openxmlformats.org/drawingml/2006/chart">
            <c:chart xmlns:c="http://schemas.openxmlformats.org/drawingml/2006/chart" xmlns:r="http://schemas.openxmlformats.org/officeDocument/2006/relationships" r:id="rId2"/>
          </a:graphicData>
        </a:graphic>
      </p:graphicFrame>
      <p:cxnSp>
        <p:nvCxnSpPr>
          <p:cNvPr id="13" name="Straight Connector 12">
            <a:extLst>
              <a:ext uri="{FF2B5EF4-FFF2-40B4-BE49-F238E27FC236}">
                <a16:creationId xmlns:a16="http://schemas.microsoft.com/office/drawing/2014/main" id="{D2C1E33C-3BE6-48A0-983E-37F1491C7167}"/>
              </a:ext>
            </a:extLst>
          </p:cNvPr>
          <p:cNvCxnSpPr>
            <a:cxnSpLocks/>
          </p:cNvCxnSpPr>
          <p:nvPr/>
        </p:nvCxnSpPr>
        <p:spPr>
          <a:xfrm flipH="1" flipV="1">
            <a:off x="4567132" y="1577198"/>
            <a:ext cx="4869" cy="3357500"/>
          </a:xfrm>
          <a:prstGeom prst="line">
            <a:avLst/>
          </a:prstGeom>
          <a:ln w="6350">
            <a:solidFill>
              <a:srgbClr val="CBCBCB"/>
            </a:solidFill>
          </a:ln>
        </p:spPr>
        <p:style>
          <a:lnRef idx="1">
            <a:schemeClr val="accent1"/>
          </a:lnRef>
          <a:fillRef idx="0">
            <a:schemeClr val="accent1"/>
          </a:fillRef>
          <a:effectRef idx="0">
            <a:schemeClr val="accent1"/>
          </a:effectRef>
          <a:fontRef idx="minor">
            <a:schemeClr val="tx1"/>
          </a:fontRef>
        </p:style>
      </p:cxnSp>
      <p:sp>
        <p:nvSpPr>
          <p:cNvPr id="14" name="Text Box 4">
            <a:extLst>
              <a:ext uri="{FF2B5EF4-FFF2-40B4-BE49-F238E27FC236}">
                <a16:creationId xmlns:a16="http://schemas.microsoft.com/office/drawing/2014/main" id="{956CCE6C-24A9-4503-A52F-D52D072FD340}"/>
              </a:ext>
            </a:extLst>
          </p:cNvPr>
          <p:cNvSpPr txBox="1">
            <a:spLocks noChangeArrowheads="1"/>
          </p:cNvSpPr>
          <p:nvPr/>
        </p:nvSpPr>
        <p:spPr bwMode="auto">
          <a:xfrm rot="16200000">
            <a:off x="-592427" y="3126825"/>
            <a:ext cx="2247901" cy="215444"/>
          </a:xfrm>
          <a:prstGeom prst="rect">
            <a:avLst/>
          </a:prstGeom>
          <a:noFill/>
          <a:ln w="9525" algn="ctr">
            <a:noFill/>
            <a:miter lim="800000"/>
            <a:headEnd/>
            <a:tailEnd/>
          </a:ln>
        </p:spPr>
        <p:txBody>
          <a:bodyPr wrap="square">
            <a:spAutoFit/>
          </a:bodyPr>
          <a:lstStyle/>
          <a:p>
            <a:pPr algn="ctr" fontAlgn="auto">
              <a:spcBef>
                <a:spcPct val="50000"/>
              </a:spcBef>
              <a:spcAft>
                <a:spcPts val="0"/>
              </a:spcAft>
              <a:defRPr/>
            </a:pPr>
            <a:r>
              <a:rPr lang="en-US" sz="800" dirty="0">
                <a:solidFill>
                  <a:srgbClr val="000000"/>
                </a:solidFill>
                <a:latin typeface="Arial" charset="0"/>
                <a:ea typeface="+mn-ea"/>
                <a:cs typeface="+mn-cs"/>
              </a:rPr>
              <a:t>U.S. Unemployment Rate (%)</a:t>
            </a:r>
          </a:p>
        </p:txBody>
      </p:sp>
      <p:sp>
        <p:nvSpPr>
          <p:cNvPr id="15" name="TextBox 14">
            <a:extLst>
              <a:ext uri="{FF2B5EF4-FFF2-40B4-BE49-F238E27FC236}">
                <a16:creationId xmlns:a16="http://schemas.microsoft.com/office/drawing/2014/main" id="{5071543B-4D59-46AA-A03A-9E1ED8783B9E}"/>
              </a:ext>
            </a:extLst>
          </p:cNvPr>
          <p:cNvSpPr txBox="1"/>
          <p:nvPr/>
        </p:nvSpPr>
        <p:spPr>
          <a:xfrm rot="16200000">
            <a:off x="3659592" y="3058912"/>
            <a:ext cx="2247899" cy="351270"/>
          </a:xfrm>
          <a:prstGeom prst="rect">
            <a:avLst/>
          </a:prstGeom>
          <a:noFill/>
        </p:spPr>
        <p:txBody>
          <a:bodyPr wrap="none" rtlCol="0">
            <a:noAutofit/>
          </a:bodyPr>
          <a:lstStyle/>
          <a:p>
            <a:pPr algn="ctr" fontAlgn="auto">
              <a:spcBef>
                <a:spcPts val="0"/>
              </a:spcBef>
              <a:spcAft>
                <a:spcPts val="0"/>
              </a:spcAft>
              <a:defRPr/>
            </a:pPr>
            <a:r>
              <a:rPr lang="en-US" sz="800" dirty="0">
                <a:solidFill>
                  <a:srgbClr val="000000"/>
                </a:solidFill>
                <a:ea typeface="+mn-ea"/>
                <a:cs typeface="Arial" panose="020B0604020202020204" pitchFamily="34" charset="0"/>
              </a:rPr>
              <a:t>Core PCE Y/Y (%)</a:t>
            </a:r>
          </a:p>
        </p:txBody>
      </p:sp>
      <p:graphicFrame>
        <p:nvGraphicFramePr>
          <p:cNvPr id="16" name="Chart 15">
            <a:extLst>
              <a:ext uri="{FF2B5EF4-FFF2-40B4-BE49-F238E27FC236}">
                <a16:creationId xmlns:a16="http://schemas.microsoft.com/office/drawing/2014/main" id="{9A40DF24-799C-4708-9EC4-2809937C3289}"/>
              </a:ext>
            </a:extLst>
          </p:cNvPr>
          <p:cNvGraphicFramePr>
            <a:graphicFrameLocks/>
          </p:cNvGraphicFramePr>
          <p:nvPr>
            <p:extLst>
              <p:ext uri="{D42A27DB-BD31-4B8C-83A1-F6EECF244321}">
                <p14:modId xmlns:p14="http://schemas.microsoft.com/office/powerpoint/2010/main" val="1445063784"/>
              </p:ext>
            </p:extLst>
          </p:nvPr>
        </p:nvGraphicFramePr>
        <p:xfrm>
          <a:off x="4862397" y="1488166"/>
          <a:ext cx="4122824" cy="3583718"/>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Box 1">
            <a:extLst>
              <a:ext uri="{FF2B5EF4-FFF2-40B4-BE49-F238E27FC236}">
                <a16:creationId xmlns:a16="http://schemas.microsoft.com/office/drawing/2014/main" id="{3E75BC1C-1BC0-4BC9-BC51-0D8862C79D3B}"/>
              </a:ext>
            </a:extLst>
          </p:cNvPr>
          <p:cNvSpPr txBox="1"/>
          <p:nvPr/>
        </p:nvSpPr>
        <p:spPr>
          <a:xfrm>
            <a:off x="2463787" y="2326663"/>
            <a:ext cx="1928917" cy="476882"/>
          </a:xfrm>
          <a:prstGeom prst="rect">
            <a:avLst/>
          </a:prstGeom>
        </p:spPr>
        <p:txBody>
          <a:bodyPr vert="horz"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fontAlgn="auto">
              <a:spcBef>
                <a:spcPts val="0"/>
              </a:spcBef>
              <a:spcAft>
                <a:spcPts val="0"/>
              </a:spcAft>
              <a:defRPr/>
            </a:pPr>
            <a:r>
              <a:rPr lang="en-US" sz="800" dirty="0">
                <a:solidFill>
                  <a:srgbClr val="7A9A3D"/>
                </a:solidFill>
                <a:latin typeface="Arial" panose="020B0604020202020204" pitchFamily="34" charset="0"/>
                <a:cs typeface="Arial" panose="020B0604020202020204" pitchFamily="34" charset="0"/>
              </a:rPr>
              <a:t>Unemployment Rate</a:t>
            </a:r>
          </a:p>
        </p:txBody>
      </p:sp>
      <p:sp>
        <p:nvSpPr>
          <p:cNvPr id="18" name="TextBox 1">
            <a:extLst>
              <a:ext uri="{FF2B5EF4-FFF2-40B4-BE49-F238E27FC236}">
                <a16:creationId xmlns:a16="http://schemas.microsoft.com/office/drawing/2014/main" id="{029FE367-ED0C-44A5-A589-17128B14B07D}"/>
              </a:ext>
            </a:extLst>
          </p:cNvPr>
          <p:cNvSpPr txBox="1"/>
          <p:nvPr/>
        </p:nvSpPr>
        <p:spPr>
          <a:xfrm>
            <a:off x="1074767" y="3627928"/>
            <a:ext cx="1928917" cy="476882"/>
          </a:xfrm>
          <a:prstGeom prst="rect">
            <a:avLst/>
          </a:prstGeom>
        </p:spPr>
        <p:txBody>
          <a:bodyPr vert="horz" rtlCol="0"/>
          <a:lstStyle>
            <a:defPPr>
              <a:defRPr lang="en-US"/>
            </a:defPPr>
            <a:lvl1pPr marL="0" indent="0" fontAlgn="auto">
              <a:spcBef>
                <a:spcPts val="0"/>
              </a:spcBef>
              <a:spcAft>
                <a:spcPts val="0"/>
              </a:spcAft>
              <a:defRPr>
                <a:solidFill>
                  <a:srgbClr val="E09B00"/>
                </a:solidFill>
                <a:ea typeface="+mn-ea"/>
                <a:cs typeface="Arial" panose="020B0604020202020204" pitchFamily="34" charset="0"/>
              </a:defRPr>
            </a:lvl1pPr>
            <a:lvl2pPr indent="0">
              <a:defRPr sz="1100">
                <a:latin typeface="+mn-lt"/>
                <a:ea typeface="+mn-ea"/>
                <a:cs typeface="+mn-cs"/>
              </a:defRPr>
            </a:lvl2pPr>
            <a:lvl3pPr indent="0">
              <a:defRPr sz="1100">
                <a:latin typeface="+mn-lt"/>
                <a:ea typeface="+mn-ea"/>
                <a:cs typeface="+mn-cs"/>
              </a:defRPr>
            </a:lvl3pPr>
            <a:lvl4pPr indent="0">
              <a:defRPr sz="1100">
                <a:latin typeface="+mn-lt"/>
                <a:ea typeface="+mn-ea"/>
                <a:cs typeface="+mn-cs"/>
              </a:defRPr>
            </a:lvl4pPr>
            <a:lvl5pPr indent="0">
              <a:defRPr sz="1100">
                <a:latin typeface="+mn-lt"/>
                <a:ea typeface="+mn-ea"/>
                <a:cs typeface="+mn-cs"/>
              </a:defRPr>
            </a:lvl5pPr>
            <a:lvl6pPr indent="0">
              <a:defRPr sz="1100">
                <a:latin typeface="+mn-lt"/>
                <a:ea typeface="+mn-ea"/>
                <a:cs typeface="+mn-cs"/>
              </a:defRPr>
            </a:lvl6pPr>
            <a:lvl7pPr indent="0">
              <a:defRPr sz="1100">
                <a:latin typeface="+mn-lt"/>
                <a:ea typeface="+mn-ea"/>
                <a:cs typeface="+mn-cs"/>
              </a:defRPr>
            </a:lvl7pPr>
            <a:lvl8pPr indent="0">
              <a:defRPr sz="1100">
                <a:latin typeface="+mn-lt"/>
                <a:ea typeface="+mn-ea"/>
                <a:cs typeface="+mn-cs"/>
              </a:defRPr>
            </a:lvl8pPr>
            <a:lvl9pPr indent="0">
              <a:defRPr sz="1100">
                <a:latin typeface="+mn-lt"/>
                <a:ea typeface="+mn-ea"/>
                <a:cs typeface="+mn-cs"/>
              </a:defRPr>
            </a:lvl9pPr>
          </a:lstStyle>
          <a:p>
            <a:r>
              <a:rPr lang="en-US" sz="800" dirty="0"/>
              <a:t>Fed’s Long-Term Natural Rate of Unemployment</a:t>
            </a:r>
          </a:p>
        </p:txBody>
      </p:sp>
      <p:sp>
        <p:nvSpPr>
          <p:cNvPr id="19" name="TextBox 1">
            <a:extLst>
              <a:ext uri="{FF2B5EF4-FFF2-40B4-BE49-F238E27FC236}">
                <a16:creationId xmlns:a16="http://schemas.microsoft.com/office/drawing/2014/main" id="{3BA6E8A8-DE54-4CC1-A402-E2516E41EA76}"/>
              </a:ext>
            </a:extLst>
          </p:cNvPr>
          <p:cNvSpPr txBox="1"/>
          <p:nvPr/>
        </p:nvSpPr>
        <p:spPr>
          <a:xfrm>
            <a:off x="5260420" y="2379778"/>
            <a:ext cx="2356049" cy="238441"/>
          </a:xfrm>
          <a:prstGeom prst="rect">
            <a:avLst/>
          </a:prstGeom>
        </p:spPr>
        <p:txBody>
          <a:bodyPr vert="horz"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fontAlgn="auto">
              <a:spcBef>
                <a:spcPts val="0"/>
              </a:spcBef>
              <a:spcAft>
                <a:spcPts val="0"/>
              </a:spcAft>
              <a:defRPr/>
            </a:pPr>
            <a:r>
              <a:rPr lang="en-US" sz="800" dirty="0">
                <a:solidFill>
                  <a:srgbClr val="298FC2"/>
                </a:solidFill>
                <a:latin typeface="Arial" panose="020B0604020202020204" pitchFamily="34" charset="0"/>
                <a:cs typeface="Arial" panose="020B0604020202020204" pitchFamily="34" charset="0"/>
              </a:rPr>
              <a:t>PCE Inflation, ex Food and Energy</a:t>
            </a:r>
          </a:p>
        </p:txBody>
      </p:sp>
      <p:sp>
        <p:nvSpPr>
          <p:cNvPr id="20" name="TextBox 1">
            <a:extLst>
              <a:ext uri="{FF2B5EF4-FFF2-40B4-BE49-F238E27FC236}">
                <a16:creationId xmlns:a16="http://schemas.microsoft.com/office/drawing/2014/main" id="{BB6333B3-8554-47B2-9F54-C8595BBE5CFC}"/>
              </a:ext>
            </a:extLst>
          </p:cNvPr>
          <p:cNvSpPr txBox="1"/>
          <p:nvPr/>
        </p:nvSpPr>
        <p:spPr>
          <a:xfrm>
            <a:off x="7295558" y="3765025"/>
            <a:ext cx="2526089" cy="238441"/>
          </a:xfrm>
          <a:prstGeom prst="rect">
            <a:avLst/>
          </a:prstGeom>
        </p:spPr>
        <p:txBody>
          <a:bodyPr vert="horz"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fontAlgn="auto">
              <a:spcBef>
                <a:spcPts val="0"/>
              </a:spcBef>
              <a:spcAft>
                <a:spcPts val="0"/>
              </a:spcAft>
              <a:defRPr/>
            </a:pPr>
            <a:r>
              <a:rPr lang="en-US" sz="800" dirty="0">
                <a:solidFill>
                  <a:srgbClr val="E09B00"/>
                </a:solidFill>
                <a:latin typeface="Arial" panose="020B0604020202020204" pitchFamily="34" charset="0"/>
                <a:cs typeface="Arial" panose="020B0604020202020204" pitchFamily="34" charset="0"/>
              </a:rPr>
              <a:t>Fed’s Inflation Target </a:t>
            </a:r>
          </a:p>
          <a:p>
            <a:pPr fontAlgn="auto">
              <a:spcBef>
                <a:spcPts val="0"/>
              </a:spcBef>
              <a:spcAft>
                <a:spcPts val="0"/>
              </a:spcAft>
              <a:defRPr/>
            </a:pPr>
            <a:r>
              <a:rPr lang="en-US" sz="800" dirty="0">
                <a:solidFill>
                  <a:srgbClr val="E09B00"/>
                </a:solidFill>
                <a:latin typeface="Arial" panose="020B0604020202020204" pitchFamily="34" charset="0"/>
                <a:cs typeface="Arial" panose="020B0604020202020204" pitchFamily="34" charset="0"/>
              </a:rPr>
              <a:t>(Average)</a:t>
            </a:r>
          </a:p>
        </p:txBody>
      </p:sp>
    </p:spTree>
    <p:extLst>
      <p:ext uri="{BB962C8B-B14F-4D97-AF65-F5344CB8AC3E}">
        <p14:creationId xmlns:p14="http://schemas.microsoft.com/office/powerpoint/2010/main" val="12961657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FDSMENUDOCLEVELBTNSTATES" val="&lt;btnStates&gt;&lt;btn tag=&quot;1001&quot; state=&quot;UP&quot;/&gt;&lt;/btnStates&gt;&#1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FIAM107_External_Print_Presentation_TEMPLATE_8.24.16">
  <a:themeElements>
    <a:clrScheme name="107 Evolution">
      <a:dk1>
        <a:srgbClr val="000000"/>
      </a:dk1>
      <a:lt1>
        <a:srgbClr val="FFFFFF"/>
      </a:lt1>
      <a:dk2>
        <a:srgbClr val="212425"/>
      </a:dk2>
      <a:lt2>
        <a:srgbClr val="333F48"/>
      </a:lt2>
      <a:accent1>
        <a:srgbClr val="298FC2"/>
      </a:accent1>
      <a:accent2>
        <a:srgbClr val="4A7729"/>
      </a:accent2>
      <a:accent3>
        <a:srgbClr val="7A9A01"/>
      </a:accent3>
      <a:accent4>
        <a:srgbClr val="6BA4B8"/>
      </a:accent4>
      <a:accent5>
        <a:srgbClr val="768692"/>
      </a:accent5>
      <a:accent6>
        <a:srgbClr val="9BBDAA"/>
      </a:accent6>
      <a:hlink>
        <a:srgbClr val="298FC2"/>
      </a:hlink>
      <a:folHlink>
        <a:srgbClr val="51284F"/>
      </a:folHlink>
    </a:clrScheme>
    <a:fontScheme name="4_pyramis_external_printed_presentation_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hlink"/>
        </a:solid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ea typeface="ＭＳ Ｐゴシック" charset="-128"/>
          </a:defRPr>
        </a:defPPr>
      </a:lstStyle>
    </a:spDef>
    <a:lnDef>
      <a:spPr bwMode="auto">
        <a:xfrm>
          <a:off x="0" y="0"/>
          <a:ext cx="1" cy="1"/>
        </a:xfrm>
        <a:custGeom>
          <a:avLst/>
          <a:gdLst/>
          <a:ahLst/>
          <a:cxnLst/>
          <a:rect l="0" t="0" r="0" b="0"/>
          <a:pathLst/>
        </a:custGeom>
        <a:solidFill>
          <a:schemeClr val="hlink"/>
        </a:solid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ea typeface="ＭＳ Ｐゴシック" charset="-128"/>
          </a:defRPr>
        </a:defPPr>
      </a:lstStyle>
    </a:lnDef>
  </a:objectDefaults>
  <a:extraClrSchemeLst>
    <a:extraClrScheme>
      <a:clrScheme name="4_pyramis_external_printed_presentation_template 1">
        <a:dk1>
          <a:srgbClr val="1A2732"/>
        </a:dk1>
        <a:lt1>
          <a:srgbClr val="FFFFFF"/>
        </a:lt1>
        <a:dk2>
          <a:srgbClr val="D6E1EA"/>
        </a:dk2>
        <a:lt2>
          <a:srgbClr val="B6CADA"/>
        </a:lt2>
        <a:accent1>
          <a:srgbClr val="1A2732"/>
        </a:accent1>
        <a:accent2>
          <a:srgbClr val="5580A3"/>
        </a:accent2>
        <a:accent3>
          <a:srgbClr val="FFFFFF"/>
        </a:accent3>
        <a:accent4>
          <a:srgbClr val="142029"/>
        </a:accent4>
        <a:accent5>
          <a:srgbClr val="ABACAD"/>
        </a:accent5>
        <a:accent6>
          <a:srgbClr val="4C7393"/>
        </a:accent6>
        <a:hlink>
          <a:srgbClr val="81A2BD"/>
        </a:hlink>
        <a:folHlink>
          <a:srgbClr val="42637E"/>
        </a:folHlink>
      </a:clrScheme>
      <a:clrMap bg1="lt1" tx1="dk1" bg2="lt2" tx2="dk2" accent1="accent1" accent2="accent2" accent3="accent3" accent4="accent4" accent5="accent5" accent6="accent6" hlink="hlink" folHlink="folHlink"/>
    </a:extraClrScheme>
    <a:extraClrScheme>
      <a:clrScheme name="4_pyramis_external_printed_presentation_template 2">
        <a:dk1>
          <a:srgbClr val="1A2732"/>
        </a:dk1>
        <a:lt1>
          <a:srgbClr val="FFFFFF"/>
        </a:lt1>
        <a:dk2>
          <a:srgbClr val="1A2732"/>
        </a:dk2>
        <a:lt2>
          <a:srgbClr val="D6E1EA"/>
        </a:lt2>
        <a:accent1>
          <a:srgbClr val="D6E1EA"/>
        </a:accent1>
        <a:accent2>
          <a:srgbClr val="788E78"/>
        </a:accent2>
        <a:accent3>
          <a:srgbClr val="FFFFFF"/>
        </a:accent3>
        <a:accent4>
          <a:srgbClr val="142029"/>
        </a:accent4>
        <a:accent5>
          <a:srgbClr val="E8EEF3"/>
        </a:accent5>
        <a:accent6>
          <a:srgbClr val="6C806C"/>
        </a:accent6>
        <a:hlink>
          <a:srgbClr val="B1C785"/>
        </a:hlink>
        <a:folHlink>
          <a:srgbClr val="6A7029"/>
        </a:folHlink>
      </a:clrScheme>
      <a:clrMap bg1="lt1" tx1="dk1" bg2="lt2" tx2="dk2" accent1="accent1" accent2="accent2" accent3="accent3" accent4="accent4" accent5="accent5" accent6="accent6" hlink="hlink" folHlink="folHlink"/>
    </a:extraClrScheme>
    <a:extraClrScheme>
      <a:clrScheme name="4_pyramis_external_printed_presentation_template 3">
        <a:dk1>
          <a:srgbClr val="788E78"/>
        </a:dk1>
        <a:lt1>
          <a:srgbClr val="FFFFFF"/>
        </a:lt1>
        <a:dk2>
          <a:srgbClr val="1A2732"/>
        </a:dk2>
        <a:lt2>
          <a:srgbClr val="D6E1EA"/>
        </a:lt2>
        <a:accent1>
          <a:srgbClr val="B1C785"/>
        </a:accent1>
        <a:accent2>
          <a:srgbClr val="1A2732"/>
        </a:accent2>
        <a:accent3>
          <a:srgbClr val="FFFFFF"/>
        </a:accent3>
        <a:accent4>
          <a:srgbClr val="657865"/>
        </a:accent4>
        <a:accent5>
          <a:srgbClr val="D5E0C2"/>
        </a:accent5>
        <a:accent6>
          <a:srgbClr val="16222C"/>
        </a:accent6>
        <a:hlink>
          <a:srgbClr val="4C5F6C"/>
        </a:hlink>
        <a:folHlink>
          <a:srgbClr val="81A2BD"/>
        </a:folHlink>
      </a:clrScheme>
      <a:clrMap bg1="lt1" tx1="dk1" bg2="lt2" tx2="dk2" accent1="accent1" accent2="accent2" accent3="accent3" accent4="accent4" accent5="accent5" accent6="accent6" hlink="hlink" folHlink="folHlink"/>
    </a:extraClrScheme>
    <a:extraClrScheme>
      <a:clrScheme name="4_pyramis_external_printed_presentation_template 4">
        <a:dk1>
          <a:srgbClr val="19252F"/>
        </a:dk1>
        <a:lt1>
          <a:srgbClr val="FFFFFF"/>
        </a:lt1>
        <a:dk2>
          <a:srgbClr val="B19401"/>
        </a:dk2>
        <a:lt2>
          <a:srgbClr val="EDE7DD"/>
        </a:lt2>
        <a:accent1>
          <a:srgbClr val="B1C785"/>
        </a:accent1>
        <a:accent2>
          <a:srgbClr val="6A7029"/>
        </a:accent2>
        <a:accent3>
          <a:srgbClr val="FFFFFF"/>
        </a:accent3>
        <a:accent4>
          <a:srgbClr val="141E27"/>
        </a:accent4>
        <a:accent5>
          <a:srgbClr val="D5E0C2"/>
        </a:accent5>
        <a:accent6>
          <a:srgbClr val="5F6524"/>
        </a:accent6>
        <a:hlink>
          <a:srgbClr val="ADBBAD"/>
        </a:hlink>
        <a:folHlink>
          <a:srgbClr val="764200"/>
        </a:folHlink>
      </a:clrScheme>
      <a:clrMap bg1="lt1" tx1="dk1" bg2="lt2" tx2="dk2" accent1="accent1" accent2="accent2" accent3="accent3" accent4="accent4" accent5="accent5" accent6="accent6" hlink="hlink" folHlink="folHlink"/>
    </a:extraClrScheme>
    <a:extraClrScheme>
      <a:clrScheme name="4_pyramis_external_printed_presentation_template 5">
        <a:dk1>
          <a:srgbClr val="1A2732"/>
        </a:dk1>
        <a:lt1>
          <a:srgbClr val="FFFFFF"/>
        </a:lt1>
        <a:dk2>
          <a:srgbClr val="B19401"/>
        </a:dk2>
        <a:lt2>
          <a:srgbClr val="EDE7DD"/>
        </a:lt2>
        <a:accent1>
          <a:srgbClr val="B1C785"/>
        </a:accent1>
        <a:accent2>
          <a:srgbClr val="6A7029"/>
        </a:accent2>
        <a:accent3>
          <a:srgbClr val="FFFFFF"/>
        </a:accent3>
        <a:accent4>
          <a:srgbClr val="142029"/>
        </a:accent4>
        <a:accent5>
          <a:srgbClr val="D5E0C2"/>
        </a:accent5>
        <a:accent6>
          <a:srgbClr val="5F6524"/>
        </a:accent6>
        <a:hlink>
          <a:srgbClr val="AAC3B4"/>
        </a:hlink>
        <a:folHlink>
          <a:srgbClr val="764200"/>
        </a:folHlink>
      </a:clrScheme>
      <a:clrMap bg1="lt1" tx1="dk1" bg2="lt2" tx2="dk2" accent1="accent1" accent2="accent2" accent3="accent3" accent4="accent4" accent5="accent5" accent6="accent6" hlink="hlink" folHlink="folHlink"/>
    </a:extraClrScheme>
    <a:extraClrScheme>
      <a:clrScheme name="4_pyramis_external_printed_presentation_template 6">
        <a:dk1>
          <a:srgbClr val="19252F"/>
        </a:dk1>
        <a:lt1>
          <a:srgbClr val="FFFFFF"/>
        </a:lt1>
        <a:dk2>
          <a:srgbClr val="B19401"/>
        </a:dk2>
        <a:lt2>
          <a:srgbClr val="DCDCCE"/>
        </a:lt2>
        <a:accent1>
          <a:srgbClr val="BDD096"/>
        </a:accent1>
        <a:accent2>
          <a:srgbClr val="6A7029"/>
        </a:accent2>
        <a:accent3>
          <a:srgbClr val="FFFFFF"/>
        </a:accent3>
        <a:accent4>
          <a:srgbClr val="141E27"/>
        </a:accent4>
        <a:accent5>
          <a:srgbClr val="DBE4C9"/>
        </a:accent5>
        <a:accent6>
          <a:srgbClr val="5F6524"/>
        </a:accent6>
        <a:hlink>
          <a:srgbClr val="ADBBAD"/>
        </a:hlink>
        <a:folHlink>
          <a:srgbClr val="462900"/>
        </a:folHlink>
      </a:clrScheme>
      <a:clrMap bg1="lt1" tx1="dk1" bg2="lt2" tx2="dk2" accent1="accent1" accent2="accent2" accent3="accent3" accent4="accent4" accent5="accent5" accent6="accent6" hlink="hlink" folHlink="folHlink"/>
    </a:extraClrScheme>
    <a:extraClrScheme>
      <a:clrScheme name="4_pyramis_external_printed_presentation_template 7">
        <a:dk1>
          <a:srgbClr val="19252F"/>
        </a:dk1>
        <a:lt1>
          <a:srgbClr val="FFFFFF"/>
        </a:lt1>
        <a:dk2>
          <a:srgbClr val="B19401"/>
        </a:dk2>
        <a:lt2>
          <a:srgbClr val="DCDCCE"/>
        </a:lt2>
        <a:accent1>
          <a:srgbClr val="BDD096"/>
        </a:accent1>
        <a:accent2>
          <a:srgbClr val="6A7029"/>
        </a:accent2>
        <a:accent3>
          <a:srgbClr val="FFFFFF"/>
        </a:accent3>
        <a:accent4>
          <a:srgbClr val="141E27"/>
        </a:accent4>
        <a:accent5>
          <a:srgbClr val="DBE4C9"/>
        </a:accent5>
        <a:accent6>
          <a:srgbClr val="5F6524"/>
        </a:accent6>
        <a:hlink>
          <a:srgbClr val="AAC3B4"/>
        </a:hlink>
        <a:folHlink>
          <a:srgbClr val="462900"/>
        </a:folHlink>
      </a:clrScheme>
      <a:clrMap bg1="lt1" tx1="dk1" bg2="lt2" tx2="dk2" accent1="accent1" accent2="accent2" accent3="accent3" accent4="accent4" accent5="accent5" accent6="accent6" hlink="hlink" folHlink="folHlink"/>
    </a:extraClrScheme>
    <a:extraClrScheme>
      <a:clrScheme name="4_pyramis_external_printed_presentation_template 8">
        <a:dk1>
          <a:srgbClr val="1A2732"/>
        </a:dk1>
        <a:lt1>
          <a:srgbClr val="FFFFFF"/>
        </a:lt1>
        <a:dk2>
          <a:srgbClr val="203731"/>
        </a:dk2>
        <a:lt2>
          <a:srgbClr val="A4AEB5"/>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1A2732"/>
        </a:folHlink>
      </a:clrScheme>
      <a:clrMap bg1="lt1" tx1="dk1" bg2="lt2" tx2="dk2" accent1="accent1" accent2="accent2" accent3="accent3" accent4="accent4" accent5="accent5" accent6="accent6" hlink="hlink" folHlink="folHlink"/>
    </a:extraClrScheme>
    <a:extraClrScheme>
      <a:clrScheme name="4_pyramis_external_printed_presentation_template 9">
        <a:dk1>
          <a:srgbClr val="1A2732"/>
        </a:dk1>
        <a:lt1>
          <a:srgbClr val="FFFFFF"/>
        </a:lt1>
        <a:dk2>
          <a:srgbClr val="203731"/>
        </a:dk2>
        <a:lt2>
          <a:srgbClr val="A7B8B4"/>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1A2732"/>
        </a:folHlink>
      </a:clrScheme>
      <a:clrMap bg1="lt1" tx1="dk1" bg2="lt2" tx2="dk2" accent1="accent1" accent2="accent2" accent3="accent3" accent4="accent4" accent5="accent5" accent6="accent6" hlink="hlink" folHlink="folHlink"/>
    </a:extraClrScheme>
    <a:extraClrScheme>
      <a:clrScheme name="4_pyramis_external_printed_presentation_template 10">
        <a:dk1>
          <a:srgbClr val="1A2732"/>
        </a:dk1>
        <a:lt1>
          <a:srgbClr val="FFFFFF"/>
        </a:lt1>
        <a:dk2>
          <a:srgbClr val="203731"/>
        </a:dk2>
        <a:lt2>
          <a:srgbClr val="A7B8B4"/>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1">
        <a:dk1>
          <a:srgbClr val="1A2732"/>
        </a:dk1>
        <a:lt1>
          <a:srgbClr val="FFFFFF"/>
        </a:lt1>
        <a:dk2>
          <a:srgbClr val="203731"/>
        </a:dk2>
        <a:lt2>
          <a:srgbClr val="A4AEB5"/>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2">
        <a:dk1>
          <a:srgbClr val="172934"/>
        </a:dk1>
        <a:lt1>
          <a:srgbClr val="FFFFFF"/>
        </a:lt1>
        <a:dk2>
          <a:srgbClr val="203731"/>
        </a:dk2>
        <a:lt2>
          <a:srgbClr val="A4AEB5"/>
        </a:lt2>
        <a:accent1>
          <a:srgbClr val="51626F"/>
        </a:accent1>
        <a:accent2>
          <a:srgbClr val="3E4519"/>
        </a:accent2>
        <a:accent3>
          <a:srgbClr val="FFFFFF"/>
        </a:accent3>
        <a:accent4>
          <a:srgbClr val="12212B"/>
        </a:accent4>
        <a:accent5>
          <a:srgbClr val="B3B7BB"/>
        </a:accent5>
        <a:accent6>
          <a:srgbClr val="373E16"/>
        </a:accent6>
        <a:hlink>
          <a:srgbClr val="ABC78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3">
        <a:dk1>
          <a:srgbClr val="172934"/>
        </a:dk1>
        <a:lt1>
          <a:srgbClr val="FFFFFF"/>
        </a:lt1>
        <a:dk2>
          <a:srgbClr val="203731"/>
        </a:dk2>
        <a:lt2>
          <a:srgbClr val="A4AEB5"/>
        </a:lt2>
        <a:accent1>
          <a:srgbClr val="51626F"/>
        </a:accent1>
        <a:accent2>
          <a:srgbClr val="3E4519"/>
        </a:accent2>
        <a:accent3>
          <a:srgbClr val="FFFFFF"/>
        </a:accent3>
        <a:accent4>
          <a:srgbClr val="12212B"/>
        </a:accent4>
        <a:accent5>
          <a:srgbClr val="B3B7BB"/>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4">
        <a:dk1>
          <a:srgbClr val="172934"/>
        </a:dk1>
        <a:lt1>
          <a:srgbClr val="FFFFFF"/>
        </a:lt1>
        <a:dk2>
          <a:srgbClr val="203731"/>
        </a:dk2>
        <a:lt2>
          <a:srgbClr val="A4AEB5"/>
        </a:lt2>
        <a:accent1>
          <a:srgbClr val="4C5F6C"/>
        </a:accent1>
        <a:accent2>
          <a:srgbClr val="3E4519"/>
        </a:accent2>
        <a:accent3>
          <a:srgbClr val="FFFFFF"/>
        </a:accent3>
        <a:accent4>
          <a:srgbClr val="12212B"/>
        </a:accent4>
        <a:accent5>
          <a:srgbClr val="B2B6BA"/>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5">
        <a:dk1>
          <a:srgbClr val="172934"/>
        </a:dk1>
        <a:lt1>
          <a:srgbClr val="FFFFFF"/>
        </a:lt1>
        <a:dk2>
          <a:srgbClr val="203731"/>
        </a:dk2>
        <a:lt2>
          <a:srgbClr val="5D87A1"/>
        </a:lt2>
        <a:accent1>
          <a:srgbClr val="4C5F6C"/>
        </a:accent1>
        <a:accent2>
          <a:srgbClr val="3E4519"/>
        </a:accent2>
        <a:accent3>
          <a:srgbClr val="FFFFFF"/>
        </a:accent3>
        <a:accent4>
          <a:srgbClr val="12212B"/>
        </a:accent4>
        <a:accent5>
          <a:srgbClr val="B2B6BA"/>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6">
        <a:dk1>
          <a:srgbClr val="172934"/>
        </a:dk1>
        <a:lt1>
          <a:srgbClr val="FFFFFF"/>
        </a:lt1>
        <a:dk2>
          <a:srgbClr val="172934"/>
        </a:dk2>
        <a:lt2>
          <a:srgbClr val="5D87A1"/>
        </a:lt2>
        <a:accent1>
          <a:srgbClr val="4C5F6C"/>
        </a:accent1>
        <a:accent2>
          <a:srgbClr val="3E4519"/>
        </a:accent2>
        <a:accent3>
          <a:srgbClr val="FFFFFF"/>
        </a:accent3>
        <a:accent4>
          <a:srgbClr val="12212B"/>
        </a:accent4>
        <a:accent5>
          <a:srgbClr val="B2B6BA"/>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Lst>
  <a:custClrLst>
    <a:custClr name="7689-100%">
      <a:srgbClr val="298FC2"/>
    </a:custClr>
    <a:custClr name="377-100%">
      <a:srgbClr val="7A9B3D"/>
    </a:custClr>
    <a:custClr name="584-100%">
      <a:srgbClr val="D3D755"/>
    </a:custClr>
    <a:custClr name="3285-100%">
      <a:srgbClr val="009681"/>
    </a:custClr>
    <a:custClr name="432-100%">
      <a:srgbClr val="333F48"/>
    </a:custClr>
    <a:custClr name="558-100%">
      <a:srgbClr val="9CBDAA"/>
    </a:custClr>
    <a:custClr name="7544-100%">
      <a:srgbClr val="768692"/>
    </a:custClr>
    <a:custClr name="117-100%">
      <a:srgbClr val="C8982C"/>
    </a:custClr>
    <a:custClr name="262-100%">
      <a:srgbClr val="51284F"/>
    </a:custClr>
    <a:custClr name="7413-100%">
      <a:srgbClr val="DC8633"/>
    </a:custClr>
    <a:custClr name="7689-80%">
      <a:srgbClr val="53A5CE"/>
    </a:custClr>
    <a:custClr name="377-80%">
      <a:srgbClr val="94AE3C"/>
    </a:custClr>
    <a:custClr name="584-80%">
      <a:srgbClr val="DBDF77"/>
    </a:custClr>
    <a:custClr name="3285-80%">
      <a:srgbClr val="33AB9A"/>
    </a:custClr>
    <a:custClr name="432-80%">
      <a:srgbClr val="5D656D"/>
    </a:custClr>
    <a:custClr name="558-80%">
      <a:srgbClr val="AFC9BB"/>
    </a:custClr>
    <a:custClr name="7544-80%">
      <a:srgbClr val="919EA8"/>
    </a:custClr>
    <a:custClr name="117-80%">
      <a:srgbClr val="D4AC2F"/>
    </a:custClr>
    <a:custClr name="262-80%">
      <a:srgbClr val="755372"/>
    </a:custClr>
    <a:custClr name="7413-80%">
      <a:srgbClr val="E49E5C"/>
    </a:custClr>
    <a:custClr name="7689-60%">
      <a:srgbClr val="80BCDA"/>
    </a:custClr>
    <a:custClr name="377-60%">
      <a:srgbClr val="AFC267"/>
    </a:custClr>
    <a:custClr name="584-60%">
      <a:srgbClr val="E4E798"/>
    </a:custClr>
    <a:custClr name="3285-60%">
      <a:srgbClr val="66C0B3"/>
    </a:custClr>
    <a:custClr name="432-60%">
      <a:srgbClr val="858C91"/>
    </a:custClr>
    <a:custClr name="558-60%">
      <a:srgbClr val="C3D7CC"/>
    </a:custClr>
    <a:custClr name="7544-60%">
      <a:srgbClr val="ADB6BE"/>
    </a:custClr>
    <a:custClr name="117-60%">
      <a:srgbClr val="DFC165"/>
    </a:custClr>
    <a:custClr name="262-60%">
      <a:srgbClr val="967E95"/>
    </a:custClr>
    <a:custClr name="7413-60%">
      <a:srgbClr val="DFB684"/>
    </a:custClr>
    <a:custClr name="7689-40%">
      <a:srgbClr val="A9D1E6"/>
    </a:custClr>
    <a:custClr name="377-40%">
      <a:srgbClr val="CBD799"/>
    </a:custClr>
    <a:custClr name="584-40%">
      <a:srgbClr val="EDEFBB"/>
    </a:custClr>
    <a:custClr name="3285-40%">
      <a:srgbClr val="99D5CC"/>
    </a:custClr>
    <a:custClr name="432-40%">
      <a:srgbClr val="AEB2B6"/>
    </a:custClr>
    <a:custClr name="558-40%">
      <a:srgbClr val="D7E5DD"/>
    </a:custClr>
    <a:custClr name="7544-40%">
      <a:srgbClr val="C8CFD3"/>
    </a:custClr>
    <a:custClr name="117-40%">
      <a:srgbClr val="DFD599"/>
    </a:custClr>
    <a:custClr name="262-40%">
      <a:srgbClr val="BAAAB9"/>
    </a:custClr>
    <a:custClr name="7413-40%">
      <a:srgbClr val="F1CFAD"/>
    </a:custClr>
  </a:custClrLst>
</a:theme>
</file>

<file path=ppt/theme/theme10.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FIAM_External_Print_Presentation_4x3">
  <a:themeElements>
    <a:clrScheme name="107 Evolution">
      <a:dk1>
        <a:srgbClr val="000000"/>
      </a:dk1>
      <a:lt1>
        <a:srgbClr val="FFFFFF"/>
      </a:lt1>
      <a:dk2>
        <a:srgbClr val="212425"/>
      </a:dk2>
      <a:lt2>
        <a:srgbClr val="333F48"/>
      </a:lt2>
      <a:accent1>
        <a:srgbClr val="298FC2"/>
      </a:accent1>
      <a:accent2>
        <a:srgbClr val="4A7729"/>
      </a:accent2>
      <a:accent3>
        <a:srgbClr val="7A9A01"/>
      </a:accent3>
      <a:accent4>
        <a:srgbClr val="6BA4B8"/>
      </a:accent4>
      <a:accent5>
        <a:srgbClr val="768692"/>
      </a:accent5>
      <a:accent6>
        <a:srgbClr val="9BBDAA"/>
      </a:accent6>
      <a:hlink>
        <a:srgbClr val="298FC2"/>
      </a:hlink>
      <a:folHlink>
        <a:srgbClr val="51284F"/>
      </a:folHlink>
    </a:clrScheme>
    <a:fontScheme name="4_pyramis_external_printed_presentation_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hlink"/>
        </a:solid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ea typeface="ＭＳ Ｐゴシック" charset="-128"/>
          </a:defRPr>
        </a:defPPr>
      </a:lstStyle>
    </a:spDef>
    <a:lnDef>
      <a:spPr bwMode="auto">
        <a:xfrm>
          <a:off x="0" y="0"/>
          <a:ext cx="1" cy="1"/>
        </a:xfrm>
        <a:custGeom>
          <a:avLst/>
          <a:gdLst/>
          <a:ahLst/>
          <a:cxnLst/>
          <a:rect l="0" t="0" r="0" b="0"/>
          <a:pathLst/>
        </a:custGeom>
        <a:solidFill>
          <a:schemeClr val="hlink"/>
        </a:solid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ea typeface="ＭＳ Ｐゴシック" charset="-128"/>
          </a:defRPr>
        </a:defPPr>
      </a:lstStyle>
    </a:lnDef>
  </a:objectDefaults>
  <a:extraClrSchemeLst>
    <a:extraClrScheme>
      <a:clrScheme name="4_pyramis_external_printed_presentation_template 1">
        <a:dk1>
          <a:srgbClr val="1A2732"/>
        </a:dk1>
        <a:lt1>
          <a:srgbClr val="FFFFFF"/>
        </a:lt1>
        <a:dk2>
          <a:srgbClr val="D6E1EA"/>
        </a:dk2>
        <a:lt2>
          <a:srgbClr val="B6CADA"/>
        </a:lt2>
        <a:accent1>
          <a:srgbClr val="1A2732"/>
        </a:accent1>
        <a:accent2>
          <a:srgbClr val="5580A3"/>
        </a:accent2>
        <a:accent3>
          <a:srgbClr val="FFFFFF"/>
        </a:accent3>
        <a:accent4>
          <a:srgbClr val="142029"/>
        </a:accent4>
        <a:accent5>
          <a:srgbClr val="ABACAD"/>
        </a:accent5>
        <a:accent6>
          <a:srgbClr val="4C7393"/>
        </a:accent6>
        <a:hlink>
          <a:srgbClr val="81A2BD"/>
        </a:hlink>
        <a:folHlink>
          <a:srgbClr val="42637E"/>
        </a:folHlink>
      </a:clrScheme>
      <a:clrMap bg1="lt1" tx1="dk1" bg2="lt2" tx2="dk2" accent1="accent1" accent2="accent2" accent3="accent3" accent4="accent4" accent5="accent5" accent6="accent6" hlink="hlink" folHlink="folHlink"/>
    </a:extraClrScheme>
    <a:extraClrScheme>
      <a:clrScheme name="4_pyramis_external_printed_presentation_template 2">
        <a:dk1>
          <a:srgbClr val="1A2732"/>
        </a:dk1>
        <a:lt1>
          <a:srgbClr val="FFFFFF"/>
        </a:lt1>
        <a:dk2>
          <a:srgbClr val="1A2732"/>
        </a:dk2>
        <a:lt2>
          <a:srgbClr val="D6E1EA"/>
        </a:lt2>
        <a:accent1>
          <a:srgbClr val="D6E1EA"/>
        </a:accent1>
        <a:accent2>
          <a:srgbClr val="788E78"/>
        </a:accent2>
        <a:accent3>
          <a:srgbClr val="FFFFFF"/>
        </a:accent3>
        <a:accent4>
          <a:srgbClr val="142029"/>
        </a:accent4>
        <a:accent5>
          <a:srgbClr val="E8EEF3"/>
        </a:accent5>
        <a:accent6>
          <a:srgbClr val="6C806C"/>
        </a:accent6>
        <a:hlink>
          <a:srgbClr val="B1C785"/>
        </a:hlink>
        <a:folHlink>
          <a:srgbClr val="6A7029"/>
        </a:folHlink>
      </a:clrScheme>
      <a:clrMap bg1="lt1" tx1="dk1" bg2="lt2" tx2="dk2" accent1="accent1" accent2="accent2" accent3="accent3" accent4="accent4" accent5="accent5" accent6="accent6" hlink="hlink" folHlink="folHlink"/>
    </a:extraClrScheme>
    <a:extraClrScheme>
      <a:clrScheme name="4_pyramis_external_printed_presentation_template 3">
        <a:dk1>
          <a:srgbClr val="788E78"/>
        </a:dk1>
        <a:lt1>
          <a:srgbClr val="FFFFFF"/>
        </a:lt1>
        <a:dk2>
          <a:srgbClr val="1A2732"/>
        </a:dk2>
        <a:lt2>
          <a:srgbClr val="D6E1EA"/>
        </a:lt2>
        <a:accent1>
          <a:srgbClr val="B1C785"/>
        </a:accent1>
        <a:accent2>
          <a:srgbClr val="1A2732"/>
        </a:accent2>
        <a:accent3>
          <a:srgbClr val="FFFFFF"/>
        </a:accent3>
        <a:accent4>
          <a:srgbClr val="657865"/>
        </a:accent4>
        <a:accent5>
          <a:srgbClr val="D5E0C2"/>
        </a:accent5>
        <a:accent6>
          <a:srgbClr val="16222C"/>
        </a:accent6>
        <a:hlink>
          <a:srgbClr val="4C5F6C"/>
        </a:hlink>
        <a:folHlink>
          <a:srgbClr val="81A2BD"/>
        </a:folHlink>
      </a:clrScheme>
      <a:clrMap bg1="lt1" tx1="dk1" bg2="lt2" tx2="dk2" accent1="accent1" accent2="accent2" accent3="accent3" accent4="accent4" accent5="accent5" accent6="accent6" hlink="hlink" folHlink="folHlink"/>
    </a:extraClrScheme>
    <a:extraClrScheme>
      <a:clrScheme name="4_pyramis_external_printed_presentation_template 4">
        <a:dk1>
          <a:srgbClr val="19252F"/>
        </a:dk1>
        <a:lt1>
          <a:srgbClr val="FFFFFF"/>
        </a:lt1>
        <a:dk2>
          <a:srgbClr val="B19401"/>
        </a:dk2>
        <a:lt2>
          <a:srgbClr val="EDE7DD"/>
        </a:lt2>
        <a:accent1>
          <a:srgbClr val="B1C785"/>
        </a:accent1>
        <a:accent2>
          <a:srgbClr val="6A7029"/>
        </a:accent2>
        <a:accent3>
          <a:srgbClr val="FFFFFF"/>
        </a:accent3>
        <a:accent4>
          <a:srgbClr val="141E27"/>
        </a:accent4>
        <a:accent5>
          <a:srgbClr val="D5E0C2"/>
        </a:accent5>
        <a:accent6>
          <a:srgbClr val="5F6524"/>
        </a:accent6>
        <a:hlink>
          <a:srgbClr val="ADBBAD"/>
        </a:hlink>
        <a:folHlink>
          <a:srgbClr val="764200"/>
        </a:folHlink>
      </a:clrScheme>
      <a:clrMap bg1="lt1" tx1="dk1" bg2="lt2" tx2="dk2" accent1="accent1" accent2="accent2" accent3="accent3" accent4="accent4" accent5="accent5" accent6="accent6" hlink="hlink" folHlink="folHlink"/>
    </a:extraClrScheme>
    <a:extraClrScheme>
      <a:clrScheme name="4_pyramis_external_printed_presentation_template 5">
        <a:dk1>
          <a:srgbClr val="1A2732"/>
        </a:dk1>
        <a:lt1>
          <a:srgbClr val="FFFFFF"/>
        </a:lt1>
        <a:dk2>
          <a:srgbClr val="B19401"/>
        </a:dk2>
        <a:lt2>
          <a:srgbClr val="EDE7DD"/>
        </a:lt2>
        <a:accent1>
          <a:srgbClr val="B1C785"/>
        </a:accent1>
        <a:accent2>
          <a:srgbClr val="6A7029"/>
        </a:accent2>
        <a:accent3>
          <a:srgbClr val="FFFFFF"/>
        </a:accent3>
        <a:accent4>
          <a:srgbClr val="142029"/>
        </a:accent4>
        <a:accent5>
          <a:srgbClr val="D5E0C2"/>
        </a:accent5>
        <a:accent6>
          <a:srgbClr val="5F6524"/>
        </a:accent6>
        <a:hlink>
          <a:srgbClr val="AAC3B4"/>
        </a:hlink>
        <a:folHlink>
          <a:srgbClr val="764200"/>
        </a:folHlink>
      </a:clrScheme>
      <a:clrMap bg1="lt1" tx1="dk1" bg2="lt2" tx2="dk2" accent1="accent1" accent2="accent2" accent3="accent3" accent4="accent4" accent5="accent5" accent6="accent6" hlink="hlink" folHlink="folHlink"/>
    </a:extraClrScheme>
    <a:extraClrScheme>
      <a:clrScheme name="4_pyramis_external_printed_presentation_template 6">
        <a:dk1>
          <a:srgbClr val="19252F"/>
        </a:dk1>
        <a:lt1>
          <a:srgbClr val="FFFFFF"/>
        </a:lt1>
        <a:dk2>
          <a:srgbClr val="B19401"/>
        </a:dk2>
        <a:lt2>
          <a:srgbClr val="DCDCCE"/>
        </a:lt2>
        <a:accent1>
          <a:srgbClr val="BDD096"/>
        </a:accent1>
        <a:accent2>
          <a:srgbClr val="6A7029"/>
        </a:accent2>
        <a:accent3>
          <a:srgbClr val="FFFFFF"/>
        </a:accent3>
        <a:accent4>
          <a:srgbClr val="141E27"/>
        </a:accent4>
        <a:accent5>
          <a:srgbClr val="DBE4C9"/>
        </a:accent5>
        <a:accent6>
          <a:srgbClr val="5F6524"/>
        </a:accent6>
        <a:hlink>
          <a:srgbClr val="ADBBAD"/>
        </a:hlink>
        <a:folHlink>
          <a:srgbClr val="462900"/>
        </a:folHlink>
      </a:clrScheme>
      <a:clrMap bg1="lt1" tx1="dk1" bg2="lt2" tx2="dk2" accent1="accent1" accent2="accent2" accent3="accent3" accent4="accent4" accent5="accent5" accent6="accent6" hlink="hlink" folHlink="folHlink"/>
    </a:extraClrScheme>
    <a:extraClrScheme>
      <a:clrScheme name="4_pyramis_external_printed_presentation_template 7">
        <a:dk1>
          <a:srgbClr val="19252F"/>
        </a:dk1>
        <a:lt1>
          <a:srgbClr val="FFFFFF"/>
        </a:lt1>
        <a:dk2>
          <a:srgbClr val="B19401"/>
        </a:dk2>
        <a:lt2>
          <a:srgbClr val="DCDCCE"/>
        </a:lt2>
        <a:accent1>
          <a:srgbClr val="BDD096"/>
        </a:accent1>
        <a:accent2>
          <a:srgbClr val="6A7029"/>
        </a:accent2>
        <a:accent3>
          <a:srgbClr val="FFFFFF"/>
        </a:accent3>
        <a:accent4>
          <a:srgbClr val="141E27"/>
        </a:accent4>
        <a:accent5>
          <a:srgbClr val="DBE4C9"/>
        </a:accent5>
        <a:accent6>
          <a:srgbClr val="5F6524"/>
        </a:accent6>
        <a:hlink>
          <a:srgbClr val="AAC3B4"/>
        </a:hlink>
        <a:folHlink>
          <a:srgbClr val="462900"/>
        </a:folHlink>
      </a:clrScheme>
      <a:clrMap bg1="lt1" tx1="dk1" bg2="lt2" tx2="dk2" accent1="accent1" accent2="accent2" accent3="accent3" accent4="accent4" accent5="accent5" accent6="accent6" hlink="hlink" folHlink="folHlink"/>
    </a:extraClrScheme>
    <a:extraClrScheme>
      <a:clrScheme name="4_pyramis_external_printed_presentation_template 8">
        <a:dk1>
          <a:srgbClr val="1A2732"/>
        </a:dk1>
        <a:lt1>
          <a:srgbClr val="FFFFFF"/>
        </a:lt1>
        <a:dk2>
          <a:srgbClr val="203731"/>
        </a:dk2>
        <a:lt2>
          <a:srgbClr val="A4AEB5"/>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1A2732"/>
        </a:folHlink>
      </a:clrScheme>
      <a:clrMap bg1="lt1" tx1="dk1" bg2="lt2" tx2="dk2" accent1="accent1" accent2="accent2" accent3="accent3" accent4="accent4" accent5="accent5" accent6="accent6" hlink="hlink" folHlink="folHlink"/>
    </a:extraClrScheme>
    <a:extraClrScheme>
      <a:clrScheme name="4_pyramis_external_printed_presentation_template 9">
        <a:dk1>
          <a:srgbClr val="1A2732"/>
        </a:dk1>
        <a:lt1>
          <a:srgbClr val="FFFFFF"/>
        </a:lt1>
        <a:dk2>
          <a:srgbClr val="203731"/>
        </a:dk2>
        <a:lt2>
          <a:srgbClr val="A7B8B4"/>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1A2732"/>
        </a:folHlink>
      </a:clrScheme>
      <a:clrMap bg1="lt1" tx1="dk1" bg2="lt2" tx2="dk2" accent1="accent1" accent2="accent2" accent3="accent3" accent4="accent4" accent5="accent5" accent6="accent6" hlink="hlink" folHlink="folHlink"/>
    </a:extraClrScheme>
    <a:extraClrScheme>
      <a:clrScheme name="4_pyramis_external_printed_presentation_template 10">
        <a:dk1>
          <a:srgbClr val="1A2732"/>
        </a:dk1>
        <a:lt1>
          <a:srgbClr val="FFFFFF"/>
        </a:lt1>
        <a:dk2>
          <a:srgbClr val="203731"/>
        </a:dk2>
        <a:lt2>
          <a:srgbClr val="A7B8B4"/>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1">
        <a:dk1>
          <a:srgbClr val="1A2732"/>
        </a:dk1>
        <a:lt1>
          <a:srgbClr val="FFFFFF"/>
        </a:lt1>
        <a:dk2>
          <a:srgbClr val="203731"/>
        </a:dk2>
        <a:lt2>
          <a:srgbClr val="A4AEB5"/>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2">
        <a:dk1>
          <a:srgbClr val="172934"/>
        </a:dk1>
        <a:lt1>
          <a:srgbClr val="FFFFFF"/>
        </a:lt1>
        <a:dk2>
          <a:srgbClr val="203731"/>
        </a:dk2>
        <a:lt2>
          <a:srgbClr val="A4AEB5"/>
        </a:lt2>
        <a:accent1>
          <a:srgbClr val="51626F"/>
        </a:accent1>
        <a:accent2>
          <a:srgbClr val="3E4519"/>
        </a:accent2>
        <a:accent3>
          <a:srgbClr val="FFFFFF"/>
        </a:accent3>
        <a:accent4>
          <a:srgbClr val="12212B"/>
        </a:accent4>
        <a:accent5>
          <a:srgbClr val="B3B7BB"/>
        </a:accent5>
        <a:accent6>
          <a:srgbClr val="373E16"/>
        </a:accent6>
        <a:hlink>
          <a:srgbClr val="ABC78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3">
        <a:dk1>
          <a:srgbClr val="172934"/>
        </a:dk1>
        <a:lt1>
          <a:srgbClr val="FFFFFF"/>
        </a:lt1>
        <a:dk2>
          <a:srgbClr val="203731"/>
        </a:dk2>
        <a:lt2>
          <a:srgbClr val="A4AEB5"/>
        </a:lt2>
        <a:accent1>
          <a:srgbClr val="51626F"/>
        </a:accent1>
        <a:accent2>
          <a:srgbClr val="3E4519"/>
        </a:accent2>
        <a:accent3>
          <a:srgbClr val="FFFFFF"/>
        </a:accent3>
        <a:accent4>
          <a:srgbClr val="12212B"/>
        </a:accent4>
        <a:accent5>
          <a:srgbClr val="B3B7BB"/>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4">
        <a:dk1>
          <a:srgbClr val="172934"/>
        </a:dk1>
        <a:lt1>
          <a:srgbClr val="FFFFFF"/>
        </a:lt1>
        <a:dk2>
          <a:srgbClr val="203731"/>
        </a:dk2>
        <a:lt2>
          <a:srgbClr val="A4AEB5"/>
        </a:lt2>
        <a:accent1>
          <a:srgbClr val="4C5F6C"/>
        </a:accent1>
        <a:accent2>
          <a:srgbClr val="3E4519"/>
        </a:accent2>
        <a:accent3>
          <a:srgbClr val="FFFFFF"/>
        </a:accent3>
        <a:accent4>
          <a:srgbClr val="12212B"/>
        </a:accent4>
        <a:accent5>
          <a:srgbClr val="B2B6BA"/>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5">
        <a:dk1>
          <a:srgbClr val="172934"/>
        </a:dk1>
        <a:lt1>
          <a:srgbClr val="FFFFFF"/>
        </a:lt1>
        <a:dk2>
          <a:srgbClr val="203731"/>
        </a:dk2>
        <a:lt2>
          <a:srgbClr val="5D87A1"/>
        </a:lt2>
        <a:accent1>
          <a:srgbClr val="4C5F6C"/>
        </a:accent1>
        <a:accent2>
          <a:srgbClr val="3E4519"/>
        </a:accent2>
        <a:accent3>
          <a:srgbClr val="FFFFFF"/>
        </a:accent3>
        <a:accent4>
          <a:srgbClr val="12212B"/>
        </a:accent4>
        <a:accent5>
          <a:srgbClr val="B2B6BA"/>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6">
        <a:dk1>
          <a:srgbClr val="172934"/>
        </a:dk1>
        <a:lt1>
          <a:srgbClr val="FFFFFF"/>
        </a:lt1>
        <a:dk2>
          <a:srgbClr val="172934"/>
        </a:dk2>
        <a:lt2>
          <a:srgbClr val="5D87A1"/>
        </a:lt2>
        <a:accent1>
          <a:srgbClr val="4C5F6C"/>
        </a:accent1>
        <a:accent2>
          <a:srgbClr val="3E4519"/>
        </a:accent2>
        <a:accent3>
          <a:srgbClr val="FFFFFF"/>
        </a:accent3>
        <a:accent4>
          <a:srgbClr val="12212B"/>
        </a:accent4>
        <a:accent5>
          <a:srgbClr val="B2B6BA"/>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Lst>
  <a:custClrLst>
    <a:custClr name="377-100%">
      <a:srgbClr val="7A9A3D"/>
    </a:custClr>
    <a:custClr name="7689-100%">
      <a:srgbClr val="298FC2"/>
    </a:custClr>
    <a:custClr name="7708-100%">
      <a:srgbClr val="004F6B"/>
    </a:custClr>
    <a:custClr name="5503-100%">
      <a:srgbClr val="8FB6BB"/>
    </a:custClr>
    <a:custClr name="7544-100%">
      <a:srgbClr val="768692"/>
    </a:custClr>
    <a:custClr name="364-100%">
      <a:srgbClr val="4B7838"/>
    </a:custClr>
    <a:custClr name="639-100%">
      <a:srgbClr val="00A3D4"/>
    </a:custClr>
    <a:custClr name="3285-100%">
      <a:srgbClr val="009681"/>
    </a:custClr>
    <a:custClr name="432-100%">
      <a:srgbClr val="333F48"/>
    </a:custClr>
    <a:custClr name="Cool gray-100%">
      <a:srgbClr val="75787B"/>
    </a:custClr>
    <a:custClr name="377-80%">
      <a:srgbClr val="95AE3C"/>
    </a:custClr>
    <a:custClr name="7689-80%">
      <a:srgbClr val="54A5CE"/>
    </a:custClr>
    <a:custClr name="7708-80%">
      <a:srgbClr val="006682"/>
    </a:custClr>
    <a:custClr name="5503-80%">
      <a:srgbClr val="9FC9CF"/>
    </a:custClr>
    <a:custClr name="7544-80%">
      <a:srgbClr val="919EA8"/>
    </a:custClr>
    <a:custClr name="364-80%">
      <a:srgbClr val="6E9254"/>
    </a:custClr>
    <a:custClr name="639-80%">
      <a:srgbClr val="00AFDD"/>
    </a:custClr>
    <a:custClr name="3285-80%">
      <a:srgbClr val="33AB9A"/>
    </a:custClr>
    <a:custClr name="432-80%">
      <a:srgbClr val="5D656D"/>
    </a:custClr>
    <a:custClr name="Cool gray-80%">
      <a:srgbClr val="919395"/>
    </a:custClr>
    <a:custClr name="377-60%">
      <a:srgbClr val="AFC267"/>
    </a:custClr>
    <a:custClr name="7689-60%">
      <a:srgbClr val="7FBCDA"/>
    </a:custClr>
    <a:custClr name="7708-60%">
      <a:srgbClr val="3F829C"/>
    </a:custClr>
    <a:custClr name="5503-60%">
      <a:srgbClr val="B5D4D9"/>
    </a:custClr>
    <a:custClr name="7544-60%">
      <a:srgbClr val="ADB6BE"/>
    </a:custClr>
    <a:custClr name="364-60%">
      <a:srgbClr val="91AD7F"/>
    </a:custClr>
    <a:custClr name="639-60%">
      <a:srgbClr val="4ABFE3"/>
    </a:custClr>
    <a:custClr name="3285-60%">
      <a:srgbClr val="66C0B3"/>
    </a:custClr>
    <a:custClr name="432-60%">
      <a:srgbClr val="858C91"/>
    </a:custClr>
    <a:custClr name="Cool gray-60%">
      <a:srgbClr val="ADAEB0"/>
    </a:custClr>
    <a:custClr name="377-40%">
      <a:srgbClr val="CBD799"/>
    </a:custClr>
    <a:custClr name="7689-40%">
      <a:srgbClr val="A9D2E7"/>
    </a:custClr>
    <a:custClr name="7708-40%">
      <a:srgbClr val="77A3B8"/>
    </a:custClr>
    <a:custClr name="5503-40%">
      <a:srgbClr val="CAE0E3"/>
    </a:custClr>
    <a:custClr name="7544-40%">
      <a:srgbClr val="C8CFD3"/>
    </a:custClr>
    <a:custClr name="364-40%">
      <a:srgbClr val="B7C8A9"/>
    </a:custClr>
    <a:custClr name="639-40%">
      <a:srgbClr val="8DD1EB"/>
    </a:custClr>
    <a:custClr name="3285-40%">
      <a:srgbClr val="99D5CC"/>
    </a:custClr>
    <a:custClr name="432-40%">
      <a:srgbClr val="ADB2B6"/>
    </a:custClr>
    <a:custClr name="Cool gray-40%">
      <a:srgbClr val="C8C9C9"/>
    </a:custClr>
  </a:custClrLst>
  <a:extLst>
    <a:ext uri="{05A4C25C-085E-4340-85A3-A5531E510DB2}">
      <thm15:themeFamily xmlns:thm15="http://schemas.microsoft.com/office/thememl/2012/main" name="FIAM_4x3_Print_Presentation_Template.potx" id="{D4B482AB-DBC4-4338-A83E-6DED259207CC}" vid="{1B2AB397-1BE9-4CEC-BFC8-2DF4FF6FCD71}"/>
    </a:ext>
  </a:extLst>
</a:theme>
</file>

<file path=ppt/theme/theme3.xml><?xml version="1.0" encoding="utf-8"?>
<a:theme xmlns:a="http://schemas.openxmlformats.org/drawingml/2006/main" name="FI_External_Print_Presentation_4x3">
  <a:themeElements>
    <a:clrScheme name="107 Evolution">
      <a:dk1>
        <a:srgbClr val="000000"/>
      </a:dk1>
      <a:lt1>
        <a:srgbClr val="FFFFFF"/>
      </a:lt1>
      <a:dk2>
        <a:srgbClr val="212425"/>
      </a:dk2>
      <a:lt2>
        <a:srgbClr val="333F48"/>
      </a:lt2>
      <a:accent1>
        <a:srgbClr val="298FC2"/>
      </a:accent1>
      <a:accent2>
        <a:srgbClr val="4A7729"/>
      </a:accent2>
      <a:accent3>
        <a:srgbClr val="7A9A01"/>
      </a:accent3>
      <a:accent4>
        <a:srgbClr val="6BA4B8"/>
      </a:accent4>
      <a:accent5>
        <a:srgbClr val="768692"/>
      </a:accent5>
      <a:accent6>
        <a:srgbClr val="9BBDAA"/>
      </a:accent6>
      <a:hlink>
        <a:srgbClr val="298FC2"/>
      </a:hlink>
      <a:folHlink>
        <a:srgbClr val="51284F"/>
      </a:folHlink>
    </a:clrScheme>
    <a:fontScheme name="4_pyramis_external_printed_presentation_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hlink"/>
        </a:solid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ea typeface="ＭＳ Ｐゴシック" charset="-128"/>
          </a:defRPr>
        </a:defPPr>
      </a:lstStyle>
    </a:spDef>
    <a:lnDef>
      <a:spPr bwMode="auto">
        <a:xfrm>
          <a:off x="0" y="0"/>
          <a:ext cx="1" cy="1"/>
        </a:xfrm>
        <a:custGeom>
          <a:avLst/>
          <a:gdLst/>
          <a:ahLst/>
          <a:cxnLst/>
          <a:rect l="0" t="0" r="0" b="0"/>
          <a:pathLst/>
        </a:custGeom>
        <a:solidFill>
          <a:schemeClr val="hlink"/>
        </a:solid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ea typeface="ＭＳ Ｐゴシック" charset="-128"/>
          </a:defRPr>
        </a:defPPr>
      </a:lstStyle>
    </a:lnDef>
  </a:objectDefaults>
  <a:extraClrSchemeLst>
    <a:extraClrScheme>
      <a:clrScheme name="4_pyramis_external_printed_presentation_template 1">
        <a:dk1>
          <a:srgbClr val="1A2732"/>
        </a:dk1>
        <a:lt1>
          <a:srgbClr val="FFFFFF"/>
        </a:lt1>
        <a:dk2>
          <a:srgbClr val="D6E1EA"/>
        </a:dk2>
        <a:lt2>
          <a:srgbClr val="B6CADA"/>
        </a:lt2>
        <a:accent1>
          <a:srgbClr val="1A2732"/>
        </a:accent1>
        <a:accent2>
          <a:srgbClr val="5580A3"/>
        </a:accent2>
        <a:accent3>
          <a:srgbClr val="FFFFFF"/>
        </a:accent3>
        <a:accent4>
          <a:srgbClr val="142029"/>
        </a:accent4>
        <a:accent5>
          <a:srgbClr val="ABACAD"/>
        </a:accent5>
        <a:accent6>
          <a:srgbClr val="4C7393"/>
        </a:accent6>
        <a:hlink>
          <a:srgbClr val="81A2BD"/>
        </a:hlink>
        <a:folHlink>
          <a:srgbClr val="42637E"/>
        </a:folHlink>
      </a:clrScheme>
      <a:clrMap bg1="lt1" tx1="dk1" bg2="lt2" tx2="dk2" accent1="accent1" accent2="accent2" accent3="accent3" accent4="accent4" accent5="accent5" accent6="accent6" hlink="hlink" folHlink="folHlink"/>
    </a:extraClrScheme>
    <a:extraClrScheme>
      <a:clrScheme name="4_pyramis_external_printed_presentation_template 2">
        <a:dk1>
          <a:srgbClr val="1A2732"/>
        </a:dk1>
        <a:lt1>
          <a:srgbClr val="FFFFFF"/>
        </a:lt1>
        <a:dk2>
          <a:srgbClr val="1A2732"/>
        </a:dk2>
        <a:lt2>
          <a:srgbClr val="D6E1EA"/>
        </a:lt2>
        <a:accent1>
          <a:srgbClr val="D6E1EA"/>
        </a:accent1>
        <a:accent2>
          <a:srgbClr val="788E78"/>
        </a:accent2>
        <a:accent3>
          <a:srgbClr val="FFFFFF"/>
        </a:accent3>
        <a:accent4>
          <a:srgbClr val="142029"/>
        </a:accent4>
        <a:accent5>
          <a:srgbClr val="E8EEF3"/>
        </a:accent5>
        <a:accent6>
          <a:srgbClr val="6C806C"/>
        </a:accent6>
        <a:hlink>
          <a:srgbClr val="B1C785"/>
        </a:hlink>
        <a:folHlink>
          <a:srgbClr val="6A7029"/>
        </a:folHlink>
      </a:clrScheme>
      <a:clrMap bg1="lt1" tx1="dk1" bg2="lt2" tx2="dk2" accent1="accent1" accent2="accent2" accent3="accent3" accent4="accent4" accent5="accent5" accent6="accent6" hlink="hlink" folHlink="folHlink"/>
    </a:extraClrScheme>
    <a:extraClrScheme>
      <a:clrScheme name="4_pyramis_external_printed_presentation_template 3">
        <a:dk1>
          <a:srgbClr val="788E78"/>
        </a:dk1>
        <a:lt1>
          <a:srgbClr val="FFFFFF"/>
        </a:lt1>
        <a:dk2>
          <a:srgbClr val="1A2732"/>
        </a:dk2>
        <a:lt2>
          <a:srgbClr val="D6E1EA"/>
        </a:lt2>
        <a:accent1>
          <a:srgbClr val="B1C785"/>
        </a:accent1>
        <a:accent2>
          <a:srgbClr val="1A2732"/>
        </a:accent2>
        <a:accent3>
          <a:srgbClr val="FFFFFF"/>
        </a:accent3>
        <a:accent4>
          <a:srgbClr val="657865"/>
        </a:accent4>
        <a:accent5>
          <a:srgbClr val="D5E0C2"/>
        </a:accent5>
        <a:accent6>
          <a:srgbClr val="16222C"/>
        </a:accent6>
        <a:hlink>
          <a:srgbClr val="4C5F6C"/>
        </a:hlink>
        <a:folHlink>
          <a:srgbClr val="81A2BD"/>
        </a:folHlink>
      </a:clrScheme>
      <a:clrMap bg1="lt1" tx1="dk1" bg2="lt2" tx2="dk2" accent1="accent1" accent2="accent2" accent3="accent3" accent4="accent4" accent5="accent5" accent6="accent6" hlink="hlink" folHlink="folHlink"/>
    </a:extraClrScheme>
    <a:extraClrScheme>
      <a:clrScheme name="4_pyramis_external_printed_presentation_template 4">
        <a:dk1>
          <a:srgbClr val="19252F"/>
        </a:dk1>
        <a:lt1>
          <a:srgbClr val="FFFFFF"/>
        </a:lt1>
        <a:dk2>
          <a:srgbClr val="B19401"/>
        </a:dk2>
        <a:lt2>
          <a:srgbClr val="EDE7DD"/>
        </a:lt2>
        <a:accent1>
          <a:srgbClr val="B1C785"/>
        </a:accent1>
        <a:accent2>
          <a:srgbClr val="6A7029"/>
        </a:accent2>
        <a:accent3>
          <a:srgbClr val="FFFFFF"/>
        </a:accent3>
        <a:accent4>
          <a:srgbClr val="141E27"/>
        </a:accent4>
        <a:accent5>
          <a:srgbClr val="D5E0C2"/>
        </a:accent5>
        <a:accent6>
          <a:srgbClr val="5F6524"/>
        </a:accent6>
        <a:hlink>
          <a:srgbClr val="ADBBAD"/>
        </a:hlink>
        <a:folHlink>
          <a:srgbClr val="764200"/>
        </a:folHlink>
      </a:clrScheme>
      <a:clrMap bg1="lt1" tx1="dk1" bg2="lt2" tx2="dk2" accent1="accent1" accent2="accent2" accent3="accent3" accent4="accent4" accent5="accent5" accent6="accent6" hlink="hlink" folHlink="folHlink"/>
    </a:extraClrScheme>
    <a:extraClrScheme>
      <a:clrScheme name="4_pyramis_external_printed_presentation_template 5">
        <a:dk1>
          <a:srgbClr val="1A2732"/>
        </a:dk1>
        <a:lt1>
          <a:srgbClr val="FFFFFF"/>
        </a:lt1>
        <a:dk2>
          <a:srgbClr val="B19401"/>
        </a:dk2>
        <a:lt2>
          <a:srgbClr val="EDE7DD"/>
        </a:lt2>
        <a:accent1>
          <a:srgbClr val="B1C785"/>
        </a:accent1>
        <a:accent2>
          <a:srgbClr val="6A7029"/>
        </a:accent2>
        <a:accent3>
          <a:srgbClr val="FFFFFF"/>
        </a:accent3>
        <a:accent4>
          <a:srgbClr val="142029"/>
        </a:accent4>
        <a:accent5>
          <a:srgbClr val="D5E0C2"/>
        </a:accent5>
        <a:accent6>
          <a:srgbClr val="5F6524"/>
        </a:accent6>
        <a:hlink>
          <a:srgbClr val="AAC3B4"/>
        </a:hlink>
        <a:folHlink>
          <a:srgbClr val="764200"/>
        </a:folHlink>
      </a:clrScheme>
      <a:clrMap bg1="lt1" tx1="dk1" bg2="lt2" tx2="dk2" accent1="accent1" accent2="accent2" accent3="accent3" accent4="accent4" accent5="accent5" accent6="accent6" hlink="hlink" folHlink="folHlink"/>
    </a:extraClrScheme>
    <a:extraClrScheme>
      <a:clrScheme name="4_pyramis_external_printed_presentation_template 6">
        <a:dk1>
          <a:srgbClr val="19252F"/>
        </a:dk1>
        <a:lt1>
          <a:srgbClr val="FFFFFF"/>
        </a:lt1>
        <a:dk2>
          <a:srgbClr val="B19401"/>
        </a:dk2>
        <a:lt2>
          <a:srgbClr val="DCDCCE"/>
        </a:lt2>
        <a:accent1>
          <a:srgbClr val="BDD096"/>
        </a:accent1>
        <a:accent2>
          <a:srgbClr val="6A7029"/>
        </a:accent2>
        <a:accent3>
          <a:srgbClr val="FFFFFF"/>
        </a:accent3>
        <a:accent4>
          <a:srgbClr val="141E27"/>
        </a:accent4>
        <a:accent5>
          <a:srgbClr val="DBE4C9"/>
        </a:accent5>
        <a:accent6>
          <a:srgbClr val="5F6524"/>
        </a:accent6>
        <a:hlink>
          <a:srgbClr val="ADBBAD"/>
        </a:hlink>
        <a:folHlink>
          <a:srgbClr val="462900"/>
        </a:folHlink>
      </a:clrScheme>
      <a:clrMap bg1="lt1" tx1="dk1" bg2="lt2" tx2="dk2" accent1="accent1" accent2="accent2" accent3="accent3" accent4="accent4" accent5="accent5" accent6="accent6" hlink="hlink" folHlink="folHlink"/>
    </a:extraClrScheme>
    <a:extraClrScheme>
      <a:clrScheme name="4_pyramis_external_printed_presentation_template 7">
        <a:dk1>
          <a:srgbClr val="19252F"/>
        </a:dk1>
        <a:lt1>
          <a:srgbClr val="FFFFFF"/>
        </a:lt1>
        <a:dk2>
          <a:srgbClr val="B19401"/>
        </a:dk2>
        <a:lt2>
          <a:srgbClr val="DCDCCE"/>
        </a:lt2>
        <a:accent1>
          <a:srgbClr val="BDD096"/>
        </a:accent1>
        <a:accent2>
          <a:srgbClr val="6A7029"/>
        </a:accent2>
        <a:accent3>
          <a:srgbClr val="FFFFFF"/>
        </a:accent3>
        <a:accent4>
          <a:srgbClr val="141E27"/>
        </a:accent4>
        <a:accent5>
          <a:srgbClr val="DBE4C9"/>
        </a:accent5>
        <a:accent6>
          <a:srgbClr val="5F6524"/>
        </a:accent6>
        <a:hlink>
          <a:srgbClr val="AAC3B4"/>
        </a:hlink>
        <a:folHlink>
          <a:srgbClr val="462900"/>
        </a:folHlink>
      </a:clrScheme>
      <a:clrMap bg1="lt1" tx1="dk1" bg2="lt2" tx2="dk2" accent1="accent1" accent2="accent2" accent3="accent3" accent4="accent4" accent5="accent5" accent6="accent6" hlink="hlink" folHlink="folHlink"/>
    </a:extraClrScheme>
    <a:extraClrScheme>
      <a:clrScheme name="4_pyramis_external_printed_presentation_template 8">
        <a:dk1>
          <a:srgbClr val="1A2732"/>
        </a:dk1>
        <a:lt1>
          <a:srgbClr val="FFFFFF"/>
        </a:lt1>
        <a:dk2>
          <a:srgbClr val="203731"/>
        </a:dk2>
        <a:lt2>
          <a:srgbClr val="A4AEB5"/>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1A2732"/>
        </a:folHlink>
      </a:clrScheme>
      <a:clrMap bg1="lt1" tx1="dk1" bg2="lt2" tx2="dk2" accent1="accent1" accent2="accent2" accent3="accent3" accent4="accent4" accent5="accent5" accent6="accent6" hlink="hlink" folHlink="folHlink"/>
    </a:extraClrScheme>
    <a:extraClrScheme>
      <a:clrScheme name="4_pyramis_external_printed_presentation_template 9">
        <a:dk1>
          <a:srgbClr val="1A2732"/>
        </a:dk1>
        <a:lt1>
          <a:srgbClr val="FFFFFF"/>
        </a:lt1>
        <a:dk2>
          <a:srgbClr val="203731"/>
        </a:dk2>
        <a:lt2>
          <a:srgbClr val="A7B8B4"/>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1A2732"/>
        </a:folHlink>
      </a:clrScheme>
      <a:clrMap bg1="lt1" tx1="dk1" bg2="lt2" tx2="dk2" accent1="accent1" accent2="accent2" accent3="accent3" accent4="accent4" accent5="accent5" accent6="accent6" hlink="hlink" folHlink="folHlink"/>
    </a:extraClrScheme>
    <a:extraClrScheme>
      <a:clrScheme name="4_pyramis_external_printed_presentation_template 10">
        <a:dk1>
          <a:srgbClr val="1A2732"/>
        </a:dk1>
        <a:lt1>
          <a:srgbClr val="FFFFFF"/>
        </a:lt1>
        <a:dk2>
          <a:srgbClr val="203731"/>
        </a:dk2>
        <a:lt2>
          <a:srgbClr val="A7B8B4"/>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1">
        <a:dk1>
          <a:srgbClr val="1A2732"/>
        </a:dk1>
        <a:lt1>
          <a:srgbClr val="FFFFFF"/>
        </a:lt1>
        <a:dk2>
          <a:srgbClr val="203731"/>
        </a:dk2>
        <a:lt2>
          <a:srgbClr val="A4AEB5"/>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2">
        <a:dk1>
          <a:srgbClr val="172934"/>
        </a:dk1>
        <a:lt1>
          <a:srgbClr val="FFFFFF"/>
        </a:lt1>
        <a:dk2>
          <a:srgbClr val="203731"/>
        </a:dk2>
        <a:lt2>
          <a:srgbClr val="A4AEB5"/>
        </a:lt2>
        <a:accent1>
          <a:srgbClr val="51626F"/>
        </a:accent1>
        <a:accent2>
          <a:srgbClr val="3E4519"/>
        </a:accent2>
        <a:accent3>
          <a:srgbClr val="FFFFFF"/>
        </a:accent3>
        <a:accent4>
          <a:srgbClr val="12212B"/>
        </a:accent4>
        <a:accent5>
          <a:srgbClr val="B3B7BB"/>
        </a:accent5>
        <a:accent6>
          <a:srgbClr val="373E16"/>
        </a:accent6>
        <a:hlink>
          <a:srgbClr val="ABC78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3">
        <a:dk1>
          <a:srgbClr val="172934"/>
        </a:dk1>
        <a:lt1>
          <a:srgbClr val="FFFFFF"/>
        </a:lt1>
        <a:dk2>
          <a:srgbClr val="203731"/>
        </a:dk2>
        <a:lt2>
          <a:srgbClr val="A4AEB5"/>
        </a:lt2>
        <a:accent1>
          <a:srgbClr val="51626F"/>
        </a:accent1>
        <a:accent2>
          <a:srgbClr val="3E4519"/>
        </a:accent2>
        <a:accent3>
          <a:srgbClr val="FFFFFF"/>
        </a:accent3>
        <a:accent4>
          <a:srgbClr val="12212B"/>
        </a:accent4>
        <a:accent5>
          <a:srgbClr val="B3B7BB"/>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4">
        <a:dk1>
          <a:srgbClr val="172934"/>
        </a:dk1>
        <a:lt1>
          <a:srgbClr val="FFFFFF"/>
        </a:lt1>
        <a:dk2>
          <a:srgbClr val="203731"/>
        </a:dk2>
        <a:lt2>
          <a:srgbClr val="A4AEB5"/>
        </a:lt2>
        <a:accent1>
          <a:srgbClr val="4C5F6C"/>
        </a:accent1>
        <a:accent2>
          <a:srgbClr val="3E4519"/>
        </a:accent2>
        <a:accent3>
          <a:srgbClr val="FFFFFF"/>
        </a:accent3>
        <a:accent4>
          <a:srgbClr val="12212B"/>
        </a:accent4>
        <a:accent5>
          <a:srgbClr val="B2B6BA"/>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5">
        <a:dk1>
          <a:srgbClr val="172934"/>
        </a:dk1>
        <a:lt1>
          <a:srgbClr val="FFFFFF"/>
        </a:lt1>
        <a:dk2>
          <a:srgbClr val="203731"/>
        </a:dk2>
        <a:lt2>
          <a:srgbClr val="5D87A1"/>
        </a:lt2>
        <a:accent1>
          <a:srgbClr val="4C5F6C"/>
        </a:accent1>
        <a:accent2>
          <a:srgbClr val="3E4519"/>
        </a:accent2>
        <a:accent3>
          <a:srgbClr val="FFFFFF"/>
        </a:accent3>
        <a:accent4>
          <a:srgbClr val="12212B"/>
        </a:accent4>
        <a:accent5>
          <a:srgbClr val="B2B6BA"/>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6">
        <a:dk1>
          <a:srgbClr val="172934"/>
        </a:dk1>
        <a:lt1>
          <a:srgbClr val="FFFFFF"/>
        </a:lt1>
        <a:dk2>
          <a:srgbClr val="172934"/>
        </a:dk2>
        <a:lt2>
          <a:srgbClr val="5D87A1"/>
        </a:lt2>
        <a:accent1>
          <a:srgbClr val="4C5F6C"/>
        </a:accent1>
        <a:accent2>
          <a:srgbClr val="3E4519"/>
        </a:accent2>
        <a:accent3>
          <a:srgbClr val="FFFFFF"/>
        </a:accent3>
        <a:accent4>
          <a:srgbClr val="12212B"/>
        </a:accent4>
        <a:accent5>
          <a:srgbClr val="B2B6BA"/>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Lst>
  <a:custClrLst>
    <a:custClr name="377-100%">
      <a:srgbClr val="7A9A3D"/>
    </a:custClr>
    <a:custClr name="7689-100%">
      <a:srgbClr val="298FC2"/>
    </a:custClr>
    <a:custClr name="7708-100%">
      <a:srgbClr val="004F6B"/>
    </a:custClr>
    <a:custClr name="5503-100%">
      <a:srgbClr val="8FB6BB"/>
    </a:custClr>
    <a:custClr name="7544-100%">
      <a:srgbClr val="768692"/>
    </a:custClr>
    <a:custClr name="364-100%">
      <a:srgbClr val="4B7838"/>
    </a:custClr>
    <a:custClr name="639-100%">
      <a:srgbClr val="00A3D4"/>
    </a:custClr>
    <a:custClr name="3285-100%">
      <a:srgbClr val="009681"/>
    </a:custClr>
    <a:custClr name="432-100%">
      <a:srgbClr val="333F48"/>
    </a:custClr>
    <a:custClr name="Cool gray-100%">
      <a:srgbClr val="75787B"/>
    </a:custClr>
    <a:custClr name="377-80%">
      <a:srgbClr val="95AE3C"/>
    </a:custClr>
    <a:custClr name="7689-80%">
      <a:srgbClr val="54A5CE"/>
    </a:custClr>
    <a:custClr name="7708-80%">
      <a:srgbClr val="006682"/>
    </a:custClr>
    <a:custClr name="5503-80%">
      <a:srgbClr val="9FC9CF"/>
    </a:custClr>
    <a:custClr name="7544-80%">
      <a:srgbClr val="919EA8"/>
    </a:custClr>
    <a:custClr name="364-80%">
      <a:srgbClr val="6E9254"/>
    </a:custClr>
    <a:custClr name="639-80%">
      <a:srgbClr val="00AFDD"/>
    </a:custClr>
    <a:custClr name="3285-80%">
      <a:srgbClr val="33AB9A"/>
    </a:custClr>
    <a:custClr name="432-80%">
      <a:srgbClr val="5D656D"/>
    </a:custClr>
    <a:custClr name="Cool gray-80%">
      <a:srgbClr val="919395"/>
    </a:custClr>
    <a:custClr name="377-60%">
      <a:srgbClr val="AFC267"/>
    </a:custClr>
    <a:custClr name="7689-60%">
      <a:srgbClr val="7FBCDA"/>
    </a:custClr>
    <a:custClr name="7708-60%">
      <a:srgbClr val="3F829C"/>
    </a:custClr>
    <a:custClr name="5503-60%">
      <a:srgbClr val="B5D4D9"/>
    </a:custClr>
    <a:custClr name="7544-60%">
      <a:srgbClr val="ADB6BE"/>
    </a:custClr>
    <a:custClr name="364-60%">
      <a:srgbClr val="91AD7F"/>
    </a:custClr>
    <a:custClr name="639-60%">
      <a:srgbClr val="4ABFE3"/>
    </a:custClr>
    <a:custClr name="3285-60%">
      <a:srgbClr val="66C0B3"/>
    </a:custClr>
    <a:custClr name="432-60%">
      <a:srgbClr val="858C91"/>
    </a:custClr>
    <a:custClr name="Cool gray-60%">
      <a:srgbClr val="ADAEB0"/>
    </a:custClr>
    <a:custClr name="377-40%">
      <a:srgbClr val="CBD799"/>
    </a:custClr>
    <a:custClr name="7689-40%">
      <a:srgbClr val="A9D2E7"/>
    </a:custClr>
    <a:custClr name="7708-40%">
      <a:srgbClr val="77A3B8"/>
    </a:custClr>
    <a:custClr name="5503-40%">
      <a:srgbClr val="CAE0E3"/>
    </a:custClr>
    <a:custClr name="7544-40%">
      <a:srgbClr val="C8CFD3"/>
    </a:custClr>
    <a:custClr name="364-40%">
      <a:srgbClr val="B7C8A9"/>
    </a:custClr>
    <a:custClr name="639-40%">
      <a:srgbClr val="8DD1EB"/>
    </a:custClr>
    <a:custClr name="3285-40%">
      <a:srgbClr val="99D5CC"/>
    </a:custClr>
    <a:custClr name="432-40%">
      <a:srgbClr val="ADB2B6"/>
    </a:custClr>
    <a:custClr name="Cool gray-40%">
      <a:srgbClr val="C8C9C9"/>
    </a:custClr>
  </a:custClrLst>
</a:theme>
</file>

<file path=ppt/theme/theme4.xml><?xml version="1.0" encoding="utf-8"?>
<a:theme xmlns:a="http://schemas.openxmlformats.org/drawingml/2006/main" name="1_FIAM_Publishing_FINAL_May2020">
  <a:themeElements>
    <a:clrScheme name="107 Evolution">
      <a:dk1>
        <a:srgbClr val="000000"/>
      </a:dk1>
      <a:lt1>
        <a:srgbClr val="FFFFFF"/>
      </a:lt1>
      <a:dk2>
        <a:srgbClr val="212425"/>
      </a:dk2>
      <a:lt2>
        <a:srgbClr val="333F48"/>
      </a:lt2>
      <a:accent1>
        <a:srgbClr val="298FC2"/>
      </a:accent1>
      <a:accent2>
        <a:srgbClr val="4A7729"/>
      </a:accent2>
      <a:accent3>
        <a:srgbClr val="7A9A01"/>
      </a:accent3>
      <a:accent4>
        <a:srgbClr val="6BA4B8"/>
      </a:accent4>
      <a:accent5>
        <a:srgbClr val="768692"/>
      </a:accent5>
      <a:accent6>
        <a:srgbClr val="9BBDAA"/>
      </a:accent6>
      <a:hlink>
        <a:srgbClr val="298FC2"/>
      </a:hlink>
      <a:folHlink>
        <a:srgbClr val="51284F"/>
      </a:folHlink>
    </a:clrScheme>
    <a:fontScheme name="4_pyramis_external_printed_presentation_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hlink"/>
        </a:solid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ea typeface="ＭＳ Ｐゴシック" charset="-128"/>
          </a:defRPr>
        </a:defPPr>
      </a:lstStyle>
    </a:spDef>
    <a:lnDef>
      <a:spPr bwMode="auto">
        <a:xfrm>
          <a:off x="0" y="0"/>
          <a:ext cx="1" cy="1"/>
        </a:xfrm>
        <a:custGeom>
          <a:avLst/>
          <a:gdLst/>
          <a:ahLst/>
          <a:cxnLst/>
          <a:rect l="0" t="0" r="0" b="0"/>
          <a:pathLst/>
        </a:custGeom>
        <a:solidFill>
          <a:schemeClr val="hlink"/>
        </a:solid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ea typeface="ＭＳ Ｐゴシック" charset="-128"/>
          </a:defRPr>
        </a:defPPr>
      </a:lstStyle>
    </a:lnDef>
  </a:objectDefaults>
  <a:extraClrSchemeLst>
    <a:extraClrScheme>
      <a:clrScheme name="4_pyramis_external_printed_presentation_template 1">
        <a:dk1>
          <a:srgbClr val="1A2732"/>
        </a:dk1>
        <a:lt1>
          <a:srgbClr val="FFFFFF"/>
        </a:lt1>
        <a:dk2>
          <a:srgbClr val="D6E1EA"/>
        </a:dk2>
        <a:lt2>
          <a:srgbClr val="B6CADA"/>
        </a:lt2>
        <a:accent1>
          <a:srgbClr val="1A2732"/>
        </a:accent1>
        <a:accent2>
          <a:srgbClr val="5580A3"/>
        </a:accent2>
        <a:accent3>
          <a:srgbClr val="FFFFFF"/>
        </a:accent3>
        <a:accent4>
          <a:srgbClr val="142029"/>
        </a:accent4>
        <a:accent5>
          <a:srgbClr val="ABACAD"/>
        </a:accent5>
        <a:accent6>
          <a:srgbClr val="4C7393"/>
        </a:accent6>
        <a:hlink>
          <a:srgbClr val="81A2BD"/>
        </a:hlink>
        <a:folHlink>
          <a:srgbClr val="42637E"/>
        </a:folHlink>
      </a:clrScheme>
      <a:clrMap bg1="lt1" tx1="dk1" bg2="lt2" tx2="dk2" accent1="accent1" accent2="accent2" accent3="accent3" accent4="accent4" accent5="accent5" accent6="accent6" hlink="hlink" folHlink="folHlink"/>
    </a:extraClrScheme>
    <a:extraClrScheme>
      <a:clrScheme name="4_pyramis_external_printed_presentation_template 2">
        <a:dk1>
          <a:srgbClr val="1A2732"/>
        </a:dk1>
        <a:lt1>
          <a:srgbClr val="FFFFFF"/>
        </a:lt1>
        <a:dk2>
          <a:srgbClr val="1A2732"/>
        </a:dk2>
        <a:lt2>
          <a:srgbClr val="D6E1EA"/>
        </a:lt2>
        <a:accent1>
          <a:srgbClr val="D6E1EA"/>
        </a:accent1>
        <a:accent2>
          <a:srgbClr val="788E78"/>
        </a:accent2>
        <a:accent3>
          <a:srgbClr val="FFFFFF"/>
        </a:accent3>
        <a:accent4>
          <a:srgbClr val="142029"/>
        </a:accent4>
        <a:accent5>
          <a:srgbClr val="E8EEF3"/>
        </a:accent5>
        <a:accent6>
          <a:srgbClr val="6C806C"/>
        </a:accent6>
        <a:hlink>
          <a:srgbClr val="B1C785"/>
        </a:hlink>
        <a:folHlink>
          <a:srgbClr val="6A7029"/>
        </a:folHlink>
      </a:clrScheme>
      <a:clrMap bg1="lt1" tx1="dk1" bg2="lt2" tx2="dk2" accent1="accent1" accent2="accent2" accent3="accent3" accent4="accent4" accent5="accent5" accent6="accent6" hlink="hlink" folHlink="folHlink"/>
    </a:extraClrScheme>
    <a:extraClrScheme>
      <a:clrScheme name="4_pyramis_external_printed_presentation_template 3">
        <a:dk1>
          <a:srgbClr val="788E78"/>
        </a:dk1>
        <a:lt1>
          <a:srgbClr val="FFFFFF"/>
        </a:lt1>
        <a:dk2>
          <a:srgbClr val="1A2732"/>
        </a:dk2>
        <a:lt2>
          <a:srgbClr val="D6E1EA"/>
        </a:lt2>
        <a:accent1>
          <a:srgbClr val="B1C785"/>
        </a:accent1>
        <a:accent2>
          <a:srgbClr val="1A2732"/>
        </a:accent2>
        <a:accent3>
          <a:srgbClr val="FFFFFF"/>
        </a:accent3>
        <a:accent4>
          <a:srgbClr val="657865"/>
        </a:accent4>
        <a:accent5>
          <a:srgbClr val="D5E0C2"/>
        </a:accent5>
        <a:accent6>
          <a:srgbClr val="16222C"/>
        </a:accent6>
        <a:hlink>
          <a:srgbClr val="4C5F6C"/>
        </a:hlink>
        <a:folHlink>
          <a:srgbClr val="81A2BD"/>
        </a:folHlink>
      </a:clrScheme>
      <a:clrMap bg1="lt1" tx1="dk1" bg2="lt2" tx2="dk2" accent1="accent1" accent2="accent2" accent3="accent3" accent4="accent4" accent5="accent5" accent6="accent6" hlink="hlink" folHlink="folHlink"/>
    </a:extraClrScheme>
    <a:extraClrScheme>
      <a:clrScheme name="4_pyramis_external_printed_presentation_template 4">
        <a:dk1>
          <a:srgbClr val="19252F"/>
        </a:dk1>
        <a:lt1>
          <a:srgbClr val="FFFFFF"/>
        </a:lt1>
        <a:dk2>
          <a:srgbClr val="B19401"/>
        </a:dk2>
        <a:lt2>
          <a:srgbClr val="EDE7DD"/>
        </a:lt2>
        <a:accent1>
          <a:srgbClr val="B1C785"/>
        </a:accent1>
        <a:accent2>
          <a:srgbClr val="6A7029"/>
        </a:accent2>
        <a:accent3>
          <a:srgbClr val="FFFFFF"/>
        </a:accent3>
        <a:accent4>
          <a:srgbClr val="141E27"/>
        </a:accent4>
        <a:accent5>
          <a:srgbClr val="D5E0C2"/>
        </a:accent5>
        <a:accent6>
          <a:srgbClr val="5F6524"/>
        </a:accent6>
        <a:hlink>
          <a:srgbClr val="ADBBAD"/>
        </a:hlink>
        <a:folHlink>
          <a:srgbClr val="764200"/>
        </a:folHlink>
      </a:clrScheme>
      <a:clrMap bg1="lt1" tx1="dk1" bg2="lt2" tx2="dk2" accent1="accent1" accent2="accent2" accent3="accent3" accent4="accent4" accent5="accent5" accent6="accent6" hlink="hlink" folHlink="folHlink"/>
    </a:extraClrScheme>
    <a:extraClrScheme>
      <a:clrScheme name="4_pyramis_external_printed_presentation_template 5">
        <a:dk1>
          <a:srgbClr val="1A2732"/>
        </a:dk1>
        <a:lt1>
          <a:srgbClr val="FFFFFF"/>
        </a:lt1>
        <a:dk2>
          <a:srgbClr val="B19401"/>
        </a:dk2>
        <a:lt2>
          <a:srgbClr val="EDE7DD"/>
        </a:lt2>
        <a:accent1>
          <a:srgbClr val="B1C785"/>
        </a:accent1>
        <a:accent2>
          <a:srgbClr val="6A7029"/>
        </a:accent2>
        <a:accent3>
          <a:srgbClr val="FFFFFF"/>
        </a:accent3>
        <a:accent4>
          <a:srgbClr val="142029"/>
        </a:accent4>
        <a:accent5>
          <a:srgbClr val="D5E0C2"/>
        </a:accent5>
        <a:accent6>
          <a:srgbClr val="5F6524"/>
        </a:accent6>
        <a:hlink>
          <a:srgbClr val="AAC3B4"/>
        </a:hlink>
        <a:folHlink>
          <a:srgbClr val="764200"/>
        </a:folHlink>
      </a:clrScheme>
      <a:clrMap bg1="lt1" tx1="dk1" bg2="lt2" tx2="dk2" accent1="accent1" accent2="accent2" accent3="accent3" accent4="accent4" accent5="accent5" accent6="accent6" hlink="hlink" folHlink="folHlink"/>
    </a:extraClrScheme>
    <a:extraClrScheme>
      <a:clrScheme name="4_pyramis_external_printed_presentation_template 6">
        <a:dk1>
          <a:srgbClr val="19252F"/>
        </a:dk1>
        <a:lt1>
          <a:srgbClr val="FFFFFF"/>
        </a:lt1>
        <a:dk2>
          <a:srgbClr val="B19401"/>
        </a:dk2>
        <a:lt2>
          <a:srgbClr val="DCDCCE"/>
        </a:lt2>
        <a:accent1>
          <a:srgbClr val="BDD096"/>
        </a:accent1>
        <a:accent2>
          <a:srgbClr val="6A7029"/>
        </a:accent2>
        <a:accent3>
          <a:srgbClr val="FFFFFF"/>
        </a:accent3>
        <a:accent4>
          <a:srgbClr val="141E27"/>
        </a:accent4>
        <a:accent5>
          <a:srgbClr val="DBE4C9"/>
        </a:accent5>
        <a:accent6>
          <a:srgbClr val="5F6524"/>
        </a:accent6>
        <a:hlink>
          <a:srgbClr val="ADBBAD"/>
        </a:hlink>
        <a:folHlink>
          <a:srgbClr val="462900"/>
        </a:folHlink>
      </a:clrScheme>
      <a:clrMap bg1="lt1" tx1="dk1" bg2="lt2" tx2="dk2" accent1="accent1" accent2="accent2" accent3="accent3" accent4="accent4" accent5="accent5" accent6="accent6" hlink="hlink" folHlink="folHlink"/>
    </a:extraClrScheme>
    <a:extraClrScheme>
      <a:clrScheme name="4_pyramis_external_printed_presentation_template 7">
        <a:dk1>
          <a:srgbClr val="19252F"/>
        </a:dk1>
        <a:lt1>
          <a:srgbClr val="FFFFFF"/>
        </a:lt1>
        <a:dk2>
          <a:srgbClr val="B19401"/>
        </a:dk2>
        <a:lt2>
          <a:srgbClr val="DCDCCE"/>
        </a:lt2>
        <a:accent1>
          <a:srgbClr val="BDD096"/>
        </a:accent1>
        <a:accent2>
          <a:srgbClr val="6A7029"/>
        </a:accent2>
        <a:accent3>
          <a:srgbClr val="FFFFFF"/>
        </a:accent3>
        <a:accent4>
          <a:srgbClr val="141E27"/>
        </a:accent4>
        <a:accent5>
          <a:srgbClr val="DBE4C9"/>
        </a:accent5>
        <a:accent6>
          <a:srgbClr val="5F6524"/>
        </a:accent6>
        <a:hlink>
          <a:srgbClr val="AAC3B4"/>
        </a:hlink>
        <a:folHlink>
          <a:srgbClr val="462900"/>
        </a:folHlink>
      </a:clrScheme>
      <a:clrMap bg1="lt1" tx1="dk1" bg2="lt2" tx2="dk2" accent1="accent1" accent2="accent2" accent3="accent3" accent4="accent4" accent5="accent5" accent6="accent6" hlink="hlink" folHlink="folHlink"/>
    </a:extraClrScheme>
    <a:extraClrScheme>
      <a:clrScheme name="4_pyramis_external_printed_presentation_template 8">
        <a:dk1>
          <a:srgbClr val="1A2732"/>
        </a:dk1>
        <a:lt1>
          <a:srgbClr val="FFFFFF"/>
        </a:lt1>
        <a:dk2>
          <a:srgbClr val="203731"/>
        </a:dk2>
        <a:lt2>
          <a:srgbClr val="A4AEB5"/>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1A2732"/>
        </a:folHlink>
      </a:clrScheme>
      <a:clrMap bg1="lt1" tx1="dk1" bg2="lt2" tx2="dk2" accent1="accent1" accent2="accent2" accent3="accent3" accent4="accent4" accent5="accent5" accent6="accent6" hlink="hlink" folHlink="folHlink"/>
    </a:extraClrScheme>
    <a:extraClrScheme>
      <a:clrScheme name="4_pyramis_external_printed_presentation_template 9">
        <a:dk1>
          <a:srgbClr val="1A2732"/>
        </a:dk1>
        <a:lt1>
          <a:srgbClr val="FFFFFF"/>
        </a:lt1>
        <a:dk2>
          <a:srgbClr val="203731"/>
        </a:dk2>
        <a:lt2>
          <a:srgbClr val="A7B8B4"/>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1A2732"/>
        </a:folHlink>
      </a:clrScheme>
      <a:clrMap bg1="lt1" tx1="dk1" bg2="lt2" tx2="dk2" accent1="accent1" accent2="accent2" accent3="accent3" accent4="accent4" accent5="accent5" accent6="accent6" hlink="hlink" folHlink="folHlink"/>
    </a:extraClrScheme>
    <a:extraClrScheme>
      <a:clrScheme name="4_pyramis_external_printed_presentation_template 10">
        <a:dk1>
          <a:srgbClr val="1A2732"/>
        </a:dk1>
        <a:lt1>
          <a:srgbClr val="FFFFFF"/>
        </a:lt1>
        <a:dk2>
          <a:srgbClr val="203731"/>
        </a:dk2>
        <a:lt2>
          <a:srgbClr val="A7B8B4"/>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1">
        <a:dk1>
          <a:srgbClr val="1A2732"/>
        </a:dk1>
        <a:lt1>
          <a:srgbClr val="FFFFFF"/>
        </a:lt1>
        <a:dk2>
          <a:srgbClr val="203731"/>
        </a:dk2>
        <a:lt2>
          <a:srgbClr val="A4AEB5"/>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2">
        <a:dk1>
          <a:srgbClr val="172934"/>
        </a:dk1>
        <a:lt1>
          <a:srgbClr val="FFFFFF"/>
        </a:lt1>
        <a:dk2>
          <a:srgbClr val="203731"/>
        </a:dk2>
        <a:lt2>
          <a:srgbClr val="A4AEB5"/>
        </a:lt2>
        <a:accent1>
          <a:srgbClr val="51626F"/>
        </a:accent1>
        <a:accent2>
          <a:srgbClr val="3E4519"/>
        </a:accent2>
        <a:accent3>
          <a:srgbClr val="FFFFFF"/>
        </a:accent3>
        <a:accent4>
          <a:srgbClr val="12212B"/>
        </a:accent4>
        <a:accent5>
          <a:srgbClr val="B3B7BB"/>
        </a:accent5>
        <a:accent6>
          <a:srgbClr val="373E16"/>
        </a:accent6>
        <a:hlink>
          <a:srgbClr val="ABC78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3">
        <a:dk1>
          <a:srgbClr val="172934"/>
        </a:dk1>
        <a:lt1>
          <a:srgbClr val="FFFFFF"/>
        </a:lt1>
        <a:dk2>
          <a:srgbClr val="203731"/>
        </a:dk2>
        <a:lt2>
          <a:srgbClr val="A4AEB5"/>
        </a:lt2>
        <a:accent1>
          <a:srgbClr val="51626F"/>
        </a:accent1>
        <a:accent2>
          <a:srgbClr val="3E4519"/>
        </a:accent2>
        <a:accent3>
          <a:srgbClr val="FFFFFF"/>
        </a:accent3>
        <a:accent4>
          <a:srgbClr val="12212B"/>
        </a:accent4>
        <a:accent5>
          <a:srgbClr val="B3B7BB"/>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4">
        <a:dk1>
          <a:srgbClr val="172934"/>
        </a:dk1>
        <a:lt1>
          <a:srgbClr val="FFFFFF"/>
        </a:lt1>
        <a:dk2>
          <a:srgbClr val="203731"/>
        </a:dk2>
        <a:lt2>
          <a:srgbClr val="A4AEB5"/>
        </a:lt2>
        <a:accent1>
          <a:srgbClr val="4C5F6C"/>
        </a:accent1>
        <a:accent2>
          <a:srgbClr val="3E4519"/>
        </a:accent2>
        <a:accent3>
          <a:srgbClr val="FFFFFF"/>
        </a:accent3>
        <a:accent4>
          <a:srgbClr val="12212B"/>
        </a:accent4>
        <a:accent5>
          <a:srgbClr val="B2B6BA"/>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5">
        <a:dk1>
          <a:srgbClr val="172934"/>
        </a:dk1>
        <a:lt1>
          <a:srgbClr val="FFFFFF"/>
        </a:lt1>
        <a:dk2>
          <a:srgbClr val="203731"/>
        </a:dk2>
        <a:lt2>
          <a:srgbClr val="5D87A1"/>
        </a:lt2>
        <a:accent1>
          <a:srgbClr val="4C5F6C"/>
        </a:accent1>
        <a:accent2>
          <a:srgbClr val="3E4519"/>
        </a:accent2>
        <a:accent3>
          <a:srgbClr val="FFFFFF"/>
        </a:accent3>
        <a:accent4>
          <a:srgbClr val="12212B"/>
        </a:accent4>
        <a:accent5>
          <a:srgbClr val="B2B6BA"/>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6">
        <a:dk1>
          <a:srgbClr val="172934"/>
        </a:dk1>
        <a:lt1>
          <a:srgbClr val="FFFFFF"/>
        </a:lt1>
        <a:dk2>
          <a:srgbClr val="172934"/>
        </a:dk2>
        <a:lt2>
          <a:srgbClr val="5D87A1"/>
        </a:lt2>
        <a:accent1>
          <a:srgbClr val="4C5F6C"/>
        </a:accent1>
        <a:accent2>
          <a:srgbClr val="3E4519"/>
        </a:accent2>
        <a:accent3>
          <a:srgbClr val="FFFFFF"/>
        </a:accent3>
        <a:accent4>
          <a:srgbClr val="12212B"/>
        </a:accent4>
        <a:accent5>
          <a:srgbClr val="B2B6BA"/>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Lst>
  <a:custClrLst>
    <a:custClr name="377-100%">
      <a:srgbClr val="7A9A3D"/>
    </a:custClr>
    <a:custClr name="7689-100%">
      <a:srgbClr val="298FC2"/>
    </a:custClr>
    <a:custClr name="7708-100%">
      <a:srgbClr val="004F6B"/>
    </a:custClr>
    <a:custClr name="5503-100%">
      <a:srgbClr val="8FB6BB"/>
    </a:custClr>
    <a:custClr name="7544-100%">
      <a:srgbClr val="768692"/>
    </a:custClr>
    <a:custClr name="364-100%">
      <a:srgbClr val="4B7838"/>
    </a:custClr>
    <a:custClr name="639-100%">
      <a:srgbClr val="00A3D4"/>
    </a:custClr>
    <a:custClr name="3285-100%">
      <a:srgbClr val="009681"/>
    </a:custClr>
    <a:custClr name="432-100%">
      <a:srgbClr val="333F48"/>
    </a:custClr>
    <a:custClr name="Cool gray-100%">
      <a:srgbClr val="75787B"/>
    </a:custClr>
    <a:custClr name="377-80%">
      <a:srgbClr val="95AE3C"/>
    </a:custClr>
    <a:custClr name="7689-80%">
      <a:srgbClr val="54A5CE"/>
    </a:custClr>
    <a:custClr name="7708-80%">
      <a:srgbClr val="006682"/>
    </a:custClr>
    <a:custClr name="5503-80%">
      <a:srgbClr val="9FC9CF"/>
    </a:custClr>
    <a:custClr name="7544-80%">
      <a:srgbClr val="919EA8"/>
    </a:custClr>
    <a:custClr name="364-80%">
      <a:srgbClr val="6E9254"/>
    </a:custClr>
    <a:custClr name="639-80%">
      <a:srgbClr val="00AFDD"/>
    </a:custClr>
    <a:custClr name="3285-80%">
      <a:srgbClr val="33AB9A"/>
    </a:custClr>
    <a:custClr name="432-80%">
      <a:srgbClr val="5D656D"/>
    </a:custClr>
    <a:custClr name="Cool gray-80%">
      <a:srgbClr val="919395"/>
    </a:custClr>
    <a:custClr name="377-60%">
      <a:srgbClr val="AFC267"/>
    </a:custClr>
    <a:custClr name="7689-60%">
      <a:srgbClr val="7FBCDA"/>
    </a:custClr>
    <a:custClr name="7708-60%">
      <a:srgbClr val="3F829C"/>
    </a:custClr>
    <a:custClr name="5503-60%">
      <a:srgbClr val="B5D4D9"/>
    </a:custClr>
    <a:custClr name="7544-60%">
      <a:srgbClr val="ADB6BE"/>
    </a:custClr>
    <a:custClr name="364-60%">
      <a:srgbClr val="91AD7F"/>
    </a:custClr>
    <a:custClr name="639-60%">
      <a:srgbClr val="4ABFE3"/>
    </a:custClr>
    <a:custClr name="3285-60%">
      <a:srgbClr val="66C0B3"/>
    </a:custClr>
    <a:custClr name="432-60%">
      <a:srgbClr val="858C91"/>
    </a:custClr>
    <a:custClr name="Cool gray-60%">
      <a:srgbClr val="ADAEB0"/>
    </a:custClr>
    <a:custClr name="377-40%">
      <a:srgbClr val="CBD799"/>
    </a:custClr>
    <a:custClr name="7689-40%">
      <a:srgbClr val="A9D2E7"/>
    </a:custClr>
    <a:custClr name="7708-40%">
      <a:srgbClr val="77A3B8"/>
    </a:custClr>
    <a:custClr name="5503-40%">
      <a:srgbClr val="CAE0E3"/>
    </a:custClr>
    <a:custClr name="7544-40%">
      <a:srgbClr val="C8CFD3"/>
    </a:custClr>
    <a:custClr name="364-40%">
      <a:srgbClr val="B7C8A9"/>
    </a:custClr>
    <a:custClr name="639-40%">
      <a:srgbClr val="8DD1EB"/>
    </a:custClr>
    <a:custClr name="3285-40%">
      <a:srgbClr val="99D5CC"/>
    </a:custClr>
    <a:custClr name="432-40%">
      <a:srgbClr val="ADB2B6"/>
    </a:custClr>
    <a:custClr name="Cool gray-40%">
      <a:srgbClr val="C8C9C9"/>
    </a:custClr>
  </a:custClrLst>
  <a:extLst>
    <a:ext uri="{05A4C25C-085E-4340-85A3-A5531E510DB2}">
      <thm15:themeFamily xmlns:thm15="http://schemas.microsoft.com/office/thememl/2012/main" name="Presentation2" id="{1B8DCA61-A31E-42DC-AC41-50A13A40CC61}" vid="{EFDE4738-90B1-4ACC-B122-6B867F8A58A2}"/>
    </a:ext>
  </a:extLst>
</a:theme>
</file>

<file path=ppt/theme/theme5.xml><?xml version="1.0" encoding="utf-8"?>
<a:theme xmlns:a="http://schemas.openxmlformats.org/drawingml/2006/main" name="FIAM_Publishing_FINAL_May2020">
  <a:themeElements>
    <a:clrScheme name="107 Evolution">
      <a:dk1>
        <a:srgbClr val="000000"/>
      </a:dk1>
      <a:lt1>
        <a:srgbClr val="FFFFFF"/>
      </a:lt1>
      <a:dk2>
        <a:srgbClr val="212425"/>
      </a:dk2>
      <a:lt2>
        <a:srgbClr val="333F48"/>
      </a:lt2>
      <a:accent1>
        <a:srgbClr val="298FC2"/>
      </a:accent1>
      <a:accent2>
        <a:srgbClr val="4A7729"/>
      </a:accent2>
      <a:accent3>
        <a:srgbClr val="7A9A01"/>
      </a:accent3>
      <a:accent4>
        <a:srgbClr val="6BA4B8"/>
      </a:accent4>
      <a:accent5>
        <a:srgbClr val="768692"/>
      </a:accent5>
      <a:accent6>
        <a:srgbClr val="9BBDAA"/>
      </a:accent6>
      <a:hlink>
        <a:srgbClr val="298FC2"/>
      </a:hlink>
      <a:folHlink>
        <a:srgbClr val="51284F"/>
      </a:folHlink>
    </a:clrScheme>
    <a:fontScheme name="4_pyramis_external_printed_presentation_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hlink"/>
        </a:solid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ea typeface="ＭＳ Ｐゴシック" charset="-128"/>
          </a:defRPr>
        </a:defPPr>
      </a:lstStyle>
    </a:spDef>
    <a:lnDef>
      <a:spPr bwMode="auto">
        <a:xfrm>
          <a:off x="0" y="0"/>
          <a:ext cx="1" cy="1"/>
        </a:xfrm>
        <a:custGeom>
          <a:avLst/>
          <a:gdLst/>
          <a:ahLst/>
          <a:cxnLst/>
          <a:rect l="0" t="0" r="0" b="0"/>
          <a:pathLst/>
        </a:custGeom>
        <a:solidFill>
          <a:schemeClr val="hlink"/>
        </a:solid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ea typeface="ＭＳ Ｐゴシック" charset="-128"/>
          </a:defRPr>
        </a:defPPr>
      </a:lstStyle>
    </a:lnDef>
  </a:objectDefaults>
  <a:extraClrSchemeLst>
    <a:extraClrScheme>
      <a:clrScheme name="4_pyramis_external_printed_presentation_template 1">
        <a:dk1>
          <a:srgbClr val="1A2732"/>
        </a:dk1>
        <a:lt1>
          <a:srgbClr val="FFFFFF"/>
        </a:lt1>
        <a:dk2>
          <a:srgbClr val="D6E1EA"/>
        </a:dk2>
        <a:lt2>
          <a:srgbClr val="B6CADA"/>
        </a:lt2>
        <a:accent1>
          <a:srgbClr val="1A2732"/>
        </a:accent1>
        <a:accent2>
          <a:srgbClr val="5580A3"/>
        </a:accent2>
        <a:accent3>
          <a:srgbClr val="FFFFFF"/>
        </a:accent3>
        <a:accent4>
          <a:srgbClr val="142029"/>
        </a:accent4>
        <a:accent5>
          <a:srgbClr val="ABACAD"/>
        </a:accent5>
        <a:accent6>
          <a:srgbClr val="4C7393"/>
        </a:accent6>
        <a:hlink>
          <a:srgbClr val="81A2BD"/>
        </a:hlink>
        <a:folHlink>
          <a:srgbClr val="42637E"/>
        </a:folHlink>
      </a:clrScheme>
      <a:clrMap bg1="lt1" tx1="dk1" bg2="lt2" tx2="dk2" accent1="accent1" accent2="accent2" accent3="accent3" accent4="accent4" accent5="accent5" accent6="accent6" hlink="hlink" folHlink="folHlink"/>
    </a:extraClrScheme>
    <a:extraClrScheme>
      <a:clrScheme name="4_pyramis_external_printed_presentation_template 2">
        <a:dk1>
          <a:srgbClr val="1A2732"/>
        </a:dk1>
        <a:lt1>
          <a:srgbClr val="FFFFFF"/>
        </a:lt1>
        <a:dk2>
          <a:srgbClr val="1A2732"/>
        </a:dk2>
        <a:lt2>
          <a:srgbClr val="D6E1EA"/>
        </a:lt2>
        <a:accent1>
          <a:srgbClr val="D6E1EA"/>
        </a:accent1>
        <a:accent2>
          <a:srgbClr val="788E78"/>
        </a:accent2>
        <a:accent3>
          <a:srgbClr val="FFFFFF"/>
        </a:accent3>
        <a:accent4>
          <a:srgbClr val="142029"/>
        </a:accent4>
        <a:accent5>
          <a:srgbClr val="E8EEF3"/>
        </a:accent5>
        <a:accent6>
          <a:srgbClr val="6C806C"/>
        </a:accent6>
        <a:hlink>
          <a:srgbClr val="B1C785"/>
        </a:hlink>
        <a:folHlink>
          <a:srgbClr val="6A7029"/>
        </a:folHlink>
      </a:clrScheme>
      <a:clrMap bg1="lt1" tx1="dk1" bg2="lt2" tx2="dk2" accent1="accent1" accent2="accent2" accent3="accent3" accent4="accent4" accent5="accent5" accent6="accent6" hlink="hlink" folHlink="folHlink"/>
    </a:extraClrScheme>
    <a:extraClrScheme>
      <a:clrScheme name="4_pyramis_external_printed_presentation_template 3">
        <a:dk1>
          <a:srgbClr val="788E78"/>
        </a:dk1>
        <a:lt1>
          <a:srgbClr val="FFFFFF"/>
        </a:lt1>
        <a:dk2>
          <a:srgbClr val="1A2732"/>
        </a:dk2>
        <a:lt2>
          <a:srgbClr val="D6E1EA"/>
        </a:lt2>
        <a:accent1>
          <a:srgbClr val="B1C785"/>
        </a:accent1>
        <a:accent2>
          <a:srgbClr val="1A2732"/>
        </a:accent2>
        <a:accent3>
          <a:srgbClr val="FFFFFF"/>
        </a:accent3>
        <a:accent4>
          <a:srgbClr val="657865"/>
        </a:accent4>
        <a:accent5>
          <a:srgbClr val="D5E0C2"/>
        </a:accent5>
        <a:accent6>
          <a:srgbClr val="16222C"/>
        </a:accent6>
        <a:hlink>
          <a:srgbClr val="4C5F6C"/>
        </a:hlink>
        <a:folHlink>
          <a:srgbClr val="81A2BD"/>
        </a:folHlink>
      </a:clrScheme>
      <a:clrMap bg1="lt1" tx1="dk1" bg2="lt2" tx2="dk2" accent1="accent1" accent2="accent2" accent3="accent3" accent4="accent4" accent5="accent5" accent6="accent6" hlink="hlink" folHlink="folHlink"/>
    </a:extraClrScheme>
    <a:extraClrScheme>
      <a:clrScheme name="4_pyramis_external_printed_presentation_template 4">
        <a:dk1>
          <a:srgbClr val="19252F"/>
        </a:dk1>
        <a:lt1>
          <a:srgbClr val="FFFFFF"/>
        </a:lt1>
        <a:dk2>
          <a:srgbClr val="B19401"/>
        </a:dk2>
        <a:lt2>
          <a:srgbClr val="EDE7DD"/>
        </a:lt2>
        <a:accent1>
          <a:srgbClr val="B1C785"/>
        </a:accent1>
        <a:accent2>
          <a:srgbClr val="6A7029"/>
        </a:accent2>
        <a:accent3>
          <a:srgbClr val="FFFFFF"/>
        </a:accent3>
        <a:accent4>
          <a:srgbClr val="141E27"/>
        </a:accent4>
        <a:accent5>
          <a:srgbClr val="D5E0C2"/>
        </a:accent5>
        <a:accent6>
          <a:srgbClr val="5F6524"/>
        </a:accent6>
        <a:hlink>
          <a:srgbClr val="ADBBAD"/>
        </a:hlink>
        <a:folHlink>
          <a:srgbClr val="764200"/>
        </a:folHlink>
      </a:clrScheme>
      <a:clrMap bg1="lt1" tx1="dk1" bg2="lt2" tx2="dk2" accent1="accent1" accent2="accent2" accent3="accent3" accent4="accent4" accent5="accent5" accent6="accent6" hlink="hlink" folHlink="folHlink"/>
    </a:extraClrScheme>
    <a:extraClrScheme>
      <a:clrScheme name="4_pyramis_external_printed_presentation_template 5">
        <a:dk1>
          <a:srgbClr val="1A2732"/>
        </a:dk1>
        <a:lt1>
          <a:srgbClr val="FFFFFF"/>
        </a:lt1>
        <a:dk2>
          <a:srgbClr val="B19401"/>
        </a:dk2>
        <a:lt2>
          <a:srgbClr val="EDE7DD"/>
        </a:lt2>
        <a:accent1>
          <a:srgbClr val="B1C785"/>
        </a:accent1>
        <a:accent2>
          <a:srgbClr val="6A7029"/>
        </a:accent2>
        <a:accent3>
          <a:srgbClr val="FFFFFF"/>
        </a:accent3>
        <a:accent4>
          <a:srgbClr val="142029"/>
        </a:accent4>
        <a:accent5>
          <a:srgbClr val="D5E0C2"/>
        </a:accent5>
        <a:accent6>
          <a:srgbClr val="5F6524"/>
        </a:accent6>
        <a:hlink>
          <a:srgbClr val="AAC3B4"/>
        </a:hlink>
        <a:folHlink>
          <a:srgbClr val="764200"/>
        </a:folHlink>
      </a:clrScheme>
      <a:clrMap bg1="lt1" tx1="dk1" bg2="lt2" tx2="dk2" accent1="accent1" accent2="accent2" accent3="accent3" accent4="accent4" accent5="accent5" accent6="accent6" hlink="hlink" folHlink="folHlink"/>
    </a:extraClrScheme>
    <a:extraClrScheme>
      <a:clrScheme name="4_pyramis_external_printed_presentation_template 6">
        <a:dk1>
          <a:srgbClr val="19252F"/>
        </a:dk1>
        <a:lt1>
          <a:srgbClr val="FFFFFF"/>
        </a:lt1>
        <a:dk2>
          <a:srgbClr val="B19401"/>
        </a:dk2>
        <a:lt2>
          <a:srgbClr val="DCDCCE"/>
        </a:lt2>
        <a:accent1>
          <a:srgbClr val="BDD096"/>
        </a:accent1>
        <a:accent2>
          <a:srgbClr val="6A7029"/>
        </a:accent2>
        <a:accent3>
          <a:srgbClr val="FFFFFF"/>
        </a:accent3>
        <a:accent4>
          <a:srgbClr val="141E27"/>
        </a:accent4>
        <a:accent5>
          <a:srgbClr val="DBE4C9"/>
        </a:accent5>
        <a:accent6>
          <a:srgbClr val="5F6524"/>
        </a:accent6>
        <a:hlink>
          <a:srgbClr val="ADBBAD"/>
        </a:hlink>
        <a:folHlink>
          <a:srgbClr val="462900"/>
        </a:folHlink>
      </a:clrScheme>
      <a:clrMap bg1="lt1" tx1="dk1" bg2="lt2" tx2="dk2" accent1="accent1" accent2="accent2" accent3="accent3" accent4="accent4" accent5="accent5" accent6="accent6" hlink="hlink" folHlink="folHlink"/>
    </a:extraClrScheme>
    <a:extraClrScheme>
      <a:clrScheme name="4_pyramis_external_printed_presentation_template 7">
        <a:dk1>
          <a:srgbClr val="19252F"/>
        </a:dk1>
        <a:lt1>
          <a:srgbClr val="FFFFFF"/>
        </a:lt1>
        <a:dk2>
          <a:srgbClr val="B19401"/>
        </a:dk2>
        <a:lt2>
          <a:srgbClr val="DCDCCE"/>
        </a:lt2>
        <a:accent1>
          <a:srgbClr val="BDD096"/>
        </a:accent1>
        <a:accent2>
          <a:srgbClr val="6A7029"/>
        </a:accent2>
        <a:accent3>
          <a:srgbClr val="FFFFFF"/>
        </a:accent3>
        <a:accent4>
          <a:srgbClr val="141E27"/>
        </a:accent4>
        <a:accent5>
          <a:srgbClr val="DBE4C9"/>
        </a:accent5>
        <a:accent6>
          <a:srgbClr val="5F6524"/>
        </a:accent6>
        <a:hlink>
          <a:srgbClr val="AAC3B4"/>
        </a:hlink>
        <a:folHlink>
          <a:srgbClr val="462900"/>
        </a:folHlink>
      </a:clrScheme>
      <a:clrMap bg1="lt1" tx1="dk1" bg2="lt2" tx2="dk2" accent1="accent1" accent2="accent2" accent3="accent3" accent4="accent4" accent5="accent5" accent6="accent6" hlink="hlink" folHlink="folHlink"/>
    </a:extraClrScheme>
    <a:extraClrScheme>
      <a:clrScheme name="4_pyramis_external_printed_presentation_template 8">
        <a:dk1>
          <a:srgbClr val="1A2732"/>
        </a:dk1>
        <a:lt1>
          <a:srgbClr val="FFFFFF"/>
        </a:lt1>
        <a:dk2>
          <a:srgbClr val="203731"/>
        </a:dk2>
        <a:lt2>
          <a:srgbClr val="A4AEB5"/>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1A2732"/>
        </a:folHlink>
      </a:clrScheme>
      <a:clrMap bg1="lt1" tx1="dk1" bg2="lt2" tx2="dk2" accent1="accent1" accent2="accent2" accent3="accent3" accent4="accent4" accent5="accent5" accent6="accent6" hlink="hlink" folHlink="folHlink"/>
    </a:extraClrScheme>
    <a:extraClrScheme>
      <a:clrScheme name="4_pyramis_external_printed_presentation_template 9">
        <a:dk1>
          <a:srgbClr val="1A2732"/>
        </a:dk1>
        <a:lt1>
          <a:srgbClr val="FFFFFF"/>
        </a:lt1>
        <a:dk2>
          <a:srgbClr val="203731"/>
        </a:dk2>
        <a:lt2>
          <a:srgbClr val="A7B8B4"/>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1A2732"/>
        </a:folHlink>
      </a:clrScheme>
      <a:clrMap bg1="lt1" tx1="dk1" bg2="lt2" tx2="dk2" accent1="accent1" accent2="accent2" accent3="accent3" accent4="accent4" accent5="accent5" accent6="accent6" hlink="hlink" folHlink="folHlink"/>
    </a:extraClrScheme>
    <a:extraClrScheme>
      <a:clrScheme name="4_pyramis_external_printed_presentation_template 10">
        <a:dk1>
          <a:srgbClr val="1A2732"/>
        </a:dk1>
        <a:lt1>
          <a:srgbClr val="FFFFFF"/>
        </a:lt1>
        <a:dk2>
          <a:srgbClr val="203731"/>
        </a:dk2>
        <a:lt2>
          <a:srgbClr val="A7B8B4"/>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1">
        <a:dk1>
          <a:srgbClr val="1A2732"/>
        </a:dk1>
        <a:lt1>
          <a:srgbClr val="FFFFFF"/>
        </a:lt1>
        <a:dk2>
          <a:srgbClr val="203731"/>
        </a:dk2>
        <a:lt2>
          <a:srgbClr val="A4AEB5"/>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2">
        <a:dk1>
          <a:srgbClr val="172934"/>
        </a:dk1>
        <a:lt1>
          <a:srgbClr val="FFFFFF"/>
        </a:lt1>
        <a:dk2>
          <a:srgbClr val="203731"/>
        </a:dk2>
        <a:lt2>
          <a:srgbClr val="A4AEB5"/>
        </a:lt2>
        <a:accent1>
          <a:srgbClr val="51626F"/>
        </a:accent1>
        <a:accent2>
          <a:srgbClr val="3E4519"/>
        </a:accent2>
        <a:accent3>
          <a:srgbClr val="FFFFFF"/>
        </a:accent3>
        <a:accent4>
          <a:srgbClr val="12212B"/>
        </a:accent4>
        <a:accent5>
          <a:srgbClr val="B3B7BB"/>
        </a:accent5>
        <a:accent6>
          <a:srgbClr val="373E16"/>
        </a:accent6>
        <a:hlink>
          <a:srgbClr val="ABC78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3">
        <a:dk1>
          <a:srgbClr val="172934"/>
        </a:dk1>
        <a:lt1>
          <a:srgbClr val="FFFFFF"/>
        </a:lt1>
        <a:dk2>
          <a:srgbClr val="203731"/>
        </a:dk2>
        <a:lt2>
          <a:srgbClr val="A4AEB5"/>
        </a:lt2>
        <a:accent1>
          <a:srgbClr val="51626F"/>
        </a:accent1>
        <a:accent2>
          <a:srgbClr val="3E4519"/>
        </a:accent2>
        <a:accent3>
          <a:srgbClr val="FFFFFF"/>
        </a:accent3>
        <a:accent4>
          <a:srgbClr val="12212B"/>
        </a:accent4>
        <a:accent5>
          <a:srgbClr val="B3B7BB"/>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4">
        <a:dk1>
          <a:srgbClr val="172934"/>
        </a:dk1>
        <a:lt1>
          <a:srgbClr val="FFFFFF"/>
        </a:lt1>
        <a:dk2>
          <a:srgbClr val="203731"/>
        </a:dk2>
        <a:lt2>
          <a:srgbClr val="A4AEB5"/>
        </a:lt2>
        <a:accent1>
          <a:srgbClr val="4C5F6C"/>
        </a:accent1>
        <a:accent2>
          <a:srgbClr val="3E4519"/>
        </a:accent2>
        <a:accent3>
          <a:srgbClr val="FFFFFF"/>
        </a:accent3>
        <a:accent4>
          <a:srgbClr val="12212B"/>
        </a:accent4>
        <a:accent5>
          <a:srgbClr val="B2B6BA"/>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5">
        <a:dk1>
          <a:srgbClr val="172934"/>
        </a:dk1>
        <a:lt1>
          <a:srgbClr val="FFFFFF"/>
        </a:lt1>
        <a:dk2>
          <a:srgbClr val="203731"/>
        </a:dk2>
        <a:lt2>
          <a:srgbClr val="5D87A1"/>
        </a:lt2>
        <a:accent1>
          <a:srgbClr val="4C5F6C"/>
        </a:accent1>
        <a:accent2>
          <a:srgbClr val="3E4519"/>
        </a:accent2>
        <a:accent3>
          <a:srgbClr val="FFFFFF"/>
        </a:accent3>
        <a:accent4>
          <a:srgbClr val="12212B"/>
        </a:accent4>
        <a:accent5>
          <a:srgbClr val="B2B6BA"/>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6">
        <a:dk1>
          <a:srgbClr val="172934"/>
        </a:dk1>
        <a:lt1>
          <a:srgbClr val="FFFFFF"/>
        </a:lt1>
        <a:dk2>
          <a:srgbClr val="172934"/>
        </a:dk2>
        <a:lt2>
          <a:srgbClr val="5D87A1"/>
        </a:lt2>
        <a:accent1>
          <a:srgbClr val="4C5F6C"/>
        </a:accent1>
        <a:accent2>
          <a:srgbClr val="3E4519"/>
        </a:accent2>
        <a:accent3>
          <a:srgbClr val="FFFFFF"/>
        </a:accent3>
        <a:accent4>
          <a:srgbClr val="12212B"/>
        </a:accent4>
        <a:accent5>
          <a:srgbClr val="B2B6BA"/>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Lst>
  <a:custClrLst>
    <a:custClr name="377-100%">
      <a:srgbClr val="7A9A3D"/>
    </a:custClr>
    <a:custClr name="7689-100%">
      <a:srgbClr val="298FC2"/>
    </a:custClr>
    <a:custClr name="7708-100%">
      <a:srgbClr val="004F6B"/>
    </a:custClr>
    <a:custClr name="5503-100%">
      <a:srgbClr val="8FB6BB"/>
    </a:custClr>
    <a:custClr name="7544-100%">
      <a:srgbClr val="768692"/>
    </a:custClr>
    <a:custClr name="364-100%">
      <a:srgbClr val="4B7838"/>
    </a:custClr>
    <a:custClr name="639-100%">
      <a:srgbClr val="00A3D4"/>
    </a:custClr>
    <a:custClr name="3285-100%">
      <a:srgbClr val="009681"/>
    </a:custClr>
    <a:custClr name="432-100%">
      <a:srgbClr val="333F48"/>
    </a:custClr>
    <a:custClr name="Cool gray-100%">
      <a:srgbClr val="75787B"/>
    </a:custClr>
    <a:custClr name="377-80%">
      <a:srgbClr val="95AE3C"/>
    </a:custClr>
    <a:custClr name="7689-80%">
      <a:srgbClr val="54A5CE"/>
    </a:custClr>
    <a:custClr name="7708-80%">
      <a:srgbClr val="006682"/>
    </a:custClr>
    <a:custClr name="5503-80%">
      <a:srgbClr val="9FC9CF"/>
    </a:custClr>
    <a:custClr name="7544-80%">
      <a:srgbClr val="919EA8"/>
    </a:custClr>
    <a:custClr name="364-80%">
      <a:srgbClr val="6E9254"/>
    </a:custClr>
    <a:custClr name="639-80%">
      <a:srgbClr val="00AFDD"/>
    </a:custClr>
    <a:custClr name="3285-80%">
      <a:srgbClr val="33AB9A"/>
    </a:custClr>
    <a:custClr name="432-80%">
      <a:srgbClr val="5D656D"/>
    </a:custClr>
    <a:custClr name="Cool gray-80%">
      <a:srgbClr val="919395"/>
    </a:custClr>
    <a:custClr name="377-60%">
      <a:srgbClr val="AFC267"/>
    </a:custClr>
    <a:custClr name="7689-60%">
      <a:srgbClr val="7FBCDA"/>
    </a:custClr>
    <a:custClr name="7708-60%">
      <a:srgbClr val="3F829C"/>
    </a:custClr>
    <a:custClr name="5503-60%">
      <a:srgbClr val="B5D4D9"/>
    </a:custClr>
    <a:custClr name="7544-60%">
      <a:srgbClr val="ADB6BE"/>
    </a:custClr>
    <a:custClr name="364-60%">
      <a:srgbClr val="91AD7F"/>
    </a:custClr>
    <a:custClr name="639-60%">
      <a:srgbClr val="4ABFE3"/>
    </a:custClr>
    <a:custClr name="3285-60%">
      <a:srgbClr val="66C0B3"/>
    </a:custClr>
    <a:custClr name="432-60%">
      <a:srgbClr val="858C91"/>
    </a:custClr>
    <a:custClr name="Cool gray-60%">
      <a:srgbClr val="ADAEB0"/>
    </a:custClr>
    <a:custClr name="377-40%">
      <a:srgbClr val="CBD799"/>
    </a:custClr>
    <a:custClr name="7689-40%">
      <a:srgbClr val="A9D2E7"/>
    </a:custClr>
    <a:custClr name="7708-40%">
      <a:srgbClr val="77A3B8"/>
    </a:custClr>
    <a:custClr name="5503-40%">
      <a:srgbClr val="CAE0E3"/>
    </a:custClr>
    <a:custClr name="7544-40%">
      <a:srgbClr val="C8CFD3"/>
    </a:custClr>
    <a:custClr name="364-40%">
      <a:srgbClr val="B7C8A9"/>
    </a:custClr>
    <a:custClr name="639-40%">
      <a:srgbClr val="8DD1EB"/>
    </a:custClr>
    <a:custClr name="3285-40%">
      <a:srgbClr val="99D5CC"/>
    </a:custClr>
    <a:custClr name="432-40%">
      <a:srgbClr val="ADB2B6"/>
    </a:custClr>
    <a:custClr name="Cool gray-40%">
      <a:srgbClr val="C8C9C9"/>
    </a:custClr>
  </a:custClrLst>
  <a:extLst>
    <a:ext uri="{05A4C25C-085E-4340-85A3-A5531E510DB2}">
      <thm15:themeFamily xmlns:thm15="http://schemas.microsoft.com/office/thememl/2012/main" name="Presentation2" id="{1B8DCA61-A31E-42DC-AC41-50A13A40CC61}" vid="{EFDE4738-90B1-4ACC-B122-6B867F8A58A2}"/>
    </a:ext>
  </a:extLst>
</a:theme>
</file>

<file path=ppt/theme/theme6.xml><?xml version="1.0" encoding="utf-8"?>
<a:theme xmlns:a="http://schemas.openxmlformats.org/drawingml/2006/main" name="Basic">
  <a:themeElements>
    <a:clrScheme name="Custom 14">
      <a:dk1>
        <a:srgbClr val="000000"/>
      </a:dk1>
      <a:lt1>
        <a:srgbClr val="FFFFFF"/>
      </a:lt1>
      <a:dk2>
        <a:srgbClr val="4D4D4D"/>
      </a:dk2>
      <a:lt2>
        <a:srgbClr val="D8D8D8"/>
      </a:lt2>
      <a:accent1>
        <a:srgbClr val="EF6D1D"/>
      </a:accent1>
      <a:accent2>
        <a:srgbClr val="2B73A7"/>
      </a:accent2>
      <a:accent3>
        <a:srgbClr val="235988"/>
      </a:accent3>
      <a:accent4>
        <a:srgbClr val="21662B"/>
      </a:accent4>
      <a:accent5>
        <a:srgbClr val="379533"/>
      </a:accent5>
      <a:accent6>
        <a:srgbClr val="29807F"/>
      </a:accent6>
      <a:hlink>
        <a:srgbClr val="005A8B"/>
      </a:hlink>
      <a:folHlink>
        <a:srgbClr val="FF9609"/>
      </a:folHlink>
    </a:clrScheme>
    <a:fontScheme name="Fidelity Font Them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spPr>
      <a:bodyPr rtlCol="0" anchor="ctr"/>
      <a:lstStyle>
        <a:defPPr algn="ctr">
          <a:defRPr dirty="0">
            <a:latin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a:defRPr sz="1400" dirty="0" smtClean="0"/>
        </a:defPPr>
      </a:lstStyle>
    </a:txDef>
  </a:objectDefaults>
  <a:extraClrSchemeLst/>
</a:theme>
</file>

<file path=ppt/theme/theme7.xml><?xml version="1.0" encoding="utf-8"?>
<a:theme xmlns:a="http://schemas.openxmlformats.org/drawingml/2006/main" name="2_FIAM_Publishing_FINAL_May2020">
  <a:themeElements>
    <a:clrScheme name="107 Evolution">
      <a:dk1>
        <a:srgbClr val="000000"/>
      </a:dk1>
      <a:lt1>
        <a:srgbClr val="FFFFFF"/>
      </a:lt1>
      <a:dk2>
        <a:srgbClr val="212425"/>
      </a:dk2>
      <a:lt2>
        <a:srgbClr val="333F48"/>
      </a:lt2>
      <a:accent1>
        <a:srgbClr val="298FC2"/>
      </a:accent1>
      <a:accent2>
        <a:srgbClr val="4A7729"/>
      </a:accent2>
      <a:accent3>
        <a:srgbClr val="7A9A01"/>
      </a:accent3>
      <a:accent4>
        <a:srgbClr val="6BA4B8"/>
      </a:accent4>
      <a:accent5>
        <a:srgbClr val="768692"/>
      </a:accent5>
      <a:accent6>
        <a:srgbClr val="9BBDAA"/>
      </a:accent6>
      <a:hlink>
        <a:srgbClr val="298FC2"/>
      </a:hlink>
      <a:folHlink>
        <a:srgbClr val="51284F"/>
      </a:folHlink>
    </a:clrScheme>
    <a:fontScheme name="4_pyramis_external_printed_presentation_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hlink"/>
        </a:solid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ea typeface="ＭＳ Ｐゴシック" charset="-128"/>
          </a:defRPr>
        </a:defPPr>
      </a:lstStyle>
    </a:spDef>
    <a:lnDef>
      <a:spPr bwMode="auto">
        <a:xfrm>
          <a:off x="0" y="0"/>
          <a:ext cx="1" cy="1"/>
        </a:xfrm>
        <a:custGeom>
          <a:avLst/>
          <a:gdLst/>
          <a:ahLst/>
          <a:cxnLst/>
          <a:rect l="0" t="0" r="0" b="0"/>
          <a:pathLst/>
        </a:custGeom>
        <a:solidFill>
          <a:schemeClr val="hlink"/>
        </a:solid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ea typeface="ＭＳ Ｐゴシック" charset="-128"/>
          </a:defRPr>
        </a:defPPr>
      </a:lstStyle>
    </a:lnDef>
  </a:objectDefaults>
  <a:extraClrSchemeLst>
    <a:extraClrScheme>
      <a:clrScheme name="4_pyramis_external_printed_presentation_template 1">
        <a:dk1>
          <a:srgbClr val="1A2732"/>
        </a:dk1>
        <a:lt1>
          <a:srgbClr val="FFFFFF"/>
        </a:lt1>
        <a:dk2>
          <a:srgbClr val="D6E1EA"/>
        </a:dk2>
        <a:lt2>
          <a:srgbClr val="B6CADA"/>
        </a:lt2>
        <a:accent1>
          <a:srgbClr val="1A2732"/>
        </a:accent1>
        <a:accent2>
          <a:srgbClr val="5580A3"/>
        </a:accent2>
        <a:accent3>
          <a:srgbClr val="FFFFFF"/>
        </a:accent3>
        <a:accent4>
          <a:srgbClr val="142029"/>
        </a:accent4>
        <a:accent5>
          <a:srgbClr val="ABACAD"/>
        </a:accent5>
        <a:accent6>
          <a:srgbClr val="4C7393"/>
        </a:accent6>
        <a:hlink>
          <a:srgbClr val="81A2BD"/>
        </a:hlink>
        <a:folHlink>
          <a:srgbClr val="42637E"/>
        </a:folHlink>
      </a:clrScheme>
      <a:clrMap bg1="lt1" tx1="dk1" bg2="lt2" tx2="dk2" accent1="accent1" accent2="accent2" accent3="accent3" accent4="accent4" accent5="accent5" accent6="accent6" hlink="hlink" folHlink="folHlink"/>
    </a:extraClrScheme>
    <a:extraClrScheme>
      <a:clrScheme name="4_pyramis_external_printed_presentation_template 2">
        <a:dk1>
          <a:srgbClr val="1A2732"/>
        </a:dk1>
        <a:lt1>
          <a:srgbClr val="FFFFFF"/>
        </a:lt1>
        <a:dk2>
          <a:srgbClr val="1A2732"/>
        </a:dk2>
        <a:lt2>
          <a:srgbClr val="D6E1EA"/>
        </a:lt2>
        <a:accent1>
          <a:srgbClr val="D6E1EA"/>
        </a:accent1>
        <a:accent2>
          <a:srgbClr val="788E78"/>
        </a:accent2>
        <a:accent3>
          <a:srgbClr val="FFFFFF"/>
        </a:accent3>
        <a:accent4>
          <a:srgbClr val="142029"/>
        </a:accent4>
        <a:accent5>
          <a:srgbClr val="E8EEF3"/>
        </a:accent5>
        <a:accent6>
          <a:srgbClr val="6C806C"/>
        </a:accent6>
        <a:hlink>
          <a:srgbClr val="B1C785"/>
        </a:hlink>
        <a:folHlink>
          <a:srgbClr val="6A7029"/>
        </a:folHlink>
      </a:clrScheme>
      <a:clrMap bg1="lt1" tx1="dk1" bg2="lt2" tx2="dk2" accent1="accent1" accent2="accent2" accent3="accent3" accent4="accent4" accent5="accent5" accent6="accent6" hlink="hlink" folHlink="folHlink"/>
    </a:extraClrScheme>
    <a:extraClrScheme>
      <a:clrScheme name="4_pyramis_external_printed_presentation_template 3">
        <a:dk1>
          <a:srgbClr val="788E78"/>
        </a:dk1>
        <a:lt1>
          <a:srgbClr val="FFFFFF"/>
        </a:lt1>
        <a:dk2>
          <a:srgbClr val="1A2732"/>
        </a:dk2>
        <a:lt2>
          <a:srgbClr val="D6E1EA"/>
        </a:lt2>
        <a:accent1>
          <a:srgbClr val="B1C785"/>
        </a:accent1>
        <a:accent2>
          <a:srgbClr val="1A2732"/>
        </a:accent2>
        <a:accent3>
          <a:srgbClr val="FFFFFF"/>
        </a:accent3>
        <a:accent4>
          <a:srgbClr val="657865"/>
        </a:accent4>
        <a:accent5>
          <a:srgbClr val="D5E0C2"/>
        </a:accent5>
        <a:accent6>
          <a:srgbClr val="16222C"/>
        </a:accent6>
        <a:hlink>
          <a:srgbClr val="4C5F6C"/>
        </a:hlink>
        <a:folHlink>
          <a:srgbClr val="81A2BD"/>
        </a:folHlink>
      </a:clrScheme>
      <a:clrMap bg1="lt1" tx1="dk1" bg2="lt2" tx2="dk2" accent1="accent1" accent2="accent2" accent3="accent3" accent4="accent4" accent5="accent5" accent6="accent6" hlink="hlink" folHlink="folHlink"/>
    </a:extraClrScheme>
    <a:extraClrScheme>
      <a:clrScheme name="4_pyramis_external_printed_presentation_template 4">
        <a:dk1>
          <a:srgbClr val="19252F"/>
        </a:dk1>
        <a:lt1>
          <a:srgbClr val="FFFFFF"/>
        </a:lt1>
        <a:dk2>
          <a:srgbClr val="B19401"/>
        </a:dk2>
        <a:lt2>
          <a:srgbClr val="EDE7DD"/>
        </a:lt2>
        <a:accent1>
          <a:srgbClr val="B1C785"/>
        </a:accent1>
        <a:accent2>
          <a:srgbClr val="6A7029"/>
        </a:accent2>
        <a:accent3>
          <a:srgbClr val="FFFFFF"/>
        </a:accent3>
        <a:accent4>
          <a:srgbClr val="141E27"/>
        </a:accent4>
        <a:accent5>
          <a:srgbClr val="D5E0C2"/>
        </a:accent5>
        <a:accent6>
          <a:srgbClr val="5F6524"/>
        </a:accent6>
        <a:hlink>
          <a:srgbClr val="ADBBAD"/>
        </a:hlink>
        <a:folHlink>
          <a:srgbClr val="764200"/>
        </a:folHlink>
      </a:clrScheme>
      <a:clrMap bg1="lt1" tx1="dk1" bg2="lt2" tx2="dk2" accent1="accent1" accent2="accent2" accent3="accent3" accent4="accent4" accent5="accent5" accent6="accent6" hlink="hlink" folHlink="folHlink"/>
    </a:extraClrScheme>
    <a:extraClrScheme>
      <a:clrScheme name="4_pyramis_external_printed_presentation_template 5">
        <a:dk1>
          <a:srgbClr val="1A2732"/>
        </a:dk1>
        <a:lt1>
          <a:srgbClr val="FFFFFF"/>
        </a:lt1>
        <a:dk2>
          <a:srgbClr val="B19401"/>
        </a:dk2>
        <a:lt2>
          <a:srgbClr val="EDE7DD"/>
        </a:lt2>
        <a:accent1>
          <a:srgbClr val="B1C785"/>
        </a:accent1>
        <a:accent2>
          <a:srgbClr val="6A7029"/>
        </a:accent2>
        <a:accent3>
          <a:srgbClr val="FFFFFF"/>
        </a:accent3>
        <a:accent4>
          <a:srgbClr val="142029"/>
        </a:accent4>
        <a:accent5>
          <a:srgbClr val="D5E0C2"/>
        </a:accent5>
        <a:accent6>
          <a:srgbClr val="5F6524"/>
        </a:accent6>
        <a:hlink>
          <a:srgbClr val="AAC3B4"/>
        </a:hlink>
        <a:folHlink>
          <a:srgbClr val="764200"/>
        </a:folHlink>
      </a:clrScheme>
      <a:clrMap bg1="lt1" tx1="dk1" bg2="lt2" tx2="dk2" accent1="accent1" accent2="accent2" accent3="accent3" accent4="accent4" accent5="accent5" accent6="accent6" hlink="hlink" folHlink="folHlink"/>
    </a:extraClrScheme>
    <a:extraClrScheme>
      <a:clrScheme name="4_pyramis_external_printed_presentation_template 6">
        <a:dk1>
          <a:srgbClr val="19252F"/>
        </a:dk1>
        <a:lt1>
          <a:srgbClr val="FFFFFF"/>
        </a:lt1>
        <a:dk2>
          <a:srgbClr val="B19401"/>
        </a:dk2>
        <a:lt2>
          <a:srgbClr val="DCDCCE"/>
        </a:lt2>
        <a:accent1>
          <a:srgbClr val="BDD096"/>
        </a:accent1>
        <a:accent2>
          <a:srgbClr val="6A7029"/>
        </a:accent2>
        <a:accent3>
          <a:srgbClr val="FFFFFF"/>
        </a:accent3>
        <a:accent4>
          <a:srgbClr val="141E27"/>
        </a:accent4>
        <a:accent5>
          <a:srgbClr val="DBE4C9"/>
        </a:accent5>
        <a:accent6>
          <a:srgbClr val="5F6524"/>
        </a:accent6>
        <a:hlink>
          <a:srgbClr val="ADBBAD"/>
        </a:hlink>
        <a:folHlink>
          <a:srgbClr val="462900"/>
        </a:folHlink>
      </a:clrScheme>
      <a:clrMap bg1="lt1" tx1="dk1" bg2="lt2" tx2="dk2" accent1="accent1" accent2="accent2" accent3="accent3" accent4="accent4" accent5="accent5" accent6="accent6" hlink="hlink" folHlink="folHlink"/>
    </a:extraClrScheme>
    <a:extraClrScheme>
      <a:clrScheme name="4_pyramis_external_printed_presentation_template 7">
        <a:dk1>
          <a:srgbClr val="19252F"/>
        </a:dk1>
        <a:lt1>
          <a:srgbClr val="FFFFFF"/>
        </a:lt1>
        <a:dk2>
          <a:srgbClr val="B19401"/>
        </a:dk2>
        <a:lt2>
          <a:srgbClr val="DCDCCE"/>
        </a:lt2>
        <a:accent1>
          <a:srgbClr val="BDD096"/>
        </a:accent1>
        <a:accent2>
          <a:srgbClr val="6A7029"/>
        </a:accent2>
        <a:accent3>
          <a:srgbClr val="FFFFFF"/>
        </a:accent3>
        <a:accent4>
          <a:srgbClr val="141E27"/>
        </a:accent4>
        <a:accent5>
          <a:srgbClr val="DBE4C9"/>
        </a:accent5>
        <a:accent6>
          <a:srgbClr val="5F6524"/>
        </a:accent6>
        <a:hlink>
          <a:srgbClr val="AAC3B4"/>
        </a:hlink>
        <a:folHlink>
          <a:srgbClr val="462900"/>
        </a:folHlink>
      </a:clrScheme>
      <a:clrMap bg1="lt1" tx1="dk1" bg2="lt2" tx2="dk2" accent1="accent1" accent2="accent2" accent3="accent3" accent4="accent4" accent5="accent5" accent6="accent6" hlink="hlink" folHlink="folHlink"/>
    </a:extraClrScheme>
    <a:extraClrScheme>
      <a:clrScheme name="4_pyramis_external_printed_presentation_template 8">
        <a:dk1>
          <a:srgbClr val="1A2732"/>
        </a:dk1>
        <a:lt1>
          <a:srgbClr val="FFFFFF"/>
        </a:lt1>
        <a:dk2>
          <a:srgbClr val="203731"/>
        </a:dk2>
        <a:lt2>
          <a:srgbClr val="A4AEB5"/>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1A2732"/>
        </a:folHlink>
      </a:clrScheme>
      <a:clrMap bg1="lt1" tx1="dk1" bg2="lt2" tx2="dk2" accent1="accent1" accent2="accent2" accent3="accent3" accent4="accent4" accent5="accent5" accent6="accent6" hlink="hlink" folHlink="folHlink"/>
    </a:extraClrScheme>
    <a:extraClrScheme>
      <a:clrScheme name="4_pyramis_external_printed_presentation_template 9">
        <a:dk1>
          <a:srgbClr val="1A2732"/>
        </a:dk1>
        <a:lt1>
          <a:srgbClr val="FFFFFF"/>
        </a:lt1>
        <a:dk2>
          <a:srgbClr val="203731"/>
        </a:dk2>
        <a:lt2>
          <a:srgbClr val="A7B8B4"/>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1A2732"/>
        </a:folHlink>
      </a:clrScheme>
      <a:clrMap bg1="lt1" tx1="dk1" bg2="lt2" tx2="dk2" accent1="accent1" accent2="accent2" accent3="accent3" accent4="accent4" accent5="accent5" accent6="accent6" hlink="hlink" folHlink="folHlink"/>
    </a:extraClrScheme>
    <a:extraClrScheme>
      <a:clrScheme name="4_pyramis_external_printed_presentation_template 10">
        <a:dk1>
          <a:srgbClr val="1A2732"/>
        </a:dk1>
        <a:lt1>
          <a:srgbClr val="FFFFFF"/>
        </a:lt1>
        <a:dk2>
          <a:srgbClr val="203731"/>
        </a:dk2>
        <a:lt2>
          <a:srgbClr val="A7B8B4"/>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1">
        <a:dk1>
          <a:srgbClr val="1A2732"/>
        </a:dk1>
        <a:lt1>
          <a:srgbClr val="FFFFFF"/>
        </a:lt1>
        <a:dk2>
          <a:srgbClr val="203731"/>
        </a:dk2>
        <a:lt2>
          <a:srgbClr val="A4AEB5"/>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2">
        <a:dk1>
          <a:srgbClr val="172934"/>
        </a:dk1>
        <a:lt1>
          <a:srgbClr val="FFFFFF"/>
        </a:lt1>
        <a:dk2>
          <a:srgbClr val="203731"/>
        </a:dk2>
        <a:lt2>
          <a:srgbClr val="A4AEB5"/>
        </a:lt2>
        <a:accent1>
          <a:srgbClr val="51626F"/>
        </a:accent1>
        <a:accent2>
          <a:srgbClr val="3E4519"/>
        </a:accent2>
        <a:accent3>
          <a:srgbClr val="FFFFFF"/>
        </a:accent3>
        <a:accent4>
          <a:srgbClr val="12212B"/>
        </a:accent4>
        <a:accent5>
          <a:srgbClr val="B3B7BB"/>
        </a:accent5>
        <a:accent6>
          <a:srgbClr val="373E16"/>
        </a:accent6>
        <a:hlink>
          <a:srgbClr val="ABC78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3">
        <a:dk1>
          <a:srgbClr val="172934"/>
        </a:dk1>
        <a:lt1>
          <a:srgbClr val="FFFFFF"/>
        </a:lt1>
        <a:dk2>
          <a:srgbClr val="203731"/>
        </a:dk2>
        <a:lt2>
          <a:srgbClr val="A4AEB5"/>
        </a:lt2>
        <a:accent1>
          <a:srgbClr val="51626F"/>
        </a:accent1>
        <a:accent2>
          <a:srgbClr val="3E4519"/>
        </a:accent2>
        <a:accent3>
          <a:srgbClr val="FFFFFF"/>
        </a:accent3>
        <a:accent4>
          <a:srgbClr val="12212B"/>
        </a:accent4>
        <a:accent5>
          <a:srgbClr val="B3B7BB"/>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4">
        <a:dk1>
          <a:srgbClr val="172934"/>
        </a:dk1>
        <a:lt1>
          <a:srgbClr val="FFFFFF"/>
        </a:lt1>
        <a:dk2>
          <a:srgbClr val="203731"/>
        </a:dk2>
        <a:lt2>
          <a:srgbClr val="A4AEB5"/>
        </a:lt2>
        <a:accent1>
          <a:srgbClr val="4C5F6C"/>
        </a:accent1>
        <a:accent2>
          <a:srgbClr val="3E4519"/>
        </a:accent2>
        <a:accent3>
          <a:srgbClr val="FFFFFF"/>
        </a:accent3>
        <a:accent4>
          <a:srgbClr val="12212B"/>
        </a:accent4>
        <a:accent5>
          <a:srgbClr val="B2B6BA"/>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5">
        <a:dk1>
          <a:srgbClr val="172934"/>
        </a:dk1>
        <a:lt1>
          <a:srgbClr val="FFFFFF"/>
        </a:lt1>
        <a:dk2>
          <a:srgbClr val="203731"/>
        </a:dk2>
        <a:lt2>
          <a:srgbClr val="5D87A1"/>
        </a:lt2>
        <a:accent1>
          <a:srgbClr val="4C5F6C"/>
        </a:accent1>
        <a:accent2>
          <a:srgbClr val="3E4519"/>
        </a:accent2>
        <a:accent3>
          <a:srgbClr val="FFFFFF"/>
        </a:accent3>
        <a:accent4>
          <a:srgbClr val="12212B"/>
        </a:accent4>
        <a:accent5>
          <a:srgbClr val="B2B6BA"/>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6">
        <a:dk1>
          <a:srgbClr val="172934"/>
        </a:dk1>
        <a:lt1>
          <a:srgbClr val="FFFFFF"/>
        </a:lt1>
        <a:dk2>
          <a:srgbClr val="172934"/>
        </a:dk2>
        <a:lt2>
          <a:srgbClr val="5D87A1"/>
        </a:lt2>
        <a:accent1>
          <a:srgbClr val="4C5F6C"/>
        </a:accent1>
        <a:accent2>
          <a:srgbClr val="3E4519"/>
        </a:accent2>
        <a:accent3>
          <a:srgbClr val="FFFFFF"/>
        </a:accent3>
        <a:accent4>
          <a:srgbClr val="12212B"/>
        </a:accent4>
        <a:accent5>
          <a:srgbClr val="B2B6BA"/>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Lst>
  <a:custClrLst>
    <a:custClr name="377-100%">
      <a:srgbClr val="7A9A3D"/>
    </a:custClr>
    <a:custClr name="7689-100%">
      <a:srgbClr val="298FC2"/>
    </a:custClr>
    <a:custClr name="7708-100%">
      <a:srgbClr val="004F6B"/>
    </a:custClr>
    <a:custClr name="5503-100%">
      <a:srgbClr val="8FB6BB"/>
    </a:custClr>
    <a:custClr name="7544-100%">
      <a:srgbClr val="768692"/>
    </a:custClr>
    <a:custClr name="364-100%">
      <a:srgbClr val="4B7838"/>
    </a:custClr>
    <a:custClr name="639-100%">
      <a:srgbClr val="00A3D4"/>
    </a:custClr>
    <a:custClr name="3285-100%">
      <a:srgbClr val="009681"/>
    </a:custClr>
    <a:custClr name="432-100%">
      <a:srgbClr val="333F48"/>
    </a:custClr>
    <a:custClr name="Cool gray-100%">
      <a:srgbClr val="75787B"/>
    </a:custClr>
    <a:custClr name="377-80%">
      <a:srgbClr val="95AE3C"/>
    </a:custClr>
    <a:custClr name="7689-80%">
      <a:srgbClr val="54A5CE"/>
    </a:custClr>
    <a:custClr name="7708-80%">
      <a:srgbClr val="006682"/>
    </a:custClr>
    <a:custClr name="5503-80%">
      <a:srgbClr val="9FC9CF"/>
    </a:custClr>
    <a:custClr name="7544-80%">
      <a:srgbClr val="919EA8"/>
    </a:custClr>
    <a:custClr name="364-80%">
      <a:srgbClr val="6E9254"/>
    </a:custClr>
    <a:custClr name="639-80%">
      <a:srgbClr val="00AFDD"/>
    </a:custClr>
    <a:custClr name="3285-80%">
      <a:srgbClr val="33AB9A"/>
    </a:custClr>
    <a:custClr name="432-80%">
      <a:srgbClr val="5D656D"/>
    </a:custClr>
    <a:custClr name="Cool gray-80%">
      <a:srgbClr val="919395"/>
    </a:custClr>
    <a:custClr name="377-60%">
      <a:srgbClr val="AFC267"/>
    </a:custClr>
    <a:custClr name="7689-60%">
      <a:srgbClr val="7FBCDA"/>
    </a:custClr>
    <a:custClr name="7708-60%">
      <a:srgbClr val="3F829C"/>
    </a:custClr>
    <a:custClr name="5503-60%">
      <a:srgbClr val="B5D4D9"/>
    </a:custClr>
    <a:custClr name="7544-60%">
      <a:srgbClr val="ADB6BE"/>
    </a:custClr>
    <a:custClr name="364-60%">
      <a:srgbClr val="91AD7F"/>
    </a:custClr>
    <a:custClr name="639-60%">
      <a:srgbClr val="4ABFE3"/>
    </a:custClr>
    <a:custClr name="3285-60%">
      <a:srgbClr val="66C0B3"/>
    </a:custClr>
    <a:custClr name="432-60%">
      <a:srgbClr val="858C91"/>
    </a:custClr>
    <a:custClr name="Cool gray-60%">
      <a:srgbClr val="ADAEB0"/>
    </a:custClr>
    <a:custClr name="377-40%">
      <a:srgbClr val="CBD799"/>
    </a:custClr>
    <a:custClr name="7689-40%">
      <a:srgbClr val="A9D2E7"/>
    </a:custClr>
    <a:custClr name="7708-40%">
      <a:srgbClr val="77A3B8"/>
    </a:custClr>
    <a:custClr name="5503-40%">
      <a:srgbClr val="CAE0E3"/>
    </a:custClr>
    <a:custClr name="7544-40%">
      <a:srgbClr val="C8CFD3"/>
    </a:custClr>
    <a:custClr name="364-40%">
      <a:srgbClr val="B7C8A9"/>
    </a:custClr>
    <a:custClr name="639-40%">
      <a:srgbClr val="8DD1EB"/>
    </a:custClr>
    <a:custClr name="3285-40%">
      <a:srgbClr val="99D5CC"/>
    </a:custClr>
    <a:custClr name="432-40%">
      <a:srgbClr val="ADB2B6"/>
    </a:custClr>
    <a:custClr name="Cool gray-40%">
      <a:srgbClr val="C8C9C9"/>
    </a:custClr>
  </a:custClrLst>
  <a:extLst>
    <a:ext uri="{05A4C25C-085E-4340-85A3-A5531E510DB2}">
      <thm15:themeFamily xmlns:thm15="http://schemas.microsoft.com/office/thememl/2012/main" name="Presentation2" id="{1B8DCA61-A31E-42DC-AC41-50A13A40CC61}" vid="{EFDE4738-90B1-4ACC-B122-6B867F8A58A2}"/>
    </a:ext>
  </a:extLst>
</a:theme>
</file>

<file path=ppt/theme/theme8.xml><?xml version="1.0" encoding="utf-8"?>
<a:theme xmlns:a="http://schemas.openxmlformats.org/drawingml/2006/main" name="1_FI_External_Print_Presentation_4x3">
  <a:themeElements>
    <a:clrScheme name="107 Evolution">
      <a:dk1>
        <a:srgbClr val="000000"/>
      </a:dk1>
      <a:lt1>
        <a:srgbClr val="FFFFFF"/>
      </a:lt1>
      <a:dk2>
        <a:srgbClr val="212425"/>
      </a:dk2>
      <a:lt2>
        <a:srgbClr val="333F48"/>
      </a:lt2>
      <a:accent1>
        <a:srgbClr val="298FC2"/>
      </a:accent1>
      <a:accent2>
        <a:srgbClr val="4A7729"/>
      </a:accent2>
      <a:accent3>
        <a:srgbClr val="7A9A01"/>
      </a:accent3>
      <a:accent4>
        <a:srgbClr val="6BA4B8"/>
      </a:accent4>
      <a:accent5>
        <a:srgbClr val="768692"/>
      </a:accent5>
      <a:accent6>
        <a:srgbClr val="9BBDAA"/>
      </a:accent6>
      <a:hlink>
        <a:srgbClr val="298FC2"/>
      </a:hlink>
      <a:folHlink>
        <a:srgbClr val="51284F"/>
      </a:folHlink>
    </a:clrScheme>
    <a:fontScheme name="4_pyramis_external_printed_presentation_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hlink"/>
        </a:solid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ea typeface="ＭＳ Ｐゴシック" charset="-128"/>
          </a:defRPr>
        </a:defPPr>
      </a:lstStyle>
    </a:spDef>
    <a:lnDef>
      <a:spPr bwMode="auto">
        <a:solidFill>
          <a:schemeClr val="hlink"/>
        </a:solidFill>
        <a:ln w="9525" cap="flat" cmpd="sng" algn="ctr">
          <a:solidFill>
            <a:schemeClr val="bg1">
              <a:lumMod val="50000"/>
            </a:schemeClr>
          </a:solidFill>
          <a:prstDash val="solid"/>
          <a:round/>
          <a:headEnd type="none" w="med" len="med"/>
          <a:tailEnd type="none" w="med" len="med"/>
        </a:ln>
        <a:effectLst/>
      </a:spPr>
      <a:bodyPr/>
      <a:lstStyle/>
    </a:lnDef>
  </a:objectDefaults>
  <a:extraClrSchemeLst>
    <a:extraClrScheme>
      <a:clrScheme name="4_pyramis_external_printed_presentation_template 1">
        <a:dk1>
          <a:srgbClr val="1A2732"/>
        </a:dk1>
        <a:lt1>
          <a:srgbClr val="FFFFFF"/>
        </a:lt1>
        <a:dk2>
          <a:srgbClr val="D6E1EA"/>
        </a:dk2>
        <a:lt2>
          <a:srgbClr val="B6CADA"/>
        </a:lt2>
        <a:accent1>
          <a:srgbClr val="1A2732"/>
        </a:accent1>
        <a:accent2>
          <a:srgbClr val="5580A3"/>
        </a:accent2>
        <a:accent3>
          <a:srgbClr val="FFFFFF"/>
        </a:accent3>
        <a:accent4>
          <a:srgbClr val="142029"/>
        </a:accent4>
        <a:accent5>
          <a:srgbClr val="ABACAD"/>
        </a:accent5>
        <a:accent6>
          <a:srgbClr val="4C7393"/>
        </a:accent6>
        <a:hlink>
          <a:srgbClr val="81A2BD"/>
        </a:hlink>
        <a:folHlink>
          <a:srgbClr val="42637E"/>
        </a:folHlink>
      </a:clrScheme>
      <a:clrMap bg1="lt1" tx1="dk1" bg2="lt2" tx2="dk2" accent1="accent1" accent2="accent2" accent3="accent3" accent4="accent4" accent5="accent5" accent6="accent6" hlink="hlink" folHlink="folHlink"/>
    </a:extraClrScheme>
    <a:extraClrScheme>
      <a:clrScheme name="4_pyramis_external_printed_presentation_template 2">
        <a:dk1>
          <a:srgbClr val="1A2732"/>
        </a:dk1>
        <a:lt1>
          <a:srgbClr val="FFFFFF"/>
        </a:lt1>
        <a:dk2>
          <a:srgbClr val="1A2732"/>
        </a:dk2>
        <a:lt2>
          <a:srgbClr val="D6E1EA"/>
        </a:lt2>
        <a:accent1>
          <a:srgbClr val="D6E1EA"/>
        </a:accent1>
        <a:accent2>
          <a:srgbClr val="788E78"/>
        </a:accent2>
        <a:accent3>
          <a:srgbClr val="FFFFFF"/>
        </a:accent3>
        <a:accent4>
          <a:srgbClr val="142029"/>
        </a:accent4>
        <a:accent5>
          <a:srgbClr val="E8EEF3"/>
        </a:accent5>
        <a:accent6>
          <a:srgbClr val="6C806C"/>
        </a:accent6>
        <a:hlink>
          <a:srgbClr val="B1C785"/>
        </a:hlink>
        <a:folHlink>
          <a:srgbClr val="6A7029"/>
        </a:folHlink>
      </a:clrScheme>
      <a:clrMap bg1="lt1" tx1="dk1" bg2="lt2" tx2="dk2" accent1="accent1" accent2="accent2" accent3="accent3" accent4="accent4" accent5="accent5" accent6="accent6" hlink="hlink" folHlink="folHlink"/>
    </a:extraClrScheme>
    <a:extraClrScheme>
      <a:clrScheme name="4_pyramis_external_printed_presentation_template 3">
        <a:dk1>
          <a:srgbClr val="788E78"/>
        </a:dk1>
        <a:lt1>
          <a:srgbClr val="FFFFFF"/>
        </a:lt1>
        <a:dk2>
          <a:srgbClr val="1A2732"/>
        </a:dk2>
        <a:lt2>
          <a:srgbClr val="D6E1EA"/>
        </a:lt2>
        <a:accent1>
          <a:srgbClr val="B1C785"/>
        </a:accent1>
        <a:accent2>
          <a:srgbClr val="1A2732"/>
        </a:accent2>
        <a:accent3>
          <a:srgbClr val="FFFFFF"/>
        </a:accent3>
        <a:accent4>
          <a:srgbClr val="657865"/>
        </a:accent4>
        <a:accent5>
          <a:srgbClr val="D5E0C2"/>
        </a:accent5>
        <a:accent6>
          <a:srgbClr val="16222C"/>
        </a:accent6>
        <a:hlink>
          <a:srgbClr val="4C5F6C"/>
        </a:hlink>
        <a:folHlink>
          <a:srgbClr val="81A2BD"/>
        </a:folHlink>
      </a:clrScheme>
      <a:clrMap bg1="lt1" tx1="dk1" bg2="lt2" tx2="dk2" accent1="accent1" accent2="accent2" accent3="accent3" accent4="accent4" accent5="accent5" accent6="accent6" hlink="hlink" folHlink="folHlink"/>
    </a:extraClrScheme>
    <a:extraClrScheme>
      <a:clrScheme name="4_pyramis_external_printed_presentation_template 4">
        <a:dk1>
          <a:srgbClr val="19252F"/>
        </a:dk1>
        <a:lt1>
          <a:srgbClr val="FFFFFF"/>
        </a:lt1>
        <a:dk2>
          <a:srgbClr val="B19401"/>
        </a:dk2>
        <a:lt2>
          <a:srgbClr val="EDE7DD"/>
        </a:lt2>
        <a:accent1>
          <a:srgbClr val="B1C785"/>
        </a:accent1>
        <a:accent2>
          <a:srgbClr val="6A7029"/>
        </a:accent2>
        <a:accent3>
          <a:srgbClr val="FFFFFF"/>
        </a:accent3>
        <a:accent4>
          <a:srgbClr val="141E27"/>
        </a:accent4>
        <a:accent5>
          <a:srgbClr val="D5E0C2"/>
        </a:accent5>
        <a:accent6>
          <a:srgbClr val="5F6524"/>
        </a:accent6>
        <a:hlink>
          <a:srgbClr val="ADBBAD"/>
        </a:hlink>
        <a:folHlink>
          <a:srgbClr val="764200"/>
        </a:folHlink>
      </a:clrScheme>
      <a:clrMap bg1="lt1" tx1="dk1" bg2="lt2" tx2="dk2" accent1="accent1" accent2="accent2" accent3="accent3" accent4="accent4" accent5="accent5" accent6="accent6" hlink="hlink" folHlink="folHlink"/>
    </a:extraClrScheme>
    <a:extraClrScheme>
      <a:clrScheme name="4_pyramis_external_printed_presentation_template 5">
        <a:dk1>
          <a:srgbClr val="1A2732"/>
        </a:dk1>
        <a:lt1>
          <a:srgbClr val="FFFFFF"/>
        </a:lt1>
        <a:dk2>
          <a:srgbClr val="B19401"/>
        </a:dk2>
        <a:lt2>
          <a:srgbClr val="EDE7DD"/>
        </a:lt2>
        <a:accent1>
          <a:srgbClr val="B1C785"/>
        </a:accent1>
        <a:accent2>
          <a:srgbClr val="6A7029"/>
        </a:accent2>
        <a:accent3>
          <a:srgbClr val="FFFFFF"/>
        </a:accent3>
        <a:accent4>
          <a:srgbClr val="142029"/>
        </a:accent4>
        <a:accent5>
          <a:srgbClr val="D5E0C2"/>
        </a:accent5>
        <a:accent6>
          <a:srgbClr val="5F6524"/>
        </a:accent6>
        <a:hlink>
          <a:srgbClr val="AAC3B4"/>
        </a:hlink>
        <a:folHlink>
          <a:srgbClr val="764200"/>
        </a:folHlink>
      </a:clrScheme>
      <a:clrMap bg1="lt1" tx1="dk1" bg2="lt2" tx2="dk2" accent1="accent1" accent2="accent2" accent3="accent3" accent4="accent4" accent5="accent5" accent6="accent6" hlink="hlink" folHlink="folHlink"/>
    </a:extraClrScheme>
    <a:extraClrScheme>
      <a:clrScheme name="4_pyramis_external_printed_presentation_template 6">
        <a:dk1>
          <a:srgbClr val="19252F"/>
        </a:dk1>
        <a:lt1>
          <a:srgbClr val="FFFFFF"/>
        </a:lt1>
        <a:dk2>
          <a:srgbClr val="B19401"/>
        </a:dk2>
        <a:lt2>
          <a:srgbClr val="DCDCCE"/>
        </a:lt2>
        <a:accent1>
          <a:srgbClr val="BDD096"/>
        </a:accent1>
        <a:accent2>
          <a:srgbClr val="6A7029"/>
        </a:accent2>
        <a:accent3>
          <a:srgbClr val="FFFFFF"/>
        </a:accent3>
        <a:accent4>
          <a:srgbClr val="141E27"/>
        </a:accent4>
        <a:accent5>
          <a:srgbClr val="DBE4C9"/>
        </a:accent5>
        <a:accent6>
          <a:srgbClr val="5F6524"/>
        </a:accent6>
        <a:hlink>
          <a:srgbClr val="ADBBAD"/>
        </a:hlink>
        <a:folHlink>
          <a:srgbClr val="462900"/>
        </a:folHlink>
      </a:clrScheme>
      <a:clrMap bg1="lt1" tx1="dk1" bg2="lt2" tx2="dk2" accent1="accent1" accent2="accent2" accent3="accent3" accent4="accent4" accent5="accent5" accent6="accent6" hlink="hlink" folHlink="folHlink"/>
    </a:extraClrScheme>
    <a:extraClrScheme>
      <a:clrScheme name="4_pyramis_external_printed_presentation_template 7">
        <a:dk1>
          <a:srgbClr val="19252F"/>
        </a:dk1>
        <a:lt1>
          <a:srgbClr val="FFFFFF"/>
        </a:lt1>
        <a:dk2>
          <a:srgbClr val="B19401"/>
        </a:dk2>
        <a:lt2>
          <a:srgbClr val="DCDCCE"/>
        </a:lt2>
        <a:accent1>
          <a:srgbClr val="BDD096"/>
        </a:accent1>
        <a:accent2>
          <a:srgbClr val="6A7029"/>
        </a:accent2>
        <a:accent3>
          <a:srgbClr val="FFFFFF"/>
        </a:accent3>
        <a:accent4>
          <a:srgbClr val="141E27"/>
        </a:accent4>
        <a:accent5>
          <a:srgbClr val="DBE4C9"/>
        </a:accent5>
        <a:accent6>
          <a:srgbClr val="5F6524"/>
        </a:accent6>
        <a:hlink>
          <a:srgbClr val="AAC3B4"/>
        </a:hlink>
        <a:folHlink>
          <a:srgbClr val="462900"/>
        </a:folHlink>
      </a:clrScheme>
      <a:clrMap bg1="lt1" tx1="dk1" bg2="lt2" tx2="dk2" accent1="accent1" accent2="accent2" accent3="accent3" accent4="accent4" accent5="accent5" accent6="accent6" hlink="hlink" folHlink="folHlink"/>
    </a:extraClrScheme>
    <a:extraClrScheme>
      <a:clrScheme name="4_pyramis_external_printed_presentation_template 8">
        <a:dk1>
          <a:srgbClr val="1A2732"/>
        </a:dk1>
        <a:lt1>
          <a:srgbClr val="FFFFFF"/>
        </a:lt1>
        <a:dk2>
          <a:srgbClr val="203731"/>
        </a:dk2>
        <a:lt2>
          <a:srgbClr val="A4AEB5"/>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1A2732"/>
        </a:folHlink>
      </a:clrScheme>
      <a:clrMap bg1="lt1" tx1="dk1" bg2="lt2" tx2="dk2" accent1="accent1" accent2="accent2" accent3="accent3" accent4="accent4" accent5="accent5" accent6="accent6" hlink="hlink" folHlink="folHlink"/>
    </a:extraClrScheme>
    <a:extraClrScheme>
      <a:clrScheme name="4_pyramis_external_printed_presentation_template 9">
        <a:dk1>
          <a:srgbClr val="1A2732"/>
        </a:dk1>
        <a:lt1>
          <a:srgbClr val="FFFFFF"/>
        </a:lt1>
        <a:dk2>
          <a:srgbClr val="203731"/>
        </a:dk2>
        <a:lt2>
          <a:srgbClr val="A7B8B4"/>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1A2732"/>
        </a:folHlink>
      </a:clrScheme>
      <a:clrMap bg1="lt1" tx1="dk1" bg2="lt2" tx2="dk2" accent1="accent1" accent2="accent2" accent3="accent3" accent4="accent4" accent5="accent5" accent6="accent6" hlink="hlink" folHlink="folHlink"/>
    </a:extraClrScheme>
    <a:extraClrScheme>
      <a:clrScheme name="4_pyramis_external_printed_presentation_template 10">
        <a:dk1>
          <a:srgbClr val="1A2732"/>
        </a:dk1>
        <a:lt1>
          <a:srgbClr val="FFFFFF"/>
        </a:lt1>
        <a:dk2>
          <a:srgbClr val="203731"/>
        </a:dk2>
        <a:lt2>
          <a:srgbClr val="A7B8B4"/>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1">
        <a:dk1>
          <a:srgbClr val="1A2732"/>
        </a:dk1>
        <a:lt1>
          <a:srgbClr val="FFFFFF"/>
        </a:lt1>
        <a:dk2>
          <a:srgbClr val="203731"/>
        </a:dk2>
        <a:lt2>
          <a:srgbClr val="A4AEB5"/>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2">
        <a:dk1>
          <a:srgbClr val="172934"/>
        </a:dk1>
        <a:lt1>
          <a:srgbClr val="FFFFFF"/>
        </a:lt1>
        <a:dk2>
          <a:srgbClr val="203731"/>
        </a:dk2>
        <a:lt2>
          <a:srgbClr val="A4AEB5"/>
        </a:lt2>
        <a:accent1>
          <a:srgbClr val="51626F"/>
        </a:accent1>
        <a:accent2>
          <a:srgbClr val="3E4519"/>
        </a:accent2>
        <a:accent3>
          <a:srgbClr val="FFFFFF"/>
        </a:accent3>
        <a:accent4>
          <a:srgbClr val="12212B"/>
        </a:accent4>
        <a:accent5>
          <a:srgbClr val="B3B7BB"/>
        </a:accent5>
        <a:accent6>
          <a:srgbClr val="373E16"/>
        </a:accent6>
        <a:hlink>
          <a:srgbClr val="ABC78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3">
        <a:dk1>
          <a:srgbClr val="172934"/>
        </a:dk1>
        <a:lt1>
          <a:srgbClr val="FFFFFF"/>
        </a:lt1>
        <a:dk2>
          <a:srgbClr val="203731"/>
        </a:dk2>
        <a:lt2>
          <a:srgbClr val="A4AEB5"/>
        </a:lt2>
        <a:accent1>
          <a:srgbClr val="51626F"/>
        </a:accent1>
        <a:accent2>
          <a:srgbClr val="3E4519"/>
        </a:accent2>
        <a:accent3>
          <a:srgbClr val="FFFFFF"/>
        </a:accent3>
        <a:accent4>
          <a:srgbClr val="12212B"/>
        </a:accent4>
        <a:accent5>
          <a:srgbClr val="B3B7BB"/>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4">
        <a:dk1>
          <a:srgbClr val="172934"/>
        </a:dk1>
        <a:lt1>
          <a:srgbClr val="FFFFFF"/>
        </a:lt1>
        <a:dk2>
          <a:srgbClr val="203731"/>
        </a:dk2>
        <a:lt2>
          <a:srgbClr val="A4AEB5"/>
        </a:lt2>
        <a:accent1>
          <a:srgbClr val="4C5F6C"/>
        </a:accent1>
        <a:accent2>
          <a:srgbClr val="3E4519"/>
        </a:accent2>
        <a:accent3>
          <a:srgbClr val="FFFFFF"/>
        </a:accent3>
        <a:accent4>
          <a:srgbClr val="12212B"/>
        </a:accent4>
        <a:accent5>
          <a:srgbClr val="B2B6BA"/>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5">
        <a:dk1>
          <a:srgbClr val="172934"/>
        </a:dk1>
        <a:lt1>
          <a:srgbClr val="FFFFFF"/>
        </a:lt1>
        <a:dk2>
          <a:srgbClr val="203731"/>
        </a:dk2>
        <a:lt2>
          <a:srgbClr val="5D87A1"/>
        </a:lt2>
        <a:accent1>
          <a:srgbClr val="4C5F6C"/>
        </a:accent1>
        <a:accent2>
          <a:srgbClr val="3E4519"/>
        </a:accent2>
        <a:accent3>
          <a:srgbClr val="FFFFFF"/>
        </a:accent3>
        <a:accent4>
          <a:srgbClr val="12212B"/>
        </a:accent4>
        <a:accent5>
          <a:srgbClr val="B2B6BA"/>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6">
        <a:dk1>
          <a:srgbClr val="172934"/>
        </a:dk1>
        <a:lt1>
          <a:srgbClr val="FFFFFF"/>
        </a:lt1>
        <a:dk2>
          <a:srgbClr val="172934"/>
        </a:dk2>
        <a:lt2>
          <a:srgbClr val="5D87A1"/>
        </a:lt2>
        <a:accent1>
          <a:srgbClr val="4C5F6C"/>
        </a:accent1>
        <a:accent2>
          <a:srgbClr val="3E4519"/>
        </a:accent2>
        <a:accent3>
          <a:srgbClr val="FFFFFF"/>
        </a:accent3>
        <a:accent4>
          <a:srgbClr val="12212B"/>
        </a:accent4>
        <a:accent5>
          <a:srgbClr val="B2B6BA"/>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Lst>
  <a:custClrLst>
    <a:custClr name="377-100%">
      <a:srgbClr val="7A9A3D"/>
    </a:custClr>
    <a:custClr name="7689-100%">
      <a:srgbClr val="298FC2"/>
    </a:custClr>
    <a:custClr name="7708-100%">
      <a:srgbClr val="004F6B"/>
    </a:custClr>
    <a:custClr name="5503-100%">
      <a:srgbClr val="8FB6BB"/>
    </a:custClr>
    <a:custClr name="7544-100%">
      <a:srgbClr val="768692"/>
    </a:custClr>
    <a:custClr name="364-100%">
      <a:srgbClr val="4B7838"/>
    </a:custClr>
    <a:custClr name="639-100%">
      <a:srgbClr val="00A3D4"/>
    </a:custClr>
    <a:custClr name="3285-100%">
      <a:srgbClr val="009681"/>
    </a:custClr>
    <a:custClr name="432-100%">
      <a:srgbClr val="333F48"/>
    </a:custClr>
    <a:custClr name="Cool gray-100%">
      <a:srgbClr val="75787B"/>
    </a:custClr>
    <a:custClr name="377-80%">
      <a:srgbClr val="95AE3C"/>
    </a:custClr>
    <a:custClr name="7689-80%">
      <a:srgbClr val="54A5CE"/>
    </a:custClr>
    <a:custClr name="7708-80%">
      <a:srgbClr val="006682"/>
    </a:custClr>
    <a:custClr name="5503-80%">
      <a:srgbClr val="9FC9CF"/>
    </a:custClr>
    <a:custClr name="7544-80%">
      <a:srgbClr val="919EA8"/>
    </a:custClr>
    <a:custClr name="364-80%">
      <a:srgbClr val="6E9254"/>
    </a:custClr>
    <a:custClr name="639-80%">
      <a:srgbClr val="00AFDD"/>
    </a:custClr>
    <a:custClr name="3285-80%">
      <a:srgbClr val="33AB9A"/>
    </a:custClr>
    <a:custClr name="432-80%">
      <a:srgbClr val="5D656D"/>
    </a:custClr>
    <a:custClr name="Cool gray-80%">
      <a:srgbClr val="919395"/>
    </a:custClr>
    <a:custClr name="377-60%">
      <a:srgbClr val="AFC267"/>
    </a:custClr>
    <a:custClr name="7689-60%">
      <a:srgbClr val="7FBCDA"/>
    </a:custClr>
    <a:custClr name="7708-60%">
      <a:srgbClr val="3F829C"/>
    </a:custClr>
    <a:custClr name="5503-60%">
      <a:srgbClr val="B5D4D9"/>
    </a:custClr>
    <a:custClr name="7544-60%">
      <a:srgbClr val="ADB6BE"/>
    </a:custClr>
    <a:custClr name="364-60%">
      <a:srgbClr val="91AD7F"/>
    </a:custClr>
    <a:custClr name="639-60%">
      <a:srgbClr val="4ABFE3"/>
    </a:custClr>
    <a:custClr name="3285-60%">
      <a:srgbClr val="66C0B3"/>
    </a:custClr>
    <a:custClr name="432-60%">
      <a:srgbClr val="858C91"/>
    </a:custClr>
    <a:custClr name="Cool gray-60%">
      <a:srgbClr val="ADAEB0"/>
    </a:custClr>
    <a:custClr name="377-40%">
      <a:srgbClr val="CBD799"/>
    </a:custClr>
    <a:custClr name="7689-40%">
      <a:srgbClr val="A9D2E7"/>
    </a:custClr>
    <a:custClr name="7708-40%">
      <a:srgbClr val="77A3B8"/>
    </a:custClr>
    <a:custClr name="5503-40%">
      <a:srgbClr val="CAE0E3"/>
    </a:custClr>
    <a:custClr name="7544-40%">
      <a:srgbClr val="C8CFD3"/>
    </a:custClr>
    <a:custClr name="364-40%">
      <a:srgbClr val="B7C8A9"/>
    </a:custClr>
    <a:custClr name="639-40%">
      <a:srgbClr val="8DD1EB"/>
    </a:custClr>
    <a:custClr name="3285-40%">
      <a:srgbClr val="99D5CC"/>
    </a:custClr>
    <a:custClr name="432-40%">
      <a:srgbClr val="ADB2B6"/>
    </a:custClr>
    <a:custClr name="Cool gray-40%">
      <a:srgbClr val="C8C9C9"/>
    </a:custClr>
  </a:custClrLst>
  <a:extLst>
    <a:ext uri="{05A4C25C-085E-4340-85A3-A5531E510DB2}">
      <thm15:themeFamily xmlns:thm15="http://schemas.microsoft.com/office/thememl/2012/main" name="FI_4x3_Print_Presentation_Template.potx" id="{AA4EB5F4-44E2-4139-AE9B-C7FBE4E41015}" vid="{76A04D73-5326-4A4A-B2FA-54FD5F2BC2C9}"/>
    </a:ext>
  </a:extLst>
</a:theme>
</file>

<file path=ppt/theme/theme9.xml><?xml version="1.0" encoding="utf-8"?>
<a:theme xmlns:a="http://schemas.openxmlformats.org/drawingml/2006/main" name="2_FI_External_Print_Presentation_4x3">
  <a:themeElements>
    <a:clrScheme name="107 Evolution">
      <a:dk1>
        <a:srgbClr val="000000"/>
      </a:dk1>
      <a:lt1>
        <a:srgbClr val="FFFFFF"/>
      </a:lt1>
      <a:dk2>
        <a:srgbClr val="212425"/>
      </a:dk2>
      <a:lt2>
        <a:srgbClr val="333F48"/>
      </a:lt2>
      <a:accent1>
        <a:srgbClr val="298FC2"/>
      </a:accent1>
      <a:accent2>
        <a:srgbClr val="4A7729"/>
      </a:accent2>
      <a:accent3>
        <a:srgbClr val="7A9A01"/>
      </a:accent3>
      <a:accent4>
        <a:srgbClr val="6BA4B8"/>
      </a:accent4>
      <a:accent5>
        <a:srgbClr val="768692"/>
      </a:accent5>
      <a:accent6>
        <a:srgbClr val="9BBDAA"/>
      </a:accent6>
      <a:hlink>
        <a:srgbClr val="298FC2"/>
      </a:hlink>
      <a:folHlink>
        <a:srgbClr val="51284F"/>
      </a:folHlink>
    </a:clrScheme>
    <a:fontScheme name="4_pyramis_external_printed_presentation_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hlink"/>
        </a:solid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ea typeface="ＭＳ Ｐゴシック" charset="-128"/>
          </a:defRPr>
        </a:defPPr>
      </a:lstStyle>
    </a:spDef>
    <a:lnDef>
      <a:spPr bwMode="auto">
        <a:solidFill>
          <a:schemeClr val="hlink"/>
        </a:solidFill>
        <a:ln w="9525" cap="flat" cmpd="sng" algn="ctr">
          <a:solidFill>
            <a:srgbClr val="004F6B"/>
          </a:solidFill>
          <a:prstDash val="solid"/>
          <a:round/>
          <a:headEnd type="none" w="med" len="med"/>
          <a:tailEnd type="none" w="med" len="med"/>
        </a:ln>
        <a:effectLst/>
      </a:spPr>
      <a:bodyPr/>
      <a:lstStyle/>
    </a:lnDef>
  </a:objectDefaults>
  <a:extraClrSchemeLst>
    <a:extraClrScheme>
      <a:clrScheme name="4_pyramis_external_printed_presentation_template 1">
        <a:dk1>
          <a:srgbClr val="1A2732"/>
        </a:dk1>
        <a:lt1>
          <a:srgbClr val="FFFFFF"/>
        </a:lt1>
        <a:dk2>
          <a:srgbClr val="D6E1EA"/>
        </a:dk2>
        <a:lt2>
          <a:srgbClr val="B6CADA"/>
        </a:lt2>
        <a:accent1>
          <a:srgbClr val="1A2732"/>
        </a:accent1>
        <a:accent2>
          <a:srgbClr val="5580A3"/>
        </a:accent2>
        <a:accent3>
          <a:srgbClr val="FFFFFF"/>
        </a:accent3>
        <a:accent4>
          <a:srgbClr val="142029"/>
        </a:accent4>
        <a:accent5>
          <a:srgbClr val="ABACAD"/>
        </a:accent5>
        <a:accent6>
          <a:srgbClr val="4C7393"/>
        </a:accent6>
        <a:hlink>
          <a:srgbClr val="81A2BD"/>
        </a:hlink>
        <a:folHlink>
          <a:srgbClr val="42637E"/>
        </a:folHlink>
      </a:clrScheme>
      <a:clrMap bg1="lt1" tx1="dk1" bg2="lt2" tx2="dk2" accent1="accent1" accent2="accent2" accent3="accent3" accent4="accent4" accent5="accent5" accent6="accent6" hlink="hlink" folHlink="folHlink"/>
    </a:extraClrScheme>
    <a:extraClrScheme>
      <a:clrScheme name="4_pyramis_external_printed_presentation_template 2">
        <a:dk1>
          <a:srgbClr val="1A2732"/>
        </a:dk1>
        <a:lt1>
          <a:srgbClr val="FFFFFF"/>
        </a:lt1>
        <a:dk2>
          <a:srgbClr val="1A2732"/>
        </a:dk2>
        <a:lt2>
          <a:srgbClr val="D6E1EA"/>
        </a:lt2>
        <a:accent1>
          <a:srgbClr val="D6E1EA"/>
        </a:accent1>
        <a:accent2>
          <a:srgbClr val="788E78"/>
        </a:accent2>
        <a:accent3>
          <a:srgbClr val="FFFFFF"/>
        </a:accent3>
        <a:accent4>
          <a:srgbClr val="142029"/>
        </a:accent4>
        <a:accent5>
          <a:srgbClr val="E8EEF3"/>
        </a:accent5>
        <a:accent6>
          <a:srgbClr val="6C806C"/>
        </a:accent6>
        <a:hlink>
          <a:srgbClr val="B1C785"/>
        </a:hlink>
        <a:folHlink>
          <a:srgbClr val="6A7029"/>
        </a:folHlink>
      </a:clrScheme>
      <a:clrMap bg1="lt1" tx1="dk1" bg2="lt2" tx2="dk2" accent1="accent1" accent2="accent2" accent3="accent3" accent4="accent4" accent5="accent5" accent6="accent6" hlink="hlink" folHlink="folHlink"/>
    </a:extraClrScheme>
    <a:extraClrScheme>
      <a:clrScheme name="4_pyramis_external_printed_presentation_template 3">
        <a:dk1>
          <a:srgbClr val="788E78"/>
        </a:dk1>
        <a:lt1>
          <a:srgbClr val="FFFFFF"/>
        </a:lt1>
        <a:dk2>
          <a:srgbClr val="1A2732"/>
        </a:dk2>
        <a:lt2>
          <a:srgbClr val="D6E1EA"/>
        </a:lt2>
        <a:accent1>
          <a:srgbClr val="B1C785"/>
        </a:accent1>
        <a:accent2>
          <a:srgbClr val="1A2732"/>
        </a:accent2>
        <a:accent3>
          <a:srgbClr val="FFFFFF"/>
        </a:accent3>
        <a:accent4>
          <a:srgbClr val="657865"/>
        </a:accent4>
        <a:accent5>
          <a:srgbClr val="D5E0C2"/>
        </a:accent5>
        <a:accent6>
          <a:srgbClr val="16222C"/>
        </a:accent6>
        <a:hlink>
          <a:srgbClr val="4C5F6C"/>
        </a:hlink>
        <a:folHlink>
          <a:srgbClr val="81A2BD"/>
        </a:folHlink>
      </a:clrScheme>
      <a:clrMap bg1="lt1" tx1="dk1" bg2="lt2" tx2="dk2" accent1="accent1" accent2="accent2" accent3="accent3" accent4="accent4" accent5="accent5" accent6="accent6" hlink="hlink" folHlink="folHlink"/>
    </a:extraClrScheme>
    <a:extraClrScheme>
      <a:clrScheme name="4_pyramis_external_printed_presentation_template 4">
        <a:dk1>
          <a:srgbClr val="19252F"/>
        </a:dk1>
        <a:lt1>
          <a:srgbClr val="FFFFFF"/>
        </a:lt1>
        <a:dk2>
          <a:srgbClr val="B19401"/>
        </a:dk2>
        <a:lt2>
          <a:srgbClr val="EDE7DD"/>
        </a:lt2>
        <a:accent1>
          <a:srgbClr val="B1C785"/>
        </a:accent1>
        <a:accent2>
          <a:srgbClr val="6A7029"/>
        </a:accent2>
        <a:accent3>
          <a:srgbClr val="FFFFFF"/>
        </a:accent3>
        <a:accent4>
          <a:srgbClr val="141E27"/>
        </a:accent4>
        <a:accent5>
          <a:srgbClr val="D5E0C2"/>
        </a:accent5>
        <a:accent6>
          <a:srgbClr val="5F6524"/>
        </a:accent6>
        <a:hlink>
          <a:srgbClr val="ADBBAD"/>
        </a:hlink>
        <a:folHlink>
          <a:srgbClr val="764200"/>
        </a:folHlink>
      </a:clrScheme>
      <a:clrMap bg1="lt1" tx1="dk1" bg2="lt2" tx2="dk2" accent1="accent1" accent2="accent2" accent3="accent3" accent4="accent4" accent5="accent5" accent6="accent6" hlink="hlink" folHlink="folHlink"/>
    </a:extraClrScheme>
    <a:extraClrScheme>
      <a:clrScheme name="4_pyramis_external_printed_presentation_template 5">
        <a:dk1>
          <a:srgbClr val="1A2732"/>
        </a:dk1>
        <a:lt1>
          <a:srgbClr val="FFFFFF"/>
        </a:lt1>
        <a:dk2>
          <a:srgbClr val="B19401"/>
        </a:dk2>
        <a:lt2>
          <a:srgbClr val="EDE7DD"/>
        </a:lt2>
        <a:accent1>
          <a:srgbClr val="B1C785"/>
        </a:accent1>
        <a:accent2>
          <a:srgbClr val="6A7029"/>
        </a:accent2>
        <a:accent3>
          <a:srgbClr val="FFFFFF"/>
        </a:accent3>
        <a:accent4>
          <a:srgbClr val="142029"/>
        </a:accent4>
        <a:accent5>
          <a:srgbClr val="D5E0C2"/>
        </a:accent5>
        <a:accent6>
          <a:srgbClr val="5F6524"/>
        </a:accent6>
        <a:hlink>
          <a:srgbClr val="AAC3B4"/>
        </a:hlink>
        <a:folHlink>
          <a:srgbClr val="764200"/>
        </a:folHlink>
      </a:clrScheme>
      <a:clrMap bg1="lt1" tx1="dk1" bg2="lt2" tx2="dk2" accent1="accent1" accent2="accent2" accent3="accent3" accent4="accent4" accent5="accent5" accent6="accent6" hlink="hlink" folHlink="folHlink"/>
    </a:extraClrScheme>
    <a:extraClrScheme>
      <a:clrScheme name="4_pyramis_external_printed_presentation_template 6">
        <a:dk1>
          <a:srgbClr val="19252F"/>
        </a:dk1>
        <a:lt1>
          <a:srgbClr val="FFFFFF"/>
        </a:lt1>
        <a:dk2>
          <a:srgbClr val="B19401"/>
        </a:dk2>
        <a:lt2>
          <a:srgbClr val="DCDCCE"/>
        </a:lt2>
        <a:accent1>
          <a:srgbClr val="BDD096"/>
        </a:accent1>
        <a:accent2>
          <a:srgbClr val="6A7029"/>
        </a:accent2>
        <a:accent3>
          <a:srgbClr val="FFFFFF"/>
        </a:accent3>
        <a:accent4>
          <a:srgbClr val="141E27"/>
        </a:accent4>
        <a:accent5>
          <a:srgbClr val="DBE4C9"/>
        </a:accent5>
        <a:accent6>
          <a:srgbClr val="5F6524"/>
        </a:accent6>
        <a:hlink>
          <a:srgbClr val="ADBBAD"/>
        </a:hlink>
        <a:folHlink>
          <a:srgbClr val="462900"/>
        </a:folHlink>
      </a:clrScheme>
      <a:clrMap bg1="lt1" tx1="dk1" bg2="lt2" tx2="dk2" accent1="accent1" accent2="accent2" accent3="accent3" accent4="accent4" accent5="accent5" accent6="accent6" hlink="hlink" folHlink="folHlink"/>
    </a:extraClrScheme>
    <a:extraClrScheme>
      <a:clrScheme name="4_pyramis_external_printed_presentation_template 7">
        <a:dk1>
          <a:srgbClr val="19252F"/>
        </a:dk1>
        <a:lt1>
          <a:srgbClr val="FFFFFF"/>
        </a:lt1>
        <a:dk2>
          <a:srgbClr val="B19401"/>
        </a:dk2>
        <a:lt2>
          <a:srgbClr val="DCDCCE"/>
        </a:lt2>
        <a:accent1>
          <a:srgbClr val="BDD096"/>
        </a:accent1>
        <a:accent2>
          <a:srgbClr val="6A7029"/>
        </a:accent2>
        <a:accent3>
          <a:srgbClr val="FFFFFF"/>
        </a:accent3>
        <a:accent4>
          <a:srgbClr val="141E27"/>
        </a:accent4>
        <a:accent5>
          <a:srgbClr val="DBE4C9"/>
        </a:accent5>
        <a:accent6>
          <a:srgbClr val="5F6524"/>
        </a:accent6>
        <a:hlink>
          <a:srgbClr val="AAC3B4"/>
        </a:hlink>
        <a:folHlink>
          <a:srgbClr val="462900"/>
        </a:folHlink>
      </a:clrScheme>
      <a:clrMap bg1="lt1" tx1="dk1" bg2="lt2" tx2="dk2" accent1="accent1" accent2="accent2" accent3="accent3" accent4="accent4" accent5="accent5" accent6="accent6" hlink="hlink" folHlink="folHlink"/>
    </a:extraClrScheme>
    <a:extraClrScheme>
      <a:clrScheme name="4_pyramis_external_printed_presentation_template 8">
        <a:dk1>
          <a:srgbClr val="1A2732"/>
        </a:dk1>
        <a:lt1>
          <a:srgbClr val="FFFFFF"/>
        </a:lt1>
        <a:dk2>
          <a:srgbClr val="203731"/>
        </a:dk2>
        <a:lt2>
          <a:srgbClr val="A4AEB5"/>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1A2732"/>
        </a:folHlink>
      </a:clrScheme>
      <a:clrMap bg1="lt1" tx1="dk1" bg2="lt2" tx2="dk2" accent1="accent1" accent2="accent2" accent3="accent3" accent4="accent4" accent5="accent5" accent6="accent6" hlink="hlink" folHlink="folHlink"/>
    </a:extraClrScheme>
    <a:extraClrScheme>
      <a:clrScheme name="4_pyramis_external_printed_presentation_template 9">
        <a:dk1>
          <a:srgbClr val="1A2732"/>
        </a:dk1>
        <a:lt1>
          <a:srgbClr val="FFFFFF"/>
        </a:lt1>
        <a:dk2>
          <a:srgbClr val="203731"/>
        </a:dk2>
        <a:lt2>
          <a:srgbClr val="A7B8B4"/>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1A2732"/>
        </a:folHlink>
      </a:clrScheme>
      <a:clrMap bg1="lt1" tx1="dk1" bg2="lt2" tx2="dk2" accent1="accent1" accent2="accent2" accent3="accent3" accent4="accent4" accent5="accent5" accent6="accent6" hlink="hlink" folHlink="folHlink"/>
    </a:extraClrScheme>
    <a:extraClrScheme>
      <a:clrScheme name="4_pyramis_external_printed_presentation_template 10">
        <a:dk1>
          <a:srgbClr val="1A2732"/>
        </a:dk1>
        <a:lt1>
          <a:srgbClr val="FFFFFF"/>
        </a:lt1>
        <a:dk2>
          <a:srgbClr val="203731"/>
        </a:dk2>
        <a:lt2>
          <a:srgbClr val="A7B8B4"/>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1">
        <a:dk1>
          <a:srgbClr val="1A2732"/>
        </a:dk1>
        <a:lt1>
          <a:srgbClr val="FFFFFF"/>
        </a:lt1>
        <a:dk2>
          <a:srgbClr val="203731"/>
        </a:dk2>
        <a:lt2>
          <a:srgbClr val="A4AEB5"/>
        </a:lt2>
        <a:accent1>
          <a:srgbClr val="51626F"/>
        </a:accent1>
        <a:accent2>
          <a:srgbClr val="3E4519"/>
        </a:accent2>
        <a:accent3>
          <a:srgbClr val="FFFFFF"/>
        </a:accent3>
        <a:accent4>
          <a:srgbClr val="142029"/>
        </a:accent4>
        <a:accent5>
          <a:srgbClr val="B3B7BB"/>
        </a:accent5>
        <a:accent6>
          <a:srgbClr val="373E16"/>
        </a:accent6>
        <a:hlink>
          <a:srgbClr val="ABC78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2">
        <a:dk1>
          <a:srgbClr val="172934"/>
        </a:dk1>
        <a:lt1>
          <a:srgbClr val="FFFFFF"/>
        </a:lt1>
        <a:dk2>
          <a:srgbClr val="203731"/>
        </a:dk2>
        <a:lt2>
          <a:srgbClr val="A4AEB5"/>
        </a:lt2>
        <a:accent1>
          <a:srgbClr val="51626F"/>
        </a:accent1>
        <a:accent2>
          <a:srgbClr val="3E4519"/>
        </a:accent2>
        <a:accent3>
          <a:srgbClr val="FFFFFF"/>
        </a:accent3>
        <a:accent4>
          <a:srgbClr val="12212B"/>
        </a:accent4>
        <a:accent5>
          <a:srgbClr val="B3B7BB"/>
        </a:accent5>
        <a:accent6>
          <a:srgbClr val="373E16"/>
        </a:accent6>
        <a:hlink>
          <a:srgbClr val="ABC78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3">
        <a:dk1>
          <a:srgbClr val="172934"/>
        </a:dk1>
        <a:lt1>
          <a:srgbClr val="FFFFFF"/>
        </a:lt1>
        <a:dk2>
          <a:srgbClr val="203731"/>
        </a:dk2>
        <a:lt2>
          <a:srgbClr val="A4AEB5"/>
        </a:lt2>
        <a:accent1>
          <a:srgbClr val="51626F"/>
        </a:accent1>
        <a:accent2>
          <a:srgbClr val="3E4519"/>
        </a:accent2>
        <a:accent3>
          <a:srgbClr val="FFFFFF"/>
        </a:accent3>
        <a:accent4>
          <a:srgbClr val="12212B"/>
        </a:accent4>
        <a:accent5>
          <a:srgbClr val="B3B7BB"/>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4">
        <a:dk1>
          <a:srgbClr val="172934"/>
        </a:dk1>
        <a:lt1>
          <a:srgbClr val="FFFFFF"/>
        </a:lt1>
        <a:dk2>
          <a:srgbClr val="203731"/>
        </a:dk2>
        <a:lt2>
          <a:srgbClr val="A4AEB5"/>
        </a:lt2>
        <a:accent1>
          <a:srgbClr val="4C5F6C"/>
        </a:accent1>
        <a:accent2>
          <a:srgbClr val="3E4519"/>
        </a:accent2>
        <a:accent3>
          <a:srgbClr val="FFFFFF"/>
        </a:accent3>
        <a:accent4>
          <a:srgbClr val="12212B"/>
        </a:accent4>
        <a:accent5>
          <a:srgbClr val="B2B6BA"/>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5">
        <a:dk1>
          <a:srgbClr val="172934"/>
        </a:dk1>
        <a:lt1>
          <a:srgbClr val="FFFFFF"/>
        </a:lt1>
        <a:dk2>
          <a:srgbClr val="203731"/>
        </a:dk2>
        <a:lt2>
          <a:srgbClr val="5D87A1"/>
        </a:lt2>
        <a:accent1>
          <a:srgbClr val="4C5F6C"/>
        </a:accent1>
        <a:accent2>
          <a:srgbClr val="3E4519"/>
        </a:accent2>
        <a:accent3>
          <a:srgbClr val="FFFFFF"/>
        </a:accent3>
        <a:accent4>
          <a:srgbClr val="12212B"/>
        </a:accent4>
        <a:accent5>
          <a:srgbClr val="B2B6BA"/>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
      <a:clrScheme name="4_pyramis_external_printed_presentation_template 16">
        <a:dk1>
          <a:srgbClr val="172934"/>
        </a:dk1>
        <a:lt1>
          <a:srgbClr val="FFFFFF"/>
        </a:lt1>
        <a:dk2>
          <a:srgbClr val="172934"/>
        </a:dk2>
        <a:lt2>
          <a:srgbClr val="5D87A1"/>
        </a:lt2>
        <a:accent1>
          <a:srgbClr val="4C5F6C"/>
        </a:accent1>
        <a:accent2>
          <a:srgbClr val="3E4519"/>
        </a:accent2>
        <a:accent3>
          <a:srgbClr val="FFFFFF"/>
        </a:accent3>
        <a:accent4>
          <a:srgbClr val="12212B"/>
        </a:accent4>
        <a:accent5>
          <a:srgbClr val="B2B6BA"/>
        </a:accent5>
        <a:accent6>
          <a:srgbClr val="373E16"/>
        </a:accent6>
        <a:hlink>
          <a:srgbClr val="B4CC95"/>
        </a:hlink>
        <a:folHlink>
          <a:srgbClr val="857363"/>
        </a:folHlink>
      </a:clrScheme>
      <a:clrMap bg1="lt1" tx1="dk1" bg2="lt2" tx2="dk2" accent1="accent1" accent2="accent2" accent3="accent3" accent4="accent4" accent5="accent5" accent6="accent6" hlink="hlink" folHlink="folHlink"/>
    </a:extraClrScheme>
  </a:extraClrSchemeLst>
  <a:custClrLst>
    <a:custClr name="377-100%">
      <a:srgbClr val="7A9A3D"/>
    </a:custClr>
    <a:custClr name="7689-100%">
      <a:srgbClr val="298FC2"/>
    </a:custClr>
    <a:custClr name="7708-100%">
      <a:srgbClr val="004F6B"/>
    </a:custClr>
    <a:custClr name="5503-100%">
      <a:srgbClr val="8FB6BB"/>
    </a:custClr>
    <a:custClr name="7544-100%">
      <a:srgbClr val="768692"/>
    </a:custClr>
    <a:custClr name="364-100%">
      <a:srgbClr val="4B7838"/>
    </a:custClr>
    <a:custClr name="639-100%">
      <a:srgbClr val="00A3D4"/>
    </a:custClr>
    <a:custClr name="3285-100%">
      <a:srgbClr val="009681"/>
    </a:custClr>
    <a:custClr name="432-100%">
      <a:srgbClr val="333F48"/>
    </a:custClr>
    <a:custClr name="Cool gray-100%">
      <a:srgbClr val="75787B"/>
    </a:custClr>
    <a:custClr name="377-80%">
      <a:srgbClr val="95AE3C"/>
    </a:custClr>
    <a:custClr name="7689-80%">
      <a:srgbClr val="54A5CE"/>
    </a:custClr>
    <a:custClr name="7708-80%">
      <a:srgbClr val="006682"/>
    </a:custClr>
    <a:custClr name="5503-80%">
      <a:srgbClr val="9FC9CF"/>
    </a:custClr>
    <a:custClr name="7544-80%">
      <a:srgbClr val="919EA8"/>
    </a:custClr>
    <a:custClr name="364-80%">
      <a:srgbClr val="6E9254"/>
    </a:custClr>
    <a:custClr name="639-80%">
      <a:srgbClr val="00AFDD"/>
    </a:custClr>
    <a:custClr name="3285-80%">
      <a:srgbClr val="33AB9A"/>
    </a:custClr>
    <a:custClr name="432-80%">
      <a:srgbClr val="5D656D"/>
    </a:custClr>
    <a:custClr name="Cool gray-80%">
      <a:srgbClr val="919395"/>
    </a:custClr>
    <a:custClr name="377-60%">
      <a:srgbClr val="AFC267"/>
    </a:custClr>
    <a:custClr name="7689-60%">
      <a:srgbClr val="7FBCDA"/>
    </a:custClr>
    <a:custClr name="7708-60%">
      <a:srgbClr val="3F829C"/>
    </a:custClr>
    <a:custClr name="5503-60%">
      <a:srgbClr val="B5D4D9"/>
    </a:custClr>
    <a:custClr name="7544-60%">
      <a:srgbClr val="ADB6BE"/>
    </a:custClr>
    <a:custClr name="364-60%">
      <a:srgbClr val="91AD7F"/>
    </a:custClr>
    <a:custClr name="639-60%">
      <a:srgbClr val="4ABFE3"/>
    </a:custClr>
    <a:custClr name="3285-60%">
      <a:srgbClr val="66C0B3"/>
    </a:custClr>
    <a:custClr name="432-60%">
      <a:srgbClr val="858C91"/>
    </a:custClr>
    <a:custClr name="Cool gray-60%">
      <a:srgbClr val="ADAEB0"/>
    </a:custClr>
    <a:custClr name="377-40%">
      <a:srgbClr val="CBD799"/>
    </a:custClr>
    <a:custClr name="7689-40%">
      <a:srgbClr val="A9D2E7"/>
    </a:custClr>
    <a:custClr name="7708-40%">
      <a:srgbClr val="77A3B8"/>
    </a:custClr>
    <a:custClr name="5503-40%">
      <a:srgbClr val="CAE0E3"/>
    </a:custClr>
    <a:custClr name="7544-40%">
      <a:srgbClr val="C8CFD3"/>
    </a:custClr>
    <a:custClr name="364-40%">
      <a:srgbClr val="B7C8A9"/>
    </a:custClr>
    <a:custClr name="639-40%">
      <a:srgbClr val="8DD1EB"/>
    </a:custClr>
    <a:custClr name="3285-40%">
      <a:srgbClr val="99D5CC"/>
    </a:custClr>
    <a:custClr name="432-40%">
      <a:srgbClr val="ADB2B6"/>
    </a:custClr>
    <a:custClr name="Cool gray-40%">
      <a:srgbClr val="C8C9C9"/>
    </a:custClr>
  </a:custClrLst>
  <a:extLst>
    <a:ext uri="{05A4C25C-085E-4340-85A3-A5531E510DB2}">
      <thm15:themeFamily xmlns:thm15="http://schemas.microsoft.com/office/thememl/2012/main" name="FI_4x3_Print_Presentation_Template.potx" id="{AA4EB5F4-44E2-4139-AE9B-C7FBE4E41015}" vid="{76A04D73-5326-4A4A-B2FA-54FD5F2BC2C9}"/>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CEF3D91D22ACE438186238FFF1CB09E" ma:contentTypeVersion="14" ma:contentTypeDescription="Create a new document." ma:contentTypeScope="" ma:versionID="c79ec1d493eb04d9fd4a1dbeb5750a84">
  <xsd:schema xmlns:xsd="http://www.w3.org/2001/XMLSchema" xmlns:xs="http://www.w3.org/2001/XMLSchema" xmlns:p="http://schemas.microsoft.com/office/2006/metadata/properties" xmlns:ns3="ce58fa6d-59aa-4a1e-86f4-f01ff3b5879d" xmlns:ns4="1a2770c4-05ac-4cb9-a2e6-459c9f21914f" targetNamespace="http://schemas.microsoft.com/office/2006/metadata/properties" ma:root="true" ma:fieldsID="4e4a7ccec395c0472be40cc6a738eadf" ns3:_="" ns4:_="">
    <xsd:import namespace="ce58fa6d-59aa-4a1e-86f4-f01ff3b5879d"/>
    <xsd:import namespace="1a2770c4-05ac-4cb9-a2e6-459c9f21914f"/>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3:MediaServiceAutoKeyPoints" minOccurs="0"/>
                <xsd:element ref="ns3:MediaServiceKeyPoints" minOccurs="0"/>
                <xsd:element ref="ns3:MediaServiceLocatio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e58fa6d-59aa-4a1e-86f4-f01ff3b587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a2770c4-05ac-4cb9-a2e6-459c9f21914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58E2D9B-4C02-4B88-B322-69B430A63606}">
  <ds:schemaRefs>
    <ds:schemaRef ds:uri="http://schemas.microsoft.com/sharepoint/v3/contenttype/forms"/>
  </ds:schemaRefs>
</ds:datastoreItem>
</file>

<file path=customXml/itemProps2.xml><?xml version="1.0" encoding="utf-8"?>
<ds:datastoreItem xmlns:ds="http://schemas.openxmlformats.org/officeDocument/2006/customXml" ds:itemID="{5A47F2EC-BF9F-48E5-B41D-49239DEDD97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e58fa6d-59aa-4a1e-86f4-f01ff3b5879d"/>
    <ds:schemaRef ds:uri="1a2770c4-05ac-4cb9-a2e6-459c9f21914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AE733D2-AF66-47A1-BC83-11700C2A0BAD}">
  <ds:schemaRefs>
    <ds:schemaRef ds:uri="http://purl.org/dc/dcmitype/"/>
    <ds:schemaRef ds:uri="http://purl.org/dc/terms/"/>
    <ds:schemaRef ds:uri="http://purl.org/dc/elements/1.1/"/>
    <ds:schemaRef ds:uri="http://schemas.microsoft.com/office/2006/documentManagement/types"/>
    <ds:schemaRef ds:uri="1a2770c4-05ac-4cb9-a2e6-459c9f21914f"/>
    <ds:schemaRef ds:uri="http://schemas.microsoft.com/office/2006/metadata/properties"/>
    <ds:schemaRef ds:uri="ce58fa6d-59aa-4a1e-86f4-f01ff3b5879d"/>
    <ds:schemaRef ds:uri="http://www.w3.org/XML/1998/namespace"/>
    <ds:schemaRef ds:uri="http://schemas.microsoft.com/office/infopath/2007/PartnerControl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blank</Template>
  <TotalTime>43732</TotalTime>
  <Words>2537</Words>
  <Application>Microsoft Office PowerPoint</Application>
  <PresentationFormat>On-screen Show (4:3)</PresentationFormat>
  <Paragraphs>263</Paragraphs>
  <Slides>20</Slides>
  <Notes>15</Notes>
  <HiddenSlides>0</HiddenSlides>
  <MMClips>0</MMClips>
  <ScaleCrop>false</ScaleCrop>
  <HeadingPairs>
    <vt:vector size="8" baseType="variant">
      <vt:variant>
        <vt:lpstr>Fonts Used</vt:lpstr>
      </vt:variant>
      <vt:variant>
        <vt:i4>8</vt:i4>
      </vt:variant>
      <vt:variant>
        <vt:lpstr>Theme</vt:lpstr>
      </vt:variant>
      <vt:variant>
        <vt:i4>9</vt:i4>
      </vt:variant>
      <vt:variant>
        <vt:lpstr>Embedded OLE Servers</vt:lpstr>
      </vt:variant>
      <vt:variant>
        <vt:i4>1</vt:i4>
      </vt:variant>
      <vt:variant>
        <vt:lpstr>Slide Titles</vt:lpstr>
      </vt:variant>
      <vt:variant>
        <vt:i4>20</vt:i4>
      </vt:variant>
    </vt:vector>
  </HeadingPairs>
  <TitlesOfParts>
    <vt:vector size="38" baseType="lpstr">
      <vt:lpstr>Arial</vt:lpstr>
      <vt:lpstr>Calibri</vt:lpstr>
      <vt:lpstr>Franklin Gothic Book</vt:lpstr>
      <vt:lpstr>Open Sans</vt:lpstr>
      <vt:lpstr>Open Sans Condensed Light</vt:lpstr>
      <vt:lpstr>PT Serif</vt:lpstr>
      <vt:lpstr>PT Serif Caption</vt:lpstr>
      <vt:lpstr>Wingdings 3</vt:lpstr>
      <vt:lpstr>1_FIAM107_External_Print_Presentation_TEMPLATE_8.24.16</vt:lpstr>
      <vt:lpstr>FIAM_External_Print_Presentation_4x3</vt:lpstr>
      <vt:lpstr>FI_External_Print_Presentation_4x3</vt:lpstr>
      <vt:lpstr>1_FIAM_Publishing_FINAL_May2020</vt:lpstr>
      <vt:lpstr>FIAM_Publishing_FINAL_May2020</vt:lpstr>
      <vt:lpstr>Basic</vt:lpstr>
      <vt:lpstr>2_FIAM_Publishing_FINAL_May2020</vt:lpstr>
      <vt:lpstr>1_FI_External_Print_Presentation_4x3</vt:lpstr>
      <vt:lpstr>2_FI_External_Print_Presentation_4x3</vt:lpstr>
      <vt:lpstr>think-cell Slide</vt:lpstr>
      <vt:lpstr> NCLGIA Summer Conference</vt:lpstr>
      <vt:lpstr>Agenda</vt:lpstr>
      <vt:lpstr>Global Macroeconomic Update</vt:lpstr>
      <vt:lpstr>Global Business Cycle Continues to Mature </vt:lpstr>
      <vt:lpstr>Tight Labor Markets, but Consumers Are Concerned </vt:lpstr>
      <vt:lpstr>Inflation Drivers Peaking but Stubbornly Persistent </vt:lpstr>
      <vt:lpstr>The Fed Continued to Hike; More to Come </vt:lpstr>
      <vt:lpstr>Central Bank Tightening Implies a Liquidity Headwind  </vt:lpstr>
      <vt:lpstr>Economic Data Shows the Need for Further Fed Action </vt:lpstr>
      <vt:lpstr>Market Expectations for Fed Rate Hikes in 2022 </vt:lpstr>
      <vt:lpstr>Fed’s Hawkish Stance Drives Money Market Yields Higher</vt:lpstr>
      <vt:lpstr>Federal Reserve’s Economic Projections</vt:lpstr>
      <vt:lpstr>Treasury Bills Outstanding</vt:lpstr>
      <vt:lpstr>Commercial Paper Supply and Yields</vt:lpstr>
      <vt:lpstr>3-Month US LIBOR OIS Spread</vt:lpstr>
      <vt:lpstr>Government Portfolio Overview</vt:lpstr>
      <vt:lpstr>NCCMT Government Portfolio Positioning</vt:lpstr>
      <vt:lpstr>Primary Investment Goal to Minimize NAV Volatility</vt:lpstr>
      <vt:lpstr>Q&amp;A</vt:lpstr>
      <vt:lpstr>Important Information</vt:lpstr>
    </vt:vector>
  </TitlesOfParts>
  <Company>Fidelity Investmen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AM Presentation Template</dc:title>
  <dc:creator>Miller, William</dc:creator>
  <cp:keywords>2;#Prospect</cp:keywords>
  <cp:lastModifiedBy>Tiffany Murray</cp:lastModifiedBy>
  <cp:revision>3297</cp:revision>
  <cp:lastPrinted>2022-07-13T18:57:03Z</cp:lastPrinted>
  <dcterms:created xsi:type="dcterms:W3CDTF">2016-08-08T17:31:40Z</dcterms:created>
  <dcterms:modified xsi:type="dcterms:W3CDTF">2022-07-19T15:04: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eviewStatus">
    <vt:lpwstr>Preview Created</vt:lpwstr>
  </property>
  <property fmtid="{D5CDD505-2E9C-101B-9397-08002B2CF9AE}" pid="3" name="UpdateSource">
    <vt:lpwstr>0</vt:lpwstr>
  </property>
  <property fmtid="{D5CDD505-2E9C-101B-9397-08002B2CF9AE}" pid="4" name="Job Number">
    <vt:lpwstr>201007-7986</vt:lpwstr>
  </property>
  <property fmtid="{D5CDD505-2E9C-101B-9397-08002B2CF9AE}" pid="5" name="ContentType">
    <vt:lpwstr>PowerPoint Document</vt:lpwstr>
  </property>
  <property fmtid="{D5CDD505-2E9C-101B-9397-08002B2CF9AE}" pid="6" name="Categories0">
    <vt:lpwstr>13;#|#!Standard Discipline Presentations!#|;#18;#|#!Standard Discipline Presentations!#||#!Pyramis Firm Level!#|;#1;#|#!_internal!#|</vt:lpwstr>
  </property>
  <property fmtid="{D5CDD505-2E9C-101B-9397-08002B2CF9AE}" pid="7" name="Expiration Date0">
    <vt:lpwstr>2010-10-31T00:00:00Z</vt:lpwstr>
  </property>
  <property fmtid="{D5CDD505-2E9C-101B-9397-08002B2CF9AE}" pid="8" name="ContentFileType">
    <vt:lpwstr>Content File</vt:lpwstr>
  </property>
  <property fmtid="{D5CDD505-2E9C-101B-9397-08002B2CF9AE}" pid="9" name="Status">
    <vt:lpwstr>Q2</vt:lpwstr>
  </property>
  <property fmtid="{D5CDD505-2E9C-101B-9397-08002B2CF9AE}" pid="10" name="PreviewPrefix">
    <vt:lpwstr>https://pyramis.xidocs.net/Content/contentpreview/standard discipline presentations/pyramis firm level/Pyramis Overview_1_256_320X240.jpg</vt:lpwstr>
  </property>
  <property fmtid="{D5CDD505-2E9C-101B-9397-08002B2CF9AE}" pid="11" name="LibraryContentId">
    <vt:lpwstr>1249</vt:lpwstr>
  </property>
  <property fmtid="{D5CDD505-2E9C-101B-9397-08002B2CF9AE}" pid="12" name="Content Owner0">
    <vt:lpwstr/>
  </property>
  <property fmtid="{D5CDD505-2E9C-101B-9397-08002B2CF9AE}" pid="13" name="_NewReviewCycle">
    <vt:lpwstr/>
  </property>
  <property fmtid="{D5CDD505-2E9C-101B-9397-08002B2CF9AE}" pid="14" name="ContentTypeId">
    <vt:lpwstr>0x010100CCEF3D91D22ACE438186238FFF1CB09E</vt:lpwstr>
  </property>
</Properties>
</file>